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4.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5.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6.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7.xml" ContentType="application/vnd.openxmlformats-officedocument.presentationml.notesSlide+xml"/>
  <Override PartName="/ppt/tags/tag217.xml" ContentType="application/vnd.openxmlformats-officedocument.presentationml.tags+xml"/>
  <Override PartName="/ppt/notesSlides/notesSlide8.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9.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0.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notesSlides/notesSlide11.xml" ContentType="application/vnd.openxmlformats-officedocument.presentationml.notesSlide+xml"/>
  <Override PartName="/ppt/tags/tag241.xml" ContentType="application/vnd.openxmlformats-officedocument.presentationml.tags+xml"/>
  <Override PartName="/ppt/notesSlides/notesSlide12.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15"/>
  </p:notesMasterIdLst>
  <p:handoutMasterIdLst>
    <p:handoutMasterId r:id="rId16"/>
  </p:handoutMasterIdLst>
  <p:sldIdLst>
    <p:sldId id="260" r:id="rId2"/>
    <p:sldId id="272" r:id="rId3"/>
    <p:sldId id="285" r:id="rId4"/>
    <p:sldId id="293" r:id="rId5"/>
    <p:sldId id="292" r:id="rId6"/>
    <p:sldId id="291" r:id="rId7"/>
    <p:sldId id="280" r:id="rId8"/>
    <p:sldId id="268" r:id="rId9"/>
    <p:sldId id="273" r:id="rId10"/>
    <p:sldId id="274" r:id="rId11"/>
    <p:sldId id="276" r:id="rId12"/>
    <p:sldId id="278" r:id="rId13"/>
    <p:sldId id="289" r:id="rId14"/>
  </p:sldIdLst>
  <p:sldSz cx="8961438" cy="6721475"/>
  <p:notesSz cx="6743700" cy="9906000"/>
  <p:custDataLst>
    <p:tags r:id="rId1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66A3D7"/>
    <a:srgbClr val="E1F2CE"/>
    <a:srgbClr val="E4E4E4"/>
    <a:srgbClr val="3280C0"/>
    <a:srgbClr val="D7D7D7"/>
    <a:srgbClr val="808080"/>
    <a:srgbClr val="0065CC"/>
    <a:srgbClr val="91AFFF"/>
    <a:srgbClr val="00296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32" autoAdjust="0"/>
    <p:restoredTop sz="86856" autoAdjust="0"/>
  </p:normalViewPr>
  <p:slideViewPr>
    <p:cSldViewPr snapToGrid="0">
      <p:cViewPr>
        <p:scale>
          <a:sx n="60" d="100"/>
          <a:sy n="60" d="100"/>
        </p:scale>
        <p:origin x="-1794" y="-102"/>
      </p:cViewPr>
      <p:guideLst>
        <p:guide orient="horz"/>
        <p:guide/>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916" y="-96"/>
      </p:cViewPr>
      <p:guideLst>
        <p:guide orient="horz" pos="3120"/>
        <p:guide pos="21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1.emf"/><Relationship Id="rId5" Type="http://schemas.openxmlformats.org/officeDocument/2006/relationships/image" Target="../media/image54.emf"/><Relationship Id="rId4" Type="http://schemas.openxmlformats.org/officeDocument/2006/relationships/image" Target="../media/image5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68313" y="620713"/>
            <a:ext cx="5813425" cy="43592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46100" y="5322888"/>
            <a:ext cx="5746750"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5127" name="Rectangle 7"/>
          <p:cNvSpPr>
            <a:spLocks noGrp="1" noChangeArrowheads="1"/>
          </p:cNvSpPr>
          <p:nvPr>
            <p:ph type="sldNum" sz="quarter" idx="5"/>
          </p:nvPr>
        </p:nvSpPr>
        <p:spPr bwMode="auto">
          <a:xfrm>
            <a:off x="6018213" y="9526072"/>
            <a:ext cx="534987"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GB" smtClean="0"/>
              <a:pPr>
                <a:defRPr/>
              </a:pPr>
              <a:t>‹#›</a:t>
            </a:fld>
            <a:endParaRPr lang="en-GB" dirty="0"/>
          </a:p>
        </p:txBody>
      </p:sp>
      <p:sp>
        <p:nvSpPr>
          <p:cNvPr id="5128" name="doc id"/>
          <p:cNvSpPr>
            <a:spLocks noGrp="1" noChangeArrowheads="1"/>
          </p:cNvSpPr>
          <p:nvPr>
            <p:ph type="ftr" sz="quarter" idx="4"/>
          </p:nvPr>
        </p:nvSpPr>
        <p:spPr bwMode="auto">
          <a:xfrm>
            <a:off x="6553135" y="11025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GB"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GB" sz="1200" smtClean="0"/>
              <a:pPr eaLnBrk="1" hangingPunct="1"/>
              <a:t>0</a:t>
            </a:fld>
            <a:endParaRPr lang="en-GB" sz="1200" dirty="0" smtClean="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46100" y="5322888"/>
            <a:ext cx="5746750" cy="244475"/>
          </a:xfrm>
          <a:noFill/>
        </p:spPr>
        <p:txBody>
          <a:bodyPr/>
          <a:lstStyle/>
          <a:p>
            <a:pPr eaLnBrk="1" hangingPunct="1"/>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1" y="5322890"/>
            <a:ext cx="5746749" cy="1107996"/>
          </a:xfrm>
        </p:spPr>
        <p:txBody>
          <a:bodyPr/>
          <a:lstStyle/>
          <a:p>
            <a:r>
              <a:rPr lang="en-US" sz="900" b="0" u="none" dirty="0" smtClean="0"/>
              <a:t>India</a:t>
            </a:r>
            <a:r>
              <a:rPr lang="en-US" sz="900" b="0" u="none" baseline="0" dirty="0" smtClean="0"/>
              <a:t> can aspire to more than quadruple its corporate sector revenues from Africa by 2025, by developing its presence in the lead sectors highlighted in the previous slide. India’s share in African imports can potentially rise to 8 per cent, driven by machinery and appliances. Aspirations of possibly capturing 7 per cent of the IT services market, 5 per cent of the </a:t>
            </a:r>
            <a:r>
              <a:rPr lang="en-US" sz="900" b="0" u="none" baseline="0" dirty="0" err="1" smtClean="0"/>
              <a:t>FMCG</a:t>
            </a:r>
            <a:r>
              <a:rPr lang="en-US" sz="900" b="0" u="none" baseline="0" dirty="0" smtClean="0"/>
              <a:t> space, 10 per cent of the power sector and 2 to 5 per cent of the </a:t>
            </a:r>
            <a:r>
              <a:rPr lang="en-US" sz="900" b="0" u="none" baseline="0" dirty="0" err="1" smtClean="0"/>
              <a:t>agri</a:t>
            </a:r>
            <a:r>
              <a:rPr lang="en-US" sz="900" b="0" u="none" baseline="0" dirty="0" smtClean="0"/>
              <a:t>-allied services space, along with an 8 per cent share in overall African imports can lead to approximately USD 160 billion in revenues for Indian companies from Africa.</a:t>
            </a:r>
          </a:p>
          <a:p>
            <a:endParaRPr lang="en-US" sz="900" b="0" u="none" baseline="0" dirty="0" smtClean="0"/>
          </a:p>
          <a:p>
            <a:r>
              <a:rPr lang="en-US" sz="900" b="0" u="none" baseline="0" dirty="0" smtClean="0"/>
              <a:t>Calculations:</a:t>
            </a:r>
          </a:p>
          <a:p>
            <a:r>
              <a:rPr lang="en-US" sz="900" b="0" u="none" baseline="0" dirty="0" smtClean="0"/>
              <a:t>A) Indian corporate revenues from Africa (USD 35 </a:t>
            </a:r>
            <a:r>
              <a:rPr lang="en-US" sz="900" b="0" u="none" baseline="0" dirty="0" err="1" smtClean="0"/>
              <a:t>bn</a:t>
            </a:r>
            <a:r>
              <a:rPr lang="en-US" sz="900" b="0" u="none" baseline="0" dirty="0" smtClean="0"/>
              <a:t>) = Exports (USD 27 </a:t>
            </a:r>
            <a:r>
              <a:rPr lang="en-US" sz="900" b="0" u="none" baseline="0" dirty="0" err="1" smtClean="0"/>
              <a:t>bn</a:t>
            </a:r>
            <a:r>
              <a:rPr lang="en-US" sz="900" b="0" u="none" baseline="0" dirty="0" smtClean="0"/>
              <a:t>) + Airtel Africa revenues (~USD 4-5 </a:t>
            </a:r>
            <a:r>
              <a:rPr lang="en-US" sz="900" b="0" u="none" baseline="0" dirty="0" err="1" smtClean="0"/>
              <a:t>bn</a:t>
            </a:r>
            <a:r>
              <a:rPr lang="en-US" sz="900" b="0" u="none" baseline="0" dirty="0" smtClean="0"/>
              <a:t>) + Tata Group Africa revenues (~USD 2bn) + Marico/Godrej/Others (USD ~2bn)</a:t>
            </a:r>
          </a:p>
          <a:p>
            <a:r>
              <a:rPr lang="en-US" sz="900" b="0" u="none" baseline="0" dirty="0" smtClean="0"/>
              <a:t>B) Overall Indian corporate revenues = ~USD 1 trillion therefore 3.5% of Indian corporate revenues come from Africa</a:t>
            </a:r>
          </a:p>
          <a:p>
            <a:r>
              <a:rPr lang="en-US" sz="900" b="0" u="none" baseline="0" dirty="0" smtClean="0"/>
              <a:t>C) Please note that Indian exports + IT services + Consumer Goods + Infra + </a:t>
            </a:r>
            <a:r>
              <a:rPr lang="en-US" sz="900" b="0" u="none" baseline="0" dirty="0" err="1" smtClean="0"/>
              <a:t>Agri</a:t>
            </a:r>
            <a:r>
              <a:rPr lang="en-US" sz="900" b="0" u="none" baseline="0" dirty="0" smtClean="0"/>
              <a:t> (allied) will not add up to USD 160 </a:t>
            </a:r>
            <a:r>
              <a:rPr lang="en-US" sz="900" b="0" u="none" baseline="0" dirty="0" err="1" smtClean="0"/>
              <a:t>bn</a:t>
            </a:r>
            <a:r>
              <a:rPr lang="en-US" sz="900" b="0" u="none" baseline="0" dirty="0" smtClean="0"/>
              <a:t> as all sector revenues include sales in Africa and exports (which overlaps with total exports)</a:t>
            </a:r>
          </a:p>
          <a:p>
            <a:endParaRPr lang="en-US" sz="900" b="0" u="none" dirty="0" smtClean="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970785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4" y="5322893"/>
            <a:ext cx="5746750" cy="830997"/>
          </a:xfrm>
        </p:spPr>
        <p:txBody>
          <a:bodyPr/>
          <a:lstStyle/>
          <a:p>
            <a:pPr defTabSz="872668">
              <a:defRPr/>
            </a:pPr>
            <a:r>
              <a:rPr lang="en-US" sz="900" dirty="0"/>
              <a:t>India should develop a new approach to Africa, where Indian industry acts as a ”solutions-partner” to individual nations, creating a joint business vision for sector development, continuously engaging the right industry and government stakeholders, and subsequently benefiting from the business opportunities that arise. This approach will require Indian companies to act collaboratively in the form of open consortiums, actively participate in pre-feasibility studies, run pilots to share capabilities and develop opportunities for real projects, and leverage various funding models, including multilateral and seed funding.</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val="2670396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0" y="5322888"/>
            <a:ext cx="5746750" cy="2769989"/>
          </a:xfrm>
        </p:spPr>
        <p:txBody>
          <a:bodyPr/>
          <a:lstStyle/>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t>WHERE TO PLAY</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t>1. </a:t>
            </a:r>
            <a:r>
              <a:rPr lang="en-US" altLang="zh-CN" sz="900" b="1" dirty="0" err="1" smtClean="0">
                <a:solidFill>
                  <a:schemeClr val="accent4"/>
                </a:solidFill>
                <a:latin typeface="Arial"/>
                <a:ea typeface="SimSun"/>
              </a:rPr>
              <a:t>Prioritise</a:t>
            </a:r>
            <a:r>
              <a:rPr lang="en-US" altLang="zh-CN" sz="900" b="1" dirty="0" smtClean="0">
                <a:solidFill>
                  <a:schemeClr val="accent4"/>
                </a:solidFill>
                <a:latin typeface="Arial"/>
                <a:ea typeface="SimSun"/>
              </a:rPr>
              <a:t> early –</a:t>
            </a:r>
            <a:r>
              <a:rPr lang="en-US" altLang="zh-CN" sz="900" dirty="0" smtClean="0">
                <a:latin typeface="Arial"/>
                <a:ea typeface="SimSun"/>
              </a:rPr>
              <a:t> need to quickly </a:t>
            </a:r>
            <a:r>
              <a:rPr lang="en-US" altLang="zh-CN" sz="900" dirty="0" err="1" smtClean="0">
                <a:latin typeface="Arial"/>
                <a:ea typeface="SimSun"/>
              </a:rPr>
              <a:t>prioritise</a:t>
            </a:r>
            <a:r>
              <a:rPr lang="en-US" altLang="zh-CN" sz="900" dirty="0" smtClean="0">
                <a:latin typeface="Arial"/>
                <a:ea typeface="SimSun"/>
              </a:rPr>
              <a:t> countries with potential and decide if a city strategy is preferred</a:t>
            </a:r>
            <a:endParaRPr lang="en-US" sz="900" dirty="0" smtClean="0">
              <a:latin typeface="Arial"/>
              <a:ea typeface="SimSun"/>
            </a:endParaRP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accent4"/>
                </a:solidFill>
                <a:latin typeface="Arial"/>
                <a:ea typeface="SimSun"/>
              </a:rPr>
              <a:t>2. Go granular –</a:t>
            </a:r>
            <a:r>
              <a:rPr lang="en-US" sz="900" dirty="0" smtClean="0">
                <a:latin typeface="Arial"/>
                <a:ea typeface="SimSun"/>
              </a:rPr>
              <a:t> local differences can be large – get close to the ground and understand local nuances</a:t>
            </a:r>
          </a:p>
          <a:p>
            <a:endParaRPr lang="en-US" sz="900" dirty="0" smtClean="0"/>
          </a:p>
          <a:p>
            <a:r>
              <a:rPr lang="en-US" sz="900" dirty="0" smtClean="0"/>
              <a:t>HOW TO PLAY</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t>3. </a:t>
            </a:r>
            <a:r>
              <a:rPr lang="en-US" altLang="zh-CN" sz="900" b="1" dirty="0" smtClean="0">
                <a:solidFill>
                  <a:schemeClr val="accent4"/>
                </a:solidFill>
                <a:latin typeface="Arial"/>
                <a:ea typeface="SimSun"/>
              </a:rPr>
              <a:t>Expect to iterate –</a:t>
            </a:r>
            <a:r>
              <a:rPr lang="en-US" altLang="zh-CN" sz="900" dirty="0" smtClean="0">
                <a:latin typeface="Arial"/>
                <a:ea typeface="SimSun"/>
              </a:rPr>
              <a:t> better to start at 60% and learn; </a:t>
            </a:r>
            <a:r>
              <a:rPr lang="en-US" altLang="zh-CN" sz="900" dirty="0" err="1" smtClean="0">
                <a:latin typeface="Arial"/>
                <a:ea typeface="SimSun"/>
              </a:rPr>
              <a:t>customise</a:t>
            </a:r>
            <a:r>
              <a:rPr lang="en-US" altLang="zh-CN" sz="900" dirty="0" smtClean="0">
                <a:latin typeface="Arial"/>
                <a:ea typeface="SimSun"/>
              </a:rPr>
              <a:t> products/offerings for local needs</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altLang="zh-CN" sz="900" b="1" dirty="0" smtClean="0">
                <a:solidFill>
                  <a:schemeClr val="accent4"/>
                </a:solidFill>
                <a:latin typeface="Arial"/>
                <a:ea typeface="SimSun"/>
              </a:rPr>
              <a:t>4. Distribution is the key –</a:t>
            </a:r>
            <a:r>
              <a:rPr lang="en-US" altLang="zh-CN" sz="900" dirty="0" smtClean="0">
                <a:latin typeface="Arial"/>
                <a:ea typeface="SimSun"/>
              </a:rPr>
              <a:t> understand/ control the route-to-market, especially in a nascent market</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latin typeface="Arial"/>
                <a:ea typeface="SimSun"/>
              </a:rPr>
              <a:t>5. </a:t>
            </a:r>
            <a:r>
              <a:rPr lang="en-US" altLang="zh-CN" sz="900" b="1" dirty="0" smtClean="0">
                <a:solidFill>
                  <a:schemeClr val="accent4"/>
                </a:solidFill>
                <a:latin typeface="Arial"/>
                <a:ea typeface="SimSun"/>
              </a:rPr>
              <a:t>Aggressively build brands – </a:t>
            </a:r>
            <a:r>
              <a:rPr lang="en-US" altLang="zh-CN" sz="900" dirty="0" smtClean="0">
                <a:latin typeface="Arial"/>
                <a:ea typeface="SimSun"/>
              </a:rPr>
              <a:t>brands considered to be most influential in making purchase decisions</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latin typeface="Arial"/>
                <a:ea typeface="SimSun"/>
              </a:rPr>
              <a:t>6. </a:t>
            </a:r>
            <a:r>
              <a:rPr lang="en-US" altLang="zh-CN" sz="900" b="1" dirty="0" smtClean="0">
                <a:solidFill>
                  <a:schemeClr val="accent4"/>
                </a:solidFill>
                <a:latin typeface="Arial"/>
                <a:ea typeface="SimSun"/>
              </a:rPr>
              <a:t>Deliver value across price segment –</a:t>
            </a:r>
            <a:r>
              <a:rPr lang="en-US" altLang="zh-CN" sz="900" dirty="0" smtClean="0">
                <a:latin typeface="Arial"/>
                <a:ea typeface="SimSun"/>
              </a:rPr>
              <a:t> innovate to meet range of needs</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latin typeface="Arial"/>
                <a:ea typeface="SimSun"/>
              </a:rPr>
              <a:t>7. </a:t>
            </a:r>
            <a:r>
              <a:rPr lang="en-US" altLang="zh-CN" sz="900" b="1" dirty="0" smtClean="0">
                <a:solidFill>
                  <a:schemeClr val="accent4"/>
                </a:solidFill>
                <a:latin typeface="Arial"/>
                <a:ea typeface="SimSun"/>
              </a:rPr>
              <a:t>Think long term –</a:t>
            </a:r>
            <a:r>
              <a:rPr lang="en-US" altLang="zh-CN" sz="900" dirty="0" smtClean="0">
                <a:latin typeface="Arial"/>
                <a:ea typeface="SimSun"/>
              </a:rPr>
              <a:t> cannot build business “quarter to quarter”</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endParaRPr lang="en-US" sz="900" dirty="0" smtClean="0">
              <a:latin typeface="Arial"/>
              <a:ea typeface="SimSun"/>
            </a:endParaRP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b="1" dirty="0" err="1" smtClean="0">
                <a:latin typeface="Arial"/>
                <a:ea typeface="SimSun"/>
              </a:rPr>
              <a:t>ORGANISE</a:t>
            </a:r>
            <a:r>
              <a:rPr lang="en-US" sz="900" b="1" dirty="0" smtClean="0">
                <a:latin typeface="Arial"/>
                <a:ea typeface="SimSun"/>
              </a:rPr>
              <a:t> TO WIN</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latin typeface="Arial"/>
                <a:ea typeface="SimSun"/>
              </a:rPr>
              <a:t>8.</a:t>
            </a:r>
            <a:r>
              <a:rPr lang="en-US" sz="900" baseline="0" dirty="0" smtClean="0">
                <a:latin typeface="Arial"/>
                <a:ea typeface="SimSun"/>
              </a:rPr>
              <a:t> </a:t>
            </a:r>
            <a:r>
              <a:rPr lang="en-US" altLang="zh-CN" sz="900" b="1" dirty="0" smtClean="0">
                <a:solidFill>
                  <a:schemeClr val="accent4"/>
                </a:solidFill>
                <a:latin typeface="Arial"/>
                <a:ea typeface="SimSun"/>
              </a:rPr>
              <a:t>Involve locals and insiders as partners –</a:t>
            </a:r>
            <a:r>
              <a:rPr lang="en-US" altLang="zh-CN" sz="900" dirty="0" smtClean="0">
                <a:latin typeface="Arial"/>
                <a:ea typeface="SimSun"/>
              </a:rPr>
              <a:t> to get local insights, share risks, benefit from regulations and local relationships, </a:t>
            </a:r>
            <a:endParaRPr lang="en-US" sz="900" dirty="0" smtClean="0">
              <a:latin typeface="Arial"/>
              <a:ea typeface="SimSun"/>
            </a:endParaRP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latin typeface="Arial"/>
                <a:ea typeface="SimSun"/>
              </a:rPr>
              <a:t>9. </a:t>
            </a:r>
            <a:r>
              <a:rPr lang="en-US" altLang="zh-CN" sz="900" b="1" dirty="0" smtClean="0">
                <a:solidFill>
                  <a:schemeClr val="accent4"/>
                </a:solidFill>
                <a:latin typeface="Arial"/>
                <a:ea typeface="SimSun"/>
              </a:rPr>
              <a:t>Partner with local governments to create opportunities –</a:t>
            </a:r>
            <a:r>
              <a:rPr lang="en-US" altLang="zh-CN" sz="900" dirty="0" smtClean="0">
                <a:latin typeface="Arial"/>
                <a:ea typeface="SimSun"/>
              </a:rPr>
              <a:t> work on local and social development issues with governments</a:t>
            </a:r>
            <a:endParaRPr lang="en-US" sz="900" dirty="0" smtClean="0">
              <a:latin typeface="Arial"/>
              <a:ea typeface="SimSun"/>
            </a:endParaRP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r>
              <a:rPr lang="en-US" sz="900" dirty="0" smtClean="0">
                <a:latin typeface="Arial"/>
                <a:ea typeface="SimSun"/>
              </a:rPr>
              <a:t>10. </a:t>
            </a:r>
            <a:r>
              <a:rPr lang="en-US" sz="900" b="1" dirty="0" smtClean="0">
                <a:solidFill>
                  <a:schemeClr val="accent4"/>
                </a:solidFill>
                <a:latin typeface="Arial"/>
                <a:ea typeface="SimSun"/>
              </a:rPr>
              <a:t>Invest in building local talent –</a:t>
            </a:r>
            <a:r>
              <a:rPr lang="en-US" sz="900" dirty="0" smtClean="0">
                <a:ea typeface="SimSun" pitchFamily="2" charset="-122"/>
              </a:rPr>
              <a:t> local talent is key to scale up businesses; invest in nurturing them </a:t>
            </a:r>
          </a:p>
          <a:p>
            <a:pPr marL="0" marR="0" lvl="1" indent="0" algn="l" defTabSz="895350" rtl="0" eaLnBrk="0" fontAlgn="base" latinLnBrk="0" hangingPunct="0">
              <a:lnSpc>
                <a:spcPct val="100000"/>
              </a:lnSpc>
              <a:spcBef>
                <a:spcPct val="0"/>
              </a:spcBef>
              <a:spcAft>
                <a:spcPct val="0"/>
              </a:spcAft>
              <a:buClr>
                <a:schemeClr val="tx2"/>
              </a:buClr>
              <a:buSzTx/>
              <a:buFontTx/>
              <a:buNone/>
              <a:tabLst/>
              <a:defRPr/>
            </a:pPr>
            <a:endParaRPr lang="en-US" sz="900" dirty="0" smtClean="0">
              <a:latin typeface="Arial"/>
              <a:ea typeface="SimSun"/>
            </a:endParaRPr>
          </a:p>
          <a:p>
            <a:endParaRPr lang="en-US" sz="900" dirty="0" smtClean="0"/>
          </a:p>
          <a:p>
            <a:endParaRPr lang="en-US" sz="90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11</a:t>
            </a:fld>
            <a:endParaRPr lang="en-GB" dirty="0"/>
          </a:p>
        </p:txBody>
      </p:sp>
    </p:spTree>
    <p:extLst>
      <p:ext uri="{BB962C8B-B14F-4D97-AF65-F5344CB8AC3E}">
        <p14:creationId xmlns:p14="http://schemas.microsoft.com/office/powerpoint/2010/main" val="13363123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4" y="5322895"/>
            <a:ext cx="5746748" cy="3944670"/>
          </a:xfrm>
        </p:spPr>
        <p:txBody>
          <a:bodyPr/>
          <a:lstStyle/>
          <a:p>
            <a:r>
              <a:rPr lang="en-US" sz="900" dirty="0" smtClean="0"/>
              <a:t>As an illustration of vision</a:t>
            </a:r>
            <a:r>
              <a:rPr lang="en-US" sz="900" baseline="0" dirty="0" smtClean="0"/>
              <a:t> co-development, </a:t>
            </a:r>
            <a:r>
              <a:rPr lang="en-US" sz="900" dirty="0" smtClean="0"/>
              <a:t>Cisco has developed a joint vision with many governments in Africa to develop the ICT sector by improving access to digital technologies</a:t>
            </a:r>
            <a:r>
              <a:rPr lang="en-US" sz="900" baseline="0" dirty="0" smtClean="0"/>
              <a:t> and contributing to knowledge transfer, while creating local jobs</a:t>
            </a:r>
            <a:r>
              <a:rPr lang="en-US" sz="900" dirty="0" smtClean="0"/>
              <a:t>. Acting on this vision, 700+</a:t>
            </a:r>
            <a:r>
              <a:rPr lang="en-US" sz="900" baseline="0" dirty="0" smtClean="0"/>
              <a:t> training academies have been set up across 40 countries, with more than 1500 instructors.</a:t>
            </a:r>
          </a:p>
          <a:p>
            <a:pPr marL="444500"/>
            <a:endParaRPr lang="en-US" sz="900" baseline="0" dirty="0" smtClean="0"/>
          </a:p>
          <a:p>
            <a:pPr marL="58738" marR="0" indent="-58738" algn="l" defTabSz="895350" rtl="0" eaLnBrk="0" fontAlgn="base" latinLnBrk="0" hangingPunct="0">
              <a:lnSpc>
                <a:spcPct val="100000"/>
              </a:lnSpc>
              <a:spcBef>
                <a:spcPct val="0"/>
              </a:spcBef>
              <a:spcAft>
                <a:spcPct val="0"/>
              </a:spcAft>
              <a:buClr>
                <a:schemeClr val="tx2"/>
              </a:buClr>
              <a:buSzTx/>
              <a:buFontTx/>
              <a:buNone/>
              <a:tabLst/>
              <a:defRPr/>
            </a:pPr>
            <a:r>
              <a:rPr lang="en-US" sz="900" b="1" kern="1200" dirty="0" smtClean="0">
                <a:ea typeface="Arial Unicode MS" pitchFamily="34" charset="-128"/>
                <a:cs typeface="Arial Unicode MS" pitchFamily="34" charset="-128"/>
              </a:rPr>
              <a:t>Cisco’s joint vision with governments in Africa to develop IT sector</a:t>
            </a:r>
          </a:p>
          <a:p>
            <a:pPr marL="444500"/>
            <a:endParaRPr lang="en-GB" sz="900" dirty="0" smtClean="0"/>
          </a:p>
          <a:p>
            <a:pPr lvl="1">
              <a:spcBef>
                <a:spcPts val="1000"/>
              </a:spcBef>
              <a:spcAft>
                <a:spcPts val="0"/>
              </a:spcAft>
              <a:buClr>
                <a:srgbClr val="002960"/>
              </a:buClr>
            </a:pPr>
            <a:r>
              <a:rPr lang="en-US" sz="900" kern="1200" dirty="0" smtClean="0"/>
              <a:t>Help improve </a:t>
            </a:r>
            <a:r>
              <a:rPr lang="en-US" sz="900" b="1" kern="1200" dirty="0" smtClean="0"/>
              <a:t>access to digital technologies </a:t>
            </a:r>
            <a:r>
              <a:rPr lang="en-US" sz="900" kern="1200" dirty="0" smtClean="0"/>
              <a:t>through its solutions and expertise</a:t>
            </a:r>
          </a:p>
          <a:p>
            <a:pPr lvl="1">
              <a:spcBef>
                <a:spcPts val="1000"/>
              </a:spcBef>
              <a:spcAft>
                <a:spcPts val="0"/>
              </a:spcAft>
              <a:buClr>
                <a:srgbClr val="002960"/>
              </a:buClr>
            </a:pPr>
            <a:r>
              <a:rPr lang="en-US" sz="900" kern="1200" dirty="0" smtClean="0"/>
              <a:t>Create local partnerships and large networks that are </a:t>
            </a:r>
            <a:r>
              <a:rPr lang="en-US" sz="900" b="1" kern="1200" dirty="0" smtClean="0"/>
              <a:t>sources of employment</a:t>
            </a:r>
          </a:p>
          <a:p>
            <a:pPr lvl="1">
              <a:spcBef>
                <a:spcPts val="1000"/>
              </a:spcBef>
              <a:spcAft>
                <a:spcPts val="0"/>
              </a:spcAft>
              <a:buClr>
                <a:srgbClr val="002960"/>
              </a:buClr>
            </a:pPr>
            <a:r>
              <a:rPr lang="en-US" sz="900" kern="1200" dirty="0" smtClean="0"/>
              <a:t>Contribute to </a:t>
            </a:r>
            <a:r>
              <a:rPr lang="en-US" sz="900" b="1" kern="1200" dirty="0" smtClean="0"/>
              <a:t>knowledge transfer </a:t>
            </a:r>
            <a:r>
              <a:rPr lang="en-US" sz="900" kern="1200" dirty="0" smtClean="0"/>
              <a:t>by helping develop ‘</a:t>
            </a:r>
            <a:r>
              <a:rPr lang="en-US" sz="900" kern="1200" dirty="0" err="1" smtClean="0"/>
              <a:t>Glocal</a:t>
            </a:r>
            <a:r>
              <a:rPr lang="en-US" sz="900" kern="1200" dirty="0" smtClean="0"/>
              <a:t> </a:t>
            </a:r>
            <a:r>
              <a:rPr lang="en-US" sz="900" kern="1200" dirty="0" err="1" smtClean="0"/>
              <a:t>Centres</a:t>
            </a:r>
            <a:r>
              <a:rPr lang="en-US" sz="900" kern="1200" dirty="0" smtClean="0"/>
              <a:t> of Excellence’, e.g., Cisco-</a:t>
            </a:r>
            <a:r>
              <a:rPr lang="en-US" sz="900" kern="1200" dirty="0" err="1" smtClean="0"/>
              <a:t>HCL</a:t>
            </a:r>
            <a:r>
              <a:rPr lang="en-US" sz="900" kern="1200" dirty="0" smtClean="0"/>
              <a:t> Centre of Excellence in South Africa</a:t>
            </a:r>
          </a:p>
          <a:p>
            <a:pPr lvl="1">
              <a:spcBef>
                <a:spcPts val="1000"/>
              </a:spcBef>
              <a:spcAft>
                <a:spcPts val="0"/>
              </a:spcAft>
              <a:buClr>
                <a:srgbClr val="002960"/>
              </a:buClr>
            </a:pPr>
            <a:r>
              <a:rPr lang="en-US" sz="900" kern="1200" dirty="0" smtClean="0"/>
              <a:t>Facilitate the funding of </a:t>
            </a:r>
            <a:r>
              <a:rPr lang="en-US" sz="900" kern="1200" dirty="0" err="1" smtClean="0"/>
              <a:t>ICT</a:t>
            </a:r>
            <a:r>
              <a:rPr lang="en-US" sz="900" kern="1200" dirty="0" smtClean="0"/>
              <a:t> projects, to help </a:t>
            </a:r>
            <a:r>
              <a:rPr lang="en-US" sz="900" b="1" kern="1200" dirty="0" smtClean="0"/>
              <a:t>reduce barriers to investment</a:t>
            </a:r>
          </a:p>
          <a:p>
            <a:endParaRPr lang="en-US" sz="900" dirty="0" smtClean="0"/>
          </a:p>
          <a:p>
            <a:endParaRPr lang="en-US" sz="900" dirty="0" smtClean="0"/>
          </a:p>
          <a:p>
            <a:pPr marL="0" marR="0" indent="0" algn="l" defTabSz="895350" rtl="0" eaLnBrk="0" fontAlgn="base" latinLnBrk="0" hangingPunct="0">
              <a:lnSpc>
                <a:spcPct val="100000"/>
              </a:lnSpc>
              <a:spcBef>
                <a:spcPct val="0"/>
              </a:spcBef>
              <a:spcAft>
                <a:spcPct val="0"/>
              </a:spcAft>
              <a:buClr>
                <a:schemeClr val="tx2"/>
              </a:buClr>
              <a:buSzTx/>
              <a:buFontTx/>
              <a:buNone/>
              <a:tabLst/>
              <a:defRPr/>
            </a:pPr>
            <a:r>
              <a:rPr lang="en-US" sz="900" b="1" kern="1200" dirty="0" smtClean="0">
                <a:ea typeface="Arial Unicode MS" pitchFamily="34" charset="-128"/>
                <a:cs typeface="Arial Unicode MS" pitchFamily="34" charset="-128"/>
              </a:rPr>
              <a:t>Japan participated in India’s infrastructure development early on</a:t>
            </a:r>
          </a:p>
          <a:p>
            <a:pPr lvl="1">
              <a:spcBef>
                <a:spcPts val="1000"/>
              </a:spcBef>
              <a:spcAft>
                <a:spcPts val="0"/>
              </a:spcAft>
            </a:pPr>
            <a:r>
              <a:rPr lang="en-US" sz="900" dirty="0" smtClean="0"/>
              <a:t>Since early 2000, Japan has invested in various feasibility studies and project reports in the infrastructure space to help India </a:t>
            </a:r>
            <a:r>
              <a:rPr lang="en-US" sz="900" dirty="0" err="1" smtClean="0"/>
              <a:t>realise</a:t>
            </a:r>
            <a:r>
              <a:rPr lang="en-US" sz="900" dirty="0" smtClean="0"/>
              <a:t> the opportunity</a:t>
            </a:r>
          </a:p>
          <a:p>
            <a:pPr lvl="2">
              <a:spcBef>
                <a:spcPts val="1000"/>
              </a:spcBef>
              <a:spcAft>
                <a:spcPts val="0"/>
              </a:spcAft>
            </a:pPr>
            <a:r>
              <a:rPr lang="en-US" sz="900" dirty="0" smtClean="0"/>
              <a:t>Feasibility Study for developing a high speed railway system between Mumbai and Ahmedabad corridor</a:t>
            </a:r>
          </a:p>
          <a:p>
            <a:pPr lvl="2">
              <a:spcBef>
                <a:spcPts val="1000"/>
              </a:spcBef>
              <a:spcAft>
                <a:spcPts val="0"/>
              </a:spcAft>
            </a:pPr>
            <a:r>
              <a:rPr lang="en-US" sz="900" dirty="0" smtClean="0"/>
              <a:t>Identified freight corridors as important sources of growth and later provided funds for development of these corridors. Projects underway include the Delhi-Mumbai and Delhi–Howrah corridors</a:t>
            </a:r>
          </a:p>
          <a:p>
            <a:pPr marL="0" marR="0" indent="0" algn="l" defTabSz="895350" rtl="0" eaLnBrk="0" fontAlgn="base" latinLnBrk="0" hangingPunct="0">
              <a:lnSpc>
                <a:spcPct val="100000"/>
              </a:lnSpc>
              <a:spcBef>
                <a:spcPct val="0"/>
              </a:spcBef>
              <a:spcAft>
                <a:spcPct val="0"/>
              </a:spcAft>
              <a:buClr>
                <a:schemeClr val="tx2"/>
              </a:buClr>
              <a:buSzTx/>
              <a:buFontTx/>
              <a:buNone/>
              <a:tabLst/>
              <a:defRPr/>
            </a:pPr>
            <a:endParaRPr lang="en-US" sz="900" b="1" kern="1200" dirty="0" smtClean="0">
              <a:ea typeface="Arial Unicode MS" pitchFamily="34" charset="-128"/>
              <a:cs typeface="Arial Unicode MS" pitchFamily="34" charset="-128"/>
            </a:endParaRPr>
          </a:p>
          <a:p>
            <a:endParaRPr lang="en-US" sz="90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3781518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1" y="5322898"/>
            <a:ext cx="5746749" cy="1107996"/>
          </a:xfrm>
        </p:spPr>
        <p:txBody>
          <a:bodyPr/>
          <a:lstStyle/>
          <a:p>
            <a:pPr marL="285750" marR="0" lvl="0" indent="-285750" algn="l" defTabSz="907288" rtl="0" eaLnBrk="0" fontAlgn="base" latinLnBrk="0" hangingPunct="0">
              <a:lnSpc>
                <a:spcPct val="100000"/>
              </a:lnSpc>
              <a:spcBef>
                <a:spcPct val="0"/>
              </a:spcBef>
              <a:spcAft>
                <a:spcPct val="0"/>
              </a:spcAft>
              <a:buClr>
                <a:schemeClr val="tx2"/>
              </a:buClr>
              <a:buSzTx/>
              <a:buFont typeface="Arial" pitchFamily="34" charset="0"/>
              <a:buChar char="•"/>
              <a:tabLst/>
              <a:defRPr/>
            </a:pPr>
            <a:r>
              <a:rPr lang="en-US" sz="900" dirty="0" smtClean="0"/>
              <a:t>Africa is a continent with 55</a:t>
            </a:r>
            <a:r>
              <a:rPr lang="en-US" sz="900" baseline="0" dirty="0" smtClean="0"/>
              <a:t> countries, with a combined GDP of ~USD 2 trillion today. </a:t>
            </a:r>
          </a:p>
          <a:p>
            <a:pPr marL="285750" marR="0" lvl="0" indent="-285750" algn="l" defTabSz="907288" rtl="0" eaLnBrk="0" fontAlgn="base" latinLnBrk="0" hangingPunct="0">
              <a:lnSpc>
                <a:spcPct val="100000"/>
              </a:lnSpc>
              <a:spcBef>
                <a:spcPct val="0"/>
              </a:spcBef>
              <a:spcAft>
                <a:spcPct val="0"/>
              </a:spcAft>
              <a:buClr>
                <a:schemeClr val="tx2"/>
              </a:buClr>
              <a:buSzTx/>
              <a:buFont typeface="Arial" pitchFamily="34" charset="0"/>
              <a:buChar char="•"/>
              <a:tabLst/>
              <a:defRPr/>
            </a:pPr>
            <a:r>
              <a:rPr lang="en-US" sz="900" dirty="0" smtClean="0"/>
              <a:t>Over the next 10 to 12 years, Africa is expected to overtake the Middle East to be the second-fastest growing market globally. More than half of Africa’s 55 countries are expected to grow faster than 5% annually till 2025. </a:t>
            </a:r>
            <a:endParaRPr lang="en-GB" sz="900" dirty="0" smtClean="0"/>
          </a:p>
          <a:p>
            <a:pPr marL="285750" marR="0" lvl="0" indent="-285750" algn="l" defTabSz="907288" rtl="0" eaLnBrk="0" fontAlgn="base" latinLnBrk="0" hangingPunct="0">
              <a:lnSpc>
                <a:spcPct val="100000"/>
              </a:lnSpc>
              <a:spcBef>
                <a:spcPct val="0"/>
              </a:spcBef>
              <a:spcAft>
                <a:spcPct val="0"/>
              </a:spcAft>
              <a:buClr>
                <a:schemeClr val="tx2"/>
              </a:buClr>
              <a:buSzTx/>
              <a:buFont typeface="Arial" pitchFamily="34" charset="0"/>
              <a:buChar char="•"/>
              <a:tabLst/>
              <a:defRPr/>
            </a:pPr>
            <a:r>
              <a:rPr lang="en-US" sz="900" dirty="0" smtClean="0"/>
              <a:t>By 2025, Africa’s GDP will have more than doubled to about</a:t>
            </a:r>
            <a:r>
              <a:rPr lang="en-US" sz="900" baseline="0" dirty="0" smtClean="0"/>
              <a:t> USD 5.3 trillion and its consumer spend is expected to be three times of India’s present spend. </a:t>
            </a:r>
          </a:p>
          <a:p>
            <a:pPr marL="285750" marR="0" lvl="0" indent="-285750" algn="l" defTabSz="907288" rtl="0" eaLnBrk="0" fontAlgn="base" latinLnBrk="0" hangingPunct="0">
              <a:lnSpc>
                <a:spcPct val="100000"/>
              </a:lnSpc>
              <a:spcBef>
                <a:spcPct val="0"/>
              </a:spcBef>
              <a:spcAft>
                <a:spcPct val="0"/>
              </a:spcAft>
              <a:buClr>
                <a:schemeClr val="tx2"/>
              </a:buClr>
              <a:buSzTx/>
              <a:buFont typeface="Arial" pitchFamily="34" charset="0"/>
              <a:buChar char="•"/>
              <a:tabLst/>
              <a:defRPr/>
            </a:pPr>
            <a:r>
              <a:rPr lang="en-US" sz="900" baseline="0" dirty="0" smtClean="0"/>
              <a:t>With its working age population expected to reach 845 million, 23 million more than India’s in 2013, businesses generating jobs can expect to be welcomed with open arms.</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2037588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5" y="5322891"/>
            <a:ext cx="5746750" cy="4431983"/>
          </a:xfrm>
        </p:spPr>
        <p:txBody>
          <a:bodyPr/>
          <a:lstStyle/>
          <a:p>
            <a:pPr defTabSz="892597" eaLnBrk="0" hangingPunct="0">
              <a:defRPr/>
            </a:pPr>
            <a:r>
              <a:rPr lang="en-US" sz="900" dirty="0" smtClean="0"/>
              <a:t>Africa’s growth has been be fuelled by 6 key drivers</a:t>
            </a:r>
            <a:r>
              <a:rPr lang="en-US" sz="900" baseline="0" dirty="0" smtClean="0"/>
              <a:t>. Already ongoing economic reforms have made it easier to do business in the continent. Improving macroeconomic and political stability will help further. A growing working age population, the commodity boom and a potential “green revolution” will continue to attract investors and MNCs to Africa. In the last decade, African investments have provided good returns. FDI inflows, therefore, are expected to continue growing. </a:t>
            </a:r>
          </a:p>
          <a:p>
            <a:pPr marL="0" marR="0" lvl="0" indent="0" algn="l" defTabSz="895350" rtl="0" eaLnBrk="1" fontAlgn="base" latinLnBrk="0" hangingPunct="1">
              <a:lnSpc>
                <a:spcPct val="100000"/>
              </a:lnSpc>
              <a:spcBef>
                <a:spcPct val="0"/>
              </a:spcBef>
              <a:spcAft>
                <a:spcPct val="0"/>
              </a:spcAft>
              <a:buClr>
                <a:srgbClr val="002960"/>
              </a:buClr>
              <a:buSzTx/>
              <a:buFontTx/>
              <a:buNone/>
              <a:tabLst/>
              <a:defRPr/>
            </a:pPr>
            <a:r>
              <a:rPr kumimoji="0" lang="en-US" sz="900" b="1" i="0" u="none" strike="noStrike" kern="1200" cap="none" spc="0" normalizeH="0" baseline="0" noProof="0" dirty="0" smtClean="0">
                <a:ln>
                  <a:noFill/>
                </a:ln>
                <a:solidFill>
                  <a:srgbClr val="002960"/>
                </a:solidFill>
                <a:effectLst/>
                <a:uLnTx/>
                <a:uFillTx/>
                <a:ea typeface="ＭＳ Ｐゴシック"/>
              </a:rPr>
              <a:t>Macro and political stability</a:t>
            </a:r>
          </a:p>
          <a:p>
            <a:pPr lvl="1">
              <a:buClr>
                <a:srgbClr val="002960"/>
              </a:buClr>
            </a:pPr>
            <a:r>
              <a:rPr lang="en-US" sz="900" b="1" dirty="0" smtClean="0">
                <a:solidFill>
                  <a:srgbClr val="000000"/>
                </a:solidFill>
              </a:rPr>
              <a:t>Inflation </a:t>
            </a:r>
            <a:r>
              <a:rPr lang="en-US" sz="900" dirty="0" smtClean="0">
                <a:solidFill>
                  <a:srgbClr val="000000"/>
                </a:solidFill>
              </a:rPr>
              <a:t>reduced from 23% (1995–2005) to 8% (2006–2013), </a:t>
            </a:r>
            <a:r>
              <a:rPr lang="en-US" sz="900" b="1" dirty="0" smtClean="0">
                <a:solidFill>
                  <a:srgbClr val="000000"/>
                </a:solidFill>
              </a:rPr>
              <a:t>debt </a:t>
            </a:r>
            <a:r>
              <a:rPr lang="en-US" sz="900" dirty="0" smtClean="0">
                <a:solidFill>
                  <a:srgbClr val="000000"/>
                </a:solidFill>
              </a:rPr>
              <a:t>from 105% to 52% and </a:t>
            </a:r>
            <a:r>
              <a:rPr lang="en-US" sz="900" b="1" dirty="0" smtClean="0">
                <a:solidFill>
                  <a:srgbClr val="000000"/>
                </a:solidFill>
              </a:rPr>
              <a:t>currency volatility </a:t>
            </a:r>
            <a:r>
              <a:rPr lang="en-US" sz="900" dirty="0" smtClean="0">
                <a:solidFill>
                  <a:srgbClr val="000000"/>
                </a:solidFill>
              </a:rPr>
              <a:t>from 29% to 12% </a:t>
            </a:r>
          </a:p>
          <a:p>
            <a:pPr lvl="1">
              <a:buClr>
                <a:srgbClr val="002960"/>
              </a:buClr>
            </a:pPr>
            <a:r>
              <a:rPr lang="en-US" sz="900" b="1" dirty="0" smtClean="0">
                <a:solidFill>
                  <a:srgbClr val="000000"/>
                </a:solidFill>
              </a:rPr>
              <a:t>Political and economic risk </a:t>
            </a:r>
            <a:r>
              <a:rPr lang="en-US" sz="900" dirty="0" smtClean="0">
                <a:solidFill>
                  <a:srgbClr val="000000"/>
                </a:solidFill>
              </a:rPr>
              <a:t>rating of many major African countries are comparable to the </a:t>
            </a:r>
            <a:r>
              <a:rPr lang="en-US" sz="900" dirty="0" err="1" smtClean="0">
                <a:solidFill>
                  <a:srgbClr val="000000"/>
                </a:solidFill>
              </a:rPr>
              <a:t>BRIC</a:t>
            </a:r>
            <a:r>
              <a:rPr lang="en-US" sz="900" dirty="0" smtClean="0">
                <a:solidFill>
                  <a:srgbClr val="000000"/>
                </a:solidFill>
              </a:rPr>
              <a:t> countries</a:t>
            </a:r>
          </a:p>
          <a:p>
            <a:pPr marL="0" marR="0" lvl="0" indent="0" algn="l" defTabSz="892597" rtl="0" eaLnBrk="0" fontAlgn="base" latinLnBrk="0" hangingPunct="0">
              <a:lnSpc>
                <a:spcPct val="100000"/>
              </a:lnSpc>
              <a:spcBef>
                <a:spcPct val="0"/>
              </a:spcBef>
              <a:spcAft>
                <a:spcPct val="0"/>
              </a:spcAft>
              <a:buClr>
                <a:schemeClr val="tx2"/>
              </a:buClr>
              <a:buSzTx/>
              <a:buFontTx/>
              <a:buNone/>
              <a:tabLst/>
              <a:defRPr/>
            </a:pPr>
            <a:endParaRPr lang="en-US" sz="900" b="1" dirty="0" smtClean="0">
              <a:solidFill>
                <a:schemeClr val="tx2"/>
              </a:solidFill>
            </a:endParaRPr>
          </a:p>
          <a:p>
            <a:pPr marL="0" marR="0" lvl="0" indent="0" algn="l" defTabSz="892597"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rPr>
              <a:t>Ongoing economic reforms</a:t>
            </a:r>
          </a:p>
          <a:p>
            <a:pPr lvl="1">
              <a:buClr>
                <a:srgbClr val="002960"/>
              </a:buClr>
            </a:pPr>
            <a:r>
              <a:rPr lang="en-US" sz="900" b="1" dirty="0" smtClean="0">
                <a:solidFill>
                  <a:srgbClr val="000000"/>
                </a:solidFill>
              </a:rPr>
              <a:t>Widespread business-friendly reforms </a:t>
            </a:r>
            <a:r>
              <a:rPr lang="en-US" sz="900" dirty="0" smtClean="0">
                <a:solidFill>
                  <a:srgbClr val="000000"/>
                </a:solidFill>
              </a:rPr>
              <a:t>are making it </a:t>
            </a:r>
            <a:r>
              <a:rPr lang="en-US" sz="900" b="1" dirty="0" smtClean="0">
                <a:solidFill>
                  <a:srgbClr val="000000"/>
                </a:solidFill>
              </a:rPr>
              <a:t>easier to do business </a:t>
            </a:r>
            <a:r>
              <a:rPr lang="en-US" sz="900" dirty="0" smtClean="0">
                <a:solidFill>
                  <a:srgbClr val="000000"/>
                </a:solidFill>
              </a:rPr>
              <a:t>in many African countries, e.g., </a:t>
            </a:r>
            <a:r>
              <a:rPr lang="en-US" sz="900" dirty="0" err="1" smtClean="0">
                <a:solidFill>
                  <a:srgbClr val="000000"/>
                </a:solidFill>
              </a:rPr>
              <a:t>EAC</a:t>
            </a:r>
            <a:r>
              <a:rPr lang="en-US" sz="900" dirty="0" smtClean="0">
                <a:solidFill>
                  <a:srgbClr val="000000"/>
                </a:solidFill>
              </a:rPr>
              <a:t> announcement to adopt a common currency in 10 years</a:t>
            </a:r>
          </a:p>
          <a:p>
            <a:pPr lvl="1">
              <a:buClr>
                <a:srgbClr val="002960"/>
              </a:buClr>
            </a:pPr>
            <a:r>
              <a:rPr lang="en-US" sz="900" dirty="0" smtClean="0">
                <a:solidFill>
                  <a:srgbClr val="000000"/>
                </a:solidFill>
              </a:rPr>
              <a:t>Mutual agreements between African countries to facilitate </a:t>
            </a:r>
            <a:r>
              <a:rPr lang="en-US" sz="900" b="1" dirty="0" smtClean="0">
                <a:solidFill>
                  <a:srgbClr val="000000"/>
                </a:solidFill>
              </a:rPr>
              <a:t>cross-border trade</a:t>
            </a:r>
          </a:p>
          <a:p>
            <a:pPr lvl="0" defTabSz="892597" eaLnBrk="0" hangingPunct="0">
              <a:defRPr/>
            </a:pPr>
            <a:endParaRPr lang="en-US" sz="900" baseline="0" dirty="0" smtClean="0"/>
          </a:p>
          <a:p>
            <a:pPr marL="0" marR="0" lvl="0" indent="0" algn="l" defTabSz="892597"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rPr>
              <a:t>Access to international capital</a:t>
            </a:r>
          </a:p>
          <a:p>
            <a:pPr lvl="1">
              <a:buClr>
                <a:srgbClr val="002960"/>
              </a:buClr>
            </a:pPr>
            <a:r>
              <a:rPr lang="en-US" sz="900" b="1" dirty="0" smtClean="0">
                <a:solidFill>
                  <a:srgbClr val="000000"/>
                </a:solidFill>
              </a:rPr>
              <a:t>Average capital inflow </a:t>
            </a:r>
            <a:r>
              <a:rPr lang="en-US" sz="900" dirty="0" smtClean="0">
                <a:solidFill>
                  <a:srgbClr val="000000"/>
                </a:solidFill>
              </a:rPr>
              <a:t>of USD 80 billion p.a. over last 5 years, </a:t>
            </a:r>
            <a:r>
              <a:rPr lang="en-US" sz="900" b="1" dirty="0" smtClean="0">
                <a:solidFill>
                  <a:srgbClr val="000000"/>
                </a:solidFill>
              </a:rPr>
              <a:t>exceeding remittances and aid flow</a:t>
            </a:r>
          </a:p>
          <a:p>
            <a:pPr lvl="1">
              <a:buClr>
                <a:srgbClr val="002960"/>
              </a:buClr>
            </a:pPr>
            <a:r>
              <a:rPr lang="en-US" sz="900" dirty="0" smtClean="0">
                <a:solidFill>
                  <a:srgbClr val="000000"/>
                </a:solidFill>
              </a:rPr>
              <a:t>Among </a:t>
            </a:r>
            <a:r>
              <a:rPr lang="en-US" sz="900" b="1" dirty="0" smtClean="0">
                <a:solidFill>
                  <a:srgbClr val="000000"/>
                </a:solidFill>
              </a:rPr>
              <a:t>highest return on </a:t>
            </a:r>
            <a:r>
              <a:rPr lang="en-US" sz="900" b="1" dirty="0" err="1" smtClean="0">
                <a:solidFill>
                  <a:srgbClr val="000000"/>
                </a:solidFill>
              </a:rPr>
              <a:t>FDI</a:t>
            </a:r>
            <a:r>
              <a:rPr lang="en-US" sz="900" b="1" dirty="0" smtClean="0">
                <a:solidFill>
                  <a:srgbClr val="000000"/>
                </a:solidFill>
              </a:rPr>
              <a:t> </a:t>
            </a:r>
            <a:r>
              <a:rPr lang="en-US" sz="900" dirty="0" smtClean="0">
                <a:solidFill>
                  <a:srgbClr val="000000"/>
                </a:solidFill>
              </a:rPr>
              <a:t>(9%+) across all emerging markets </a:t>
            </a:r>
          </a:p>
          <a:p>
            <a:pPr lvl="1">
              <a:buClr>
                <a:srgbClr val="002960"/>
              </a:buClr>
            </a:pPr>
            <a:r>
              <a:rPr lang="en-US" sz="900" dirty="0" smtClean="0">
                <a:solidFill>
                  <a:srgbClr val="000000"/>
                </a:solidFill>
              </a:rPr>
              <a:t>Many countries and institutions, like the World Bank Group, are providing </a:t>
            </a:r>
            <a:r>
              <a:rPr lang="en-US" sz="900" b="1" dirty="0" smtClean="0">
                <a:solidFill>
                  <a:srgbClr val="000000"/>
                </a:solidFill>
              </a:rPr>
              <a:t>aid in the form of funds and grants</a:t>
            </a:r>
          </a:p>
          <a:p>
            <a:pPr lvl="0" defTabSz="892597" eaLnBrk="0" hangingPunct="0">
              <a:defRPr/>
            </a:pPr>
            <a:endParaRPr lang="en-US" sz="900" baseline="0" dirty="0" smtClean="0"/>
          </a:p>
          <a:p>
            <a:pPr marL="0" marR="0" lvl="0" indent="0" algn="l" defTabSz="892597"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rPr>
              <a:t>Demographic shifts</a:t>
            </a:r>
          </a:p>
          <a:p>
            <a:pPr lvl="1">
              <a:buClr>
                <a:srgbClr val="002960"/>
              </a:buClr>
            </a:pPr>
            <a:r>
              <a:rPr lang="en-US" sz="900" b="1" dirty="0" smtClean="0">
                <a:solidFill>
                  <a:srgbClr val="000000"/>
                </a:solidFill>
              </a:rPr>
              <a:t>World’s largest working age population </a:t>
            </a:r>
            <a:r>
              <a:rPr lang="en-US" sz="900" dirty="0" smtClean="0">
                <a:solidFill>
                  <a:srgbClr val="000000"/>
                </a:solidFill>
              </a:rPr>
              <a:t>by 2035 of 1.1 billion, ~2X jump from today</a:t>
            </a:r>
          </a:p>
          <a:p>
            <a:pPr lvl="1">
              <a:buClr>
                <a:srgbClr val="002960"/>
              </a:buClr>
            </a:pPr>
            <a:r>
              <a:rPr lang="en-US" sz="900" dirty="0" smtClean="0">
                <a:solidFill>
                  <a:srgbClr val="000000"/>
                </a:solidFill>
              </a:rPr>
              <a:t>100+ cities with </a:t>
            </a:r>
            <a:r>
              <a:rPr lang="en-US" sz="900" b="1" dirty="0" smtClean="0">
                <a:solidFill>
                  <a:srgbClr val="000000"/>
                </a:solidFill>
              </a:rPr>
              <a:t>population of more than 1 million </a:t>
            </a:r>
            <a:r>
              <a:rPr lang="en-US" sz="900" dirty="0" smtClean="0">
                <a:solidFill>
                  <a:srgbClr val="000000"/>
                </a:solidFill>
              </a:rPr>
              <a:t>by 2025</a:t>
            </a:r>
          </a:p>
          <a:p>
            <a:pPr lvl="1">
              <a:buClr>
                <a:srgbClr val="002960"/>
              </a:buClr>
            </a:pPr>
            <a:r>
              <a:rPr lang="en-US" sz="900" dirty="0" smtClean="0">
                <a:solidFill>
                  <a:srgbClr val="000000"/>
                </a:solidFill>
              </a:rPr>
              <a:t>64% of African households with </a:t>
            </a:r>
            <a:r>
              <a:rPr lang="en-US" sz="900" b="1" dirty="0" smtClean="0">
                <a:solidFill>
                  <a:srgbClr val="000000"/>
                </a:solidFill>
              </a:rPr>
              <a:t>discretionary spending power</a:t>
            </a:r>
            <a:r>
              <a:rPr lang="en-US" sz="900" b="1" baseline="30000" dirty="0" smtClean="0">
                <a:solidFill>
                  <a:srgbClr val="000000"/>
                </a:solidFill>
              </a:rPr>
              <a:t>1</a:t>
            </a:r>
            <a:r>
              <a:rPr lang="en-US" sz="900" b="1" dirty="0" smtClean="0">
                <a:solidFill>
                  <a:srgbClr val="000000"/>
                </a:solidFill>
              </a:rPr>
              <a:t> </a:t>
            </a:r>
            <a:r>
              <a:rPr lang="en-US" sz="900" dirty="0" smtClean="0">
                <a:solidFill>
                  <a:srgbClr val="000000"/>
                </a:solidFill>
              </a:rPr>
              <a:t>by 2025</a:t>
            </a:r>
          </a:p>
          <a:p>
            <a:pPr lvl="0" defTabSz="892597" eaLnBrk="0" hangingPunct="0">
              <a:defRPr/>
            </a:pPr>
            <a:endParaRPr lang="en-US" sz="900" baseline="0" dirty="0" smtClean="0"/>
          </a:p>
          <a:p>
            <a:pPr marL="0" marR="0" lvl="0" indent="0" algn="l" defTabSz="892597"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rPr>
              <a:t>The commodity boom</a:t>
            </a:r>
          </a:p>
          <a:p>
            <a:pPr lvl="1">
              <a:buClr>
                <a:srgbClr val="002960"/>
              </a:buClr>
            </a:pPr>
            <a:r>
              <a:rPr lang="en-US" sz="900" dirty="0" smtClean="0">
                <a:solidFill>
                  <a:srgbClr val="000000"/>
                </a:solidFill>
              </a:rPr>
              <a:t>Projected </a:t>
            </a:r>
            <a:r>
              <a:rPr lang="en-US" sz="900" b="1" dirty="0" smtClean="0">
                <a:solidFill>
                  <a:srgbClr val="000000"/>
                </a:solidFill>
              </a:rPr>
              <a:t>increase in world commodity demand</a:t>
            </a:r>
          </a:p>
          <a:p>
            <a:pPr lvl="1">
              <a:buClr>
                <a:srgbClr val="002960"/>
              </a:buClr>
            </a:pPr>
            <a:r>
              <a:rPr lang="en-US" sz="900" dirty="0" smtClean="0">
                <a:solidFill>
                  <a:srgbClr val="000000"/>
                </a:solidFill>
              </a:rPr>
              <a:t>Africa is </a:t>
            </a:r>
            <a:r>
              <a:rPr lang="en-US" sz="900" b="1" dirty="0" smtClean="0">
                <a:solidFill>
                  <a:srgbClr val="000000"/>
                </a:solidFill>
              </a:rPr>
              <a:t>resource-rich </a:t>
            </a:r>
            <a:r>
              <a:rPr lang="en-US" sz="900" dirty="0" smtClean="0">
                <a:solidFill>
                  <a:srgbClr val="000000"/>
                </a:solidFill>
              </a:rPr>
              <a:t>and a </a:t>
            </a:r>
            <a:r>
              <a:rPr lang="en-US" sz="900" b="1" dirty="0" smtClean="0">
                <a:solidFill>
                  <a:srgbClr val="000000"/>
                </a:solidFill>
              </a:rPr>
              <a:t>globally cost-competitive location </a:t>
            </a:r>
            <a:r>
              <a:rPr lang="en-US" sz="900" dirty="0" smtClean="0">
                <a:solidFill>
                  <a:srgbClr val="000000"/>
                </a:solidFill>
              </a:rPr>
              <a:t>to source many minerals</a:t>
            </a:r>
          </a:p>
          <a:p>
            <a:pPr lvl="0" defTabSz="892597" eaLnBrk="0" hangingPunct="0">
              <a:defRPr/>
            </a:pPr>
            <a:endParaRPr lang="en-US" sz="900" baseline="0" dirty="0" smtClean="0"/>
          </a:p>
          <a:p>
            <a:pPr marL="0" marR="0" lvl="0" indent="0" algn="l" defTabSz="892597"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rPr>
              <a:t>African green revolution</a:t>
            </a:r>
          </a:p>
          <a:p>
            <a:pPr lvl="1">
              <a:buClr>
                <a:srgbClr val="002960"/>
              </a:buClr>
            </a:pPr>
            <a:r>
              <a:rPr lang="en-US" sz="900" dirty="0" smtClean="0">
                <a:solidFill>
                  <a:srgbClr val="000000"/>
                </a:solidFill>
              </a:rPr>
              <a:t>Africa has </a:t>
            </a:r>
            <a:r>
              <a:rPr lang="en-US" sz="900" b="1" dirty="0" smtClean="0">
                <a:solidFill>
                  <a:srgbClr val="000000"/>
                </a:solidFill>
              </a:rPr>
              <a:t>60% of the world’s uncultivated arable cropland</a:t>
            </a:r>
            <a:r>
              <a:rPr lang="en-US" sz="900" dirty="0" smtClean="0">
                <a:solidFill>
                  <a:srgbClr val="000000"/>
                </a:solidFill>
              </a:rPr>
              <a:t>, 590m hectares, attracting </a:t>
            </a:r>
            <a:r>
              <a:rPr lang="en-US" sz="900" dirty="0" err="1" smtClean="0">
                <a:solidFill>
                  <a:srgbClr val="000000"/>
                </a:solidFill>
              </a:rPr>
              <a:t>FDI</a:t>
            </a:r>
            <a:endParaRPr lang="en-US" sz="900" dirty="0" smtClean="0">
              <a:solidFill>
                <a:srgbClr val="000000"/>
              </a:solidFill>
            </a:endParaRPr>
          </a:p>
          <a:p>
            <a:pPr lvl="1">
              <a:buClr>
                <a:srgbClr val="002960"/>
              </a:buClr>
            </a:pPr>
            <a:r>
              <a:rPr lang="en-US" sz="900" dirty="0" smtClean="0">
                <a:solidFill>
                  <a:srgbClr val="000000"/>
                </a:solidFill>
              </a:rPr>
              <a:t>Most countries </a:t>
            </a:r>
            <a:r>
              <a:rPr lang="en-GB" sz="900" dirty="0" smtClean="0">
                <a:solidFill>
                  <a:srgbClr val="000000"/>
                </a:solidFill>
              </a:rPr>
              <a:t>have further potential to </a:t>
            </a:r>
            <a:r>
              <a:rPr lang="en-GB" sz="900" b="1" dirty="0" smtClean="0">
                <a:solidFill>
                  <a:srgbClr val="000000"/>
                </a:solidFill>
              </a:rPr>
              <a:t>improve yield and land utilisation</a:t>
            </a:r>
            <a:endParaRPr lang="en-US" sz="900" b="1" dirty="0" smtClean="0">
              <a:solidFill>
                <a:srgbClr val="000000"/>
              </a:solidFill>
            </a:endParaRP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1675425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2"/>
          <p:cNvSpPr>
            <a:spLocks noGrp="1" noRot="1" noChangeAspect="1" noChangeArrowheads="1" noTextEdit="1"/>
          </p:cNvSpPr>
          <p:nvPr>
            <p:ph type="sldImg"/>
          </p:nvPr>
        </p:nvSpPr>
        <p:spPr>
          <a:xfrm>
            <a:off x="469900" y="619125"/>
            <a:ext cx="5807075" cy="4356100"/>
          </a:xfrm>
          <a:ln/>
        </p:spPr>
      </p:sp>
      <p:sp>
        <p:nvSpPr>
          <p:cNvPr id="12292" name="Rectangle 3"/>
          <p:cNvSpPr>
            <a:spLocks noGrp="1" noChangeArrowheads="1"/>
          </p:cNvSpPr>
          <p:nvPr>
            <p:ph type="body" idx="1"/>
          </p:nvPr>
        </p:nvSpPr>
        <p:spPr>
          <a:xfrm>
            <a:off x="546107" y="5322897"/>
            <a:ext cx="5746749" cy="1270189"/>
          </a:xfrm>
          <a:noFill/>
        </p:spPr>
        <p:txBody>
          <a:bodyPr/>
          <a:lstStyle/>
          <a:p>
            <a:pPr defTabSz="928123">
              <a:defRPr/>
            </a:pPr>
            <a:r>
              <a:rPr lang="en-US" dirty="0" smtClean="0"/>
              <a:t>More than half of Africa’s 55 countries are expected to grow faster than 5% annually till 2025. </a:t>
            </a:r>
            <a:r>
              <a:rPr lang="en-US" baseline="0" dirty="0" smtClean="0"/>
              <a:t>As illustrated in the map, these fast-growing countries are spread all over the continent, thereby spreading both incomes and consumption levels over the next decade.</a:t>
            </a:r>
            <a:endParaRPr lang="en-US" dirty="0"/>
          </a:p>
        </p:txBody>
      </p:sp>
      <p:sp>
        <p:nvSpPr>
          <p:cNvPr id="5" name="Slide Number Placeholder 3"/>
          <p:cNvSpPr txBox="1">
            <a:spLocks/>
          </p:cNvSpPr>
          <p:nvPr/>
        </p:nvSpPr>
        <p:spPr bwMode="gray">
          <a:xfrm>
            <a:off x="6018218" y="9520212"/>
            <a:ext cx="534987" cy="190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defPPr>
              <a:defRPr lang="en-US"/>
            </a:defPPr>
            <a:lvl1pPr algn="r"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defRPr/>
            </a:pPr>
            <a:fld id="{3C3A632B-FBDE-46D4-BF6F-6D14421E6342}" type="slidenum">
              <a:rPr lang="en-US" smtClean="0"/>
              <a:pPr>
                <a:defRPr/>
              </a:pPr>
              <a:t>3</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0" y="5322897"/>
            <a:ext cx="5746749" cy="1524227"/>
          </a:xfrm>
        </p:spPr>
        <p:txBody>
          <a:bodyPr/>
          <a:lstStyle/>
          <a:p>
            <a:pPr defTabSz="892664" eaLnBrk="0" hangingPunct="0">
              <a:defRPr/>
            </a:pPr>
            <a:r>
              <a:rPr lang="en-US" dirty="0"/>
              <a:t>30 cities </a:t>
            </a:r>
            <a:r>
              <a:rPr lang="en-US" dirty="0" smtClean="0"/>
              <a:t>across </a:t>
            </a:r>
            <a:r>
              <a:rPr lang="en-US" dirty="0"/>
              <a:t>Africa will witness consumption growth of more than USD 2 </a:t>
            </a:r>
            <a:r>
              <a:rPr lang="en-US" dirty="0" smtClean="0"/>
              <a:t>billion</a:t>
            </a:r>
            <a:r>
              <a:rPr lang="en-US" baseline="0" dirty="0" smtClean="0"/>
              <a:t> </a:t>
            </a:r>
            <a:r>
              <a:rPr lang="en-US" dirty="0" smtClean="0"/>
              <a:t>in </a:t>
            </a:r>
            <a:r>
              <a:rPr lang="en-US" dirty="0"/>
              <a:t>the next 5 </a:t>
            </a:r>
            <a:r>
              <a:rPr lang="en-US" dirty="0" smtClean="0"/>
              <a:t>years. 6 of these cities, such as Johannesburg and Lagos, are expected</a:t>
            </a:r>
            <a:r>
              <a:rPr lang="en-US" baseline="0" dirty="0" smtClean="0"/>
              <a:t> to achieve consumption growth of more than USD 10 billion.</a:t>
            </a:r>
            <a:endParaRPr lang="en-US" dirty="0"/>
          </a:p>
          <a:p>
            <a:pPr defTabSz="892664" eaLnBrk="0" hangingPunct="0">
              <a:defRPr/>
            </a:pPr>
            <a:endParaRPr lang="en-US" u="sng" dirty="0"/>
          </a:p>
          <a:p>
            <a:pPr defTabSz="892664" eaLnBrk="0" hangingPunct="0">
              <a:defRPr/>
            </a:pP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241144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0" y="5322894"/>
            <a:ext cx="5746749" cy="4837222"/>
          </a:xfrm>
        </p:spPr>
        <p:txBody>
          <a:bodyPr/>
          <a:lstStyle/>
          <a:p>
            <a:pPr defTabSz="892664" eaLnBrk="0" hangingPunct="0">
              <a:defRPr/>
            </a:pPr>
            <a:r>
              <a:rPr lang="en-US" sz="900" dirty="0" smtClean="0"/>
              <a:t>India and Africa can</a:t>
            </a:r>
            <a:r>
              <a:rPr lang="en-US" sz="900" baseline="0" dirty="0" smtClean="0"/>
              <a:t> build a strong symbiotic relationship, built on people-to-people ties and cultural affinity. </a:t>
            </a:r>
            <a:r>
              <a:rPr lang="en-US" sz="900" dirty="0" smtClean="0"/>
              <a:t>India can help fulfill Africa’s needs of skill development, employment creation and low cost innovation,</a:t>
            </a:r>
            <a:r>
              <a:rPr lang="en-US" sz="900" baseline="0" dirty="0" smtClean="0"/>
              <a:t> leveraging its own low cost innovation and operating models, especially in healthcare. </a:t>
            </a:r>
            <a:r>
              <a:rPr lang="en-US" sz="900" dirty="0" smtClean="0"/>
              <a:t>Simultaneously, Africa can be a </a:t>
            </a:r>
            <a:r>
              <a:rPr lang="en-US" sz="900" dirty="0" err="1" smtClean="0"/>
              <a:t>globalisation</a:t>
            </a:r>
            <a:r>
              <a:rPr lang="en-US" sz="900" dirty="0" smtClean="0"/>
              <a:t> base which can provide for a medium- to long-term growth opportunity for Indian companies. Africa’s strengths lie in its strategic geographic location, large</a:t>
            </a:r>
            <a:r>
              <a:rPr lang="en-US" sz="900" baseline="0" dirty="0" smtClean="0"/>
              <a:t> working age population, vast resources and the hugely untapped rising middle class.</a:t>
            </a:r>
          </a:p>
          <a:p>
            <a:pPr defTabSz="892664" eaLnBrk="0" hangingPunct="0">
              <a:defRPr/>
            </a:pPr>
            <a:endParaRPr lang="en-US" sz="900" u="sng" baseline="0" dirty="0" smtClean="0"/>
          </a:p>
          <a:p>
            <a:pPr marL="0" marR="0" indent="0" algn="l" defTabSz="892664"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latin typeface="Arial"/>
              </a:rPr>
              <a:t>India’s value proposition</a:t>
            </a: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rPr>
              <a:t>Low cost innovation and operating model: </a:t>
            </a:r>
            <a:r>
              <a:rPr lang="en-US" sz="900" dirty="0" smtClean="0">
                <a:solidFill>
                  <a:srgbClr val="000000"/>
                </a:solidFill>
              </a:rPr>
              <a:t>India’s proven leadership in low cost operations is a strength which can be of great value to Africa (e.g., manufacturing)</a:t>
            </a:r>
            <a:endParaRPr lang="en-US" sz="900" b="1" dirty="0" smtClean="0">
              <a:solidFill>
                <a:srgbClr val="002960"/>
              </a:solidFill>
              <a:latin typeface="Arial"/>
            </a:endParaRP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latin typeface="Arial"/>
              </a:rPr>
              <a:t>Cultural affinity and understanding: </a:t>
            </a:r>
            <a:r>
              <a:rPr lang="en-US" sz="900" dirty="0" smtClean="0">
                <a:solidFill>
                  <a:srgbClr val="000000"/>
                </a:solidFill>
              </a:rPr>
              <a:t>Large Indian population in Africa; historical, political and cultural ties (e.g., Non-Aligned Movement)</a:t>
            </a:r>
            <a:endParaRPr lang="en-US" sz="900" b="1" dirty="0" smtClean="0">
              <a:solidFill>
                <a:srgbClr val="002960"/>
              </a:solidFill>
              <a:latin typeface="Arial"/>
            </a:endParaRP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latin typeface="Arial"/>
              </a:rPr>
              <a:t>Skill and talent development:</a:t>
            </a:r>
            <a:r>
              <a:rPr lang="en-US" sz="900" dirty="0" smtClean="0">
                <a:solidFill>
                  <a:srgbClr val="000000"/>
                </a:solidFill>
                <a:latin typeface="Arial"/>
              </a:rPr>
              <a:t> </a:t>
            </a:r>
            <a:br>
              <a:rPr lang="en-US" sz="900" dirty="0" smtClean="0">
                <a:solidFill>
                  <a:srgbClr val="000000"/>
                </a:solidFill>
                <a:latin typeface="Arial"/>
              </a:rPr>
            </a:br>
            <a:r>
              <a:rPr lang="en-US" sz="900" dirty="0" smtClean="0">
                <a:solidFill>
                  <a:srgbClr val="000000"/>
                </a:solidFill>
                <a:latin typeface="Arial"/>
              </a:rPr>
              <a:t>India has developed world class talent in managerial, engineering and IT space; set up global standard institutes (e.g., </a:t>
            </a:r>
            <a:r>
              <a:rPr lang="en-US" sz="900" dirty="0" err="1" smtClean="0">
                <a:solidFill>
                  <a:srgbClr val="000000"/>
                </a:solidFill>
                <a:latin typeface="Arial"/>
              </a:rPr>
              <a:t>IIMs</a:t>
            </a:r>
            <a:r>
              <a:rPr lang="en-US" sz="900" dirty="0" smtClean="0">
                <a:solidFill>
                  <a:srgbClr val="000000"/>
                </a:solidFill>
                <a:latin typeface="Arial"/>
              </a:rPr>
              <a:t>, </a:t>
            </a:r>
            <a:r>
              <a:rPr lang="en-US" sz="900" dirty="0" err="1" smtClean="0">
                <a:solidFill>
                  <a:srgbClr val="000000"/>
                </a:solidFill>
                <a:latin typeface="Arial"/>
              </a:rPr>
              <a:t>IITs</a:t>
            </a:r>
            <a:r>
              <a:rPr lang="en-US" sz="900" dirty="0" smtClean="0">
                <a:solidFill>
                  <a:srgbClr val="000000"/>
                </a:solidFill>
                <a:latin typeface="Arial"/>
              </a:rPr>
              <a:t>, etc.)</a:t>
            </a: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rPr>
              <a:t>Entrepreneurship and service orientation</a:t>
            </a:r>
            <a:r>
              <a:rPr lang="en-US" sz="900" b="1" dirty="0" smtClean="0">
                <a:solidFill>
                  <a:srgbClr val="002960"/>
                </a:solidFill>
                <a:latin typeface="Arial"/>
              </a:rPr>
              <a:t>:</a:t>
            </a:r>
            <a:r>
              <a:rPr lang="en-US" sz="900" dirty="0" smtClean="0">
                <a:solidFill>
                  <a:srgbClr val="000000"/>
                </a:solidFill>
              </a:rPr>
              <a:t> Entrepreneurial nature of Indians with ability to navigate ambiguity; global standards and well penetrated in certain service sectors, e.g., IT, healthcare</a:t>
            </a:r>
          </a:p>
          <a:p>
            <a:pPr marL="0" marR="0" indent="0" algn="l" defTabSz="892664" rtl="0" eaLnBrk="0" fontAlgn="base" latinLnBrk="0" hangingPunct="0">
              <a:lnSpc>
                <a:spcPct val="100000"/>
              </a:lnSpc>
              <a:spcBef>
                <a:spcPct val="0"/>
              </a:spcBef>
              <a:spcAft>
                <a:spcPct val="0"/>
              </a:spcAft>
              <a:buClr>
                <a:schemeClr val="tx2"/>
              </a:buClr>
              <a:buSzTx/>
              <a:buFontTx/>
              <a:buNone/>
              <a:tabLst/>
              <a:defRPr/>
            </a:pPr>
            <a:r>
              <a:rPr lang="en-US" sz="900" b="1" dirty="0" smtClean="0">
                <a:solidFill>
                  <a:schemeClr val="tx2"/>
                </a:solidFill>
                <a:latin typeface="Arial"/>
              </a:rPr>
              <a:t>Africa’s value proposition</a:t>
            </a: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latin typeface="Arial"/>
              </a:rPr>
              <a:t>Suitable base for </a:t>
            </a:r>
            <a:r>
              <a:rPr lang="en-US" sz="900" b="1" dirty="0" err="1" smtClean="0">
                <a:solidFill>
                  <a:srgbClr val="002960"/>
                </a:solidFill>
                <a:latin typeface="Arial"/>
              </a:rPr>
              <a:t>globalisation</a:t>
            </a:r>
            <a:r>
              <a:rPr lang="en-US" sz="900" b="1" dirty="0" smtClean="0">
                <a:solidFill>
                  <a:srgbClr val="002960"/>
                </a:solidFill>
                <a:latin typeface="Arial"/>
              </a:rPr>
              <a:t> for Indian companies: </a:t>
            </a:r>
            <a:r>
              <a:rPr lang="en-US" sz="900" dirty="0" smtClean="0">
                <a:solidFill>
                  <a:srgbClr val="000000"/>
                </a:solidFill>
                <a:latin typeface="Arial"/>
              </a:rPr>
              <a:t>Strategically located on “south-south trade corridor” closer to India vis-à-vis China or Russia; high cultural proximity to India; many nascent sectors</a:t>
            </a: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latin typeface="Arial"/>
              </a:rPr>
              <a:t>Largest working age population:</a:t>
            </a:r>
            <a:r>
              <a:rPr lang="en-US" sz="900" dirty="0" smtClean="0">
                <a:solidFill>
                  <a:srgbClr val="000000"/>
                </a:solidFill>
                <a:latin typeface="Arial"/>
              </a:rPr>
              <a:t> World’s largest working age population by 2035 of 1.1 billion; huge potential availability of human capital if nurtured well</a:t>
            </a:r>
            <a:endParaRPr lang="en-US" sz="900" b="1" dirty="0" smtClean="0">
              <a:solidFill>
                <a:srgbClr val="002960"/>
              </a:solidFill>
              <a:latin typeface="Arial"/>
            </a:endParaRP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latin typeface="Arial"/>
              </a:rPr>
              <a:t>Huge untapped opportunity in rising middle class:</a:t>
            </a:r>
            <a:r>
              <a:rPr lang="en-US" sz="900" dirty="0" smtClean="0">
                <a:solidFill>
                  <a:srgbClr val="000000"/>
                </a:solidFill>
                <a:latin typeface="Arial"/>
              </a:rPr>
              <a:t> Rapidly rising middle class with discretionary spending power – </a:t>
            </a:r>
            <a:br>
              <a:rPr lang="en-US" sz="900" dirty="0" smtClean="0">
                <a:solidFill>
                  <a:srgbClr val="000000"/>
                </a:solidFill>
                <a:latin typeface="Arial"/>
              </a:rPr>
            </a:br>
            <a:r>
              <a:rPr lang="en-US" sz="900" dirty="0" smtClean="0">
                <a:solidFill>
                  <a:srgbClr val="000000"/>
                </a:solidFill>
                <a:latin typeface="Arial"/>
              </a:rPr>
              <a:t>by 2020, more than 50 million households in consuming class</a:t>
            </a:r>
          </a:p>
          <a:p>
            <a:pPr lvl="1" eaLnBrk="1" hangingPunct="1">
              <a:spcBef>
                <a:spcPts val="400"/>
              </a:spcBef>
              <a:spcAft>
                <a:spcPts val="400"/>
              </a:spcAft>
              <a:buClr>
                <a:srgbClr val="002960"/>
              </a:buClr>
              <a:buSzPct val="125000"/>
              <a:buFont typeface="Arial" charset="0"/>
              <a:buChar char="▪"/>
            </a:pPr>
            <a:r>
              <a:rPr lang="en-US" sz="900" b="1" dirty="0" smtClean="0">
                <a:solidFill>
                  <a:srgbClr val="002960"/>
                </a:solidFill>
                <a:latin typeface="Arial"/>
              </a:rPr>
              <a:t>Vast resources: </a:t>
            </a:r>
            <a:r>
              <a:rPr lang="en-US" sz="900" dirty="0" smtClean="0">
                <a:solidFill>
                  <a:srgbClr val="000000"/>
                </a:solidFill>
                <a:latin typeface="Arial"/>
              </a:rPr>
              <a:t>Resource rich continent with significant share of global reserves like phosphate, oil &amp; gas; need for innovative models across value chain to unlock projects</a:t>
            </a:r>
            <a:endParaRPr lang="en-US" sz="900" b="1" dirty="0" smtClean="0">
              <a:solidFill>
                <a:srgbClr val="002960"/>
              </a:solidFill>
              <a:latin typeface="Arial"/>
            </a:endParaRPr>
          </a:p>
          <a:p>
            <a:pPr defTabSz="892664" eaLnBrk="0" hangingPunct="0">
              <a:defRPr/>
            </a:pPr>
            <a:endParaRPr lang="en-US" sz="900" u="sng"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27009652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4" y="5322892"/>
            <a:ext cx="5746750" cy="276999"/>
          </a:xfrm>
        </p:spPr>
        <p:txBody>
          <a:bodyPr/>
          <a:lstStyle/>
          <a:p>
            <a:r>
              <a:rPr lang="en-GB" sz="900" dirty="0" smtClean="0"/>
              <a:t>Quick flip through page-Over the years, a</a:t>
            </a:r>
            <a:r>
              <a:rPr lang="en-GB" sz="900" baseline="0" dirty="0" smtClean="0"/>
              <a:t> large number of Indian companies have developed their presence in Africa, spanning a wide range of sectors.</a:t>
            </a:r>
            <a:endParaRPr lang="en-GB" sz="900" dirty="0"/>
          </a:p>
        </p:txBody>
      </p:sp>
      <p:sp>
        <p:nvSpPr>
          <p:cNvPr id="4" name="Slide Number Placeholder 3"/>
          <p:cNvSpPr>
            <a:spLocks noGrp="1"/>
          </p:cNvSpPr>
          <p:nvPr>
            <p:ph type="sldNum" sz="quarter" idx="10"/>
          </p:nvPr>
        </p:nvSpPr>
        <p:spPr/>
        <p:txBody>
          <a:bodyPr/>
          <a:lstStyle/>
          <a:p>
            <a:fld id="{347752BB-381D-4B5F-894B-8047388DAA1F}" type="slidenum">
              <a:rPr lang="en-US" smtClean="0"/>
              <a:pPr/>
              <a:t>6</a:t>
            </a:fld>
            <a:endParaRPr lang="en-US" dirty="0"/>
          </a:p>
        </p:txBody>
      </p:sp>
    </p:spTree>
    <p:extLst>
      <p:ext uri="{BB962C8B-B14F-4D97-AF65-F5344CB8AC3E}">
        <p14:creationId xmlns:p14="http://schemas.microsoft.com/office/powerpoint/2010/main" val="1514065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1" y="5322897"/>
            <a:ext cx="5746749" cy="553998"/>
          </a:xfrm>
        </p:spPr>
        <p:txBody>
          <a:bodyPr/>
          <a:lstStyle/>
          <a:p>
            <a:pPr defTabSz="872668">
              <a:defRPr/>
            </a:pPr>
            <a:r>
              <a:rPr lang="en-US" sz="900" baseline="0" dirty="0" smtClean="0"/>
              <a:t>India can be a “solutions-partner” to African nations by addressing its needs in sectors where it has a high value proposition and Africa has high needs. Learning from the initial moves made in the Pharmaceutical sector we have created deep-dives for sectors where India has unique value proposition and Africa has high needs - like IT services, consumer goods, agriculture and infrastructure (power only)</a:t>
            </a:r>
            <a:endParaRPr lang="en-US" sz="90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a:t>
            </a:fld>
            <a:endParaRPr lang="en-US" dirty="0"/>
          </a:p>
        </p:txBody>
      </p:sp>
    </p:spTree>
    <p:extLst>
      <p:ext uri="{BB962C8B-B14F-4D97-AF65-F5344CB8AC3E}">
        <p14:creationId xmlns:p14="http://schemas.microsoft.com/office/powerpoint/2010/main" val="148808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101" y="5322893"/>
            <a:ext cx="5746749" cy="3425553"/>
          </a:xfrm>
        </p:spPr>
        <p:txBody>
          <a:bodyPr/>
          <a:lstStyle/>
          <a:p>
            <a:pPr defTabSz="872668">
              <a:defRPr/>
            </a:pPr>
            <a:r>
              <a:rPr lang="en-US" sz="900" dirty="0" smtClean="0"/>
              <a:t>There exists a large opportunity in four lead sectors – Total opportunity in</a:t>
            </a:r>
            <a:r>
              <a:rPr lang="en-US" sz="900" baseline="0" dirty="0" smtClean="0"/>
              <a:t> these four sectors will increase from approximately USD 800 billion in 2013 to potentially more than USD 1600 billion in 2025.</a:t>
            </a:r>
          </a:p>
          <a:p>
            <a:pPr defTabSz="872668">
              <a:defRPr/>
            </a:pPr>
            <a:endParaRPr lang="en-US" sz="900" baseline="0" dirty="0" smtClean="0"/>
          </a:p>
          <a:p>
            <a:pPr lvl="0" defTabSz="872668">
              <a:defRPr/>
            </a:pPr>
            <a:r>
              <a:rPr lang="en-US" sz="900" u="sng" dirty="0" err="1">
                <a:solidFill>
                  <a:srgbClr val="000000"/>
                </a:solidFill>
              </a:rPr>
              <a:t>AFRICA’s</a:t>
            </a:r>
            <a:r>
              <a:rPr lang="en-US" sz="900" u="sng" dirty="0">
                <a:solidFill>
                  <a:srgbClr val="000000"/>
                </a:solidFill>
              </a:rPr>
              <a:t> NEEDS</a:t>
            </a:r>
          </a:p>
          <a:p>
            <a:pPr defTabSz="872668">
              <a:defRPr/>
            </a:pPr>
            <a:endParaRPr lang="en-US" sz="900" baseline="0" dirty="0" smtClean="0"/>
          </a:p>
          <a:p>
            <a:pPr marL="1587" lvl="1" indent="0">
              <a:lnSpc>
                <a:spcPct val="95000"/>
              </a:lnSpc>
              <a:spcBef>
                <a:spcPts val="300"/>
              </a:spcBef>
              <a:buClr>
                <a:srgbClr val="002960"/>
              </a:buClr>
              <a:buNone/>
            </a:pPr>
            <a:r>
              <a:rPr lang="en-US" sz="900" b="1" dirty="0" smtClean="0">
                <a:solidFill>
                  <a:srgbClr val="000000"/>
                </a:solidFill>
              </a:rPr>
              <a:t>A) Consumer goods:</a:t>
            </a:r>
          </a:p>
          <a:p>
            <a:pPr lvl="1">
              <a:lnSpc>
                <a:spcPct val="95000"/>
              </a:lnSpc>
              <a:spcBef>
                <a:spcPts val="300"/>
              </a:spcBef>
              <a:buClr>
                <a:srgbClr val="002960"/>
              </a:buClr>
            </a:pPr>
            <a:r>
              <a:rPr lang="en-US" sz="900" dirty="0" smtClean="0">
                <a:solidFill>
                  <a:srgbClr val="000000"/>
                </a:solidFill>
              </a:rPr>
              <a:t>Rapidly rising middle class with discretionary spending power</a:t>
            </a:r>
          </a:p>
          <a:p>
            <a:pPr lvl="1">
              <a:lnSpc>
                <a:spcPct val="95000"/>
              </a:lnSpc>
              <a:spcBef>
                <a:spcPts val="300"/>
              </a:spcBef>
              <a:buClr>
                <a:srgbClr val="002960"/>
              </a:buClr>
            </a:pPr>
            <a:r>
              <a:rPr lang="en-US" sz="900" dirty="0" smtClean="0">
                <a:solidFill>
                  <a:srgbClr val="000000"/>
                </a:solidFill>
              </a:rPr>
              <a:t>Similar market structure and distribution challenges</a:t>
            </a:r>
          </a:p>
          <a:p>
            <a:pPr defTabSz="872668">
              <a:defRPr/>
            </a:pPr>
            <a:endParaRPr lang="en-US" sz="900" baseline="0" dirty="0" smtClean="0"/>
          </a:p>
          <a:p>
            <a:pPr defTabSz="872668">
              <a:defRPr/>
            </a:pPr>
            <a:r>
              <a:rPr lang="en-US" sz="900" b="1" dirty="0" smtClean="0"/>
              <a:t>B) IT and </a:t>
            </a:r>
            <a:r>
              <a:rPr lang="en-US" sz="900" b="1" dirty="0" err="1" smtClean="0"/>
              <a:t>ITeS</a:t>
            </a:r>
            <a:r>
              <a:rPr lang="en-US" sz="900" b="1" dirty="0" smtClean="0"/>
              <a:t>:</a:t>
            </a:r>
          </a:p>
          <a:p>
            <a:pPr lvl="1">
              <a:lnSpc>
                <a:spcPct val="95000"/>
              </a:lnSpc>
              <a:spcBef>
                <a:spcPts val="300"/>
              </a:spcBef>
              <a:buClr>
                <a:srgbClr val="002960"/>
              </a:buClr>
            </a:pPr>
            <a:r>
              <a:rPr lang="en-US" sz="900" dirty="0" smtClean="0">
                <a:solidFill>
                  <a:srgbClr val="000000"/>
                </a:solidFill>
              </a:rPr>
              <a:t>Large English speaking young population</a:t>
            </a:r>
          </a:p>
          <a:p>
            <a:pPr lvl="1">
              <a:lnSpc>
                <a:spcPct val="95000"/>
              </a:lnSpc>
              <a:spcBef>
                <a:spcPts val="300"/>
              </a:spcBef>
              <a:buClr>
                <a:srgbClr val="002960"/>
              </a:buClr>
            </a:pPr>
            <a:r>
              <a:rPr lang="en-US" sz="900" dirty="0" smtClean="0">
                <a:solidFill>
                  <a:srgbClr val="000000"/>
                </a:solidFill>
              </a:rPr>
              <a:t>Gateway to service European and the Middle Eastern demand</a:t>
            </a:r>
          </a:p>
          <a:p>
            <a:pPr lvl="1">
              <a:lnSpc>
                <a:spcPct val="95000"/>
              </a:lnSpc>
              <a:spcBef>
                <a:spcPts val="300"/>
              </a:spcBef>
              <a:buClr>
                <a:srgbClr val="002960"/>
              </a:buClr>
            </a:pPr>
            <a:r>
              <a:rPr lang="en-US" sz="900" dirty="0" smtClean="0">
                <a:solidFill>
                  <a:srgbClr val="000000"/>
                </a:solidFill>
              </a:rPr>
              <a:t>Need for IT education and training infrastructure</a:t>
            </a:r>
          </a:p>
          <a:p>
            <a:pPr lvl="0">
              <a:lnSpc>
                <a:spcPct val="95000"/>
              </a:lnSpc>
              <a:spcBef>
                <a:spcPts val="300"/>
              </a:spcBef>
              <a:buClr>
                <a:srgbClr val="002960"/>
              </a:buClr>
            </a:pPr>
            <a:endParaRPr lang="en-US" sz="900" dirty="0" smtClean="0">
              <a:solidFill>
                <a:srgbClr val="000000"/>
              </a:solidFill>
            </a:endParaRPr>
          </a:p>
          <a:p>
            <a:pPr defTabSz="872668">
              <a:defRPr/>
            </a:pPr>
            <a:r>
              <a:rPr lang="en-US" sz="900" b="1" dirty="0" smtClean="0"/>
              <a:t>C) Infrastructure:</a:t>
            </a:r>
          </a:p>
          <a:p>
            <a:pPr lvl="1">
              <a:lnSpc>
                <a:spcPct val="95000"/>
              </a:lnSpc>
              <a:spcBef>
                <a:spcPts val="300"/>
              </a:spcBef>
              <a:buClr>
                <a:srgbClr val="002960"/>
              </a:buClr>
            </a:pPr>
            <a:r>
              <a:rPr lang="en-US" sz="900" dirty="0" smtClean="0">
                <a:solidFill>
                  <a:srgbClr val="000000"/>
                </a:solidFill>
              </a:rPr>
              <a:t>Low electrification rate in Sub-Saharan African countries </a:t>
            </a:r>
          </a:p>
          <a:p>
            <a:pPr lvl="1">
              <a:lnSpc>
                <a:spcPct val="95000"/>
              </a:lnSpc>
              <a:spcBef>
                <a:spcPts val="300"/>
              </a:spcBef>
              <a:buClr>
                <a:srgbClr val="002960"/>
              </a:buClr>
            </a:pPr>
            <a:r>
              <a:rPr lang="en-US" sz="900" dirty="0" smtClean="0">
                <a:solidFill>
                  <a:srgbClr val="000000"/>
                </a:solidFill>
              </a:rPr>
              <a:t>Major potential in coal and gas-based power plants</a:t>
            </a:r>
          </a:p>
          <a:p>
            <a:pPr defTabSz="872668">
              <a:defRPr/>
            </a:pPr>
            <a:endParaRPr lang="en-US" sz="900" dirty="0" smtClean="0"/>
          </a:p>
          <a:p>
            <a:pPr defTabSz="872668">
              <a:defRPr/>
            </a:pPr>
            <a:r>
              <a:rPr lang="en-US" sz="900" b="1" dirty="0" smtClean="0"/>
              <a:t>D) Agriculture:</a:t>
            </a:r>
          </a:p>
          <a:p>
            <a:pPr lvl="1">
              <a:lnSpc>
                <a:spcPct val="95000"/>
              </a:lnSpc>
              <a:spcBef>
                <a:spcPts val="300"/>
              </a:spcBef>
              <a:buClr>
                <a:srgbClr val="002960"/>
              </a:buClr>
            </a:pPr>
            <a:r>
              <a:rPr lang="en-US" sz="900" dirty="0" smtClean="0">
                <a:solidFill>
                  <a:srgbClr val="000000"/>
                </a:solidFill>
              </a:rPr>
              <a:t>Limited agricultural yields in most countries</a:t>
            </a:r>
          </a:p>
          <a:p>
            <a:pPr lvl="1">
              <a:lnSpc>
                <a:spcPct val="95000"/>
              </a:lnSpc>
              <a:spcBef>
                <a:spcPts val="300"/>
              </a:spcBef>
              <a:buClr>
                <a:srgbClr val="002960"/>
              </a:buClr>
            </a:pPr>
            <a:r>
              <a:rPr lang="en-US" sz="900" dirty="0" smtClean="0">
                <a:solidFill>
                  <a:srgbClr val="000000"/>
                </a:solidFill>
              </a:rPr>
              <a:t>Aspiration to be self-sufficient in food</a:t>
            </a:r>
          </a:p>
          <a:p>
            <a:pPr lvl="1">
              <a:lnSpc>
                <a:spcPct val="95000"/>
              </a:lnSpc>
              <a:spcBef>
                <a:spcPts val="300"/>
              </a:spcBef>
              <a:buClr>
                <a:srgbClr val="002960"/>
              </a:buClr>
            </a:pPr>
            <a:r>
              <a:rPr lang="en-US" sz="900" dirty="0" smtClean="0">
                <a:solidFill>
                  <a:srgbClr val="000000"/>
                </a:solidFill>
              </a:rPr>
              <a:t>Large availability of uncultivated arable land</a:t>
            </a:r>
            <a:endParaRPr lang="en-US" sz="900"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4135776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2.bin"/><Relationship Id="rId9"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4590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18"/>
          <p:cNvSpPr/>
          <p:nvPr userDrawn="1"/>
        </p:nvSpPr>
        <p:spPr>
          <a:xfrm>
            <a:off x="0" y="2377440"/>
            <a:ext cx="8961438" cy="4344034"/>
          </a:xfrm>
          <a:prstGeom prst="rect">
            <a:avLst/>
          </a:prstGeom>
          <a:gradFill flip="none" rotWithShape="1">
            <a:gsLst>
              <a:gs pos="0">
                <a:schemeClr val="bg1"/>
              </a:gs>
              <a:gs pos="100000">
                <a:schemeClr val="bg1">
                  <a:lumMod val="85000"/>
                </a:scheme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0" name="Rectangle 19"/>
          <p:cNvSpPr/>
          <p:nvPr userDrawn="1"/>
        </p:nvSpPr>
        <p:spPr>
          <a:xfrm>
            <a:off x="0" y="6305550"/>
            <a:ext cx="8961438" cy="415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4" name="Working Draft Text" hidden="1"/>
          <p:cNvSpPr txBox="1">
            <a:spLocks noChangeArrowheads="1"/>
          </p:cNvSpPr>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1" dirty="0" smtClean="0"/>
              <a:t>WORKING DRAFT</a:t>
            </a:r>
          </a:p>
        </p:txBody>
      </p:sp>
      <p:sp>
        <p:nvSpPr>
          <p:cNvPr id="5" name="doc id"/>
          <p:cNvSpPr txBox="1">
            <a:spLocks noChangeArrowheads="1"/>
          </p:cNvSpPr>
          <p:nvPr/>
        </p:nvSpPr>
        <p:spPr bwMode="auto">
          <a:xfrm>
            <a:off x="8442325" y="0"/>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GB" sz="800" dirty="0" smtClean="0"/>
          </a:p>
        </p:txBody>
      </p:sp>
      <p:sp>
        <p:nvSpPr>
          <p:cNvPr id="6" name="Working Draft" hidden="1"/>
          <p:cNvSpPr txBox="1">
            <a:spLocks noChangeArrowheads="1"/>
          </p:cNvSpPr>
          <p:nvPr/>
        </p:nvSpPr>
        <p:spPr bwMode="auto">
          <a:xfrm>
            <a:off x="2640013" y="498475"/>
            <a:ext cx="276357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t>Last Modified 3/10/2014 8:08 AM India Standard Time</a:t>
            </a:r>
            <a:endParaRPr lang="en-GB" sz="900" dirty="0" smtClean="0"/>
          </a:p>
        </p:txBody>
      </p:sp>
      <p:sp>
        <p:nvSpPr>
          <p:cNvPr id="7" name="Printed" hidden="1"/>
          <p:cNvSpPr txBox="1">
            <a:spLocks noChangeArrowheads="1"/>
          </p:cNvSpPr>
          <p:nvPr/>
        </p:nvSpPr>
        <p:spPr bwMode="auto">
          <a:xfrm>
            <a:off x="2640013" y="655638"/>
            <a:ext cx="3654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dirty="0" smtClean="0"/>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dirty="0" smtClean="0"/>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dirty="0" smtClean="0"/>
                <a:t>Date</a:t>
              </a:r>
            </a:p>
          </p:txBody>
        </p:sp>
        <p:sp>
          <p:nvSpPr>
            <p:cNvPr id="11" name="McK Disclaimer" hidden="1"/>
            <p:cNvSpPr>
              <a:spLocks noChangeArrowheads="1"/>
            </p:cNvSpPr>
            <p:nvPr/>
          </p:nvSpPr>
          <p:spPr bwMode="auto">
            <a:xfrm>
              <a:off x="1663" y="3714"/>
              <a:ext cx="2777"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GB" sz="800" dirty="0" smtClean="0"/>
                <a:t>CONFIDENTIAL AND PROPRIETARY</a:t>
              </a:r>
            </a:p>
            <a:p>
              <a:pPr defTabSz="804863" eaLnBrk="0" hangingPunct="0"/>
              <a:r>
                <a:rPr lang="en-GB" sz="800" dirty="0" smtClean="0"/>
                <a:t>Any use of this material without specific permission of McKinsey &amp; Company is strictly prohibited</a:t>
              </a:r>
              <a:endParaRPr lang="en-GB" sz="800" dirty="0"/>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dirty="0"/>
            </a:p>
          </p:txBody>
        </p:sp>
      </p:grpSp>
      <p:pic>
        <p:nvPicPr>
          <p:cNvPr id="17" name="Picture 119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172325" y="6448425"/>
            <a:ext cx="1624012"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TitleBottomBarBW" hidden="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3048000"/>
            <a:ext cx="4935537" cy="984885"/>
          </a:xfrm>
          <a:prstGeom prst="rect">
            <a:avLst/>
          </a:prstGeom>
        </p:spPr>
        <p:txBody>
          <a:bodyPr/>
          <a:lstStyle>
            <a:lvl1pPr>
              <a:defRPr sz="3200" b="0"/>
            </a:lvl1pPr>
          </a:lstStyle>
          <a:p>
            <a:pPr lvl="0"/>
            <a:r>
              <a:rPr lang="en-US" noProof="0" smtClean="0"/>
              <a:t>Click to edit Master title style</a:t>
            </a:r>
            <a:endParaRPr lang="en-GB" noProof="0" dirty="0" smtClean="0"/>
          </a:p>
        </p:txBody>
      </p:sp>
      <p:sp>
        <p:nvSpPr>
          <p:cNvPr id="13315" name="Rectangle 1027"/>
          <p:cNvSpPr>
            <a:spLocks noGrp="1" noChangeArrowheads="1"/>
          </p:cNvSpPr>
          <p:nvPr>
            <p:ph type="subTitle" idx="1"/>
          </p:nvPr>
        </p:nvSpPr>
        <p:spPr>
          <a:xfrm>
            <a:off x="2640013" y="4301490"/>
            <a:ext cx="4935537" cy="215444"/>
          </a:xfrm>
        </p:spPr>
        <p:txBody>
          <a:bodyPr>
            <a:spAutoFit/>
          </a:bodyPr>
          <a:lstStyle>
            <a:lvl1pPr>
              <a:defRPr sz="1400"/>
            </a:lvl1pPr>
          </a:lstStyle>
          <a:p>
            <a:pPr lvl="0"/>
            <a:r>
              <a:rPr lang="en-US" noProof="0" smtClean="0"/>
              <a:t>Click to edit Master subtitle style</a:t>
            </a:r>
            <a:endParaRPr lang="en-GB" noProof="0" smtClean="0"/>
          </a:p>
        </p:txBody>
      </p:sp>
      <p:pic>
        <p:nvPicPr>
          <p:cNvPr id="27" name="Picture 5"/>
          <p:cNvPicPr>
            <a:picLocks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 y="0"/>
            <a:ext cx="2983842" cy="236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2988796" y="0"/>
            <a:ext cx="2983842" cy="236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 descr="http://www.islandstyle.co.za/images/factory3.jpg"/>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977595" y="0"/>
            <a:ext cx="2983842" cy="23622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a:spLocks/>
          </p:cNvSpPr>
          <p:nvPr/>
        </p:nvSpPr>
        <p:spPr>
          <a:xfrm>
            <a:off x="2950035" y="0"/>
            <a:ext cx="72566" cy="2444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5" name="Rectangle 24"/>
          <p:cNvSpPr>
            <a:spLocks/>
          </p:cNvSpPr>
          <p:nvPr/>
        </p:nvSpPr>
        <p:spPr>
          <a:xfrm>
            <a:off x="5938834" y="0"/>
            <a:ext cx="72566" cy="24447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6" name="Rectangle 25"/>
          <p:cNvSpPr>
            <a:spLocks/>
          </p:cNvSpPr>
          <p:nvPr/>
        </p:nvSpPr>
        <p:spPr>
          <a:xfrm>
            <a:off x="-2" y="2362200"/>
            <a:ext cx="8961439" cy="825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0" name="Rectangle 29"/>
          <p:cNvSpPr>
            <a:spLocks/>
          </p:cNvSpPr>
          <p:nvPr/>
        </p:nvSpPr>
        <p:spPr>
          <a:xfrm>
            <a:off x="-2" y="0"/>
            <a:ext cx="8961439" cy="5486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2" name="Rectangle 31"/>
          <p:cNvSpPr>
            <a:spLocks/>
          </p:cNvSpPr>
          <p:nvPr/>
        </p:nvSpPr>
        <p:spPr>
          <a:xfrm>
            <a:off x="-2" y="2409825"/>
            <a:ext cx="8961439" cy="8255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a:xfrm>
            <a:off x="8545513" y="6435725"/>
            <a:ext cx="208756" cy="152400"/>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Tree>
    <p:extLst>
      <p:ext uri="{BB962C8B-B14F-4D97-AF65-F5344CB8AC3E}">
        <p14:creationId xmlns:p14="http://schemas.microsoft.com/office/powerpoint/2010/main" val="36985574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Rectangle 286"/>
          <p:cNvSpPr>
            <a:spLocks noGrp="1" noChangeArrowheads="1"/>
          </p:cNvSpPr>
          <p:nvPr>
            <p:ph idx="1"/>
            <p:custDataLst>
              <p:tags r:id="rId1"/>
            </p:custDataLst>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extLst>
      <p:ext uri="{BB962C8B-B14F-4D97-AF65-F5344CB8AC3E}">
        <p14:creationId xmlns:p14="http://schemas.microsoft.com/office/powerpoint/2010/main" val="35258019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Rectangle 286"/>
          <p:cNvSpPr>
            <a:spLocks noGrp="1" noChangeArrowheads="1"/>
          </p:cNvSpPr>
          <p:nvPr>
            <p:ph idx="1"/>
            <p:custDataLst>
              <p:tags r:id="rId1"/>
            </p:custDataLst>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extLst>
      <p:ext uri="{BB962C8B-B14F-4D97-AF65-F5344CB8AC3E}">
        <p14:creationId xmlns:p14="http://schemas.microsoft.com/office/powerpoint/2010/main" val="97113496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2231803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D7D7D7"/>
          </a:solidFill>
          <a:ln>
            <a:noFill/>
          </a:ln>
          <a:effectLst/>
          <a:extLst/>
        </p:spPr>
        <p:txBody>
          <a:bodyPr wrap="none" anchor="ctr"/>
          <a:lstStyle/>
          <a:p>
            <a:endParaRPr lang="en-GB" dirty="0"/>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GB" sz="800" dirty="0">
              <a:solidFill>
                <a:srgbClr val="000000"/>
              </a:solidFill>
            </a:endParaRPr>
          </a:p>
        </p:txBody>
      </p:sp>
      <p:sp>
        <p:nvSpPr>
          <p:cNvPr id="1034" name="Working Draft" hidden="1"/>
          <p:cNvSpPr txBox="1">
            <a:spLocks noChangeArrowheads="1"/>
          </p:cNvSpPr>
          <p:nvPr/>
        </p:nvSpPr>
        <p:spPr bwMode="auto">
          <a:xfrm rot="5400000">
            <a:off x="7966655" y="1940591"/>
            <a:ext cx="184986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t>Last Modified 3/10/2014 8:08 AM India Standard Time</a:t>
            </a:r>
            <a:endParaRPr lang="en-GB" dirty="0" smtClean="0"/>
          </a:p>
        </p:txBody>
      </p:sp>
      <p:sp>
        <p:nvSpPr>
          <p:cNvPr id="1035" name="Printed" hidden="1"/>
          <p:cNvSpPr txBox="1">
            <a:spLocks noChangeArrowheads="1"/>
          </p:cNvSpPr>
          <p:nvPr/>
        </p:nvSpPr>
        <p:spPr bwMode="auto">
          <a:xfrm rot="5400000">
            <a:off x="8768958" y="411441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00" dirty="0" smtClean="0"/>
              <a:t>Printed</a:t>
            </a:r>
            <a:endParaRPr lang="en-GB" dirty="0" smtClean="0"/>
          </a:p>
        </p:txBody>
      </p:sp>
      <p:sp>
        <p:nvSpPr>
          <p:cNvPr id="1036" name="Rectangle 286"/>
          <p:cNvSpPr>
            <a:spLocks noGrp="1" noChangeArrowheads="1"/>
          </p:cNvSpPr>
          <p:nvPr>
            <p:ph type="body" idx="1"/>
          </p:nvPr>
        </p:nvSpPr>
        <p:spPr bwMode="auto">
          <a:xfrm>
            <a:off x="1452563"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9" name="Title Placeholder 2"/>
          <p:cNvSpPr>
            <a:spLocks noGrp="1" noChangeArrowheads="1"/>
          </p:cNvSpPr>
          <p:nvPr>
            <p:ph type="title"/>
          </p:nvPr>
        </p:nvSpPr>
        <p:spPr bwMode="auto">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endParaRPr lang="en-GB" dirty="0" smtClean="0"/>
          </a:p>
        </p:txBody>
      </p:sp>
      <p:sp>
        <p:nvSpPr>
          <p:cNvPr id="10"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00" dirty="0" smtClean="0">
                <a:solidFill>
                  <a:srgbClr val="808080"/>
                </a:solidFill>
                <a:latin typeface="+mn-lt"/>
              </a:rPr>
              <a:t>TRACKER</a:t>
            </a:r>
            <a:endParaRPr lang="en-GB" sz="1400" dirty="0">
              <a:solidFill>
                <a:srgbClr val="808080"/>
              </a:solidFill>
              <a:latin typeface="+mn-lt"/>
            </a:endParaRPr>
          </a:p>
        </p:txBody>
      </p:sp>
      <p:sp>
        <p:nvSpPr>
          <p:cNvPr id="11" name="McK 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600" dirty="0" smtClean="0">
                <a:solidFill>
                  <a:srgbClr val="808080"/>
                </a:solidFill>
              </a:rPr>
              <a:t>Unit of measure</a:t>
            </a:r>
          </a:p>
        </p:txBody>
      </p:sp>
      <p:grpSp>
        <p:nvGrpSpPr>
          <p:cNvPr id="12" name="McK Slide Elements" hidden="1"/>
          <p:cNvGrpSpPr>
            <a:grpSpLocks/>
          </p:cNvGrpSpPr>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000" baseline="0" dirty="0" smtClean="0">
                  <a:latin typeface="+mn-lt"/>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GB" sz="1000" baseline="0" dirty="0" smtClean="0">
                  <a:solidFill>
                    <a:schemeClr val="tx1"/>
                  </a:solidFill>
                  <a:latin typeface="+mn-lt"/>
                </a:rPr>
                <a:t>SOURCE: Source</a:t>
              </a:r>
              <a:endParaRPr lang="en-GB" sz="1000" baseline="0" dirty="0">
                <a:solidFill>
                  <a:schemeClr val="tx1"/>
                </a:solidFill>
                <a:latin typeface="+mn-lt"/>
              </a:endParaRPr>
            </a:p>
          </p:txBody>
        </p:sp>
      </p:grpSp>
      <p:grpSp>
        <p:nvGrpSpPr>
          <p:cNvPr id="15" name="ACET" hidden="1"/>
          <p:cNvGrpSpPr>
            <a:grpSpLocks/>
          </p:cNvGrpSpPr>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b="1" dirty="0" smtClean="0"/>
                <a:t>Title</a:t>
              </a:r>
            </a:p>
            <a:p>
              <a:r>
                <a:rPr lang="en-GB" dirty="0" smtClean="0">
                  <a:solidFill>
                    <a:srgbClr val="808080"/>
                  </a:solidFill>
                </a:rPr>
                <a:t>Unit of measure</a:t>
              </a:r>
              <a:endParaRPr lang="en-GB" dirty="0">
                <a:solidFill>
                  <a:srgbClr val="808080"/>
                </a:solidFill>
              </a:endParaRPr>
            </a:p>
          </p:txBody>
        </p:sp>
      </p:grpSp>
      <p:sp>
        <p:nvSpPr>
          <p:cNvPr id="20" name="SlideLogoText"/>
          <p:cNvSpPr>
            <a:spLocks noChangeArrowheads="1"/>
          </p:cNvSpPr>
          <p:nvPr>
            <p:custDataLst>
              <p:tags r:id="rId8"/>
            </p:custDataLst>
          </p:nvPr>
        </p:nvSpPr>
        <p:spPr bwMode="auto">
          <a:xfrm>
            <a:off x="7088188" y="6435725"/>
            <a:ext cx="12446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baseline="0" noProof="0" dirty="0">
                <a:latin typeface="+mn-lt"/>
                <a:ea typeface="+mn-ea"/>
              </a:rPr>
              <a:t>McKinsey &amp; Company</a:t>
            </a:r>
          </a:p>
        </p:txBody>
      </p:sp>
      <p:sp>
        <p:nvSpPr>
          <p:cNvPr id="21" name="SlideLogoSeparator"/>
          <p:cNvSpPr>
            <a:spLocks noChangeArrowheads="1"/>
          </p:cNvSpPr>
          <p:nvPr>
            <p:custDataLst>
              <p:tags r:id="rId9"/>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361950" algn="l"/>
        </a:tabLst>
        <a:defRPr sz="2000" b="1">
          <a:solidFill>
            <a:schemeClr val="accent5"/>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37.xml"/><Relationship Id="rId7" Type="http://schemas.openxmlformats.org/officeDocument/2006/relationships/oleObject" Target="../embeddings/oleObject15.bin"/><Relationship Id="rId2" Type="http://schemas.openxmlformats.org/officeDocument/2006/relationships/tags" Target="../tags/tag236.xml"/><Relationship Id="rId1" Type="http://schemas.openxmlformats.org/officeDocument/2006/relationships/vmlDrawing" Target="../drawings/vmlDrawing11.vml"/><Relationship Id="rId6" Type="http://schemas.openxmlformats.org/officeDocument/2006/relationships/notesSlide" Target="../notesSlides/notesSlide10.xml"/><Relationship Id="rId5" Type="http://schemas.openxmlformats.org/officeDocument/2006/relationships/slideLayout" Target="../slideLayouts/slideLayout2.xml"/><Relationship Id="rId10" Type="http://schemas.openxmlformats.org/officeDocument/2006/relationships/image" Target="../media/image1.emf"/><Relationship Id="rId4" Type="http://schemas.openxmlformats.org/officeDocument/2006/relationships/tags" Target="../tags/tag238.xml"/><Relationship Id="rId9" Type="http://schemas.openxmlformats.org/officeDocument/2006/relationships/image" Target="../media/image60.png"/></Relationships>
</file>

<file path=ppt/slides/_rels/slide1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240.xml"/><Relationship Id="rId7" Type="http://schemas.openxmlformats.org/officeDocument/2006/relationships/image" Target="../media/image1.emf"/><Relationship Id="rId2" Type="http://schemas.openxmlformats.org/officeDocument/2006/relationships/tags" Target="../tags/tag239.xml"/><Relationship Id="rId1" Type="http://schemas.openxmlformats.org/officeDocument/2006/relationships/vmlDrawing" Target="../drawings/vmlDrawing12.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2.xml"/><Relationship Id="rId7" Type="http://schemas.openxmlformats.org/officeDocument/2006/relationships/image" Target="../media/image62.png"/><Relationship Id="rId2" Type="http://schemas.openxmlformats.org/officeDocument/2006/relationships/tags" Target="../tags/tag24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tags" Target="../tags/tag248.xml"/><Relationship Id="rId3" Type="http://schemas.openxmlformats.org/officeDocument/2006/relationships/tags" Target="../tags/tag243.xml"/><Relationship Id="rId7" Type="http://schemas.openxmlformats.org/officeDocument/2006/relationships/tags" Target="../tags/tag247.xml"/><Relationship Id="rId12" Type="http://schemas.openxmlformats.org/officeDocument/2006/relationships/image" Target="../media/image20.emf"/><Relationship Id="rId2" Type="http://schemas.openxmlformats.org/officeDocument/2006/relationships/tags" Target="../tags/tag242.xml"/><Relationship Id="rId1" Type="http://schemas.openxmlformats.org/officeDocument/2006/relationships/vmlDrawing" Target="../drawings/vmlDrawing14.vml"/><Relationship Id="rId6" Type="http://schemas.openxmlformats.org/officeDocument/2006/relationships/tags" Target="../tags/tag246.xml"/><Relationship Id="rId11" Type="http://schemas.openxmlformats.org/officeDocument/2006/relationships/oleObject" Target="../embeddings/oleObject18.bin"/><Relationship Id="rId5" Type="http://schemas.openxmlformats.org/officeDocument/2006/relationships/tags" Target="../tags/tag245.xml"/><Relationship Id="rId10" Type="http://schemas.openxmlformats.org/officeDocument/2006/relationships/notesSlide" Target="../notesSlides/notesSlide13.xml"/><Relationship Id="rId4" Type="http://schemas.openxmlformats.org/officeDocument/2006/relationships/tags" Target="../tags/tag244.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7.png"/><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image" Target="../media/image1.emf"/><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image" Target="../media/image10.png"/><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oleObject" Target="../embeddings/oleObject4.bin"/><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notesSlide" Target="../notesSlides/notesSlide2.xml"/><Relationship Id="rId28" Type="http://schemas.openxmlformats.org/officeDocument/2006/relationships/image" Target="../media/image9.jpeg"/><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image" Target="../media/image12.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slideLayout" Target="../slideLayouts/slideLayout2.xml"/><Relationship Id="rId27" Type="http://schemas.openxmlformats.org/officeDocument/2006/relationships/image" Target="../media/image8.jpeg"/><Relationship Id="rId30" Type="http://schemas.openxmlformats.org/officeDocument/2006/relationships/image" Target="../media/image11.jpe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slideLayout" Target="../slideLayouts/slideLayout3.xml"/><Relationship Id="rId7" Type="http://schemas.openxmlformats.org/officeDocument/2006/relationships/image" Target="../media/image13.jpeg"/><Relationship Id="rId12" Type="http://schemas.openxmlformats.org/officeDocument/2006/relationships/image" Target="../media/image18.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17.png"/><Relationship Id="rId5" Type="http://schemas.openxmlformats.org/officeDocument/2006/relationships/oleObject" Target="../embeddings/oleObject5.bin"/><Relationship Id="rId10" Type="http://schemas.openxmlformats.org/officeDocument/2006/relationships/image" Target="../media/image16.png"/><Relationship Id="rId4" Type="http://schemas.openxmlformats.org/officeDocument/2006/relationships/notesSlide" Target="../notesSlides/notesSlide3.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26" Type="http://schemas.openxmlformats.org/officeDocument/2006/relationships/tags" Target="../tags/tag54.xml"/><Relationship Id="rId21" Type="http://schemas.openxmlformats.org/officeDocument/2006/relationships/tags" Target="../tags/tag49.xml"/><Relationship Id="rId42" Type="http://schemas.openxmlformats.org/officeDocument/2006/relationships/tags" Target="../tags/tag70.xml"/><Relationship Id="rId47" Type="http://schemas.openxmlformats.org/officeDocument/2006/relationships/tags" Target="../tags/tag75.xml"/><Relationship Id="rId63" Type="http://schemas.openxmlformats.org/officeDocument/2006/relationships/tags" Target="../tags/tag91.xml"/><Relationship Id="rId68" Type="http://schemas.openxmlformats.org/officeDocument/2006/relationships/tags" Target="../tags/tag96.xml"/><Relationship Id="rId84" Type="http://schemas.openxmlformats.org/officeDocument/2006/relationships/tags" Target="../tags/tag112.xml"/><Relationship Id="rId89" Type="http://schemas.openxmlformats.org/officeDocument/2006/relationships/tags" Target="../tags/tag117.xml"/><Relationship Id="rId112" Type="http://schemas.openxmlformats.org/officeDocument/2006/relationships/oleObject" Target="../embeddings/oleObject6.bin"/><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07" Type="http://schemas.openxmlformats.org/officeDocument/2006/relationships/tags" Target="../tags/tag135.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tags" Target="../tags/tag81.xml"/><Relationship Id="rId58" Type="http://schemas.openxmlformats.org/officeDocument/2006/relationships/tags" Target="../tags/tag86.xml"/><Relationship Id="rId66" Type="http://schemas.openxmlformats.org/officeDocument/2006/relationships/tags" Target="../tags/tag94.xml"/><Relationship Id="rId74" Type="http://schemas.openxmlformats.org/officeDocument/2006/relationships/tags" Target="../tags/tag102.xml"/><Relationship Id="rId79" Type="http://schemas.openxmlformats.org/officeDocument/2006/relationships/tags" Target="../tags/tag107.xml"/><Relationship Id="rId87" Type="http://schemas.openxmlformats.org/officeDocument/2006/relationships/tags" Target="../tags/tag115.xml"/><Relationship Id="rId102" Type="http://schemas.openxmlformats.org/officeDocument/2006/relationships/tags" Target="../tags/tag130.xml"/><Relationship Id="rId110" Type="http://schemas.openxmlformats.org/officeDocument/2006/relationships/slideLayout" Target="../slideLayouts/slideLayout4.xml"/><Relationship Id="rId5" Type="http://schemas.openxmlformats.org/officeDocument/2006/relationships/tags" Target="../tags/tag33.xml"/><Relationship Id="rId61" Type="http://schemas.openxmlformats.org/officeDocument/2006/relationships/tags" Target="../tags/tag89.xml"/><Relationship Id="rId82" Type="http://schemas.openxmlformats.org/officeDocument/2006/relationships/tags" Target="../tags/tag110.xml"/><Relationship Id="rId90" Type="http://schemas.openxmlformats.org/officeDocument/2006/relationships/tags" Target="../tags/tag118.xml"/><Relationship Id="rId95" Type="http://schemas.openxmlformats.org/officeDocument/2006/relationships/tags" Target="../tags/tag123.xml"/><Relationship Id="rId19" Type="http://schemas.openxmlformats.org/officeDocument/2006/relationships/tags" Target="../tags/tag4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tags" Target="../tags/tag76.xml"/><Relationship Id="rId56" Type="http://schemas.openxmlformats.org/officeDocument/2006/relationships/tags" Target="../tags/tag84.xml"/><Relationship Id="rId64" Type="http://schemas.openxmlformats.org/officeDocument/2006/relationships/tags" Target="../tags/tag92.xml"/><Relationship Id="rId69" Type="http://schemas.openxmlformats.org/officeDocument/2006/relationships/tags" Target="../tags/tag97.xml"/><Relationship Id="rId77" Type="http://schemas.openxmlformats.org/officeDocument/2006/relationships/tags" Target="../tags/tag105.xml"/><Relationship Id="rId100" Type="http://schemas.openxmlformats.org/officeDocument/2006/relationships/tags" Target="../tags/tag128.xml"/><Relationship Id="rId105" Type="http://schemas.openxmlformats.org/officeDocument/2006/relationships/tags" Target="../tags/tag133.xml"/><Relationship Id="rId113" Type="http://schemas.openxmlformats.org/officeDocument/2006/relationships/image" Target="../media/image1.emf"/><Relationship Id="rId8" Type="http://schemas.openxmlformats.org/officeDocument/2006/relationships/tags" Target="../tags/tag36.xml"/><Relationship Id="rId51" Type="http://schemas.openxmlformats.org/officeDocument/2006/relationships/tags" Target="../tags/tag79.xml"/><Relationship Id="rId72" Type="http://schemas.openxmlformats.org/officeDocument/2006/relationships/tags" Target="../tags/tag100.xml"/><Relationship Id="rId80" Type="http://schemas.openxmlformats.org/officeDocument/2006/relationships/tags" Target="../tags/tag108.xml"/><Relationship Id="rId85" Type="http://schemas.openxmlformats.org/officeDocument/2006/relationships/tags" Target="../tags/tag113.xml"/><Relationship Id="rId93" Type="http://schemas.openxmlformats.org/officeDocument/2006/relationships/tags" Target="../tags/tag121.xml"/><Relationship Id="rId98" Type="http://schemas.openxmlformats.org/officeDocument/2006/relationships/tags" Target="../tags/tag126.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59" Type="http://schemas.openxmlformats.org/officeDocument/2006/relationships/tags" Target="../tags/tag87.xml"/><Relationship Id="rId67" Type="http://schemas.openxmlformats.org/officeDocument/2006/relationships/tags" Target="../tags/tag95.xml"/><Relationship Id="rId103" Type="http://schemas.openxmlformats.org/officeDocument/2006/relationships/tags" Target="../tags/tag131.xml"/><Relationship Id="rId108" Type="http://schemas.openxmlformats.org/officeDocument/2006/relationships/tags" Target="../tags/tag136.xml"/><Relationship Id="rId20" Type="http://schemas.openxmlformats.org/officeDocument/2006/relationships/tags" Target="../tags/tag48.xml"/><Relationship Id="rId41" Type="http://schemas.openxmlformats.org/officeDocument/2006/relationships/tags" Target="../tags/tag69.xml"/><Relationship Id="rId54" Type="http://schemas.openxmlformats.org/officeDocument/2006/relationships/tags" Target="../tags/tag82.xml"/><Relationship Id="rId62" Type="http://schemas.openxmlformats.org/officeDocument/2006/relationships/tags" Target="../tags/tag90.xml"/><Relationship Id="rId70" Type="http://schemas.openxmlformats.org/officeDocument/2006/relationships/tags" Target="../tags/tag98.xml"/><Relationship Id="rId75" Type="http://schemas.openxmlformats.org/officeDocument/2006/relationships/tags" Target="../tags/tag103.xml"/><Relationship Id="rId83" Type="http://schemas.openxmlformats.org/officeDocument/2006/relationships/tags" Target="../tags/tag111.xml"/><Relationship Id="rId88" Type="http://schemas.openxmlformats.org/officeDocument/2006/relationships/tags" Target="../tags/tag116.xml"/><Relationship Id="rId91" Type="http://schemas.openxmlformats.org/officeDocument/2006/relationships/tags" Target="../tags/tag119.xml"/><Relationship Id="rId96" Type="http://schemas.openxmlformats.org/officeDocument/2006/relationships/tags" Target="../tags/tag124.xml"/><Relationship Id="rId111" Type="http://schemas.openxmlformats.org/officeDocument/2006/relationships/notesSlide" Target="../notesSlides/notesSlide4.xml"/><Relationship Id="rId1" Type="http://schemas.openxmlformats.org/officeDocument/2006/relationships/vmlDrawing" Target="../drawings/vmlDrawing6.vml"/><Relationship Id="rId6" Type="http://schemas.openxmlformats.org/officeDocument/2006/relationships/tags" Target="../tags/tag34.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tags" Target="../tags/tag77.xml"/><Relationship Id="rId57" Type="http://schemas.openxmlformats.org/officeDocument/2006/relationships/tags" Target="../tags/tag85.xml"/><Relationship Id="rId106" Type="http://schemas.openxmlformats.org/officeDocument/2006/relationships/tags" Target="../tags/tag134.xml"/><Relationship Id="rId114" Type="http://schemas.openxmlformats.org/officeDocument/2006/relationships/image" Target="../media/image20.emf"/><Relationship Id="rId10" Type="http://schemas.openxmlformats.org/officeDocument/2006/relationships/tags" Target="../tags/tag38.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tags" Target="../tags/tag80.xml"/><Relationship Id="rId60" Type="http://schemas.openxmlformats.org/officeDocument/2006/relationships/tags" Target="../tags/tag88.xml"/><Relationship Id="rId65" Type="http://schemas.openxmlformats.org/officeDocument/2006/relationships/tags" Target="../tags/tag93.xml"/><Relationship Id="rId73" Type="http://schemas.openxmlformats.org/officeDocument/2006/relationships/tags" Target="../tags/tag101.xml"/><Relationship Id="rId78" Type="http://schemas.openxmlformats.org/officeDocument/2006/relationships/tags" Target="../tags/tag106.xml"/><Relationship Id="rId81" Type="http://schemas.openxmlformats.org/officeDocument/2006/relationships/tags" Target="../tags/tag109.xml"/><Relationship Id="rId86" Type="http://schemas.openxmlformats.org/officeDocument/2006/relationships/tags" Target="../tags/tag114.xml"/><Relationship Id="rId94" Type="http://schemas.openxmlformats.org/officeDocument/2006/relationships/tags" Target="../tags/tag122.xml"/><Relationship Id="rId99" Type="http://schemas.openxmlformats.org/officeDocument/2006/relationships/tags" Target="../tags/tag127.xml"/><Relationship Id="rId101" Type="http://schemas.openxmlformats.org/officeDocument/2006/relationships/tags" Target="../tags/tag129.xml"/><Relationship Id="rId4" Type="http://schemas.openxmlformats.org/officeDocument/2006/relationships/tags" Target="../tags/tag32.xml"/><Relationship Id="rId9" Type="http://schemas.openxmlformats.org/officeDocument/2006/relationships/tags" Target="../tags/tag37.xml"/><Relationship Id="rId13" Type="http://schemas.openxmlformats.org/officeDocument/2006/relationships/tags" Target="../tags/tag41.xml"/><Relationship Id="rId18" Type="http://schemas.openxmlformats.org/officeDocument/2006/relationships/tags" Target="../tags/tag46.xml"/><Relationship Id="rId39" Type="http://schemas.openxmlformats.org/officeDocument/2006/relationships/tags" Target="../tags/tag67.xml"/><Relationship Id="rId109" Type="http://schemas.openxmlformats.org/officeDocument/2006/relationships/tags" Target="../tags/tag137.xml"/><Relationship Id="rId34" Type="http://schemas.openxmlformats.org/officeDocument/2006/relationships/tags" Target="../tags/tag62.xml"/><Relationship Id="rId50" Type="http://schemas.openxmlformats.org/officeDocument/2006/relationships/tags" Target="../tags/tag78.xml"/><Relationship Id="rId55" Type="http://schemas.openxmlformats.org/officeDocument/2006/relationships/tags" Target="../tags/tag83.xml"/><Relationship Id="rId76" Type="http://schemas.openxmlformats.org/officeDocument/2006/relationships/tags" Target="../tags/tag104.xml"/><Relationship Id="rId97" Type="http://schemas.openxmlformats.org/officeDocument/2006/relationships/tags" Target="../tags/tag125.xml"/><Relationship Id="rId104" Type="http://schemas.openxmlformats.org/officeDocument/2006/relationships/tags" Target="../tags/tag132.xml"/><Relationship Id="rId7" Type="http://schemas.openxmlformats.org/officeDocument/2006/relationships/tags" Target="../tags/tag35.xml"/><Relationship Id="rId71" Type="http://schemas.openxmlformats.org/officeDocument/2006/relationships/tags" Target="../tags/tag99.xml"/><Relationship Id="rId92" Type="http://schemas.openxmlformats.org/officeDocument/2006/relationships/tags" Target="../tags/tag120.xml"/></Relationships>
</file>

<file path=ppt/slides/_rels/slide5.xml.rels><?xml version="1.0" encoding="UTF-8" standalone="yes"?>
<Relationships xmlns="http://schemas.openxmlformats.org/package/2006/relationships"><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9" Type="http://schemas.openxmlformats.org/officeDocument/2006/relationships/tags" Target="../tags/tag175.xml"/><Relationship Id="rId21" Type="http://schemas.openxmlformats.org/officeDocument/2006/relationships/tags" Target="../tags/tag157.xml"/><Relationship Id="rId34" Type="http://schemas.openxmlformats.org/officeDocument/2006/relationships/tags" Target="../tags/tag170.xml"/><Relationship Id="rId42" Type="http://schemas.openxmlformats.org/officeDocument/2006/relationships/tags" Target="../tags/tag178.xml"/><Relationship Id="rId47" Type="http://schemas.openxmlformats.org/officeDocument/2006/relationships/tags" Target="../tags/tag183.xml"/><Relationship Id="rId50" Type="http://schemas.openxmlformats.org/officeDocument/2006/relationships/tags" Target="../tags/tag186.xml"/><Relationship Id="rId55" Type="http://schemas.openxmlformats.org/officeDocument/2006/relationships/tags" Target="../tags/tag191.xml"/><Relationship Id="rId7" Type="http://schemas.openxmlformats.org/officeDocument/2006/relationships/tags" Target="../tags/tag143.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29" Type="http://schemas.openxmlformats.org/officeDocument/2006/relationships/tags" Target="../tags/tag165.xml"/><Relationship Id="rId41" Type="http://schemas.openxmlformats.org/officeDocument/2006/relationships/tags" Target="../tags/tag177.xml"/><Relationship Id="rId54" Type="http://schemas.openxmlformats.org/officeDocument/2006/relationships/tags" Target="../tags/tag190.xml"/><Relationship Id="rId1" Type="http://schemas.openxmlformats.org/officeDocument/2006/relationships/vmlDrawing" Target="../drawings/vmlDrawing7.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tags" Target="../tags/tag168.xml"/><Relationship Id="rId37" Type="http://schemas.openxmlformats.org/officeDocument/2006/relationships/tags" Target="../tags/tag173.xml"/><Relationship Id="rId40" Type="http://schemas.openxmlformats.org/officeDocument/2006/relationships/tags" Target="../tags/tag176.xml"/><Relationship Id="rId45" Type="http://schemas.openxmlformats.org/officeDocument/2006/relationships/tags" Target="../tags/tag181.xml"/><Relationship Id="rId53" Type="http://schemas.openxmlformats.org/officeDocument/2006/relationships/tags" Target="../tags/tag189.xml"/><Relationship Id="rId58" Type="http://schemas.openxmlformats.org/officeDocument/2006/relationships/slideLayout" Target="../slideLayouts/slideLayout2.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tags" Target="../tags/tag172.xml"/><Relationship Id="rId49" Type="http://schemas.openxmlformats.org/officeDocument/2006/relationships/tags" Target="../tags/tag185.xml"/><Relationship Id="rId57" Type="http://schemas.openxmlformats.org/officeDocument/2006/relationships/tags" Target="../tags/tag193.xml"/><Relationship Id="rId61" Type="http://schemas.openxmlformats.org/officeDocument/2006/relationships/image" Target="../media/image1.emf"/><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tags" Target="../tags/tag167.xml"/><Relationship Id="rId44" Type="http://schemas.openxmlformats.org/officeDocument/2006/relationships/tags" Target="../tags/tag180.xml"/><Relationship Id="rId52" Type="http://schemas.openxmlformats.org/officeDocument/2006/relationships/tags" Target="../tags/tag188.xml"/><Relationship Id="rId60" Type="http://schemas.openxmlformats.org/officeDocument/2006/relationships/oleObject" Target="../embeddings/oleObject7.bin"/><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tags" Target="../tags/tag171.xml"/><Relationship Id="rId43" Type="http://schemas.openxmlformats.org/officeDocument/2006/relationships/tags" Target="../tags/tag179.xml"/><Relationship Id="rId48" Type="http://schemas.openxmlformats.org/officeDocument/2006/relationships/tags" Target="../tags/tag184.xml"/><Relationship Id="rId56" Type="http://schemas.openxmlformats.org/officeDocument/2006/relationships/tags" Target="../tags/tag192.xml"/><Relationship Id="rId8" Type="http://schemas.openxmlformats.org/officeDocument/2006/relationships/tags" Target="../tags/tag144.xml"/><Relationship Id="rId51" Type="http://schemas.openxmlformats.org/officeDocument/2006/relationships/tags" Target="../tags/tag187.xml"/><Relationship Id="rId3" Type="http://schemas.openxmlformats.org/officeDocument/2006/relationships/tags" Target="../tags/tag13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tags" Target="../tags/tag169.xml"/><Relationship Id="rId38" Type="http://schemas.openxmlformats.org/officeDocument/2006/relationships/tags" Target="../tags/tag174.xml"/><Relationship Id="rId46" Type="http://schemas.openxmlformats.org/officeDocument/2006/relationships/tags" Target="../tags/tag182.xml"/><Relationship Id="rId59"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21.png"/><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1.emf"/><Relationship Id="rId2" Type="http://schemas.openxmlformats.org/officeDocument/2006/relationships/tags" Target="../tags/tag194.xml"/><Relationship Id="rId16" Type="http://schemas.openxmlformats.org/officeDocument/2006/relationships/image" Target="../media/image24.png"/><Relationship Id="rId1" Type="http://schemas.openxmlformats.org/officeDocument/2006/relationships/vmlDrawing" Target="../drawings/vmlDrawing8.vml"/><Relationship Id="rId6" Type="http://schemas.openxmlformats.org/officeDocument/2006/relationships/tags" Target="../tags/tag198.xml"/><Relationship Id="rId11" Type="http://schemas.openxmlformats.org/officeDocument/2006/relationships/oleObject" Target="../embeddings/oleObject8.bin"/><Relationship Id="rId5" Type="http://schemas.openxmlformats.org/officeDocument/2006/relationships/tags" Target="../tags/tag197.xml"/><Relationship Id="rId15" Type="http://schemas.openxmlformats.org/officeDocument/2006/relationships/image" Target="../media/image23.png"/><Relationship Id="rId10" Type="http://schemas.openxmlformats.org/officeDocument/2006/relationships/notesSlide" Target="../notesSlides/notesSlide6.xml"/><Relationship Id="rId4" Type="http://schemas.openxmlformats.org/officeDocument/2006/relationships/tags" Target="../tags/tag196.xml"/><Relationship Id="rId9" Type="http://schemas.openxmlformats.org/officeDocument/2006/relationships/slideLayout" Target="../slideLayouts/slideLayout2.xml"/><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tags" Target="../tags/tag213.xml"/><Relationship Id="rId18" Type="http://schemas.openxmlformats.org/officeDocument/2006/relationships/notesSlide" Target="../notesSlides/notesSlide7.xml"/><Relationship Id="rId26" Type="http://schemas.openxmlformats.org/officeDocument/2006/relationships/image" Target="../media/image32.png"/><Relationship Id="rId39" Type="http://schemas.openxmlformats.org/officeDocument/2006/relationships/image" Target="../media/image45.png"/><Relationship Id="rId3" Type="http://schemas.openxmlformats.org/officeDocument/2006/relationships/tags" Target="../tags/tag203.xml"/><Relationship Id="rId21" Type="http://schemas.openxmlformats.org/officeDocument/2006/relationships/image" Target="../media/image27.png"/><Relationship Id="rId34" Type="http://schemas.openxmlformats.org/officeDocument/2006/relationships/image" Target="../media/image40.png"/><Relationship Id="rId42" Type="http://schemas.openxmlformats.org/officeDocument/2006/relationships/image" Target="../media/image48.png"/><Relationship Id="rId7" Type="http://schemas.openxmlformats.org/officeDocument/2006/relationships/tags" Target="../tags/tag207.xml"/><Relationship Id="rId12" Type="http://schemas.openxmlformats.org/officeDocument/2006/relationships/tags" Target="../tags/tag212.xml"/><Relationship Id="rId17" Type="http://schemas.openxmlformats.org/officeDocument/2006/relationships/slideLayout" Target="../slideLayouts/slideLayout2.xml"/><Relationship Id="rId25" Type="http://schemas.openxmlformats.org/officeDocument/2006/relationships/image" Target="../media/image31.png"/><Relationship Id="rId33" Type="http://schemas.openxmlformats.org/officeDocument/2006/relationships/image" Target="../media/image39.png"/><Relationship Id="rId38" Type="http://schemas.openxmlformats.org/officeDocument/2006/relationships/image" Target="../media/image44.png"/><Relationship Id="rId2" Type="http://schemas.openxmlformats.org/officeDocument/2006/relationships/tags" Target="../tags/tag202.xml"/><Relationship Id="rId16" Type="http://schemas.openxmlformats.org/officeDocument/2006/relationships/tags" Target="../tags/tag216.xml"/><Relationship Id="rId20" Type="http://schemas.openxmlformats.org/officeDocument/2006/relationships/image" Target="../media/image26.png"/><Relationship Id="rId29" Type="http://schemas.openxmlformats.org/officeDocument/2006/relationships/image" Target="../media/image35.png"/><Relationship Id="rId41" Type="http://schemas.openxmlformats.org/officeDocument/2006/relationships/image" Target="../media/image47.png"/><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image" Target="../media/image30.png"/><Relationship Id="rId32" Type="http://schemas.openxmlformats.org/officeDocument/2006/relationships/image" Target="../media/image38.png"/><Relationship Id="rId37" Type="http://schemas.openxmlformats.org/officeDocument/2006/relationships/image" Target="../media/image43.png"/><Relationship Id="rId40" Type="http://schemas.openxmlformats.org/officeDocument/2006/relationships/image" Target="../media/image46.jpeg"/><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image" Target="../media/image29.png"/><Relationship Id="rId28" Type="http://schemas.openxmlformats.org/officeDocument/2006/relationships/image" Target="../media/image34.png"/><Relationship Id="rId36" Type="http://schemas.openxmlformats.org/officeDocument/2006/relationships/image" Target="../media/image42.png"/><Relationship Id="rId10" Type="http://schemas.openxmlformats.org/officeDocument/2006/relationships/tags" Target="../tags/tag210.xml"/><Relationship Id="rId19" Type="http://schemas.openxmlformats.org/officeDocument/2006/relationships/image" Target="../media/image25.jpeg"/><Relationship Id="rId31" Type="http://schemas.openxmlformats.org/officeDocument/2006/relationships/image" Target="../media/image37.png"/><Relationship Id="rId44" Type="http://schemas.openxmlformats.org/officeDocument/2006/relationships/image" Target="../media/image50.png"/><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41.png"/><Relationship Id="rId43" Type="http://schemas.openxmlformats.org/officeDocument/2006/relationships/image" Target="../media/image49.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oleObject" Target="../embeddings/oleObject12.bin"/><Relationship Id="rId3" Type="http://schemas.openxmlformats.org/officeDocument/2006/relationships/tags" Target="../tags/tag219.xml"/><Relationship Id="rId21" Type="http://schemas.openxmlformats.org/officeDocument/2006/relationships/notesSlide" Target="../notesSlides/notesSlide9.xml"/><Relationship Id="rId34" Type="http://schemas.openxmlformats.org/officeDocument/2006/relationships/image" Target="../media/image57.jpeg"/><Relationship Id="rId7" Type="http://schemas.openxmlformats.org/officeDocument/2006/relationships/tags" Target="../tags/tag223.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image" Target="../media/image51.emf"/><Relationship Id="rId33" Type="http://schemas.openxmlformats.org/officeDocument/2006/relationships/image" Target="../media/image56.jpeg"/><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slideLayout" Target="../slideLayouts/slideLayout2.xml"/><Relationship Id="rId29" Type="http://schemas.openxmlformats.org/officeDocument/2006/relationships/image" Target="../media/image53.emf"/><Relationship Id="rId1" Type="http://schemas.openxmlformats.org/officeDocument/2006/relationships/vmlDrawing" Target="../drawings/vmlDrawing10.v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oleObject" Target="../embeddings/oleObject11.bin"/><Relationship Id="rId32" Type="http://schemas.openxmlformats.org/officeDocument/2006/relationships/image" Target="../media/image54.emf"/><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image" Target="../media/image1.emf"/><Relationship Id="rId28" Type="http://schemas.openxmlformats.org/officeDocument/2006/relationships/oleObject" Target="../embeddings/oleObject13.bin"/><Relationship Id="rId36" Type="http://schemas.openxmlformats.org/officeDocument/2006/relationships/image" Target="../media/image59.jpeg"/><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oleObject" Target="../embeddings/oleObject14.bin"/><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oleObject" Target="../embeddings/oleObject10.bin"/><Relationship Id="rId27" Type="http://schemas.openxmlformats.org/officeDocument/2006/relationships/image" Target="../media/image52.emf"/><Relationship Id="rId30" Type="http://schemas.openxmlformats.org/officeDocument/2006/relationships/image" Target="../media/image55.emf"/><Relationship Id="rId35" Type="http://schemas.openxmlformats.org/officeDocument/2006/relationships/image" Target="../media/image5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339946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74" name="Rectangle 54"/>
          <p:cNvSpPr>
            <a:spLocks noGrp="1" noChangeArrowheads="1"/>
          </p:cNvSpPr>
          <p:nvPr>
            <p:ph type="ctrTitle"/>
          </p:nvPr>
        </p:nvSpPr>
        <p:spPr>
          <a:xfrm>
            <a:off x="1554163" y="2724150"/>
            <a:ext cx="6130607" cy="1107996"/>
          </a:xfrm>
        </p:spPr>
        <p:txBody>
          <a:bodyPr/>
          <a:lstStyle/>
          <a:p>
            <a:r>
              <a:rPr lang="en-US" sz="3600" b="1" dirty="0" smtClean="0">
                <a:solidFill>
                  <a:schemeClr val="accent5"/>
                </a:solidFill>
              </a:rPr>
              <a:t>Joining hands to unlock Africa’s potential</a:t>
            </a:r>
            <a:endParaRPr lang="en-GB" sz="3600" b="1" dirty="0" smtClean="0">
              <a:solidFill>
                <a:schemeClr val="accent5"/>
              </a:solidFill>
            </a:endParaRPr>
          </a:p>
        </p:txBody>
      </p:sp>
      <p:sp>
        <p:nvSpPr>
          <p:cNvPr id="3078" name="Rectangle 57"/>
          <p:cNvSpPr>
            <a:spLocks noGrp="1" noChangeArrowheads="1"/>
          </p:cNvSpPr>
          <p:nvPr>
            <p:ph type="subTitle" idx="1"/>
          </p:nvPr>
        </p:nvSpPr>
        <p:spPr>
          <a:xfrm>
            <a:off x="1554163" y="4026102"/>
            <a:ext cx="6130607" cy="307777"/>
          </a:xfrm>
        </p:spPr>
        <p:txBody>
          <a:bodyPr/>
          <a:lstStyle/>
          <a:p>
            <a:r>
              <a:rPr lang="en-US" sz="2000" dirty="0">
                <a:solidFill>
                  <a:srgbClr val="3280C0"/>
                </a:solidFill>
              </a:rPr>
              <a:t>A new Indian industry-led approach to Africa</a:t>
            </a:r>
            <a:endParaRPr lang="en-GB" sz="2000" dirty="0">
              <a:solidFill>
                <a:srgbClr val="3280C0"/>
              </a:solidFill>
            </a:endParaRPr>
          </a:p>
        </p:txBody>
      </p:sp>
      <p:sp>
        <p:nvSpPr>
          <p:cNvPr id="3079" name="McK Date"/>
          <p:cNvSpPr txBox="1">
            <a:spLocks noChangeArrowheads="1"/>
          </p:cNvSpPr>
          <p:nvPr/>
        </p:nvSpPr>
        <p:spPr bwMode="auto">
          <a:xfrm>
            <a:off x="1554163" y="5199063"/>
            <a:ext cx="61306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GB" sz="1400" dirty="0" smtClean="0">
                <a:latin typeface="+mn-lt"/>
              </a:rPr>
              <a:t>10 March </a:t>
            </a:r>
            <a:r>
              <a:rPr lang="en-GB" sz="1400" dirty="0">
                <a:latin typeface="+mn-lt"/>
              </a:rPr>
              <a:t>2014</a:t>
            </a:r>
          </a:p>
        </p:txBody>
      </p:sp>
      <p:sp>
        <p:nvSpPr>
          <p:cNvPr id="3080" name="McK Document type"/>
          <p:cNvSpPr txBox="1">
            <a:spLocks noChangeArrowheads="1"/>
          </p:cNvSpPr>
          <p:nvPr/>
        </p:nvSpPr>
        <p:spPr bwMode="auto">
          <a:xfrm>
            <a:off x="1554163" y="4715788"/>
            <a:ext cx="613060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GB" sz="1400" dirty="0" smtClean="0">
                <a:latin typeface="+mn-lt"/>
              </a:rPr>
              <a:t>Presentation by </a:t>
            </a:r>
            <a:r>
              <a:rPr lang="en-GB" sz="1400" dirty="0" err="1" smtClean="0">
                <a:latin typeface="+mn-lt"/>
              </a:rPr>
              <a:t>Rajat</a:t>
            </a:r>
            <a:r>
              <a:rPr lang="en-GB" sz="1400" dirty="0" smtClean="0">
                <a:latin typeface="+mn-lt"/>
              </a:rPr>
              <a:t> Gupta</a:t>
            </a:r>
          </a:p>
          <a:p>
            <a:pPr eaLnBrk="1" hangingPunct="1"/>
            <a:r>
              <a:rPr lang="en-GB" sz="1400" dirty="0" smtClean="0">
                <a:latin typeface="+mn-lt"/>
              </a:rPr>
              <a:t>McKinsey &amp; Company</a:t>
            </a:r>
            <a:endParaRPr lang="en-GB" sz="1400" dirty="0">
              <a:latin typeface="+mn-lt"/>
            </a:endParaRPr>
          </a:p>
        </p:txBody>
      </p:sp>
      <p:sp>
        <p:nvSpPr>
          <p:cNvPr id="3081" name="McK Disclaimer"/>
          <p:cNvSpPr>
            <a:spLocks noChangeArrowheads="1"/>
          </p:cNvSpPr>
          <p:nvPr/>
        </p:nvSpPr>
        <p:spPr bwMode="auto">
          <a:xfrm>
            <a:off x="1554162" y="5895975"/>
            <a:ext cx="613060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GB" sz="800" dirty="0" smtClean="0">
                <a:latin typeface="+mn-lt"/>
              </a:rPr>
              <a:t>CONFIDENTIAL AND PROPRIETARY</a:t>
            </a:r>
          </a:p>
          <a:p>
            <a:pPr defTabSz="804863" eaLnBrk="0" hangingPunct="0"/>
            <a:r>
              <a:rPr lang="en-GB" sz="800" dirty="0" smtClean="0">
                <a:latin typeface="+mn-lt"/>
              </a:rPr>
              <a:t>Any use of this material without specific permission of McKinsey &amp; Company is strictly prohibited</a:t>
            </a:r>
            <a:endParaRPr lang="en-GB" sz="800" dirty="0">
              <a:latin typeface="+mn-lt"/>
            </a:endParaRPr>
          </a:p>
        </p:txBody>
      </p:sp>
      <p:sp>
        <p:nvSpPr>
          <p:cNvPr id="7" name="Rectangle 6"/>
          <p:cNvSpPr/>
          <p:nvPr/>
        </p:nvSpPr>
        <p:spPr>
          <a:xfrm>
            <a:off x="1123950" y="2784396"/>
            <a:ext cx="209550" cy="987504"/>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613529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0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pic>
        <p:nvPicPr>
          <p:cNvPr id="22561" name="Picture 33"/>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181476" y="862013"/>
            <a:ext cx="4779962" cy="4999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Object 1"/>
          <p:cNvPicPr>
            <a:picLocks noChangeAspect="1"/>
          </p:cNvPicPr>
          <p:nvPr/>
        </p:nvPicPr>
        <p:blipFill>
          <a:blip r:embed="rId10"/>
          <a:srcRect/>
          <a:stretch>
            <a:fillRect/>
          </a:stretch>
        </p:blipFill>
        <p:spPr bwMode="auto">
          <a:xfrm>
            <a:off x="0" y="0"/>
            <a:ext cx="158750" cy="158750"/>
          </a:xfrm>
          <a:prstGeom prst="rect">
            <a:avLst/>
          </a:prstGeom>
          <a:noFill/>
        </p:spPr>
      </p:pic>
      <p:sp>
        <p:nvSpPr>
          <p:cNvPr id="3075" name="Rectangle 46"/>
          <p:cNvSpPr>
            <a:spLocks noGrp="1" noChangeArrowheads="1"/>
          </p:cNvSpPr>
          <p:nvPr>
            <p:ph type="title"/>
            <p:custDataLst>
              <p:tags r:id="rId3"/>
            </p:custDataLst>
          </p:nvPr>
        </p:nvSpPr>
        <p:spPr bwMode="gray">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India’s possible aspirations for Africa</a:t>
            </a:r>
          </a:p>
        </p:txBody>
      </p:sp>
      <p:sp>
        <p:nvSpPr>
          <p:cNvPr id="41" name="McK 5. Source"/>
          <p:cNvSpPr>
            <a:spLocks noChangeArrowheads="1"/>
          </p:cNvSpPr>
          <p:nvPr>
            <p:custDataLst>
              <p:tags r:id="rId4"/>
            </p:custDataLst>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latin typeface="+mn-lt"/>
              </a:rPr>
              <a:t>SOURCE: </a:t>
            </a:r>
            <a:r>
              <a:rPr lang="en-US" sz="1000" dirty="0" err="1">
                <a:latin typeface="+mn-lt"/>
              </a:rPr>
              <a:t>IHS</a:t>
            </a:r>
            <a:r>
              <a:rPr lang="en-US" sz="1000" dirty="0">
                <a:latin typeface="+mn-lt"/>
              </a:rPr>
              <a:t> Economics – World Trade Service 2013; McKinsey analysis</a:t>
            </a:r>
          </a:p>
        </p:txBody>
      </p:sp>
      <p:sp>
        <p:nvSpPr>
          <p:cNvPr id="112" name="McK 4. Footnote"/>
          <p:cNvSpPr txBox="1">
            <a:spLocks noChangeArrowheads="1"/>
          </p:cNvSpPr>
          <p:nvPr/>
        </p:nvSpPr>
        <p:spPr bwMode="gray">
          <a:xfrm>
            <a:off x="119063" y="5924748"/>
            <a:ext cx="85486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Corporate sector revenues from exports and local sales from Africa</a:t>
            </a:r>
          </a:p>
          <a:p>
            <a:r>
              <a:rPr lang="en-US" dirty="0"/>
              <a:t>2 Includes only </a:t>
            </a:r>
            <a:r>
              <a:rPr lang="en-US" dirty="0" err="1"/>
              <a:t>FMCG</a:t>
            </a:r>
            <a:r>
              <a:rPr lang="en-US" dirty="0"/>
              <a:t> category </a:t>
            </a:r>
          </a:p>
        </p:txBody>
      </p:sp>
      <p:sp>
        <p:nvSpPr>
          <p:cNvPr id="65" name="McK 3. Unit of measure"/>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a:solidFill>
                  <a:srgbClr val="808080"/>
                </a:solidFill>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All figures in USD</a:t>
            </a:r>
          </a:p>
        </p:txBody>
      </p:sp>
      <p:sp>
        <p:nvSpPr>
          <p:cNvPr id="110" name="Rectangle 109"/>
          <p:cNvSpPr>
            <a:spLocks/>
          </p:cNvSpPr>
          <p:nvPr/>
        </p:nvSpPr>
        <p:spPr>
          <a:xfrm>
            <a:off x="119063" y="857250"/>
            <a:ext cx="6890878" cy="5000626"/>
          </a:xfrm>
          <a:prstGeom prst="rect">
            <a:avLst/>
          </a:prstGeom>
          <a:solidFill>
            <a:schemeClr val="bg1">
              <a:alpha val="85000"/>
            </a:schemeClr>
          </a:solidFill>
          <a:ln w="19050">
            <a:solidFill>
              <a:srgbClr val="66A3D7"/>
            </a:solidFill>
            <a:miter lim="800000"/>
            <a:headEnd/>
            <a:tailEnd/>
          </a:ln>
          <a:effectLst/>
        </p:spPr>
        <p:txBody>
          <a:bodyPr wrap="none" anchor="ctr">
            <a:noAutofit/>
          </a:bodyPr>
          <a:lstStyle/>
          <a:p>
            <a:endParaRPr lang="en-GB" sz="1200" dirty="0" err="1">
              <a:solidFill>
                <a:srgbClr val="000000"/>
              </a:solidFill>
              <a:latin typeface="+mn-lt"/>
            </a:endParaRPr>
          </a:p>
        </p:txBody>
      </p:sp>
      <p:sp>
        <p:nvSpPr>
          <p:cNvPr id="136" name="Rectangle 18"/>
          <p:cNvSpPr>
            <a:spLocks noChangeArrowheads="1"/>
          </p:cNvSpPr>
          <p:nvPr/>
        </p:nvSpPr>
        <p:spPr bwMode="gray">
          <a:xfrm>
            <a:off x="900661" y="1776846"/>
            <a:ext cx="6008895" cy="2601960"/>
          </a:xfrm>
          <a:prstGeom prst="rect">
            <a:avLst/>
          </a:prstGeom>
          <a:solidFill>
            <a:srgbClr val="FFC000">
              <a:alpha val="33000"/>
            </a:srgbClr>
          </a:solidFill>
          <a:ln>
            <a:noFill/>
          </a:ln>
          <a:effectLst/>
          <a:extLst/>
        </p:spPr>
        <p:txBody>
          <a:bodyPr vert="vert270" wrap="square" lIns="45720" tIns="45720" rIns="45720" bIns="4572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lnSpc>
                <a:spcPts val="1500"/>
              </a:lnSpc>
              <a:buClr>
                <a:srgbClr val="002960"/>
              </a:buClr>
            </a:pPr>
            <a:endParaRPr lang="en-US" b="1" dirty="0">
              <a:latin typeface="Arial"/>
            </a:endParaRPr>
          </a:p>
        </p:txBody>
      </p:sp>
      <p:cxnSp>
        <p:nvCxnSpPr>
          <p:cNvPr id="68" name="Straight Connector 67"/>
          <p:cNvCxnSpPr>
            <a:cxnSpLocks/>
          </p:cNvCxnSpPr>
          <p:nvPr/>
        </p:nvCxnSpPr>
        <p:spPr>
          <a:xfrm>
            <a:off x="900661" y="2280399"/>
            <a:ext cx="6008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193625" y="1748781"/>
            <a:ext cx="6715931"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1432251" y="3875253"/>
            <a:ext cx="54773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a:xfrm>
            <a:off x="1432251" y="2812017"/>
            <a:ext cx="54773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a:off x="1432251" y="3343635"/>
            <a:ext cx="547730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cxnSpLocks/>
          </p:cNvCxnSpPr>
          <p:nvPr/>
        </p:nvCxnSpPr>
        <p:spPr>
          <a:xfrm>
            <a:off x="193625" y="4938489"/>
            <a:ext cx="6715931"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1" name="Rectangle 18"/>
          <p:cNvSpPr>
            <a:spLocks noChangeArrowheads="1"/>
          </p:cNvSpPr>
          <p:nvPr/>
        </p:nvSpPr>
        <p:spPr bwMode="gray">
          <a:xfrm>
            <a:off x="193625" y="5325608"/>
            <a:ext cx="3988430" cy="475488"/>
          </a:xfrm>
          <a:prstGeom prst="rect">
            <a:avLst/>
          </a:prstGeom>
          <a:solidFill>
            <a:schemeClr val="accent4"/>
          </a:solidFill>
          <a:ln>
            <a:noFill/>
          </a:ln>
          <a:effectLst/>
          <a:extLst/>
        </p:spPr>
        <p:txBody>
          <a:bodyPr wrap="square" lIns="54864" tIns="42769" rIns="54864"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rgbClr val="FFFFFF"/>
                </a:solidFill>
                <a:latin typeface="Arial"/>
              </a:rPr>
              <a:t>India’s </a:t>
            </a:r>
            <a:r>
              <a:rPr lang="en-US" b="1" dirty="0" err="1" smtClean="0">
                <a:solidFill>
                  <a:srgbClr val="FFFFFF"/>
                </a:solidFill>
                <a:latin typeface="Arial"/>
              </a:rPr>
              <a:t>FDI</a:t>
            </a:r>
            <a:r>
              <a:rPr lang="en-US" b="1" dirty="0">
                <a:solidFill>
                  <a:srgbClr val="FFFFFF"/>
                </a:solidFill>
                <a:latin typeface="Arial"/>
              </a:rPr>
              <a:t> </a:t>
            </a:r>
            <a:r>
              <a:rPr lang="en-US" b="1" dirty="0" smtClean="0">
                <a:solidFill>
                  <a:srgbClr val="FFFFFF"/>
                </a:solidFill>
                <a:latin typeface="Arial"/>
              </a:rPr>
              <a:t>in Africa</a:t>
            </a:r>
            <a:endParaRPr lang="en-US" b="1" dirty="0">
              <a:solidFill>
                <a:srgbClr val="FFFFFF"/>
              </a:solidFill>
              <a:latin typeface="Arial"/>
            </a:endParaRPr>
          </a:p>
        </p:txBody>
      </p:sp>
      <p:grpSp>
        <p:nvGrpSpPr>
          <p:cNvPr id="3" name="Group 2"/>
          <p:cNvGrpSpPr/>
          <p:nvPr/>
        </p:nvGrpSpPr>
        <p:grpSpPr>
          <a:xfrm>
            <a:off x="4304787" y="4966554"/>
            <a:ext cx="2604768" cy="264688"/>
            <a:chOff x="5242435" y="5165422"/>
            <a:chExt cx="2604768" cy="264688"/>
          </a:xfrm>
        </p:grpSpPr>
        <p:grpSp>
          <p:nvGrpSpPr>
            <p:cNvPr id="82" name="Group 81"/>
            <p:cNvGrpSpPr/>
            <p:nvPr/>
          </p:nvGrpSpPr>
          <p:grpSpPr>
            <a:xfrm>
              <a:off x="5242435" y="5165422"/>
              <a:ext cx="1218311" cy="264688"/>
              <a:chOff x="3453670" y="5160754"/>
              <a:chExt cx="961659" cy="264688"/>
            </a:xfrm>
          </p:grpSpPr>
          <p:cxnSp>
            <p:nvCxnSpPr>
              <p:cNvPr id="83" name="AutoShape 249"/>
              <p:cNvCxnSpPr>
                <a:cxnSpLocks noChangeShapeType="1"/>
                <a:stCxn id="85" idx="4"/>
                <a:endCxn id="85" idx="6"/>
              </p:cNvCxnSpPr>
              <p:nvPr/>
            </p:nvCxnSpPr>
            <p:spPr bwMode="auto">
              <a:xfrm>
                <a:off x="3453670" y="5425442"/>
                <a:ext cx="961659" cy="0"/>
              </a:xfrm>
              <a:prstGeom prst="straightConnector1">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5" name="AutoShape 250"/>
              <p:cNvSpPr>
                <a:spLocks noChangeArrowheads="1"/>
              </p:cNvSpPr>
              <p:nvPr/>
            </p:nvSpPr>
            <p:spPr bwMode="auto">
              <a:xfrm>
                <a:off x="3453670" y="5160754"/>
                <a:ext cx="961659"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smtClean="0">
                    <a:solidFill>
                      <a:srgbClr val="002960"/>
                    </a:solidFill>
                    <a:latin typeface="Arial"/>
                  </a:rPr>
                  <a:t>2003–2013</a:t>
                </a:r>
                <a:endParaRPr lang="en-US" b="1" dirty="0">
                  <a:solidFill>
                    <a:srgbClr val="002960"/>
                  </a:solidFill>
                  <a:latin typeface="Arial"/>
                </a:endParaRPr>
              </a:p>
            </p:txBody>
          </p:sp>
        </p:grpSp>
        <p:grpSp>
          <p:nvGrpSpPr>
            <p:cNvPr id="90" name="Group 89"/>
            <p:cNvGrpSpPr/>
            <p:nvPr/>
          </p:nvGrpSpPr>
          <p:grpSpPr>
            <a:xfrm>
              <a:off x="6628892" y="5165422"/>
              <a:ext cx="1218311" cy="264688"/>
              <a:chOff x="4548053" y="5176143"/>
              <a:chExt cx="961659" cy="264688"/>
            </a:xfrm>
          </p:grpSpPr>
          <p:cxnSp>
            <p:nvCxnSpPr>
              <p:cNvPr id="94" name="AutoShape 249"/>
              <p:cNvCxnSpPr>
                <a:cxnSpLocks noChangeShapeType="1"/>
                <a:stCxn id="96" idx="4"/>
                <a:endCxn id="96" idx="6"/>
              </p:cNvCxnSpPr>
              <p:nvPr/>
            </p:nvCxnSpPr>
            <p:spPr bwMode="auto">
              <a:xfrm>
                <a:off x="4548053" y="5440831"/>
                <a:ext cx="961659" cy="0"/>
              </a:xfrm>
              <a:prstGeom prst="straightConnector1">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6" name="AutoShape 250"/>
              <p:cNvSpPr>
                <a:spLocks noChangeArrowheads="1"/>
              </p:cNvSpPr>
              <p:nvPr/>
            </p:nvSpPr>
            <p:spPr bwMode="auto">
              <a:xfrm>
                <a:off x="4548053" y="5176143"/>
                <a:ext cx="961659"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noAutofit/>
              </a:bodyPr>
              <a:lstStyle/>
              <a:p>
                <a:r>
                  <a:rPr lang="en-US" b="1" dirty="0" smtClean="0">
                    <a:solidFill>
                      <a:srgbClr val="002960"/>
                    </a:solidFill>
                    <a:latin typeface="Arial"/>
                  </a:rPr>
                  <a:t>2013–2025</a:t>
                </a:r>
                <a:endParaRPr lang="en-US" b="1" dirty="0">
                  <a:solidFill>
                    <a:srgbClr val="002960"/>
                  </a:solidFill>
                  <a:latin typeface="Arial"/>
                </a:endParaRPr>
              </a:p>
            </p:txBody>
          </p:sp>
        </p:grpSp>
      </p:grpSp>
      <p:sp>
        <p:nvSpPr>
          <p:cNvPr id="98" name="Rectangle 21"/>
          <p:cNvSpPr>
            <a:spLocks noChangeArrowheads="1"/>
          </p:cNvSpPr>
          <p:nvPr/>
        </p:nvSpPr>
        <p:spPr bwMode="gray">
          <a:xfrm>
            <a:off x="193625" y="1245228"/>
            <a:ext cx="3988430" cy="475488"/>
          </a:xfrm>
          <a:prstGeom prst="rect">
            <a:avLst/>
          </a:prstGeom>
          <a:solidFill>
            <a:schemeClr val="accent4"/>
          </a:solidFill>
          <a:ln>
            <a:noFill/>
          </a:ln>
          <a:effectLst/>
          <a:extLst/>
        </p:spPr>
        <p:txBody>
          <a:bodyPr wrap="square" lIns="54864" tIns="42769" rIns="54864" bIns="42769" anchor="ctr">
            <a:noAutofit/>
          </a:bodyPr>
          <a:lstStyle/>
          <a:p>
            <a:pPr defTabSz="855663">
              <a:buClr>
                <a:srgbClr val="002960"/>
              </a:buClr>
            </a:pPr>
            <a:r>
              <a:rPr lang="en-US" b="1" dirty="0">
                <a:solidFill>
                  <a:srgbClr val="FFFFFF"/>
                </a:solidFill>
                <a:latin typeface="Arial"/>
              </a:rPr>
              <a:t>India’s import from Africa</a:t>
            </a:r>
          </a:p>
        </p:txBody>
      </p:sp>
      <p:sp>
        <p:nvSpPr>
          <p:cNvPr id="97" name="Rectangle 18"/>
          <p:cNvSpPr>
            <a:spLocks noChangeArrowheads="1"/>
          </p:cNvSpPr>
          <p:nvPr/>
        </p:nvSpPr>
        <p:spPr bwMode="gray">
          <a:xfrm>
            <a:off x="900662" y="4434936"/>
            <a:ext cx="3281393" cy="475488"/>
          </a:xfrm>
          <a:prstGeom prst="rect">
            <a:avLst/>
          </a:prstGeom>
          <a:solidFill>
            <a:schemeClr val="accent3"/>
          </a:solidFill>
          <a:ln>
            <a:noFill/>
          </a:ln>
          <a:effectLst/>
          <a:extLst/>
        </p:spPr>
        <p:txBody>
          <a:bodyPr wrap="square" lIns="54864" tIns="42769" rIns="54864"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rgbClr val="FFFFFF"/>
                </a:solidFill>
                <a:latin typeface="Arial"/>
              </a:rPr>
              <a:t>Overall</a:t>
            </a:r>
            <a:endParaRPr lang="en-US" b="1" dirty="0">
              <a:solidFill>
                <a:srgbClr val="FFFFFF"/>
              </a:solidFill>
              <a:latin typeface="Arial"/>
            </a:endParaRPr>
          </a:p>
        </p:txBody>
      </p:sp>
      <p:sp>
        <p:nvSpPr>
          <p:cNvPr id="101" name="Rectangle 18"/>
          <p:cNvSpPr>
            <a:spLocks noChangeArrowheads="1"/>
          </p:cNvSpPr>
          <p:nvPr/>
        </p:nvSpPr>
        <p:spPr bwMode="gray">
          <a:xfrm>
            <a:off x="1432251" y="2840082"/>
            <a:ext cx="2749998" cy="475488"/>
          </a:xfrm>
          <a:prstGeom prst="rect">
            <a:avLst/>
          </a:prstGeom>
          <a:solidFill>
            <a:srgbClr val="66A3D7"/>
          </a:solidFill>
          <a:ln>
            <a:noFill/>
          </a:ln>
          <a:effectLst/>
          <a:extLst/>
        </p:spPr>
        <p:txBody>
          <a:bodyPr wrap="square" lIns="54864" tIns="42769" rIns="36576"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chemeClr val="bg1"/>
                </a:solidFill>
                <a:latin typeface="Arial"/>
              </a:rPr>
              <a:t>Consumer goods</a:t>
            </a:r>
            <a:r>
              <a:rPr lang="en-US" b="1" baseline="30000" dirty="0" smtClean="0">
                <a:solidFill>
                  <a:schemeClr val="bg1"/>
                </a:solidFill>
                <a:latin typeface="Arial"/>
              </a:rPr>
              <a:t>2</a:t>
            </a:r>
            <a:endParaRPr lang="en-US" b="1" baseline="30000" dirty="0">
              <a:solidFill>
                <a:schemeClr val="bg1"/>
              </a:solidFill>
              <a:latin typeface="Arial"/>
            </a:endParaRPr>
          </a:p>
        </p:txBody>
      </p:sp>
      <p:sp>
        <p:nvSpPr>
          <p:cNvPr id="106" name="Rectangle 17"/>
          <p:cNvSpPr>
            <a:spLocks noChangeArrowheads="1"/>
          </p:cNvSpPr>
          <p:nvPr/>
        </p:nvSpPr>
        <p:spPr bwMode="gray">
          <a:xfrm>
            <a:off x="900661" y="1776846"/>
            <a:ext cx="3281393" cy="475488"/>
          </a:xfrm>
          <a:prstGeom prst="rect">
            <a:avLst/>
          </a:prstGeom>
          <a:solidFill>
            <a:schemeClr val="accent3"/>
          </a:solidFill>
          <a:ln>
            <a:noFill/>
          </a:ln>
          <a:effectLst/>
          <a:extLst/>
        </p:spPr>
        <p:txBody>
          <a:bodyPr wrap="square" lIns="54864" tIns="42769" rIns="54864"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chemeClr val="bg1"/>
                </a:solidFill>
                <a:latin typeface="Arial"/>
              </a:rPr>
              <a:t>India’s exports to Africa</a:t>
            </a:r>
            <a:endParaRPr lang="en-US" b="1" dirty="0">
              <a:solidFill>
                <a:schemeClr val="bg1"/>
              </a:solidFill>
              <a:latin typeface="Arial"/>
            </a:endParaRPr>
          </a:p>
        </p:txBody>
      </p:sp>
      <p:sp>
        <p:nvSpPr>
          <p:cNvPr id="104" name="Rectangle 18"/>
          <p:cNvSpPr>
            <a:spLocks noChangeArrowheads="1"/>
          </p:cNvSpPr>
          <p:nvPr/>
        </p:nvSpPr>
        <p:spPr bwMode="gray">
          <a:xfrm>
            <a:off x="1432251" y="3371700"/>
            <a:ext cx="2749998" cy="475488"/>
          </a:xfrm>
          <a:prstGeom prst="rect">
            <a:avLst/>
          </a:prstGeom>
          <a:solidFill>
            <a:srgbClr val="66A3D7"/>
          </a:solidFill>
          <a:ln>
            <a:noFill/>
          </a:ln>
          <a:effectLst/>
          <a:extLst/>
        </p:spPr>
        <p:txBody>
          <a:bodyPr wrap="square" lIns="54864" tIns="42769" rIns="36576"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chemeClr val="bg1"/>
                </a:solidFill>
                <a:latin typeface="Arial"/>
              </a:rPr>
              <a:t>Infrastructure</a:t>
            </a:r>
            <a:endParaRPr lang="en-US" b="1" dirty="0">
              <a:solidFill>
                <a:schemeClr val="bg1"/>
              </a:solidFill>
              <a:latin typeface="Arial"/>
            </a:endParaRPr>
          </a:p>
        </p:txBody>
      </p:sp>
      <p:sp>
        <p:nvSpPr>
          <p:cNvPr id="105" name="Rectangle 18"/>
          <p:cNvSpPr>
            <a:spLocks noChangeArrowheads="1"/>
          </p:cNvSpPr>
          <p:nvPr/>
        </p:nvSpPr>
        <p:spPr bwMode="gray">
          <a:xfrm>
            <a:off x="1432251" y="2308464"/>
            <a:ext cx="2749998" cy="475488"/>
          </a:xfrm>
          <a:prstGeom prst="rect">
            <a:avLst/>
          </a:prstGeom>
          <a:solidFill>
            <a:srgbClr val="66A3D7"/>
          </a:solidFill>
          <a:ln>
            <a:noFill/>
          </a:ln>
          <a:effectLst/>
          <a:extLst/>
        </p:spPr>
        <p:txBody>
          <a:bodyPr wrap="square" lIns="54864" tIns="42769" rIns="36576"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chemeClr val="bg1"/>
                </a:solidFill>
                <a:latin typeface="Arial"/>
              </a:rPr>
              <a:t>IT services</a:t>
            </a:r>
            <a:endParaRPr lang="en-US" b="1" dirty="0">
              <a:solidFill>
                <a:schemeClr val="bg1"/>
              </a:solidFill>
              <a:latin typeface="Arial"/>
            </a:endParaRPr>
          </a:p>
        </p:txBody>
      </p:sp>
      <p:sp>
        <p:nvSpPr>
          <p:cNvPr id="107" name="Rectangle 18"/>
          <p:cNvSpPr>
            <a:spLocks noChangeArrowheads="1"/>
          </p:cNvSpPr>
          <p:nvPr/>
        </p:nvSpPr>
        <p:spPr bwMode="gray">
          <a:xfrm>
            <a:off x="1432251" y="3903318"/>
            <a:ext cx="2749998" cy="475488"/>
          </a:xfrm>
          <a:prstGeom prst="rect">
            <a:avLst/>
          </a:prstGeom>
          <a:solidFill>
            <a:srgbClr val="66A3D7"/>
          </a:solidFill>
          <a:ln>
            <a:noFill/>
          </a:ln>
          <a:effectLst/>
          <a:extLst/>
        </p:spPr>
        <p:txBody>
          <a:bodyPr wrap="square" lIns="54864" tIns="42769" rIns="36576" bIns="42769"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eaLnBrk="1" hangingPunct="1">
              <a:buClr>
                <a:srgbClr val="002960"/>
              </a:buClr>
            </a:pPr>
            <a:r>
              <a:rPr lang="en-US" b="1" dirty="0" smtClean="0">
                <a:solidFill>
                  <a:schemeClr val="bg1"/>
                </a:solidFill>
                <a:latin typeface="Arial"/>
              </a:rPr>
              <a:t>Agriculture (and allied)</a:t>
            </a:r>
            <a:endParaRPr lang="en-US" b="1" dirty="0">
              <a:solidFill>
                <a:schemeClr val="bg1"/>
              </a:solidFill>
              <a:latin typeface="Arial"/>
            </a:endParaRPr>
          </a:p>
        </p:txBody>
      </p:sp>
      <p:cxnSp>
        <p:nvCxnSpPr>
          <p:cNvPr id="109" name="Straight Connector 108"/>
          <p:cNvCxnSpPr>
            <a:cxnSpLocks/>
          </p:cNvCxnSpPr>
          <p:nvPr/>
        </p:nvCxnSpPr>
        <p:spPr>
          <a:xfrm>
            <a:off x="900661" y="4406871"/>
            <a:ext cx="600889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11" name="Rectangle 18"/>
          <p:cNvSpPr>
            <a:spLocks noChangeArrowheads="1"/>
          </p:cNvSpPr>
          <p:nvPr/>
        </p:nvSpPr>
        <p:spPr bwMode="gray">
          <a:xfrm>
            <a:off x="900661" y="2308464"/>
            <a:ext cx="473128" cy="2070342"/>
          </a:xfrm>
          <a:prstGeom prst="rect">
            <a:avLst/>
          </a:prstGeom>
          <a:solidFill>
            <a:schemeClr val="accent3"/>
          </a:solidFill>
          <a:ln>
            <a:noFill/>
          </a:ln>
          <a:effectLst/>
          <a:extLst/>
        </p:spPr>
        <p:txBody>
          <a:bodyPr vert="vert270" wrap="square" lIns="45720" tIns="45720" rIns="45720" bIns="4572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lnSpc>
                <a:spcPts val="1500"/>
              </a:lnSpc>
              <a:buClr>
                <a:srgbClr val="002960"/>
              </a:buClr>
            </a:pPr>
            <a:r>
              <a:rPr lang="en-US" b="1" dirty="0" smtClean="0">
                <a:solidFill>
                  <a:schemeClr val="bg1"/>
                </a:solidFill>
                <a:latin typeface="Arial"/>
              </a:rPr>
              <a:t>High potential sectors</a:t>
            </a:r>
            <a:endParaRPr lang="en-US" b="1" dirty="0">
              <a:solidFill>
                <a:schemeClr val="bg1"/>
              </a:solidFill>
              <a:latin typeface="Arial"/>
            </a:endParaRPr>
          </a:p>
        </p:txBody>
      </p:sp>
      <p:sp>
        <p:nvSpPr>
          <p:cNvPr id="113" name="Rectangle 18"/>
          <p:cNvSpPr>
            <a:spLocks noChangeArrowheads="1"/>
          </p:cNvSpPr>
          <p:nvPr/>
        </p:nvSpPr>
        <p:spPr bwMode="gray">
          <a:xfrm>
            <a:off x="193625" y="1776846"/>
            <a:ext cx="642393" cy="3133578"/>
          </a:xfrm>
          <a:prstGeom prst="rect">
            <a:avLst/>
          </a:prstGeom>
          <a:solidFill>
            <a:schemeClr val="accent4"/>
          </a:solidFill>
          <a:ln>
            <a:noFill/>
          </a:ln>
          <a:effectLst/>
          <a:extLst/>
        </p:spPr>
        <p:txBody>
          <a:bodyPr vert="vert270" wrap="square" lIns="45720" tIns="45720" rIns="45720" bIns="4572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lnSpc>
                <a:spcPts val="1500"/>
              </a:lnSpc>
              <a:buClr>
                <a:srgbClr val="002960"/>
              </a:buClr>
            </a:pPr>
            <a:r>
              <a:rPr lang="en-US" b="1" dirty="0" smtClean="0">
                <a:solidFill>
                  <a:srgbClr val="FFFFFF"/>
                </a:solidFill>
                <a:latin typeface="Arial"/>
              </a:rPr>
              <a:t>Revenues</a:t>
            </a:r>
            <a:r>
              <a:rPr lang="en-US" b="1" baseline="30000" dirty="0" smtClean="0">
                <a:solidFill>
                  <a:srgbClr val="FFFFFF"/>
                </a:solidFill>
                <a:latin typeface="Arial"/>
              </a:rPr>
              <a:t>1</a:t>
            </a:r>
            <a:r>
              <a:rPr lang="en-US" b="1" dirty="0" smtClean="0">
                <a:solidFill>
                  <a:srgbClr val="FFFFFF"/>
                </a:solidFill>
                <a:latin typeface="Arial"/>
              </a:rPr>
              <a:t> for Indian companies from Africa</a:t>
            </a:r>
            <a:endParaRPr lang="en-US" b="1" dirty="0">
              <a:solidFill>
                <a:srgbClr val="FFFFFF"/>
              </a:solidFill>
              <a:latin typeface="Arial"/>
            </a:endParaRPr>
          </a:p>
        </p:txBody>
      </p:sp>
      <p:grpSp>
        <p:nvGrpSpPr>
          <p:cNvPr id="114" name="Group 113"/>
          <p:cNvGrpSpPr/>
          <p:nvPr/>
        </p:nvGrpSpPr>
        <p:grpSpPr>
          <a:xfrm>
            <a:off x="4304787" y="936974"/>
            <a:ext cx="1218311" cy="264688"/>
            <a:chOff x="3453670" y="705910"/>
            <a:chExt cx="961659" cy="264688"/>
          </a:xfrm>
        </p:grpSpPr>
        <p:cxnSp>
          <p:nvCxnSpPr>
            <p:cNvPr id="115" name="AutoShape 249"/>
            <p:cNvCxnSpPr>
              <a:cxnSpLocks noChangeShapeType="1"/>
              <a:stCxn id="116" idx="4"/>
              <a:endCxn id="116" idx="6"/>
            </p:cNvCxnSpPr>
            <p:nvPr/>
          </p:nvCxnSpPr>
          <p:spPr bwMode="auto">
            <a:xfrm>
              <a:off x="3453670" y="970598"/>
              <a:ext cx="961659" cy="0"/>
            </a:xfrm>
            <a:prstGeom prst="straightConnector1">
              <a:avLst/>
            </a:prstGeom>
            <a:noFill/>
            <a:ln w="19050">
              <a:solidFill>
                <a:srgbClr val="66A3D7"/>
              </a:solidFill>
            </a:ln>
            <a:extLst/>
          </p:spPr>
          <p:style>
            <a:lnRef idx="2">
              <a:schemeClr val="accent1">
                <a:shade val="50000"/>
              </a:schemeClr>
            </a:lnRef>
            <a:fillRef idx="1">
              <a:schemeClr val="accent1"/>
            </a:fillRef>
            <a:effectRef idx="0">
              <a:schemeClr val="accent1"/>
            </a:effectRef>
            <a:fontRef idx="minor">
              <a:schemeClr val="lt1"/>
            </a:fontRef>
          </p:style>
        </p:cxnSp>
        <p:sp>
          <p:nvSpPr>
            <p:cNvPr id="116" name="AutoShape 250"/>
            <p:cNvSpPr>
              <a:spLocks noChangeArrowheads="1"/>
            </p:cNvSpPr>
            <p:nvPr/>
          </p:nvSpPr>
          <p:spPr bwMode="auto">
            <a:xfrm>
              <a:off x="3453670" y="705910"/>
              <a:ext cx="961659"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noAutofit/>
            </a:bodyPr>
            <a:lstStyle/>
            <a:p>
              <a:r>
                <a:rPr lang="en-US" b="1" dirty="0">
                  <a:solidFill>
                    <a:schemeClr val="tx2"/>
                  </a:solidFill>
                  <a:latin typeface="Arial"/>
                </a:rPr>
                <a:t>2013</a:t>
              </a:r>
            </a:p>
          </p:txBody>
        </p:sp>
      </p:grpSp>
      <p:sp>
        <p:nvSpPr>
          <p:cNvPr id="117" name="Rectangle 32"/>
          <p:cNvSpPr>
            <a:spLocks noChangeArrowheads="1"/>
          </p:cNvSpPr>
          <p:nvPr/>
        </p:nvSpPr>
        <p:spPr bwMode="gray">
          <a:xfrm>
            <a:off x="4448301" y="5350740"/>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60 </a:t>
            </a:r>
            <a:r>
              <a:rPr lang="en-US" b="1" dirty="0" err="1" smtClean="0">
                <a:solidFill>
                  <a:schemeClr val="bg1"/>
                </a:solidFill>
                <a:latin typeface="Arial"/>
                <a:cs typeface="Arial" pitchFamily="34" charset="0"/>
              </a:rPr>
              <a:t>bn</a:t>
            </a:r>
            <a:endParaRPr lang="en-US" b="1" dirty="0" smtClean="0">
              <a:solidFill>
                <a:schemeClr val="bg1"/>
              </a:solidFill>
              <a:latin typeface="Arial"/>
              <a:cs typeface="Arial" pitchFamily="34" charset="0"/>
            </a:endParaRPr>
          </a:p>
        </p:txBody>
      </p:sp>
      <p:sp>
        <p:nvSpPr>
          <p:cNvPr id="118" name="Rectangle 8"/>
          <p:cNvSpPr>
            <a:spLocks noChangeArrowheads="1"/>
          </p:cNvSpPr>
          <p:nvPr/>
        </p:nvSpPr>
        <p:spPr bwMode="gray">
          <a:xfrm>
            <a:off x="5834758" y="5350740"/>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100 </a:t>
            </a:r>
            <a:r>
              <a:rPr lang="en-US" b="1" dirty="0" err="1" smtClean="0">
                <a:solidFill>
                  <a:schemeClr val="bg1"/>
                </a:solidFill>
                <a:latin typeface="Arial"/>
                <a:cs typeface="Arial" pitchFamily="34" charset="0"/>
              </a:rPr>
              <a:t>bn</a:t>
            </a:r>
            <a:endParaRPr lang="en-US" b="1" dirty="0">
              <a:solidFill>
                <a:schemeClr val="bg1"/>
              </a:solidFill>
              <a:latin typeface="Arial"/>
              <a:cs typeface="Arial" pitchFamily="34" charset="0"/>
            </a:endParaRPr>
          </a:p>
        </p:txBody>
      </p:sp>
      <p:sp>
        <p:nvSpPr>
          <p:cNvPr id="119" name="Rectangle 32"/>
          <p:cNvSpPr>
            <a:spLocks noChangeArrowheads="1"/>
          </p:cNvSpPr>
          <p:nvPr/>
        </p:nvSpPr>
        <p:spPr bwMode="gray">
          <a:xfrm>
            <a:off x="4448301" y="4460068"/>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35 </a:t>
            </a:r>
            <a:r>
              <a:rPr lang="en-US" b="1" dirty="0" err="1" smtClean="0">
                <a:solidFill>
                  <a:schemeClr val="bg1"/>
                </a:solidFill>
                <a:latin typeface="Arial"/>
                <a:cs typeface="Arial" pitchFamily="34" charset="0"/>
              </a:rPr>
              <a:t>bn</a:t>
            </a:r>
            <a:endParaRPr lang="en-US" b="1" dirty="0">
              <a:solidFill>
                <a:schemeClr val="bg1"/>
              </a:solidFill>
              <a:latin typeface="Arial"/>
              <a:cs typeface="Arial" pitchFamily="34" charset="0"/>
            </a:endParaRPr>
          </a:p>
        </p:txBody>
      </p:sp>
      <p:sp>
        <p:nvSpPr>
          <p:cNvPr id="120" name="Rectangle 8"/>
          <p:cNvSpPr>
            <a:spLocks noChangeArrowheads="1"/>
          </p:cNvSpPr>
          <p:nvPr/>
        </p:nvSpPr>
        <p:spPr bwMode="gray">
          <a:xfrm>
            <a:off x="5834758" y="4460068"/>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160 </a:t>
            </a:r>
            <a:r>
              <a:rPr lang="en-US" b="1" dirty="0" err="1" smtClean="0">
                <a:solidFill>
                  <a:schemeClr val="bg1"/>
                </a:solidFill>
                <a:latin typeface="Arial"/>
                <a:cs typeface="Arial" pitchFamily="34" charset="0"/>
              </a:rPr>
              <a:t>bn</a:t>
            </a:r>
            <a:endParaRPr lang="en-US" b="1" baseline="30000" dirty="0">
              <a:solidFill>
                <a:schemeClr val="bg1"/>
              </a:solidFill>
              <a:latin typeface="Arial"/>
              <a:cs typeface="Arial" pitchFamily="34" charset="0"/>
            </a:endParaRPr>
          </a:p>
        </p:txBody>
      </p:sp>
      <p:sp>
        <p:nvSpPr>
          <p:cNvPr id="121" name="Rectangle 39"/>
          <p:cNvSpPr>
            <a:spLocks noChangeArrowheads="1"/>
          </p:cNvSpPr>
          <p:nvPr/>
        </p:nvSpPr>
        <p:spPr bwMode="gray">
          <a:xfrm>
            <a:off x="4448301" y="1270360"/>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a:solidFill>
                  <a:schemeClr val="bg1"/>
                </a:solidFill>
                <a:latin typeface="Arial"/>
                <a:cs typeface="Arial" pitchFamily="34" charset="0"/>
              </a:rPr>
              <a:t>4</a:t>
            </a:r>
            <a:r>
              <a:rPr lang="en-US" b="1" dirty="0" smtClean="0">
                <a:solidFill>
                  <a:schemeClr val="bg1"/>
                </a:solidFill>
                <a:latin typeface="Arial"/>
                <a:cs typeface="Arial" pitchFamily="34" charset="0"/>
              </a:rPr>
              <a:t>3 </a:t>
            </a:r>
            <a:r>
              <a:rPr lang="en-US" b="1" dirty="0" err="1" smtClean="0">
                <a:solidFill>
                  <a:schemeClr val="bg1"/>
                </a:solidFill>
                <a:latin typeface="Arial"/>
                <a:cs typeface="Arial" pitchFamily="34" charset="0"/>
              </a:rPr>
              <a:t>bn</a:t>
            </a:r>
            <a:r>
              <a:rPr lang="en-US" b="1" i="1" dirty="0" smtClean="0">
                <a:solidFill>
                  <a:schemeClr val="bg1"/>
                </a:solidFill>
                <a:latin typeface="Arial"/>
                <a:cs typeface="Arial" pitchFamily="34" charset="0"/>
              </a:rPr>
              <a:t> </a:t>
            </a:r>
          </a:p>
        </p:txBody>
      </p:sp>
      <p:sp>
        <p:nvSpPr>
          <p:cNvPr id="122" name="Rectangle 15"/>
          <p:cNvSpPr>
            <a:spLocks noChangeArrowheads="1"/>
          </p:cNvSpPr>
          <p:nvPr/>
        </p:nvSpPr>
        <p:spPr bwMode="gray">
          <a:xfrm>
            <a:off x="5834758" y="1270360"/>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300 </a:t>
            </a:r>
            <a:r>
              <a:rPr lang="en-US" b="1" dirty="0" err="1" smtClean="0">
                <a:solidFill>
                  <a:schemeClr val="bg1"/>
                </a:solidFill>
                <a:latin typeface="Arial"/>
                <a:cs typeface="Arial" pitchFamily="34" charset="0"/>
              </a:rPr>
              <a:t>bn</a:t>
            </a:r>
            <a:endParaRPr lang="en-US" b="1" dirty="0" smtClean="0">
              <a:solidFill>
                <a:schemeClr val="bg1"/>
              </a:solidFill>
              <a:latin typeface="Arial"/>
              <a:cs typeface="Arial" pitchFamily="34" charset="0"/>
            </a:endParaRPr>
          </a:p>
        </p:txBody>
      </p:sp>
      <p:sp>
        <p:nvSpPr>
          <p:cNvPr id="123" name="Rectangle 32"/>
          <p:cNvSpPr>
            <a:spLocks noChangeArrowheads="1"/>
          </p:cNvSpPr>
          <p:nvPr/>
        </p:nvSpPr>
        <p:spPr bwMode="gray">
          <a:xfrm>
            <a:off x="4448301" y="2865214"/>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a:solidFill>
                  <a:schemeClr val="bg1"/>
                </a:solidFill>
                <a:latin typeface="Arial"/>
                <a:cs typeface="Arial" pitchFamily="34" charset="0"/>
              </a:rPr>
              <a:t>&lt;</a:t>
            </a:r>
            <a:r>
              <a:rPr lang="en-US" b="1" dirty="0" smtClean="0">
                <a:solidFill>
                  <a:schemeClr val="bg1"/>
                </a:solidFill>
                <a:latin typeface="Arial"/>
                <a:cs typeface="Arial" pitchFamily="34" charset="0"/>
              </a:rPr>
              <a:t>1 </a:t>
            </a:r>
            <a:r>
              <a:rPr lang="en-US" b="1" dirty="0" err="1" smtClean="0">
                <a:solidFill>
                  <a:schemeClr val="bg1"/>
                </a:solidFill>
                <a:latin typeface="Arial"/>
                <a:cs typeface="Arial" pitchFamily="34" charset="0"/>
              </a:rPr>
              <a:t>bn</a:t>
            </a:r>
            <a:endParaRPr lang="en-US" b="1" dirty="0">
              <a:solidFill>
                <a:schemeClr val="bg1"/>
              </a:solidFill>
              <a:latin typeface="Arial"/>
              <a:cs typeface="Arial" pitchFamily="34" charset="0"/>
            </a:endParaRPr>
          </a:p>
        </p:txBody>
      </p:sp>
      <p:sp>
        <p:nvSpPr>
          <p:cNvPr id="124" name="Rectangle 8"/>
          <p:cNvSpPr>
            <a:spLocks noChangeArrowheads="1"/>
          </p:cNvSpPr>
          <p:nvPr/>
        </p:nvSpPr>
        <p:spPr bwMode="gray">
          <a:xfrm>
            <a:off x="5834758" y="2865214"/>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17 </a:t>
            </a:r>
            <a:r>
              <a:rPr lang="en-US" b="1" dirty="0" err="1" smtClean="0">
                <a:solidFill>
                  <a:schemeClr val="bg1"/>
                </a:solidFill>
                <a:latin typeface="Arial"/>
                <a:cs typeface="Arial" pitchFamily="34" charset="0"/>
              </a:rPr>
              <a:t>bn</a:t>
            </a:r>
            <a:endParaRPr lang="en-US" b="1" baseline="30000" dirty="0">
              <a:solidFill>
                <a:schemeClr val="bg1"/>
              </a:solidFill>
              <a:latin typeface="Arial"/>
              <a:cs typeface="Arial" pitchFamily="34" charset="0"/>
            </a:endParaRPr>
          </a:p>
        </p:txBody>
      </p:sp>
      <p:sp>
        <p:nvSpPr>
          <p:cNvPr id="125" name="Rectangle 32"/>
          <p:cNvSpPr>
            <a:spLocks noChangeArrowheads="1"/>
          </p:cNvSpPr>
          <p:nvPr/>
        </p:nvSpPr>
        <p:spPr bwMode="gray">
          <a:xfrm>
            <a:off x="4448301" y="3396832"/>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p>
            <a:pPr algn="ctr" defTabSz="855663">
              <a:buSzPct val="120000"/>
            </a:pPr>
            <a:r>
              <a:rPr lang="en-US" b="1" dirty="0" smtClean="0">
                <a:solidFill>
                  <a:schemeClr val="bg1"/>
                </a:solidFill>
                <a:latin typeface="Arial"/>
                <a:cs typeface="Arial" pitchFamily="34" charset="0"/>
              </a:rPr>
              <a:t>&lt;1 </a:t>
            </a:r>
            <a:r>
              <a:rPr lang="en-US" b="1" dirty="0" err="1" smtClean="0">
                <a:solidFill>
                  <a:schemeClr val="bg1"/>
                </a:solidFill>
                <a:latin typeface="Arial"/>
                <a:cs typeface="Arial" pitchFamily="34" charset="0"/>
              </a:rPr>
              <a:t>bn</a:t>
            </a:r>
            <a:endParaRPr lang="en-US" b="1" dirty="0">
              <a:solidFill>
                <a:schemeClr val="bg1"/>
              </a:solidFill>
              <a:latin typeface="Arial"/>
              <a:cs typeface="Arial" pitchFamily="34" charset="0"/>
            </a:endParaRPr>
          </a:p>
        </p:txBody>
      </p:sp>
      <p:sp>
        <p:nvSpPr>
          <p:cNvPr id="126" name="Rectangle 8"/>
          <p:cNvSpPr>
            <a:spLocks noChangeArrowheads="1"/>
          </p:cNvSpPr>
          <p:nvPr/>
        </p:nvSpPr>
        <p:spPr bwMode="gray">
          <a:xfrm>
            <a:off x="5834758" y="3396832"/>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25 </a:t>
            </a:r>
            <a:r>
              <a:rPr lang="en-US" b="1" dirty="0" err="1" smtClean="0">
                <a:solidFill>
                  <a:schemeClr val="bg1"/>
                </a:solidFill>
                <a:latin typeface="Arial"/>
                <a:cs typeface="Arial" pitchFamily="34" charset="0"/>
              </a:rPr>
              <a:t>bn</a:t>
            </a:r>
            <a:endParaRPr lang="en-US" b="1" baseline="30000" dirty="0">
              <a:solidFill>
                <a:schemeClr val="bg1"/>
              </a:solidFill>
              <a:latin typeface="Arial"/>
              <a:cs typeface="Arial" pitchFamily="34" charset="0"/>
            </a:endParaRPr>
          </a:p>
        </p:txBody>
      </p:sp>
      <p:sp>
        <p:nvSpPr>
          <p:cNvPr id="127" name="Rectangle 32"/>
          <p:cNvSpPr>
            <a:spLocks noChangeArrowheads="1"/>
          </p:cNvSpPr>
          <p:nvPr/>
        </p:nvSpPr>
        <p:spPr bwMode="gray">
          <a:xfrm>
            <a:off x="4448301" y="2333596"/>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1–2 </a:t>
            </a:r>
            <a:r>
              <a:rPr lang="en-US" b="1" dirty="0" err="1" smtClean="0">
                <a:solidFill>
                  <a:schemeClr val="bg1"/>
                </a:solidFill>
                <a:latin typeface="Arial"/>
                <a:cs typeface="Arial" pitchFamily="34" charset="0"/>
              </a:rPr>
              <a:t>bn</a:t>
            </a:r>
            <a:endParaRPr lang="en-US" b="1" dirty="0" smtClean="0">
              <a:solidFill>
                <a:schemeClr val="bg1"/>
              </a:solidFill>
              <a:latin typeface="Arial"/>
              <a:cs typeface="Arial" pitchFamily="34" charset="0"/>
            </a:endParaRPr>
          </a:p>
        </p:txBody>
      </p:sp>
      <p:sp>
        <p:nvSpPr>
          <p:cNvPr id="128" name="Rectangle 8"/>
          <p:cNvSpPr>
            <a:spLocks noChangeArrowheads="1"/>
          </p:cNvSpPr>
          <p:nvPr/>
        </p:nvSpPr>
        <p:spPr bwMode="gray">
          <a:xfrm>
            <a:off x="5834758" y="2333596"/>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7 </a:t>
            </a:r>
            <a:r>
              <a:rPr lang="en-US" b="1" dirty="0" err="1" smtClean="0">
                <a:solidFill>
                  <a:schemeClr val="bg1"/>
                </a:solidFill>
                <a:latin typeface="Arial"/>
                <a:cs typeface="Arial" pitchFamily="34" charset="0"/>
              </a:rPr>
              <a:t>bn</a:t>
            </a:r>
            <a:endParaRPr lang="en-US" b="1" dirty="0">
              <a:solidFill>
                <a:schemeClr val="bg1"/>
              </a:solidFill>
              <a:latin typeface="Arial"/>
              <a:cs typeface="Arial" pitchFamily="34" charset="0"/>
            </a:endParaRPr>
          </a:p>
        </p:txBody>
      </p:sp>
      <p:sp>
        <p:nvSpPr>
          <p:cNvPr id="129" name="Rectangle 31"/>
          <p:cNvSpPr>
            <a:spLocks noChangeArrowheads="1"/>
          </p:cNvSpPr>
          <p:nvPr/>
        </p:nvSpPr>
        <p:spPr bwMode="gray">
          <a:xfrm>
            <a:off x="4448301" y="1801978"/>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27 </a:t>
            </a:r>
            <a:r>
              <a:rPr lang="en-US" b="1" dirty="0" err="1" smtClean="0">
                <a:solidFill>
                  <a:schemeClr val="bg1"/>
                </a:solidFill>
                <a:latin typeface="Arial"/>
                <a:cs typeface="Arial" pitchFamily="34" charset="0"/>
              </a:rPr>
              <a:t>bn</a:t>
            </a:r>
            <a:r>
              <a:rPr lang="en-US" b="1" dirty="0" smtClean="0">
                <a:solidFill>
                  <a:schemeClr val="bg1"/>
                </a:solidFill>
                <a:latin typeface="Arial"/>
                <a:cs typeface="Arial" pitchFamily="34" charset="0"/>
              </a:rPr>
              <a:t> </a:t>
            </a:r>
          </a:p>
        </p:txBody>
      </p:sp>
      <p:sp>
        <p:nvSpPr>
          <p:cNvPr id="130" name="Rectangle 7"/>
          <p:cNvSpPr>
            <a:spLocks noChangeArrowheads="1"/>
          </p:cNvSpPr>
          <p:nvPr/>
        </p:nvSpPr>
        <p:spPr bwMode="gray">
          <a:xfrm>
            <a:off x="5834758" y="1801978"/>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130 </a:t>
            </a:r>
            <a:r>
              <a:rPr lang="en-US" b="1" dirty="0" err="1" smtClean="0">
                <a:solidFill>
                  <a:schemeClr val="bg1"/>
                </a:solidFill>
                <a:latin typeface="Arial"/>
                <a:cs typeface="Arial" pitchFamily="34" charset="0"/>
              </a:rPr>
              <a:t>bn</a:t>
            </a:r>
            <a:endParaRPr lang="en-US" b="1" i="1" dirty="0" smtClean="0">
              <a:solidFill>
                <a:schemeClr val="bg1"/>
              </a:solidFill>
              <a:latin typeface="Arial"/>
              <a:cs typeface="Arial" pitchFamily="34" charset="0"/>
            </a:endParaRPr>
          </a:p>
        </p:txBody>
      </p:sp>
      <p:grpSp>
        <p:nvGrpSpPr>
          <p:cNvPr id="131" name="Group 130"/>
          <p:cNvGrpSpPr/>
          <p:nvPr/>
        </p:nvGrpSpPr>
        <p:grpSpPr>
          <a:xfrm>
            <a:off x="5691244" y="936974"/>
            <a:ext cx="1218311" cy="264688"/>
            <a:chOff x="4548053" y="705910"/>
            <a:chExt cx="961659" cy="264688"/>
          </a:xfrm>
        </p:grpSpPr>
        <p:cxnSp>
          <p:nvCxnSpPr>
            <p:cNvPr id="132" name="AutoShape 249"/>
            <p:cNvCxnSpPr>
              <a:cxnSpLocks noChangeShapeType="1"/>
              <a:stCxn id="133" idx="4"/>
              <a:endCxn id="133" idx="6"/>
            </p:cNvCxnSpPr>
            <p:nvPr/>
          </p:nvCxnSpPr>
          <p:spPr bwMode="auto">
            <a:xfrm>
              <a:off x="4548053" y="970598"/>
              <a:ext cx="961659" cy="0"/>
            </a:xfrm>
            <a:prstGeom prst="straightConnector1">
              <a:avLst/>
            </a:prstGeom>
            <a:noFill/>
            <a:ln w="19050">
              <a:solidFill>
                <a:srgbClr val="66A3D7"/>
              </a:solidFill>
            </a:ln>
            <a:extLst/>
          </p:spPr>
          <p:style>
            <a:lnRef idx="2">
              <a:schemeClr val="accent1">
                <a:shade val="50000"/>
              </a:schemeClr>
            </a:lnRef>
            <a:fillRef idx="1">
              <a:schemeClr val="accent1"/>
            </a:fillRef>
            <a:effectRef idx="0">
              <a:schemeClr val="accent1"/>
            </a:effectRef>
            <a:fontRef idx="minor">
              <a:schemeClr val="lt1"/>
            </a:fontRef>
          </p:style>
        </p:cxnSp>
        <p:sp>
          <p:nvSpPr>
            <p:cNvPr id="133" name="AutoShape 250"/>
            <p:cNvSpPr>
              <a:spLocks noChangeArrowheads="1"/>
            </p:cNvSpPr>
            <p:nvPr/>
          </p:nvSpPr>
          <p:spPr bwMode="auto">
            <a:xfrm>
              <a:off x="4548053" y="705910"/>
              <a:ext cx="961659"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noAutofit/>
            </a:bodyPr>
            <a:lstStyle/>
            <a:p>
              <a:r>
                <a:rPr lang="en-US" b="1" dirty="0">
                  <a:solidFill>
                    <a:schemeClr val="tx2"/>
                  </a:solidFill>
                  <a:latin typeface="Arial"/>
                </a:rPr>
                <a:t>2025</a:t>
              </a:r>
            </a:p>
          </p:txBody>
        </p:sp>
      </p:grpSp>
      <p:sp>
        <p:nvSpPr>
          <p:cNvPr id="134" name="Rectangle 32"/>
          <p:cNvSpPr>
            <a:spLocks noChangeArrowheads="1"/>
          </p:cNvSpPr>
          <p:nvPr/>
        </p:nvSpPr>
        <p:spPr bwMode="gray">
          <a:xfrm>
            <a:off x="4448301" y="3928450"/>
            <a:ext cx="931282" cy="425224"/>
          </a:xfrm>
          <a:prstGeom prst="ellipse">
            <a:avLst/>
          </a:prstGeom>
          <a:solidFill>
            <a:srgbClr val="3280C0"/>
          </a:solidFill>
          <a:ln w="19050">
            <a:solidFill>
              <a:schemeClr val="bg1"/>
            </a:solidFill>
          </a:ln>
          <a:effectLst/>
          <a:extLst/>
        </p:spPr>
        <p:txBody>
          <a:bodyPr wrap="none" lIns="43200" tIns="43200" rIns="43200" bIns="43200" anchor="ctr">
            <a:noAutofit/>
          </a:bodyPr>
          <a:lstStyle/>
          <a:p>
            <a:pPr algn="ctr" defTabSz="855663">
              <a:buSzPct val="120000"/>
            </a:pPr>
            <a:r>
              <a:rPr lang="en-US" b="1" dirty="0" smtClean="0">
                <a:solidFill>
                  <a:schemeClr val="bg1"/>
                </a:solidFill>
                <a:latin typeface="Arial"/>
                <a:cs typeface="Arial" pitchFamily="34" charset="0"/>
              </a:rPr>
              <a:t>&lt;1 </a:t>
            </a:r>
            <a:r>
              <a:rPr lang="en-US" b="1" dirty="0" err="1" smtClean="0">
                <a:solidFill>
                  <a:schemeClr val="bg1"/>
                </a:solidFill>
                <a:latin typeface="Arial"/>
                <a:cs typeface="Arial" pitchFamily="34" charset="0"/>
              </a:rPr>
              <a:t>bn</a:t>
            </a:r>
            <a:endParaRPr lang="en-US" b="1" dirty="0">
              <a:solidFill>
                <a:schemeClr val="bg1"/>
              </a:solidFill>
              <a:latin typeface="Arial"/>
              <a:cs typeface="Arial" pitchFamily="34" charset="0"/>
            </a:endParaRPr>
          </a:p>
        </p:txBody>
      </p:sp>
      <p:sp>
        <p:nvSpPr>
          <p:cNvPr id="135" name="Rectangle 8"/>
          <p:cNvSpPr>
            <a:spLocks noChangeArrowheads="1"/>
          </p:cNvSpPr>
          <p:nvPr/>
        </p:nvSpPr>
        <p:spPr bwMode="gray">
          <a:xfrm>
            <a:off x="5834758" y="3928450"/>
            <a:ext cx="931282" cy="425224"/>
          </a:xfrm>
          <a:prstGeom prst="ellipse">
            <a:avLst/>
          </a:prstGeom>
          <a:solidFill>
            <a:schemeClr val="accent5"/>
          </a:solidFill>
          <a:ln w="19050">
            <a:solidFill>
              <a:schemeClr val="bg1"/>
            </a:solidFill>
          </a:ln>
          <a:effectLst/>
          <a:extLst/>
        </p:spPr>
        <p:txBody>
          <a:bodyPr wrap="none" lIns="43200" tIns="43200" rIns="43200" bIns="43200" anchor="ctr" anchorCtr="0">
            <a:noAutofit/>
          </a:bodyPr>
          <a:lstStyle>
            <a:lvl1pPr defTabSz="855663" eaLnBrk="0" hangingPunct="0">
              <a:defRPr sz="1600">
                <a:solidFill>
                  <a:schemeClr val="tx1"/>
                </a:solidFill>
                <a:latin typeface="Arial" pitchFamily="34" charset="0"/>
              </a:defRPr>
            </a:lvl1pPr>
            <a:lvl2pPr marL="742950" indent="-285750" defTabSz="855663" eaLnBrk="0" hangingPunct="0">
              <a:defRPr sz="1600">
                <a:solidFill>
                  <a:schemeClr val="tx1"/>
                </a:solidFill>
                <a:latin typeface="Arial" pitchFamily="34" charset="0"/>
              </a:defRPr>
            </a:lvl2pPr>
            <a:lvl3pPr marL="1143000" indent="-228600" defTabSz="855663" eaLnBrk="0" hangingPunct="0">
              <a:defRPr sz="1600">
                <a:solidFill>
                  <a:schemeClr val="tx1"/>
                </a:solidFill>
                <a:latin typeface="Arial" pitchFamily="34" charset="0"/>
              </a:defRPr>
            </a:lvl3pPr>
            <a:lvl4pPr marL="1600200" indent="-228600" defTabSz="855663" eaLnBrk="0" hangingPunct="0">
              <a:defRPr sz="1600">
                <a:solidFill>
                  <a:schemeClr val="tx1"/>
                </a:solidFill>
                <a:latin typeface="Arial" pitchFamily="34" charset="0"/>
              </a:defRPr>
            </a:lvl4pPr>
            <a:lvl5pPr marL="2057400" indent="-228600" defTabSz="855663" eaLnBrk="0" hangingPunct="0">
              <a:defRPr sz="1600">
                <a:solidFill>
                  <a:schemeClr val="tx1"/>
                </a:solidFill>
                <a:latin typeface="Arial" pitchFamily="34" charset="0"/>
              </a:defRPr>
            </a:lvl5pPr>
            <a:lvl6pPr marL="2514600" indent="-228600" defTabSz="855663" eaLnBrk="0" fontAlgn="base" hangingPunct="0">
              <a:spcBef>
                <a:spcPct val="0"/>
              </a:spcBef>
              <a:spcAft>
                <a:spcPct val="0"/>
              </a:spcAft>
              <a:defRPr sz="1600">
                <a:solidFill>
                  <a:schemeClr val="tx1"/>
                </a:solidFill>
                <a:latin typeface="Arial" pitchFamily="34" charset="0"/>
              </a:defRPr>
            </a:lvl6pPr>
            <a:lvl7pPr marL="2971800" indent="-228600" defTabSz="855663" eaLnBrk="0" fontAlgn="base" hangingPunct="0">
              <a:spcBef>
                <a:spcPct val="0"/>
              </a:spcBef>
              <a:spcAft>
                <a:spcPct val="0"/>
              </a:spcAft>
              <a:defRPr sz="1600">
                <a:solidFill>
                  <a:schemeClr val="tx1"/>
                </a:solidFill>
                <a:latin typeface="Arial" pitchFamily="34" charset="0"/>
              </a:defRPr>
            </a:lvl7pPr>
            <a:lvl8pPr marL="3429000" indent="-228600" defTabSz="855663" eaLnBrk="0" fontAlgn="base" hangingPunct="0">
              <a:spcBef>
                <a:spcPct val="0"/>
              </a:spcBef>
              <a:spcAft>
                <a:spcPct val="0"/>
              </a:spcAft>
              <a:defRPr sz="1600">
                <a:solidFill>
                  <a:schemeClr val="tx1"/>
                </a:solidFill>
                <a:latin typeface="Arial" pitchFamily="34" charset="0"/>
              </a:defRPr>
            </a:lvl8pPr>
            <a:lvl9pPr marL="3886200" indent="-228600" defTabSz="855663" eaLnBrk="0" fontAlgn="base" hangingPunct="0">
              <a:spcBef>
                <a:spcPct val="0"/>
              </a:spcBef>
              <a:spcAft>
                <a:spcPct val="0"/>
              </a:spcAft>
              <a:defRPr sz="1600">
                <a:solidFill>
                  <a:schemeClr val="tx1"/>
                </a:solidFill>
                <a:latin typeface="Arial" pitchFamily="34" charset="0"/>
              </a:defRPr>
            </a:lvl9pPr>
          </a:lstStyle>
          <a:p>
            <a:pPr algn="ctr" eaLnBrk="1" hangingPunct="1">
              <a:buSzPct val="120000"/>
            </a:pPr>
            <a:r>
              <a:rPr lang="en-US" b="1" dirty="0" smtClean="0">
                <a:solidFill>
                  <a:schemeClr val="bg1"/>
                </a:solidFill>
                <a:latin typeface="Arial"/>
                <a:cs typeface="Arial" pitchFamily="34" charset="0"/>
              </a:rPr>
              <a:t>5 </a:t>
            </a:r>
            <a:r>
              <a:rPr lang="en-US" b="1" dirty="0" err="1" smtClean="0">
                <a:solidFill>
                  <a:schemeClr val="bg1"/>
                </a:solidFill>
                <a:latin typeface="Arial"/>
                <a:cs typeface="Arial" pitchFamily="34" charset="0"/>
              </a:rPr>
              <a:t>bn</a:t>
            </a:r>
            <a:endParaRPr lang="en-US" b="1" baseline="30000" dirty="0">
              <a:solidFill>
                <a:schemeClr val="bg1"/>
              </a:solidFill>
              <a:latin typeface="Arial"/>
              <a:cs typeface="Arial" pitchFamily="34" charset="0"/>
            </a:endParaRPr>
          </a:p>
        </p:txBody>
      </p:sp>
      <p:sp>
        <p:nvSpPr>
          <p:cNvPr id="62" name="Freeform 41"/>
          <p:cNvSpPr>
            <a:spLocks/>
          </p:cNvSpPr>
          <p:nvPr/>
        </p:nvSpPr>
        <p:spPr bwMode="gray">
          <a:xfrm>
            <a:off x="7035441" y="3726222"/>
            <a:ext cx="1851384" cy="2053822"/>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chemeClr val="accent5">
              <a:lumMod val="50000"/>
            </a:schemeClr>
          </a:solidFill>
          <a:ln w="9525" cap="flat" cmpd="sng">
            <a:noFill/>
            <a:prstDash val="solid"/>
            <a:round/>
            <a:headEnd type="none" w="med" len="med"/>
            <a:tailEnd type="none" w="med" len="med"/>
          </a:ln>
          <a:effectLst/>
          <a:extLst/>
        </p:spPr>
        <p:txBody>
          <a:bodyPr/>
          <a:lstStyle/>
          <a:p>
            <a:endParaRPr lang="en-CA"/>
          </a:p>
        </p:txBody>
      </p:sp>
    </p:spTree>
    <p:extLst>
      <p:ext uri="{BB962C8B-B14F-4D97-AF65-F5344CB8AC3E}">
        <p14:creationId xmlns:p14="http://schemas.microsoft.com/office/powerpoint/2010/main" val="15808043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5629746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22" name="Picture 2"/>
          <p:cNvPicPr>
            <a:picLocks noChangeArrowheads="1"/>
          </p:cNvPicPr>
          <p:nvPr/>
        </p:nvPicPr>
        <p:blipFill rotWithShape="1">
          <a:blip r:embed="rId8" cstate="email">
            <a:extLst>
              <a:ext uri="{28A0092B-C50C-407E-A947-70E740481C1C}">
                <a14:useLocalDpi xmlns:a14="http://schemas.microsoft.com/office/drawing/2010/main"/>
              </a:ext>
            </a:extLst>
          </a:blip>
          <a:srcRect/>
          <a:stretch/>
        </p:blipFill>
        <p:spPr bwMode="gray">
          <a:xfrm flipH="1">
            <a:off x="6832811" y="913746"/>
            <a:ext cx="2128624" cy="5199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tangle 4"/>
          <p:cNvSpPr>
            <a:spLocks noChangeArrowheads="1"/>
          </p:cNvSpPr>
          <p:nvPr/>
        </p:nvSpPr>
        <p:spPr bwMode="gray">
          <a:xfrm>
            <a:off x="119063" y="913746"/>
            <a:ext cx="8842375" cy="5199665"/>
          </a:xfrm>
          <a:prstGeom prst="rect">
            <a:avLst/>
          </a:prstGeom>
          <a:noFill/>
          <a:ln w="19050">
            <a:solidFill>
              <a:srgbClr val="66A3D7"/>
            </a:solidFill>
            <a:miter lim="800000"/>
            <a:headEnd/>
            <a:tailEnd/>
          </a:ln>
          <a:effectLst/>
        </p:spPr>
        <p:txBody>
          <a:bodyPr wrap="none" anchor="ctr">
            <a:noAutofit/>
          </a:bodyPr>
          <a:lstStyle/>
          <a:p>
            <a:endParaRPr lang="en-AU" sz="1200">
              <a:solidFill>
                <a:srgbClr val="000000"/>
              </a:solidFill>
              <a:latin typeface="+mn-lt"/>
            </a:endParaRPr>
          </a:p>
        </p:txBody>
      </p:sp>
      <p:pic>
        <p:nvPicPr>
          <p:cNvPr id="59" name="Object 58"/>
          <p:cNvPicPr>
            <a:picLocks noChangeAspect="1"/>
          </p:cNvPicPr>
          <p:nvPr/>
        </p:nvPicPr>
        <p:blipFill>
          <a:blip r:embed="rId7"/>
          <a:srcRect/>
          <a:stretch>
            <a:fillRect/>
          </a:stretch>
        </p:blipFill>
        <p:spPr bwMode="gray">
          <a:xfrm>
            <a:off x="0" y="0"/>
            <a:ext cx="158750" cy="158750"/>
          </a:xfrm>
          <a:prstGeom prst="rect">
            <a:avLst/>
          </a:prstGeom>
          <a:noFill/>
        </p:spPr>
      </p:pic>
      <p:sp>
        <p:nvSpPr>
          <p:cNvPr id="70" name="McK 5. Source"/>
          <p:cNvSpPr>
            <a:spLocks noChangeArrowheads="1"/>
          </p:cNvSpPr>
          <p:nvPr>
            <p:custDataLst>
              <p:tags r:id="rId3"/>
            </p:custDataLst>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rPr>
              <a:t>SOURCE: Expert interviews; </a:t>
            </a:r>
            <a:r>
              <a:rPr lang="en-US" sz="1000" dirty="0">
                <a:solidFill>
                  <a:srgbClr val="000000"/>
                </a:solidFill>
                <a:latin typeface="Arial"/>
              </a:rPr>
              <a:t>McKinsey analysis</a:t>
            </a:r>
            <a:endParaRPr lang="en-US" sz="1000" dirty="0">
              <a:solidFill>
                <a:srgbClr val="000000"/>
              </a:solidFill>
            </a:endParaRPr>
          </a:p>
        </p:txBody>
      </p:sp>
      <p:sp>
        <p:nvSpPr>
          <p:cNvPr id="5" name="Title 4"/>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India’s new industry-led “solutions partner” approach to contribute to Africa’s development</a:t>
            </a:r>
            <a:endParaRPr lang="en-GB" dirty="0"/>
          </a:p>
        </p:txBody>
      </p:sp>
      <p:sp>
        <p:nvSpPr>
          <p:cNvPr id="25" name="Rectangle 48"/>
          <p:cNvSpPr txBox="1">
            <a:spLocks noChangeArrowheads="1"/>
          </p:cNvSpPr>
          <p:nvPr/>
        </p:nvSpPr>
        <p:spPr bwMode="gray">
          <a:xfrm>
            <a:off x="2377440" y="1355665"/>
            <a:ext cx="4413886" cy="914400"/>
          </a:xfrm>
          <a:prstGeom prst="rect">
            <a:avLst/>
          </a:prstGeom>
          <a:solidFill>
            <a:schemeClr val="accent6">
              <a:lumMod val="20000"/>
              <a:lumOff val="80000"/>
            </a:schemeClr>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nSpc>
                <a:spcPct val="110000"/>
              </a:lnSpc>
              <a:spcBef>
                <a:spcPts val="300"/>
              </a:spcBef>
              <a:buClr>
                <a:srgbClr val="002960"/>
              </a:buClr>
            </a:pPr>
            <a:r>
              <a:rPr lang="en-US" dirty="0" smtClean="0"/>
              <a:t>Create </a:t>
            </a:r>
            <a:r>
              <a:rPr lang="en-US" dirty="0"/>
              <a:t>a joint vision with pilot countries or Indian industry to contribute to the sector-wise </a:t>
            </a:r>
            <a:r>
              <a:rPr lang="en-US" dirty="0" smtClean="0"/>
              <a:t>development</a:t>
            </a:r>
            <a:r>
              <a:rPr lang="en-US" b="1" dirty="0" smtClean="0"/>
              <a:t> </a:t>
            </a:r>
            <a:endParaRPr lang="en-US" b="1" dirty="0"/>
          </a:p>
        </p:txBody>
      </p:sp>
      <p:sp>
        <p:nvSpPr>
          <p:cNvPr id="34" name="Rectangle 48"/>
          <p:cNvSpPr txBox="1">
            <a:spLocks noChangeArrowheads="1"/>
          </p:cNvSpPr>
          <p:nvPr/>
        </p:nvSpPr>
        <p:spPr bwMode="gray">
          <a:xfrm>
            <a:off x="542924" y="1355665"/>
            <a:ext cx="1833564" cy="914400"/>
          </a:xfrm>
          <a:prstGeom prst="rect">
            <a:avLst/>
          </a:prstGeom>
          <a:solidFill>
            <a:srgbClr val="66A3D7"/>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b="1" dirty="0" smtClean="0">
                <a:solidFill>
                  <a:schemeClr val="bg1"/>
                </a:solidFill>
              </a:rPr>
              <a:t>Joint vision</a:t>
            </a:r>
            <a:endParaRPr lang="en-US" b="1" dirty="0">
              <a:solidFill>
                <a:schemeClr val="bg1"/>
              </a:solidFill>
            </a:endParaRPr>
          </a:p>
        </p:txBody>
      </p:sp>
      <p:sp>
        <p:nvSpPr>
          <p:cNvPr id="40" name="Rectangle 48"/>
          <p:cNvSpPr txBox="1">
            <a:spLocks noChangeArrowheads="1"/>
          </p:cNvSpPr>
          <p:nvPr/>
        </p:nvSpPr>
        <p:spPr bwMode="gray">
          <a:xfrm>
            <a:off x="171449" y="1355665"/>
            <a:ext cx="338139" cy="914400"/>
          </a:xfrm>
          <a:prstGeom prst="rect">
            <a:avLst/>
          </a:prstGeom>
          <a:solidFill>
            <a:schemeClr val="accent5"/>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300"/>
              </a:spcBef>
              <a:buClr>
                <a:srgbClr val="002960"/>
              </a:buClr>
            </a:pPr>
            <a:r>
              <a:rPr lang="en-US" sz="4000" b="1" dirty="0" smtClean="0">
                <a:solidFill>
                  <a:schemeClr val="bg1"/>
                </a:solidFill>
                <a:latin typeface="Times New Roman" pitchFamily="18" charset="0"/>
                <a:cs typeface="Times New Roman" pitchFamily="18" charset="0"/>
              </a:rPr>
              <a:t>1</a:t>
            </a:r>
            <a:endParaRPr lang="en-US" sz="4000" b="1" dirty="0">
              <a:solidFill>
                <a:schemeClr val="bg1"/>
              </a:solidFill>
              <a:latin typeface="Times New Roman" pitchFamily="18" charset="0"/>
              <a:cs typeface="Times New Roman" pitchFamily="18" charset="0"/>
            </a:endParaRPr>
          </a:p>
        </p:txBody>
      </p:sp>
      <p:sp>
        <p:nvSpPr>
          <p:cNvPr id="26" name="Rectangle 48"/>
          <p:cNvSpPr txBox="1">
            <a:spLocks noChangeArrowheads="1"/>
          </p:cNvSpPr>
          <p:nvPr/>
        </p:nvSpPr>
        <p:spPr bwMode="gray">
          <a:xfrm>
            <a:off x="2377440" y="3255187"/>
            <a:ext cx="4413886" cy="914400"/>
          </a:xfrm>
          <a:prstGeom prst="rect">
            <a:avLst/>
          </a:prstGeom>
          <a:solidFill>
            <a:schemeClr val="accent6">
              <a:lumMod val="20000"/>
              <a:lumOff val="80000"/>
            </a:schemeClr>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nSpc>
                <a:spcPct val="110000"/>
              </a:lnSpc>
              <a:spcBef>
                <a:spcPts val="300"/>
              </a:spcBef>
              <a:buClr>
                <a:srgbClr val="002960"/>
              </a:buClr>
            </a:pPr>
            <a:r>
              <a:rPr lang="en-US" dirty="0" smtClean="0"/>
              <a:t>Participate </a:t>
            </a:r>
            <a:r>
              <a:rPr lang="en-US" dirty="0"/>
              <a:t>in pre-feasibility studies for relevant </a:t>
            </a:r>
            <a:r>
              <a:rPr lang="en-US" dirty="0" smtClean="0"/>
              <a:t>projects. Also, conduct </a:t>
            </a:r>
            <a:r>
              <a:rPr lang="en-US" dirty="0"/>
              <a:t>sector </a:t>
            </a:r>
            <a:r>
              <a:rPr lang="en-US" dirty="0" smtClean="0"/>
              <a:t>development studies</a:t>
            </a:r>
            <a:endParaRPr lang="en-US" b="1" dirty="0"/>
          </a:p>
        </p:txBody>
      </p:sp>
      <p:sp>
        <p:nvSpPr>
          <p:cNvPr id="35" name="Rectangle 48"/>
          <p:cNvSpPr txBox="1">
            <a:spLocks noChangeArrowheads="1"/>
          </p:cNvSpPr>
          <p:nvPr/>
        </p:nvSpPr>
        <p:spPr bwMode="gray">
          <a:xfrm>
            <a:off x="542924" y="3255187"/>
            <a:ext cx="1833564" cy="914400"/>
          </a:xfrm>
          <a:prstGeom prst="rect">
            <a:avLst/>
          </a:prstGeom>
          <a:solidFill>
            <a:srgbClr val="66A3D7"/>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b="1" dirty="0" smtClean="0">
                <a:solidFill>
                  <a:schemeClr val="bg1"/>
                </a:solidFill>
              </a:rPr>
              <a:t>Opportunity identification studies</a:t>
            </a:r>
            <a:endParaRPr lang="en-US" b="1" dirty="0">
              <a:solidFill>
                <a:schemeClr val="bg1"/>
              </a:solidFill>
            </a:endParaRPr>
          </a:p>
        </p:txBody>
      </p:sp>
      <p:sp>
        <p:nvSpPr>
          <p:cNvPr id="41" name="Rectangle 48"/>
          <p:cNvSpPr txBox="1">
            <a:spLocks noChangeArrowheads="1"/>
          </p:cNvSpPr>
          <p:nvPr/>
        </p:nvSpPr>
        <p:spPr bwMode="gray">
          <a:xfrm>
            <a:off x="171449" y="3255187"/>
            <a:ext cx="338139" cy="914400"/>
          </a:xfrm>
          <a:prstGeom prst="rect">
            <a:avLst/>
          </a:prstGeom>
          <a:solidFill>
            <a:schemeClr val="accent5"/>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300"/>
              </a:spcBef>
              <a:buClr>
                <a:srgbClr val="002960"/>
              </a:buClr>
            </a:pPr>
            <a:r>
              <a:rPr lang="en-US" sz="4000" b="1" dirty="0" smtClean="0">
                <a:solidFill>
                  <a:schemeClr val="bg1"/>
                </a:solidFill>
                <a:latin typeface="Times New Roman" pitchFamily="18" charset="0"/>
                <a:cs typeface="Times New Roman" pitchFamily="18" charset="0"/>
              </a:rPr>
              <a:t>3</a:t>
            </a:r>
            <a:endParaRPr lang="en-US" sz="4000" b="1" dirty="0">
              <a:solidFill>
                <a:schemeClr val="bg1"/>
              </a:solidFill>
              <a:latin typeface="Times New Roman" pitchFamily="18" charset="0"/>
              <a:cs typeface="Times New Roman" pitchFamily="18" charset="0"/>
            </a:endParaRPr>
          </a:p>
        </p:txBody>
      </p:sp>
      <p:sp>
        <p:nvSpPr>
          <p:cNvPr id="27" name="Rectangle 48"/>
          <p:cNvSpPr txBox="1">
            <a:spLocks noChangeArrowheads="1"/>
          </p:cNvSpPr>
          <p:nvPr/>
        </p:nvSpPr>
        <p:spPr bwMode="gray">
          <a:xfrm>
            <a:off x="2377440" y="2305426"/>
            <a:ext cx="4413886" cy="914400"/>
          </a:xfrm>
          <a:prstGeom prst="rect">
            <a:avLst/>
          </a:prstGeom>
          <a:solidFill>
            <a:schemeClr val="accent6">
              <a:lumMod val="20000"/>
              <a:lumOff val="80000"/>
            </a:schemeClr>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nSpc>
                <a:spcPct val="110000"/>
              </a:lnSpc>
              <a:spcBef>
                <a:spcPts val="300"/>
              </a:spcBef>
              <a:buClr>
                <a:srgbClr val="002960"/>
              </a:buClr>
            </a:pPr>
            <a:r>
              <a:rPr lang="en-US" dirty="0" smtClean="0"/>
              <a:t>Ensure </a:t>
            </a:r>
            <a:r>
              <a:rPr lang="en-US" dirty="0"/>
              <a:t>intense and broad-based engagement on development topics with pilot </a:t>
            </a:r>
            <a:r>
              <a:rPr lang="en-US" dirty="0" smtClean="0"/>
              <a:t>countries</a:t>
            </a:r>
            <a:endParaRPr lang="en-US" dirty="0"/>
          </a:p>
        </p:txBody>
      </p:sp>
      <p:sp>
        <p:nvSpPr>
          <p:cNvPr id="36" name="Rectangle 48"/>
          <p:cNvSpPr txBox="1">
            <a:spLocks noChangeArrowheads="1"/>
          </p:cNvSpPr>
          <p:nvPr/>
        </p:nvSpPr>
        <p:spPr bwMode="gray">
          <a:xfrm>
            <a:off x="542924" y="2305426"/>
            <a:ext cx="1833564" cy="914400"/>
          </a:xfrm>
          <a:prstGeom prst="rect">
            <a:avLst/>
          </a:prstGeom>
          <a:solidFill>
            <a:srgbClr val="66A3D7"/>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b="1" dirty="0" smtClean="0">
                <a:solidFill>
                  <a:schemeClr val="bg1"/>
                </a:solidFill>
              </a:rPr>
              <a:t>Continuous engagement</a:t>
            </a:r>
            <a:endParaRPr lang="en-US" dirty="0">
              <a:solidFill>
                <a:schemeClr val="bg1"/>
              </a:solidFill>
            </a:endParaRPr>
          </a:p>
        </p:txBody>
      </p:sp>
      <p:sp>
        <p:nvSpPr>
          <p:cNvPr id="42" name="Rectangle 48"/>
          <p:cNvSpPr txBox="1">
            <a:spLocks noChangeArrowheads="1"/>
          </p:cNvSpPr>
          <p:nvPr/>
        </p:nvSpPr>
        <p:spPr bwMode="gray">
          <a:xfrm>
            <a:off x="171449" y="2305426"/>
            <a:ext cx="338139" cy="914400"/>
          </a:xfrm>
          <a:prstGeom prst="rect">
            <a:avLst/>
          </a:prstGeom>
          <a:solidFill>
            <a:schemeClr val="accent5"/>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300"/>
              </a:spcBef>
              <a:buClr>
                <a:srgbClr val="002960"/>
              </a:buClr>
            </a:pPr>
            <a:r>
              <a:rPr lang="en-US" sz="4000" b="1" dirty="0" smtClean="0">
                <a:solidFill>
                  <a:schemeClr val="bg1"/>
                </a:solidFill>
                <a:latin typeface="Times New Roman" pitchFamily="18" charset="0"/>
                <a:cs typeface="Times New Roman" pitchFamily="18" charset="0"/>
              </a:rPr>
              <a:t>2</a:t>
            </a:r>
            <a:endParaRPr lang="en-US" sz="4000" dirty="0">
              <a:solidFill>
                <a:schemeClr val="bg1"/>
              </a:solidFill>
              <a:latin typeface="Times New Roman" pitchFamily="18" charset="0"/>
              <a:cs typeface="Times New Roman" pitchFamily="18" charset="0"/>
            </a:endParaRPr>
          </a:p>
        </p:txBody>
      </p:sp>
      <p:sp>
        <p:nvSpPr>
          <p:cNvPr id="32" name="Rectangle 48"/>
          <p:cNvSpPr txBox="1">
            <a:spLocks noChangeArrowheads="1"/>
          </p:cNvSpPr>
          <p:nvPr/>
        </p:nvSpPr>
        <p:spPr bwMode="gray">
          <a:xfrm>
            <a:off x="2377440" y="4204948"/>
            <a:ext cx="4413886" cy="914400"/>
          </a:xfrm>
          <a:prstGeom prst="rect">
            <a:avLst/>
          </a:prstGeom>
          <a:solidFill>
            <a:schemeClr val="accent6">
              <a:lumMod val="20000"/>
              <a:lumOff val="80000"/>
            </a:schemeClr>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nSpc>
                <a:spcPct val="110000"/>
              </a:lnSpc>
              <a:spcBef>
                <a:spcPts val="300"/>
              </a:spcBef>
              <a:buClr>
                <a:srgbClr val="002960"/>
              </a:buClr>
            </a:pPr>
            <a:r>
              <a:rPr lang="en-US" dirty="0" smtClean="0"/>
              <a:t>Indian </a:t>
            </a:r>
            <a:r>
              <a:rPr lang="en-US" dirty="0"/>
              <a:t>companies from relevant sectors in development discussions with pilot country </a:t>
            </a:r>
            <a:r>
              <a:rPr lang="en-US" dirty="0" smtClean="0"/>
              <a:t>representatives </a:t>
            </a:r>
            <a:endParaRPr lang="en-US" dirty="0"/>
          </a:p>
        </p:txBody>
      </p:sp>
      <p:sp>
        <p:nvSpPr>
          <p:cNvPr id="37" name="Rectangle 48"/>
          <p:cNvSpPr txBox="1">
            <a:spLocks noChangeArrowheads="1"/>
          </p:cNvSpPr>
          <p:nvPr/>
        </p:nvSpPr>
        <p:spPr bwMode="gray">
          <a:xfrm>
            <a:off x="542924" y="4204948"/>
            <a:ext cx="1833564" cy="914400"/>
          </a:xfrm>
          <a:prstGeom prst="rect">
            <a:avLst/>
          </a:prstGeom>
          <a:solidFill>
            <a:srgbClr val="66A3D7"/>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b="1" dirty="0" smtClean="0">
                <a:solidFill>
                  <a:schemeClr val="bg1"/>
                </a:solidFill>
              </a:rPr>
              <a:t>Open consortium of Indian companies</a:t>
            </a:r>
            <a:endParaRPr lang="en-US" dirty="0">
              <a:solidFill>
                <a:schemeClr val="bg1"/>
              </a:solidFill>
            </a:endParaRPr>
          </a:p>
        </p:txBody>
      </p:sp>
      <p:sp>
        <p:nvSpPr>
          <p:cNvPr id="44" name="Rectangle 48"/>
          <p:cNvSpPr txBox="1">
            <a:spLocks noChangeArrowheads="1"/>
          </p:cNvSpPr>
          <p:nvPr/>
        </p:nvSpPr>
        <p:spPr bwMode="gray">
          <a:xfrm>
            <a:off x="171449" y="4204948"/>
            <a:ext cx="338139" cy="914400"/>
          </a:xfrm>
          <a:prstGeom prst="rect">
            <a:avLst/>
          </a:prstGeom>
          <a:solidFill>
            <a:schemeClr val="accent5"/>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300"/>
              </a:spcBef>
              <a:buClr>
                <a:srgbClr val="002960"/>
              </a:buClr>
            </a:pPr>
            <a:r>
              <a:rPr lang="en-US" sz="4000" b="1" dirty="0">
                <a:solidFill>
                  <a:schemeClr val="bg1"/>
                </a:solidFill>
                <a:latin typeface="Times New Roman" pitchFamily="18" charset="0"/>
                <a:cs typeface="Times New Roman" pitchFamily="18" charset="0"/>
              </a:rPr>
              <a:t>4</a:t>
            </a:r>
            <a:endParaRPr lang="en-US" sz="4000" dirty="0">
              <a:solidFill>
                <a:schemeClr val="bg1"/>
              </a:solidFill>
              <a:latin typeface="Times New Roman" pitchFamily="18" charset="0"/>
              <a:cs typeface="Times New Roman" pitchFamily="18" charset="0"/>
            </a:endParaRPr>
          </a:p>
        </p:txBody>
      </p:sp>
      <p:sp>
        <p:nvSpPr>
          <p:cNvPr id="33" name="Rectangle 48"/>
          <p:cNvSpPr txBox="1">
            <a:spLocks noChangeArrowheads="1"/>
          </p:cNvSpPr>
          <p:nvPr/>
        </p:nvSpPr>
        <p:spPr bwMode="gray">
          <a:xfrm>
            <a:off x="2377440" y="5154711"/>
            <a:ext cx="4413886" cy="914400"/>
          </a:xfrm>
          <a:prstGeom prst="rect">
            <a:avLst/>
          </a:prstGeom>
          <a:solidFill>
            <a:schemeClr val="accent6">
              <a:lumMod val="20000"/>
              <a:lumOff val="80000"/>
            </a:schemeClr>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nSpc>
                <a:spcPct val="110000"/>
              </a:lnSpc>
              <a:spcBef>
                <a:spcPts val="300"/>
              </a:spcBef>
              <a:buClr>
                <a:srgbClr val="002960"/>
              </a:buClr>
            </a:pPr>
            <a:r>
              <a:rPr lang="en-US" dirty="0" smtClean="0"/>
              <a:t>Multilateral funding (allies with similar strategic interest – e.g., </a:t>
            </a:r>
            <a:r>
              <a:rPr lang="en-US" dirty="0" err="1" smtClean="0"/>
              <a:t>JIPC</a:t>
            </a:r>
            <a:r>
              <a:rPr lang="en-US" dirty="0" smtClean="0"/>
              <a:t>); Seed funding (export finance institution like EXIM)  </a:t>
            </a:r>
            <a:endParaRPr lang="en-US" dirty="0"/>
          </a:p>
        </p:txBody>
      </p:sp>
      <p:sp>
        <p:nvSpPr>
          <p:cNvPr id="38" name="Rectangle 48"/>
          <p:cNvSpPr txBox="1">
            <a:spLocks noChangeArrowheads="1"/>
          </p:cNvSpPr>
          <p:nvPr/>
        </p:nvSpPr>
        <p:spPr bwMode="gray">
          <a:xfrm>
            <a:off x="542924" y="5154711"/>
            <a:ext cx="1833564" cy="914400"/>
          </a:xfrm>
          <a:prstGeom prst="rect">
            <a:avLst/>
          </a:prstGeom>
          <a:solidFill>
            <a:srgbClr val="66A3D7"/>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b="1" dirty="0" smtClean="0">
                <a:solidFill>
                  <a:schemeClr val="bg1"/>
                </a:solidFill>
              </a:rPr>
              <a:t>Revamped funding model</a:t>
            </a:r>
            <a:endParaRPr lang="en-US" dirty="0">
              <a:solidFill>
                <a:schemeClr val="bg1"/>
              </a:solidFill>
            </a:endParaRPr>
          </a:p>
        </p:txBody>
      </p:sp>
      <p:sp>
        <p:nvSpPr>
          <p:cNvPr id="48" name="Rectangle 48"/>
          <p:cNvSpPr txBox="1">
            <a:spLocks noChangeArrowheads="1"/>
          </p:cNvSpPr>
          <p:nvPr/>
        </p:nvSpPr>
        <p:spPr bwMode="gray">
          <a:xfrm>
            <a:off x="171449" y="5154711"/>
            <a:ext cx="338139" cy="914400"/>
          </a:xfrm>
          <a:prstGeom prst="rect">
            <a:avLst/>
          </a:prstGeom>
          <a:solidFill>
            <a:schemeClr val="accent5"/>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300"/>
              </a:spcBef>
              <a:buClr>
                <a:srgbClr val="002960"/>
              </a:buClr>
            </a:pPr>
            <a:r>
              <a:rPr lang="en-US" sz="4000" b="1" dirty="0" smtClean="0">
                <a:solidFill>
                  <a:schemeClr val="bg1"/>
                </a:solidFill>
                <a:latin typeface="Times New Roman" pitchFamily="18" charset="0"/>
                <a:cs typeface="Times New Roman" pitchFamily="18" charset="0"/>
              </a:rPr>
              <a:t>5</a:t>
            </a:r>
            <a:endParaRPr lang="en-US" sz="4000" dirty="0">
              <a:solidFill>
                <a:schemeClr val="bg1"/>
              </a:solidFill>
              <a:latin typeface="Times New Roman" pitchFamily="18" charset="0"/>
              <a:cs typeface="Times New Roman" pitchFamily="18" charset="0"/>
            </a:endParaRPr>
          </a:p>
        </p:txBody>
      </p:sp>
      <p:sp>
        <p:nvSpPr>
          <p:cNvPr id="50" name="Title 1"/>
          <p:cNvSpPr txBox="1">
            <a:spLocks/>
          </p:cNvSpPr>
          <p:nvPr/>
        </p:nvSpPr>
        <p:spPr bwMode="gray">
          <a:xfrm>
            <a:off x="171449" y="949916"/>
            <a:ext cx="6619877" cy="370388"/>
          </a:xfrm>
          <a:prstGeom prst="rect">
            <a:avLst/>
          </a:prstGeom>
          <a:solidFill>
            <a:srgbClr val="3280C0"/>
          </a:solidFill>
          <a:ln>
            <a:noFill/>
          </a:ln>
          <a:effectLst/>
          <a:extLst/>
        </p:spPr>
        <p:txBody>
          <a:bodyPr vert="horz" wrap="square" lIns="73152" tIns="73152" rIns="73152" bIns="73152" numCol="1" anchor="ctr" anchorCtr="0" compatLnSpc="1">
            <a:prstTxWarp prst="textNoShape">
              <a:avLst/>
            </a:prstTxWarp>
            <a:noAutofit/>
          </a:bodyPr>
          <a:lstStyle>
            <a:lvl1pPr algn="l" defTabSz="895350" rtl="0" fontAlgn="base">
              <a:spcBef>
                <a:spcPct val="0"/>
              </a:spcBef>
              <a:spcAft>
                <a:spcPct val="0"/>
              </a:spcAft>
              <a:defRPr sz="1900" b="1">
                <a:solidFill>
                  <a:schemeClr val="tx2"/>
                </a:solidFill>
                <a:latin typeface="+mj-lt"/>
                <a:ea typeface="+mj-ea"/>
                <a:cs typeface="+mj-cs"/>
              </a:defRPr>
            </a:lvl1pPr>
            <a:lvl2pPr algn="l" defTabSz="895350" rtl="0" fontAlgn="base">
              <a:spcBef>
                <a:spcPct val="0"/>
              </a:spcBef>
              <a:spcAft>
                <a:spcPct val="0"/>
              </a:spcAft>
              <a:defRPr sz="1900" b="1">
                <a:solidFill>
                  <a:schemeClr val="tx2"/>
                </a:solidFill>
                <a:latin typeface="Arial" charset="0"/>
              </a:defRPr>
            </a:lvl2pPr>
            <a:lvl3pPr algn="l" defTabSz="895350" rtl="0" fontAlgn="base">
              <a:spcBef>
                <a:spcPct val="0"/>
              </a:spcBef>
              <a:spcAft>
                <a:spcPct val="0"/>
              </a:spcAft>
              <a:defRPr sz="1900" b="1">
                <a:solidFill>
                  <a:schemeClr val="tx2"/>
                </a:solidFill>
                <a:latin typeface="Arial" charset="0"/>
              </a:defRPr>
            </a:lvl3pPr>
            <a:lvl4pPr algn="l" defTabSz="895350" rtl="0" fontAlgn="base">
              <a:spcBef>
                <a:spcPct val="0"/>
              </a:spcBef>
              <a:spcAft>
                <a:spcPct val="0"/>
              </a:spcAft>
              <a:defRPr sz="1900" b="1">
                <a:solidFill>
                  <a:schemeClr val="tx2"/>
                </a:solidFill>
                <a:latin typeface="Arial" charset="0"/>
              </a:defRPr>
            </a:lvl4pPr>
            <a:lvl5pPr algn="l" defTabSz="895350" rtl="0" fontAlgn="base">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r>
              <a:rPr lang="en-US" sz="1600" dirty="0" smtClean="0">
                <a:solidFill>
                  <a:schemeClr val="bg1"/>
                </a:solidFill>
              </a:rPr>
              <a:t>Focus areas to successfully implement this approach</a:t>
            </a:r>
            <a:endParaRPr lang="en-GB" sz="1600" dirty="0">
              <a:solidFill>
                <a:schemeClr val="bg1"/>
              </a:solidFill>
            </a:endParaRPr>
          </a:p>
        </p:txBody>
      </p:sp>
    </p:spTree>
    <p:extLst>
      <p:ext uri="{BB962C8B-B14F-4D97-AF65-F5344CB8AC3E}">
        <p14:creationId xmlns:p14="http://schemas.microsoft.com/office/powerpoint/2010/main" val="28256813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ext uri="{D42A27DB-BD31-4B8C-83A1-F6EECF244321}">
                <p14:modId xmlns:p14="http://schemas.microsoft.com/office/powerpoint/2010/main" val="3772164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10 Imperatives </a:t>
            </a:r>
            <a:r>
              <a:rPr lang="en-US" dirty="0"/>
              <a:t>for Indian companies to win in Africa</a:t>
            </a:r>
            <a:endParaRPr lang="en-GB" dirty="0"/>
          </a:p>
        </p:txBody>
      </p:sp>
      <p:sp>
        <p:nvSpPr>
          <p:cNvPr id="5" name="McK 5. Source"/>
          <p:cNvSpPr>
            <a:spLocks noChangeArrowheads="1"/>
          </p:cNvSpPr>
          <p:nvPr/>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GB" sz="1000" baseline="0" dirty="0" smtClean="0">
                <a:solidFill>
                  <a:schemeClr val="tx1"/>
                </a:solidFill>
                <a:latin typeface="+mn-lt"/>
              </a:rPr>
              <a:t>SOURCE: </a:t>
            </a:r>
            <a:r>
              <a:rPr lang="en-GB" sz="1000" dirty="0">
                <a:latin typeface="+mn-lt"/>
              </a:rPr>
              <a:t>Expert interviews; McKinsey analysis</a:t>
            </a:r>
            <a:endParaRPr lang="en-GB" sz="1000" baseline="0" dirty="0">
              <a:solidFill>
                <a:schemeClr val="tx1"/>
              </a:solidFill>
              <a:latin typeface="+mn-lt"/>
            </a:endParaRPr>
          </a:p>
        </p:txBody>
      </p:sp>
      <p:sp>
        <p:nvSpPr>
          <p:cNvPr id="14" name="Rectangle 13"/>
          <p:cNvSpPr>
            <a:spLocks/>
          </p:cNvSpPr>
          <p:nvPr/>
        </p:nvSpPr>
        <p:spPr>
          <a:xfrm>
            <a:off x="119063" y="615641"/>
            <a:ext cx="8618537" cy="5627501"/>
          </a:xfrm>
          <a:prstGeom prst="rect">
            <a:avLst/>
          </a:prstGeom>
          <a:gradFill>
            <a:gsLst>
              <a:gs pos="0">
                <a:schemeClr val="accent6">
                  <a:lumMod val="20000"/>
                  <a:lumOff val="80000"/>
                </a:schemeClr>
              </a:gs>
              <a:gs pos="41000">
                <a:schemeClr val="bg1"/>
              </a:gs>
            </a:gsLst>
            <a:lin ang="0" scaled="0"/>
          </a:gradFill>
          <a:ln w="19050">
            <a:solidFill>
              <a:srgbClr val="66A3D7"/>
            </a:solidFill>
            <a:miter lim="800000"/>
            <a:headEnd/>
            <a:tailEnd/>
          </a:ln>
          <a:effectLst/>
        </p:spPr>
        <p:txBody>
          <a:bodyPr wrap="none" anchor="ctr">
            <a:noAutofit/>
          </a:bodyPr>
          <a:lstStyle/>
          <a:p>
            <a:endParaRPr lang="en-GB" sz="1200" dirty="0" err="1">
              <a:solidFill>
                <a:srgbClr val="000000"/>
              </a:solidFill>
              <a:latin typeface="+mn-lt"/>
            </a:endParaRPr>
          </a:p>
        </p:txBody>
      </p:sp>
      <p:sp>
        <p:nvSpPr>
          <p:cNvPr id="10" name="Oval 9"/>
          <p:cNvSpPr/>
          <p:nvPr/>
        </p:nvSpPr>
        <p:spPr>
          <a:xfrm>
            <a:off x="141883" y="811731"/>
            <a:ext cx="2310023" cy="4316839"/>
          </a:xfrm>
          <a:custGeom>
            <a:avLst/>
            <a:gdLst/>
            <a:ahLst/>
            <a:cxnLst/>
            <a:rect l="l" t="t" r="r" b="b"/>
            <a:pathLst>
              <a:path w="2522220" h="4343400">
                <a:moveTo>
                  <a:pt x="245110" y="0"/>
                </a:moveTo>
                <a:cubicBezTo>
                  <a:pt x="1502723" y="0"/>
                  <a:pt x="2522220" y="972303"/>
                  <a:pt x="2522220" y="2171700"/>
                </a:cubicBezTo>
                <a:cubicBezTo>
                  <a:pt x="2522220" y="3371097"/>
                  <a:pt x="1502723" y="4343400"/>
                  <a:pt x="245110" y="4343400"/>
                </a:cubicBezTo>
                <a:cubicBezTo>
                  <a:pt x="162280" y="4343400"/>
                  <a:pt x="80484" y="4339183"/>
                  <a:pt x="0" y="4330399"/>
                </a:cubicBezTo>
                <a:lnTo>
                  <a:pt x="0" y="13001"/>
                </a:lnTo>
                <a:cubicBezTo>
                  <a:pt x="80484" y="4218"/>
                  <a:pt x="162280" y="0"/>
                  <a:pt x="245110" y="0"/>
                </a:cubicBezTo>
                <a:close/>
              </a:path>
            </a:pathLst>
          </a:custGeom>
          <a:blipFill>
            <a:blip r:embed="rId7"/>
            <a:srcRect/>
            <a:stretch>
              <a:fillRect l="-71942"/>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pic>
        <p:nvPicPr>
          <p:cNvPr id="8" name="Picture 6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41884" y="618294"/>
            <a:ext cx="2431943" cy="5624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 name="Group 1"/>
          <p:cNvGrpSpPr>
            <a:grpSpLocks/>
          </p:cNvGrpSpPr>
          <p:nvPr/>
        </p:nvGrpSpPr>
        <p:grpSpPr bwMode="gray">
          <a:xfrm>
            <a:off x="4099260" y="632954"/>
            <a:ext cx="4296658" cy="367930"/>
            <a:chOff x="915" y="863"/>
            <a:chExt cx="2686" cy="160"/>
          </a:xfrm>
        </p:grpSpPr>
        <p:cxnSp>
          <p:nvCxnSpPr>
            <p:cNvPr id="29" name="AutoShape 249"/>
            <p:cNvCxnSpPr>
              <a:cxnSpLocks noChangeShapeType="1"/>
              <a:stCxn id="30" idx="4"/>
              <a:endCxn id="30" idx="6"/>
            </p:cNvCxnSpPr>
            <p:nvPr/>
          </p:nvCxnSpPr>
          <p:spPr bwMode="gray">
            <a:xfrm>
              <a:off x="915" y="1023"/>
              <a:ext cx="2686" cy="0"/>
            </a:xfrm>
            <a:prstGeom prst="straightConnector1">
              <a:avLst/>
            </a:prstGeom>
            <a:noFill/>
            <a:ln w="19050">
              <a:solidFill>
                <a:srgbClr val="66A3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AutoShape 250"/>
            <p:cNvSpPr>
              <a:spLocks noChangeArrowheads="1"/>
            </p:cNvSpPr>
            <p:nvPr/>
          </p:nvSpPr>
          <p:spPr bwMode="gray">
            <a:xfrm>
              <a:off x="915" y="863"/>
              <a:ext cx="2686" cy="16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00" b="1" dirty="0">
                  <a:solidFill>
                    <a:schemeClr val="accent4"/>
                  </a:solidFill>
                  <a:latin typeface="Arial"/>
                </a:rPr>
                <a:t>Imperatives</a:t>
              </a:r>
              <a:endParaRPr lang="en-US" sz="1800" dirty="0">
                <a:solidFill>
                  <a:schemeClr val="accent4"/>
                </a:solidFill>
                <a:latin typeface="Arial"/>
              </a:endParaRPr>
            </a:p>
          </p:txBody>
        </p:sp>
      </p:grpSp>
      <p:grpSp>
        <p:nvGrpSpPr>
          <p:cNvPr id="31" name="Group 1"/>
          <p:cNvGrpSpPr>
            <a:grpSpLocks/>
          </p:cNvGrpSpPr>
          <p:nvPr/>
        </p:nvGrpSpPr>
        <p:grpSpPr bwMode="gray">
          <a:xfrm>
            <a:off x="2557854" y="434391"/>
            <a:ext cx="1241640" cy="573089"/>
            <a:chOff x="656" y="709"/>
            <a:chExt cx="2945" cy="361"/>
          </a:xfrm>
        </p:grpSpPr>
        <p:cxnSp>
          <p:nvCxnSpPr>
            <p:cNvPr id="32" name="AutoShape 249"/>
            <p:cNvCxnSpPr>
              <a:cxnSpLocks noChangeShapeType="1"/>
            </p:cNvCxnSpPr>
            <p:nvPr/>
          </p:nvCxnSpPr>
          <p:spPr bwMode="gray">
            <a:xfrm>
              <a:off x="915" y="1060"/>
              <a:ext cx="2686" cy="0"/>
            </a:xfrm>
            <a:prstGeom prst="straightConnector1">
              <a:avLst/>
            </a:prstGeom>
            <a:noFill/>
            <a:ln w="19050">
              <a:solidFill>
                <a:srgbClr val="66A3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gray">
            <a:xfrm>
              <a:off x="656" y="70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800" b="1" dirty="0">
                  <a:solidFill>
                    <a:schemeClr val="accent4"/>
                  </a:solidFill>
                  <a:latin typeface="Arial"/>
                </a:rPr>
                <a:t>Strategy</a:t>
              </a:r>
              <a:endParaRPr lang="en-US" sz="1800" dirty="0">
                <a:solidFill>
                  <a:schemeClr val="accent4"/>
                </a:solidFill>
                <a:latin typeface="Arial"/>
              </a:endParaRPr>
            </a:p>
          </p:txBody>
        </p:sp>
      </p:grpSp>
      <p:sp>
        <p:nvSpPr>
          <p:cNvPr id="34" name="Rectangle 48"/>
          <p:cNvSpPr txBox="1">
            <a:spLocks noChangeArrowheads="1"/>
          </p:cNvSpPr>
          <p:nvPr/>
        </p:nvSpPr>
        <p:spPr bwMode="gray">
          <a:xfrm>
            <a:off x="2546504" y="1095811"/>
            <a:ext cx="1252984" cy="762064"/>
          </a:xfrm>
          <a:prstGeom prst="rect">
            <a:avLst/>
          </a:prstGeom>
          <a:solidFill>
            <a:srgbClr val="3280C0"/>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sz="1800" b="1" dirty="0">
                <a:solidFill>
                  <a:schemeClr val="bg1"/>
                </a:solidFill>
              </a:rPr>
              <a:t>Where to </a:t>
            </a:r>
            <a:r>
              <a:rPr lang="en-US" sz="1800" b="1" dirty="0" smtClean="0">
                <a:solidFill>
                  <a:schemeClr val="bg1"/>
                </a:solidFill>
              </a:rPr>
              <a:t>play?</a:t>
            </a:r>
            <a:endParaRPr lang="en-US" sz="1800" b="1" dirty="0">
              <a:solidFill>
                <a:schemeClr val="bg1"/>
              </a:solidFill>
            </a:endParaRPr>
          </a:p>
        </p:txBody>
      </p:sp>
      <p:sp>
        <p:nvSpPr>
          <p:cNvPr id="35" name="Rectangle 48"/>
          <p:cNvSpPr txBox="1">
            <a:spLocks noChangeArrowheads="1"/>
          </p:cNvSpPr>
          <p:nvPr/>
        </p:nvSpPr>
        <p:spPr bwMode="gray">
          <a:xfrm>
            <a:off x="2546504" y="2002345"/>
            <a:ext cx="1252984" cy="2479466"/>
          </a:xfrm>
          <a:prstGeom prst="rect">
            <a:avLst/>
          </a:prstGeom>
          <a:solidFill>
            <a:srgbClr val="3280C0"/>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sz="1800" b="1" dirty="0" smtClean="0">
                <a:solidFill>
                  <a:schemeClr val="bg1"/>
                </a:solidFill>
              </a:rPr>
              <a:t>How </a:t>
            </a:r>
            <a:r>
              <a:rPr lang="en-US" sz="1800" b="1" dirty="0">
                <a:solidFill>
                  <a:schemeClr val="bg1"/>
                </a:solidFill>
              </a:rPr>
              <a:t>to </a:t>
            </a:r>
            <a:r>
              <a:rPr lang="en-US" sz="1800" b="1" dirty="0" smtClean="0">
                <a:solidFill>
                  <a:schemeClr val="bg1"/>
                </a:solidFill>
              </a:rPr>
              <a:t>play?</a:t>
            </a:r>
            <a:endParaRPr lang="en-US" sz="1800" b="1" dirty="0">
              <a:solidFill>
                <a:schemeClr val="bg1"/>
              </a:solidFill>
            </a:endParaRPr>
          </a:p>
        </p:txBody>
      </p:sp>
      <p:sp>
        <p:nvSpPr>
          <p:cNvPr id="36" name="Rectangle 48"/>
          <p:cNvSpPr txBox="1">
            <a:spLocks noChangeArrowheads="1"/>
          </p:cNvSpPr>
          <p:nvPr/>
        </p:nvSpPr>
        <p:spPr bwMode="gray">
          <a:xfrm>
            <a:off x="2546504" y="4603049"/>
            <a:ext cx="1252984" cy="1514616"/>
          </a:xfrm>
          <a:prstGeom prst="rect">
            <a:avLst/>
          </a:prstGeom>
          <a:solidFill>
            <a:srgbClr val="3280C0"/>
          </a:solidFill>
          <a:ln w="9525">
            <a:noFill/>
            <a:miter lim="800000"/>
            <a:headEnd/>
            <a:tailEnd/>
          </a:ln>
          <a:effectLst/>
          <a:extLst/>
        </p:spPr>
        <p:txBody>
          <a:bodyPr vert="horz" wrap="square" lIns="54864" tIns="45720" rIns="36576" bIns="4572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300"/>
              </a:spcBef>
              <a:buClr>
                <a:srgbClr val="002960"/>
              </a:buClr>
            </a:pPr>
            <a:r>
              <a:rPr lang="en-US" sz="1800" b="1" dirty="0" err="1">
                <a:solidFill>
                  <a:schemeClr val="bg1"/>
                </a:solidFill>
              </a:rPr>
              <a:t>Organise</a:t>
            </a:r>
            <a:r>
              <a:rPr lang="en-US" sz="1800" b="1" dirty="0">
                <a:solidFill>
                  <a:schemeClr val="bg1"/>
                </a:solidFill>
              </a:rPr>
              <a:t> </a:t>
            </a:r>
            <a:br>
              <a:rPr lang="en-US" sz="1800" b="1" dirty="0">
                <a:solidFill>
                  <a:schemeClr val="bg1"/>
                </a:solidFill>
              </a:rPr>
            </a:br>
            <a:r>
              <a:rPr lang="en-US" sz="1800" b="1" dirty="0">
                <a:solidFill>
                  <a:schemeClr val="bg1"/>
                </a:solidFill>
              </a:rPr>
              <a:t>to win</a:t>
            </a:r>
          </a:p>
        </p:txBody>
      </p:sp>
      <p:sp>
        <p:nvSpPr>
          <p:cNvPr id="23" name="Rectangle 15"/>
          <p:cNvSpPr>
            <a:spLocks noChangeArrowheads="1"/>
          </p:cNvSpPr>
          <p:nvPr/>
        </p:nvSpPr>
        <p:spPr bwMode="gray">
          <a:xfrm>
            <a:off x="4341310" y="1111577"/>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err="1" smtClean="0">
                <a:solidFill>
                  <a:schemeClr val="accent4"/>
                </a:solidFill>
                <a:latin typeface="Arial"/>
                <a:ea typeface="SimSun"/>
              </a:rPr>
              <a:t>Prioritise</a:t>
            </a:r>
            <a:r>
              <a:rPr lang="en-US" altLang="zh-CN" sz="1800" dirty="0" smtClean="0">
                <a:solidFill>
                  <a:schemeClr val="accent4"/>
                </a:solidFill>
                <a:latin typeface="Arial"/>
                <a:ea typeface="SimSun"/>
              </a:rPr>
              <a:t> early</a:t>
            </a:r>
            <a:endParaRPr lang="en-US" sz="1800" dirty="0">
              <a:latin typeface="Arial"/>
              <a:ea typeface="SimSun"/>
            </a:endParaRPr>
          </a:p>
        </p:txBody>
      </p:sp>
      <p:sp>
        <p:nvSpPr>
          <p:cNvPr id="37" name="Rectangle 5"/>
          <p:cNvSpPr>
            <a:spLocks noChangeArrowheads="1"/>
          </p:cNvSpPr>
          <p:nvPr/>
        </p:nvSpPr>
        <p:spPr bwMode="gray">
          <a:xfrm>
            <a:off x="4067728" y="1143109"/>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smtClean="0">
                <a:solidFill>
                  <a:srgbClr val="FFFFFF"/>
                </a:solidFill>
              </a:rPr>
              <a:t>1</a:t>
            </a:r>
            <a:endParaRPr lang="en-ZA" sz="1300" b="1" dirty="0">
              <a:solidFill>
                <a:srgbClr val="FFFFFF"/>
              </a:solidFill>
            </a:endParaRPr>
          </a:p>
        </p:txBody>
      </p:sp>
      <p:sp>
        <p:nvSpPr>
          <p:cNvPr id="27" name="Rectangle 15"/>
          <p:cNvSpPr>
            <a:spLocks noChangeArrowheads="1"/>
          </p:cNvSpPr>
          <p:nvPr/>
        </p:nvSpPr>
        <p:spPr bwMode="gray">
          <a:xfrm>
            <a:off x="4341310" y="1572727"/>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sz="1800" dirty="0">
                <a:solidFill>
                  <a:schemeClr val="accent4"/>
                </a:solidFill>
                <a:latin typeface="Arial"/>
                <a:ea typeface="SimSun"/>
              </a:rPr>
              <a:t>Go </a:t>
            </a:r>
            <a:r>
              <a:rPr lang="en-US" sz="1800" dirty="0" smtClean="0">
                <a:solidFill>
                  <a:schemeClr val="accent4"/>
                </a:solidFill>
                <a:latin typeface="Arial"/>
                <a:ea typeface="SimSun"/>
              </a:rPr>
              <a:t>granular</a:t>
            </a:r>
            <a:endParaRPr lang="en-US" sz="1800" dirty="0">
              <a:latin typeface="Arial"/>
              <a:ea typeface="SimSun"/>
            </a:endParaRPr>
          </a:p>
        </p:txBody>
      </p:sp>
      <p:sp>
        <p:nvSpPr>
          <p:cNvPr id="38" name="Rectangle 5"/>
          <p:cNvSpPr>
            <a:spLocks noChangeArrowheads="1"/>
          </p:cNvSpPr>
          <p:nvPr/>
        </p:nvSpPr>
        <p:spPr bwMode="gray">
          <a:xfrm>
            <a:off x="4067728" y="1572727"/>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2</a:t>
            </a:r>
            <a:endParaRPr lang="en-ZA" sz="1300" b="1" dirty="0">
              <a:solidFill>
                <a:srgbClr val="FFFFFF"/>
              </a:solidFill>
            </a:endParaRPr>
          </a:p>
        </p:txBody>
      </p:sp>
      <p:sp>
        <p:nvSpPr>
          <p:cNvPr id="25" name="Rectangle 15"/>
          <p:cNvSpPr>
            <a:spLocks noChangeArrowheads="1"/>
          </p:cNvSpPr>
          <p:nvPr/>
        </p:nvSpPr>
        <p:spPr bwMode="gray">
          <a:xfrm>
            <a:off x="4341310" y="2621155"/>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Distribution is the </a:t>
            </a:r>
            <a:r>
              <a:rPr lang="en-US" altLang="zh-CN" sz="1800" dirty="0" smtClean="0">
                <a:solidFill>
                  <a:schemeClr val="accent4"/>
                </a:solidFill>
                <a:latin typeface="Arial"/>
                <a:ea typeface="SimSun"/>
              </a:rPr>
              <a:t>key</a:t>
            </a:r>
            <a:endParaRPr lang="en-US" altLang="zh-CN" sz="1800" dirty="0">
              <a:latin typeface="Arial"/>
              <a:ea typeface="SimSun"/>
            </a:endParaRPr>
          </a:p>
        </p:txBody>
      </p:sp>
      <p:sp>
        <p:nvSpPr>
          <p:cNvPr id="40" name="Rectangle 5"/>
          <p:cNvSpPr>
            <a:spLocks noChangeArrowheads="1"/>
          </p:cNvSpPr>
          <p:nvPr/>
        </p:nvSpPr>
        <p:spPr bwMode="gray">
          <a:xfrm>
            <a:off x="4067728" y="2636921"/>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4</a:t>
            </a:r>
            <a:endParaRPr lang="en-ZA" sz="1300" b="1" dirty="0">
              <a:solidFill>
                <a:srgbClr val="FFFFFF"/>
              </a:solidFill>
            </a:endParaRPr>
          </a:p>
        </p:txBody>
      </p:sp>
      <p:sp>
        <p:nvSpPr>
          <p:cNvPr id="24" name="Rectangle 15"/>
          <p:cNvSpPr>
            <a:spLocks noChangeArrowheads="1"/>
          </p:cNvSpPr>
          <p:nvPr/>
        </p:nvSpPr>
        <p:spPr bwMode="gray">
          <a:xfrm>
            <a:off x="4341310" y="3161135"/>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Aggressively build </a:t>
            </a:r>
            <a:r>
              <a:rPr lang="en-US" altLang="zh-CN" sz="1800" dirty="0" smtClean="0">
                <a:solidFill>
                  <a:schemeClr val="accent4"/>
                </a:solidFill>
                <a:latin typeface="Arial"/>
                <a:ea typeface="SimSun"/>
              </a:rPr>
              <a:t>brands</a:t>
            </a:r>
            <a:endParaRPr lang="en-US" altLang="zh-CN" sz="1800" dirty="0">
              <a:latin typeface="Arial"/>
              <a:ea typeface="SimSun"/>
            </a:endParaRPr>
          </a:p>
        </p:txBody>
      </p:sp>
      <p:sp>
        <p:nvSpPr>
          <p:cNvPr id="41" name="Rectangle 5"/>
          <p:cNvSpPr>
            <a:spLocks noChangeArrowheads="1"/>
          </p:cNvSpPr>
          <p:nvPr/>
        </p:nvSpPr>
        <p:spPr bwMode="gray">
          <a:xfrm>
            <a:off x="4067728" y="3176901"/>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5</a:t>
            </a:r>
            <a:endParaRPr lang="en-ZA" sz="1300" b="1" dirty="0">
              <a:solidFill>
                <a:srgbClr val="FFFFFF"/>
              </a:solidFill>
            </a:endParaRPr>
          </a:p>
        </p:txBody>
      </p:sp>
      <p:sp>
        <p:nvSpPr>
          <p:cNvPr id="21" name="Rectangle 15"/>
          <p:cNvSpPr>
            <a:spLocks noChangeArrowheads="1"/>
          </p:cNvSpPr>
          <p:nvPr/>
        </p:nvSpPr>
        <p:spPr bwMode="gray">
          <a:xfrm>
            <a:off x="4341310" y="3701115"/>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Deliver value across price </a:t>
            </a:r>
            <a:r>
              <a:rPr lang="en-US" altLang="zh-CN" sz="1800" dirty="0" smtClean="0">
                <a:solidFill>
                  <a:schemeClr val="accent4"/>
                </a:solidFill>
                <a:latin typeface="Arial"/>
                <a:ea typeface="SimSun"/>
              </a:rPr>
              <a:t>segment</a:t>
            </a:r>
            <a:endParaRPr lang="en-US" altLang="zh-CN" sz="1800" dirty="0">
              <a:latin typeface="Arial"/>
              <a:ea typeface="SimSun"/>
            </a:endParaRPr>
          </a:p>
        </p:txBody>
      </p:sp>
      <p:sp>
        <p:nvSpPr>
          <p:cNvPr id="42" name="Rectangle 5"/>
          <p:cNvSpPr>
            <a:spLocks noChangeArrowheads="1"/>
          </p:cNvSpPr>
          <p:nvPr/>
        </p:nvSpPr>
        <p:spPr bwMode="gray">
          <a:xfrm>
            <a:off x="4067728" y="3716881"/>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6</a:t>
            </a:r>
            <a:endParaRPr lang="en-ZA" sz="1300" b="1" dirty="0">
              <a:solidFill>
                <a:srgbClr val="FFFFFF"/>
              </a:solidFill>
            </a:endParaRPr>
          </a:p>
        </p:txBody>
      </p:sp>
      <p:sp>
        <p:nvSpPr>
          <p:cNvPr id="26" name="Rectangle 15"/>
          <p:cNvSpPr>
            <a:spLocks noChangeArrowheads="1"/>
          </p:cNvSpPr>
          <p:nvPr/>
        </p:nvSpPr>
        <p:spPr bwMode="gray">
          <a:xfrm>
            <a:off x="4341310" y="2081175"/>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Expect to </a:t>
            </a:r>
            <a:r>
              <a:rPr lang="en-US" altLang="zh-CN" sz="1800" dirty="0" smtClean="0">
                <a:solidFill>
                  <a:schemeClr val="accent4"/>
                </a:solidFill>
                <a:latin typeface="Arial"/>
                <a:ea typeface="SimSun"/>
              </a:rPr>
              <a:t>iterate</a:t>
            </a:r>
            <a:endParaRPr lang="en-US" sz="1800" dirty="0">
              <a:latin typeface="Arial"/>
              <a:ea typeface="SimSun"/>
            </a:endParaRPr>
          </a:p>
        </p:txBody>
      </p:sp>
      <p:sp>
        <p:nvSpPr>
          <p:cNvPr id="39" name="Rectangle 5"/>
          <p:cNvSpPr>
            <a:spLocks noChangeArrowheads="1"/>
          </p:cNvSpPr>
          <p:nvPr/>
        </p:nvSpPr>
        <p:spPr bwMode="gray">
          <a:xfrm>
            <a:off x="4067728" y="2096941"/>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3</a:t>
            </a:r>
            <a:endParaRPr lang="en-ZA" sz="1300" b="1" dirty="0">
              <a:solidFill>
                <a:srgbClr val="FFFFFF"/>
              </a:solidFill>
            </a:endParaRPr>
          </a:p>
        </p:txBody>
      </p:sp>
      <p:sp>
        <p:nvSpPr>
          <p:cNvPr id="22" name="Rectangle 15"/>
          <p:cNvSpPr>
            <a:spLocks noChangeArrowheads="1"/>
          </p:cNvSpPr>
          <p:nvPr/>
        </p:nvSpPr>
        <p:spPr bwMode="gray">
          <a:xfrm>
            <a:off x="4341310" y="4220578"/>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Think long </a:t>
            </a:r>
            <a:r>
              <a:rPr lang="en-US" altLang="zh-CN" sz="1800" dirty="0" smtClean="0">
                <a:solidFill>
                  <a:schemeClr val="accent4"/>
                </a:solidFill>
                <a:latin typeface="Arial"/>
                <a:ea typeface="SimSun"/>
              </a:rPr>
              <a:t>term</a:t>
            </a:r>
            <a:endParaRPr lang="en-US" altLang="zh-CN" sz="1800" dirty="0">
              <a:latin typeface="Arial"/>
              <a:ea typeface="SimSun"/>
            </a:endParaRPr>
          </a:p>
        </p:txBody>
      </p:sp>
      <p:sp>
        <p:nvSpPr>
          <p:cNvPr id="43" name="Rectangle 5"/>
          <p:cNvSpPr>
            <a:spLocks noChangeArrowheads="1"/>
          </p:cNvSpPr>
          <p:nvPr/>
        </p:nvSpPr>
        <p:spPr bwMode="gray">
          <a:xfrm>
            <a:off x="4067728" y="4256861"/>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7</a:t>
            </a:r>
            <a:endParaRPr lang="en-ZA" sz="1300" b="1" dirty="0">
              <a:solidFill>
                <a:srgbClr val="FFFFFF"/>
              </a:solidFill>
            </a:endParaRPr>
          </a:p>
        </p:txBody>
      </p:sp>
      <p:sp>
        <p:nvSpPr>
          <p:cNvPr id="20" name="Rectangle 15"/>
          <p:cNvSpPr>
            <a:spLocks noChangeArrowheads="1"/>
          </p:cNvSpPr>
          <p:nvPr/>
        </p:nvSpPr>
        <p:spPr bwMode="gray">
          <a:xfrm>
            <a:off x="4341310" y="5190327"/>
            <a:ext cx="409673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Partner with local governments to create </a:t>
            </a:r>
            <a:r>
              <a:rPr lang="en-US" altLang="zh-CN" sz="1800" dirty="0" smtClean="0">
                <a:solidFill>
                  <a:schemeClr val="accent4"/>
                </a:solidFill>
                <a:latin typeface="Arial"/>
                <a:ea typeface="SimSun"/>
              </a:rPr>
              <a:t>opportunities</a:t>
            </a:r>
            <a:endParaRPr lang="en-US" sz="1800" dirty="0">
              <a:latin typeface="Arial"/>
              <a:ea typeface="SimSun"/>
            </a:endParaRPr>
          </a:p>
        </p:txBody>
      </p:sp>
      <p:sp>
        <p:nvSpPr>
          <p:cNvPr id="45" name="Rectangle 5"/>
          <p:cNvSpPr>
            <a:spLocks noChangeArrowheads="1"/>
          </p:cNvSpPr>
          <p:nvPr/>
        </p:nvSpPr>
        <p:spPr bwMode="gray">
          <a:xfrm>
            <a:off x="4067728" y="5237625"/>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9</a:t>
            </a:r>
            <a:endParaRPr lang="en-ZA" sz="1300" b="1" dirty="0">
              <a:solidFill>
                <a:srgbClr val="FFFFFF"/>
              </a:solidFill>
            </a:endParaRPr>
          </a:p>
        </p:txBody>
      </p:sp>
      <p:sp>
        <p:nvSpPr>
          <p:cNvPr id="18" name="Rectangle 17"/>
          <p:cNvSpPr>
            <a:spLocks noChangeArrowheads="1"/>
          </p:cNvSpPr>
          <p:nvPr/>
        </p:nvSpPr>
        <p:spPr bwMode="gray">
          <a:xfrm>
            <a:off x="4341310" y="4666113"/>
            <a:ext cx="402307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altLang="zh-CN" sz="1800" dirty="0">
                <a:solidFill>
                  <a:schemeClr val="accent4"/>
                </a:solidFill>
                <a:latin typeface="Arial"/>
                <a:ea typeface="SimSun"/>
              </a:rPr>
              <a:t>Involve locals and insiders as </a:t>
            </a:r>
            <a:r>
              <a:rPr lang="en-US" altLang="zh-CN" sz="1800" dirty="0" smtClean="0">
                <a:solidFill>
                  <a:schemeClr val="accent4"/>
                </a:solidFill>
                <a:latin typeface="Arial"/>
                <a:ea typeface="SimSun"/>
              </a:rPr>
              <a:t>partners</a:t>
            </a:r>
            <a:r>
              <a:rPr lang="en-US" altLang="zh-CN" sz="1800" dirty="0" smtClean="0">
                <a:latin typeface="Arial"/>
                <a:ea typeface="SimSun"/>
              </a:rPr>
              <a:t> </a:t>
            </a:r>
            <a:endParaRPr lang="en-US" sz="1800" dirty="0">
              <a:latin typeface="Arial"/>
              <a:ea typeface="SimSun"/>
            </a:endParaRPr>
          </a:p>
        </p:txBody>
      </p:sp>
      <p:sp>
        <p:nvSpPr>
          <p:cNvPr id="44" name="Rectangle 5"/>
          <p:cNvSpPr>
            <a:spLocks noChangeArrowheads="1"/>
          </p:cNvSpPr>
          <p:nvPr/>
        </p:nvSpPr>
        <p:spPr bwMode="gray">
          <a:xfrm>
            <a:off x="4067728" y="4729177"/>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8</a:t>
            </a:r>
            <a:endParaRPr lang="en-ZA" sz="1300" b="1" dirty="0">
              <a:solidFill>
                <a:srgbClr val="FFFFFF"/>
              </a:solidFill>
            </a:endParaRPr>
          </a:p>
        </p:txBody>
      </p:sp>
      <p:sp>
        <p:nvSpPr>
          <p:cNvPr id="19" name="Rectangle 15"/>
          <p:cNvSpPr>
            <a:spLocks noChangeArrowheads="1"/>
          </p:cNvSpPr>
          <p:nvPr/>
        </p:nvSpPr>
        <p:spPr bwMode="gray">
          <a:xfrm>
            <a:off x="4372842" y="5840666"/>
            <a:ext cx="47167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defTabSz="973138" rtl="0">
              <a:defRPr sz="2400">
                <a:solidFill>
                  <a:schemeClr val="tx1"/>
                </a:solidFill>
                <a:latin typeface="Arial" charset="0"/>
              </a:defRPr>
            </a:lvl1pPr>
            <a:lvl2pPr marL="187325" indent="-74613" defTabSz="973138" rtl="0">
              <a:defRPr sz="2400">
                <a:solidFill>
                  <a:schemeClr val="tx1"/>
                </a:solidFill>
                <a:latin typeface="Arial" charset="0"/>
              </a:defRPr>
            </a:lvl2pPr>
            <a:lvl3pPr marL="300038" indent="-1588" defTabSz="973138" rtl="0">
              <a:defRPr sz="2400">
                <a:solidFill>
                  <a:schemeClr val="tx1"/>
                </a:solidFill>
                <a:latin typeface="Arial" charset="0"/>
              </a:defRPr>
            </a:lvl3pPr>
            <a:lvl4pPr marL="487363" defTabSz="973138" rtl="0">
              <a:defRPr sz="2400">
                <a:solidFill>
                  <a:schemeClr val="tx1"/>
                </a:solidFill>
                <a:latin typeface="Arial" charset="0"/>
              </a:defRPr>
            </a:lvl4pPr>
            <a:lvl5pPr marL="673100" defTabSz="973138" rtl="0">
              <a:defRPr sz="2400">
                <a:solidFill>
                  <a:schemeClr val="tx1"/>
                </a:solidFill>
                <a:latin typeface="Arial" charset="0"/>
              </a:defRPr>
            </a:lvl5pPr>
            <a:lvl6pPr marL="1130300" defTabSz="973138" fontAlgn="base">
              <a:spcBef>
                <a:spcPct val="0"/>
              </a:spcBef>
              <a:spcAft>
                <a:spcPct val="0"/>
              </a:spcAft>
              <a:defRPr sz="2400">
                <a:solidFill>
                  <a:schemeClr val="tx1"/>
                </a:solidFill>
                <a:latin typeface="Arial" charset="0"/>
              </a:defRPr>
            </a:lvl6pPr>
            <a:lvl7pPr marL="1587500" defTabSz="973138" fontAlgn="base">
              <a:spcBef>
                <a:spcPct val="0"/>
              </a:spcBef>
              <a:spcAft>
                <a:spcPct val="0"/>
              </a:spcAft>
              <a:defRPr sz="2400">
                <a:solidFill>
                  <a:schemeClr val="tx1"/>
                </a:solidFill>
                <a:latin typeface="Arial" charset="0"/>
              </a:defRPr>
            </a:lvl7pPr>
            <a:lvl8pPr marL="2044700" defTabSz="973138" fontAlgn="base">
              <a:spcBef>
                <a:spcPct val="0"/>
              </a:spcBef>
              <a:spcAft>
                <a:spcPct val="0"/>
              </a:spcAft>
              <a:defRPr sz="2400">
                <a:solidFill>
                  <a:schemeClr val="tx1"/>
                </a:solidFill>
                <a:latin typeface="Arial" charset="0"/>
              </a:defRPr>
            </a:lvl8pPr>
            <a:lvl9pPr marL="2501900" defTabSz="973138" fontAlgn="base">
              <a:spcBef>
                <a:spcPct val="0"/>
              </a:spcBef>
              <a:spcAft>
                <a:spcPct val="0"/>
              </a:spcAft>
              <a:defRPr sz="2400">
                <a:solidFill>
                  <a:schemeClr val="tx1"/>
                </a:solidFill>
                <a:latin typeface="Arial" charset="0"/>
              </a:defRPr>
            </a:lvl9pPr>
          </a:lstStyle>
          <a:p>
            <a:pPr marL="0" lvl="1" indent="0"/>
            <a:r>
              <a:rPr lang="en-US" sz="1800" dirty="0">
                <a:solidFill>
                  <a:schemeClr val="accent4"/>
                </a:solidFill>
                <a:latin typeface="Arial"/>
                <a:ea typeface="SimSun"/>
              </a:rPr>
              <a:t>Invest in building local </a:t>
            </a:r>
            <a:r>
              <a:rPr lang="en-US" sz="1800" dirty="0" smtClean="0">
                <a:solidFill>
                  <a:schemeClr val="accent4"/>
                </a:solidFill>
                <a:latin typeface="Arial"/>
                <a:ea typeface="SimSun"/>
              </a:rPr>
              <a:t>talent</a:t>
            </a:r>
            <a:endParaRPr lang="en-US" sz="1800" dirty="0">
              <a:ea typeface="SimSun" pitchFamily="2" charset="-122"/>
            </a:endParaRPr>
          </a:p>
        </p:txBody>
      </p:sp>
      <p:sp>
        <p:nvSpPr>
          <p:cNvPr id="46" name="Rectangle 5"/>
          <p:cNvSpPr>
            <a:spLocks noChangeArrowheads="1"/>
          </p:cNvSpPr>
          <p:nvPr/>
        </p:nvSpPr>
        <p:spPr bwMode="gray">
          <a:xfrm>
            <a:off x="4067728" y="5872198"/>
            <a:ext cx="222084" cy="222084"/>
          </a:xfrm>
          <a:prstGeom prst="ellipse">
            <a:avLst/>
          </a:prstGeom>
          <a:solidFill>
            <a:schemeClr val="accent4"/>
          </a:solidFill>
          <a:ln>
            <a:noFill/>
            <a:headEnd/>
            <a:tailEnd/>
          </a:ln>
          <a:effectLst/>
          <a:extLst/>
        </p:spPr>
        <p:style>
          <a:lnRef idx="1">
            <a:schemeClr val="accent4"/>
          </a:lnRef>
          <a:fillRef idx="3">
            <a:schemeClr val="accent4"/>
          </a:fillRef>
          <a:effectRef idx="2">
            <a:schemeClr val="accent4"/>
          </a:effectRef>
          <a:fontRef idx="minor">
            <a:schemeClr val="lt1"/>
          </a:fontRef>
        </p:style>
        <p:txBody>
          <a:bodyPr wrap="none" lIns="0" tIns="0" rIns="0" bIns="0" anchor="ctr" anchorCtr="1">
            <a:noAutofit/>
          </a:bodyPr>
          <a:lstStyle/>
          <a:p>
            <a:r>
              <a:rPr lang="en-ZA" sz="1300" b="1" dirty="0" smtClean="0">
                <a:solidFill>
                  <a:srgbClr val="FFFFFF"/>
                </a:solidFill>
              </a:rPr>
              <a:t>10</a:t>
            </a:r>
            <a:endParaRPr lang="en-ZA" sz="1300" b="1" dirty="0">
              <a:solidFill>
                <a:srgbClr val="FFFFFF"/>
              </a:solidFill>
            </a:endParaRPr>
          </a:p>
        </p:txBody>
      </p:sp>
      <p:cxnSp>
        <p:nvCxnSpPr>
          <p:cNvPr id="59" name="Straight Connector 58"/>
          <p:cNvCxnSpPr>
            <a:cxnSpLocks/>
          </p:cNvCxnSpPr>
          <p:nvPr/>
        </p:nvCxnSpPr>
        <p:spPr>
          <a:xfrm>
            <a:off x="2651281" y="1916644"/>
            <a:ext cx="591806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a:off x="4067728" y="4108096"/>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2651281" y="4533114"/>
            <a:ext cx="591806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4067728" y="3584049"/>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4067728" y="3001682"/>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a:off x="4067728" y="2437004"/>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a:off x="4141388" y="5100772"/>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4067728" y="5807389"/>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nvCxnSpPr>
        <p:spPr>
          <a:xfrm>
            <a:off x="4078234" y="1482886"/>
            <a:ext cx="4296658"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6793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5951114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89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27" name="McK 5. Source"/>
          <p:cNvSpPr>
            <a:spLocks noChangeArrowheads="1"/>
          </p:cNvSpPr>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rPr>
              <a:t>SOURCE: Company website; </a:t>
            </a:r>
            <a:r>
              <a:rPr lang="en-US" sz="1000" dirty="0" smtClean="0">
                <a:solidFill>
                  <a:srgbClr val="000000"/>
                </a:solidFill>
              </a:rPr>
              <a:t>web </a:t>
            </a:r>
            <a:r>
              <a:rPr lang="en-US" sz="1000" dirty="0">
                <a:solidFill>
                  <a:srgbClr val="000000"/>
                </a:solidFill>
              </a:rPr>
              <a:t>search</a:t>
            </a:r>
          </a:p>
        </p:txBody>
      </p:sp>
      <p:sp>
        <p:nvSpPr>
          <p:cNvPr id="4" name="AutoShape 8"/>
          <p:cNvSpPr>
            <a:spLocks noChangeArrowheads="1"/>
          </p:cNvSpPr>
          <p:nvPr/>
        </p:nvSpPr>
        <p:spPr bwMode="gray">
          <a:xfrm>
            <a:off x="172402" y="988357"/>
            <a:ext cx="4391977" cy="4665682"/>
          </a:xfrm>
          <a:prstGeom prst="rect">
            <a:avLst/>
          </a:prstGeom>
          <a:gradFill flip="none" rotWithShape="1">
            <a:gsLst>
              <a:gs pos="0">
                <a:schemeClr val="bg1">
                  <a:alpha val="65000"/>
                </a:schemeClr>
              </a:gs>
              <a:gs pos="100000">
                <a:schemeClr val="bg1"/>
              </a:gs>
            </a:gsLst>
            <a:lin ang="0" scaled="1"/>
            <a:tileRect/>
          </a:gradFill>
          <a:ln w="19050" algn="ctr">
            <a:solidFill>
              <a:srgbClr val="66A3D7"/>
            </a:solidFill>
            <a:miter lim="800000"/>
            <a:headEnd/>
            <a:tailEnd/>
          </a:ln>
          <a:effectLst/>
          <a:extLst/>
        </p:spPr>
        <p:txBody>
          <a:bodyPr vert="horz" wrap="square" lIns="72009" tIns="72009" rIns="72009" bIns="72009" numCol="1" anchor="ctr" anchorCtr="0" compatLnSpc="1">
            <a:prstTxWarp prst="textNoShape">
              <a:avLst/>
            </a:prstTxWarp>
          </a:bodyPr>
          <a:lstStyle/>
          <a:p>
            <a:pPr algn="ctr"/>
            <a:endParaRPr lang="en-US" smtClean="0">
              <a:solidFill>
                <a:srgbClr val="000000"/>
              </a:solidFill>
              <a:latin typeface="+mj-lt"/>
              <a:cs typeface="Arial" pitchFamily="34" charset="0"/>
            </a:endParaRPr>
          </a:p>
        </p:txBody>
      </p:sp>
      <p:sp>
        <p:nvSpPr>
          <p:cNvPr id="9" name="AutoShape 8"/>
          <p:cNvSpPr>
            <a:spLocks noChangeArrowheads="1"/>
          </p:cNvSpPr>
          <p:nvPr/>
        </p:nvSpPr>
        <p:spPr bwMode="gray">
          <a:xfrm>
            <a:off x="172402" y="988357"/>
            <a:ext cx="4391977" cy="619943"/>
          </a:xfrm>
          <a:prstGeom prst="rect">
            <a:avLst/>
          </a:prstGeom>
          <a:solidFill>
            <a:srgbClr val="66A3D7"/>
          </a:solidFill>
          <a:ln w="19050">
            <a:noFill/>
            <a:miter lim="800000"/>
            <a:headEnd/>
            <a:tailEnd/>
          </a:ln>
          <a:effectLst/>
          <a:extLst/>
        </p:spPr>
        <p:txBody>
          <a:bodyPr vert="horz" wrap="square" lIns="76200" tIns="76200" rIns="76200" bIns="76200" numCol="1" anchor="b" anchorCtr="0" compatLnSpc="1">
            <a:prstTxWarp prst="textNoShape">
              <a:avLst/>
            </a:prstTxWarp>
            <a:noAutofit/>
          </a:bodyPr>
          <a:lstStyle/>
          <a:p>
            <a:pPr defTabSz="895350">
              <a:buClr>
                <a:srgbClr val="002960"/>
              </a:buClr>
            </a:pPr>
            <a:r>
              <a:rPr lang="en-US" sz="1800" b="1" dirty="0" smtClean="0">
                <a:solidFill>
                  <a:schemeClr val="bg1"/>
                </a:solidFill>
                <a:latin typeface="+mj-lt"/>
                <a:ea typeface="Arial Unicode MS" pitchFamily="34" charset="-128"/>
                <a:cs typeface="Arial Unicode MS" pitchFamily="34" charset="-128"/>
              </a:rPr>
              <a:t>Cisco’s joint vision with governments in Africa to develop IT sector</a:t>
            </a:r>
            <a:endParaRPr lang="en-US" sz="1800" b="1" dirty="0">
              <a:solidFill>
                <a:schemeClr val="bg1"/>
              </a:solidFill>
              <a:latin typeface="+mj-lt"/>
              <a:ea typeface="Arial Unicode MS" pitchFamily="34" charset="-128"/>
              <a:cs typeface="Arial Unicode MS" pitchFamily="34" charset="-128"/>
            </a:endParaRPr>
          </a:p>
        </p:txBody>
      </p:sp>
      <p:sp>
        <p:nvSpPr>
          <p:cNvPr id="24" name="Title 4"/>
          <p:cNvSpPr>
            <a:spLocks noGrp="1"/>
          </p:cNvSpPr>
          <p:nvPr>
            <p:ph type="title"/>
          </p:nvPr>
        </p:nvSpPr>
        <p:spPr>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Example: Cisco’s </a:t>
            </a:r>
            <a:r>
              <a:rPr lang="en-US" dirty="0"/>
              <a:t>joint vision for IT development in multiple African nations and Japan’s early participation in India’s development</a:t>
            </a:r>
          </a:p>
        </p:txBody>
      </p:sp>
      <p:sp>
        <p:nvSpPr>
          <p:cNvPr id="25" name="TextBox 23"/>
          <p:cNvSpPr txBox="1">
            <a:spLocks/>
          </p:cNvSpPr>
          <p:nvPr>
            <p:custDataLst>
              <p:tags r:id="rId3"/>
            </p:custDataLst>
          </p:nvPr>
        </p:nvSpPr>
        <p:spPr bwMode="gray">
          <a:xfrm>
            <a:off x="172403" y="5076328"/>
            <a:ext cx="4391976" cy="851506"/>
          </a:xfrm>
          <a:prstGeom prst="roundRect">
            <a:avLst>
              <a:gd name="adj" fmla="val 5969"/>
            </a:avLst>
          </a:prstGeom>
          <a:solidFill>
            <a:schemeClr val="accent3"/>
          </a:solidFill>
          <a:ln w="28575">
            <a:solidFill>
              <a:schemeClr val="bg1"/>
            </a:solidFill>
            <a:miter lim="800000"/>
            <a:headEnd/>
            <a:tailEnd/>
          </a:ln>
          <a:effectLst>
            <a:outerShdw blurRad="63500" sx="102000" sy="102000" algn="ctr" rotWithShape="0">
              <a:prstClr val="black">
                <a:alpha val="40000"/>
              </a:prstClr>
            </a:outerShdw>
          </a:effectLs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400" b="1" dirty="0" smtClean="0">
                <a:solidFill>
                  <a:srgbClr val="FFFFFF"/>
                </a:solidFill>
                <a:latin typeface="+mj-lt"/>
              </a:rPr>
              <a:t>Developed a skill building </a:t>
            </a:r>
            <a:r>
              <a:rPr lang="en-US" sz="1400" b="1" dirty="0" err="1" smtClean="0">
                <a:solidFill>
                  <a:srgbClr val="FFFFFF"/>
                </a:solidFill>
                <a:latin typeface="+mj-lt"/>
              </a:rPr>
              <a:t>programme</a:t>
            </a:r>
            <a:r>
              <a:rPr lang="en-US" sz="1400" b="1" dirty="0" smtClean="0">
                <a:solidFill>
                  <a:srgbClr val="FFFFFF"/>
                </a:solidFill>
                <a:latin typeface="+mj-lt"/>
              </a:rPr>
              <a:t> in Ethiopia to develop &gt;500 engineers to help lay down 2,500 </a:t>
            </a:r>
            <a:r>
              <a:rPr lang="en-US" sz="1400" b="1" dirty="0" err="1" smtClean="0">
                <a:solidFill>
                  <a:srgbClr val="FFFFFF"/>
                </a:solidFill>
                <a:latin typeface="+mj-lt"/>
              </a:rPr>
              <a:t>kms</a:t>
            </a:r>
            <a:r>
              <a:rPr lang="en-US" sz="1400" b="1" dirty="0" smtClean="0">
                <a:solidFill>
                  <a:srgbClr val="FFFFFF"/>
                </a:solidFill>
                <a:latin typeface="+mj-lt"/>
              </a:rPr>
              <a:t> of </a:t>
            </a:r>
            <a:r>
              <a:rPr lang="en-US" sz="1400" b="1" dirty="0" err="1" smtClean="0">
                <a:solidFill>
                  <a:srgbClr val="FFFFFF"/>
                </a:solidFill>
                <a:latin typeface="+mj-lt"/>
              </a:rPr>
              <a:t>fibre</a:t>
            </a:r>
            <a:r>
              <a:rPr lang="en-US" sz="1400" b="1" dirty="0" smtClean="0">
                <a:solidFill>
                  <a:srgbClr val="FFFFFF"/>
                </a:solidFill>
                <a:latin typeface="+mj-lt"/>
              </a:rPr>
              <a:t> optics in 3 years </a:t>
            </a:r>
            <a:endParaRPr lang="en-US" sz="1400" b="1" dirty="0">
              <a:solidFill>
                <a:srgbClr val="FFFFFF"/>
              </a:solidFill>
              <a:latin typeface="+mj-lt"/>
            </a:endParaRPr>
          </a:p>
        </p:txBody>
      </p:sp>
      <p:sp>
        <p:nvSpPr>
          <p:cNvPr id="52" name="AutoShape 8"/>
          <p:cNvSpPr>
            <a:spLocks noChangeArrowheads="1"/>
          </p:cNvSpPr>
          <p:nvPr/>
        </p:nvSpPr>
        <p:spPr bwMode="gray">
          <a:xfrm>
            <a:off x="4707112" y="988357"/>
            <a:ext cx="3949208" cy="4665683"/>
          </a:xfrm>
          <a:prstGeom prst="rect">
            <a:avLst/>
          </a:prstGeom>
          <a:solidFill>
            <a:schemeClr val="bg1"/>
          </a:solidFill>
          <a:ln w="19050" algn="ctr">
            <a:solidFill>
              <a:srgbClr val="66A3D7"/>
            </a:solidFill>
            <a:miter lim="800000"/>
            <a:headEnd/>
            <a:tailEnd/>
          </a:ln>
          <a:effectLst/>
          <a:extLst/>
        </p:spPr>
        <p:txBody>
          <a:bodyPr vert="horz" wrap="square" lIns="72009" tIns="72009" rIns="72009" bIns="72009" numCol="1" anchor="ctr" anchorCtr="0" compatLnSpc="1">
            <a:prstTxWarp prst="textNoShape">
              <a:avLst/>
            </a:prstTxWarp>
          </a:bodyPr>
          <a:lstStyle/>
          <a:p>
            <a:pPr algn="ctr"/>
            <a:endParaRPr lang="en-US" smtClean="0">
              <a:solidFill>
                <a:srgbClr val="000000"/>
              </a:solidFill>
              <a:latin typeface="+mj-lt"/>
              <a:cs typeface="Arial" pitchFamily="34" charset="0"/>
            </a:endParaRPr>
          </a:p>
        </p:txBody>
      </p:sp>
      <p:sp>
        <p:nvSpPr>
          <p:cNvPr id="53" name="AutoShape 8"/>
          <p:cNvSpPr>
            <a:spLocks noChangeArrowheads="1"/>
          </p:cNvSpPr>
          <p:nvPr/>
        </p:nvSpPr>
        <p:spPr bwMode="gray">
          <a:xfrm>
            <a:off x="4707112" y="999296"/>
            <a:ext cx="3949208" cy="619943"/>
          </a:xfrm>
          <a:prstGeom prst="rect">
            <a:avLst/>
          </a:prstGeom>
          <a:solidFill>
            <a:srgbClr val="66A3D7"/>
          </a:solidFill>
          <a:ln w="19050">
            <a:noFill/>
            <a:miter lim="800000"/>
            <a:headEnd/>
            <a:tailEnd/>
          </a:ln>
          <a:effectLst/>
          <a:extLst/>
        </p:spPr>
        <p:txBody>
          <a:bodyPr vert="horz" wrap="square" lIns="76200" tIns="76200" rIns="76200" bIns="76200" numCol="1" anchor="b" anchorCtr="0" compatLnSpc="1">
            <a:prstTxWarp prst="textNoShape">
              <a:avLst/>
            </a:prstTxWarp>
            <a:noAutofit/>
          </a:bodyPr>
          <a:lstStyle/>
          <a:p>
            <a:pPr defTabSz="895350">
              <a:buClr>
                <a:srgbClr val="002960"/>
              </a:buClr>
            </a:pPr>
            <a:r>
              <a:rPr lang="en-US" sz="1800" b="1" dirty="0" smtClean="0">
                <a:solidFill>
                  <a:schemeClr val="bg1"/>
                </a:solidFill>
                <a:latin typeface="+mj-lt"/>
                <a:ea typeface="Arial Unicode MS" pitchFamily="34" charset="-128"/>
                <a:cs typeface="Arial Unicode MS" pitchFamily="34" charset="-128"/>
              </a:rPr>
              <a:t>Japan participated early in India’s infrastructure development</a:t>
            </a:r>
            <a:endParaRPr lang="en-US" sz="1800" b="1" dirty="0">
              <a:solidFill>
                <a:schemeClr val="bg1"/>
              </a:solidFill>
              <a:latin typeface="+mj-lt"/>
              <a:ea typeface="Arial Unicode MS" pitchFamily="34" charset="-128"/>
              <a:cs typeface="Arial Unicode MS" pitchFamily="34" charset="-128"/>
            </a:endParaRPr>
          </a:p>
        </p:txBody>
      </p:sp>
      <p:sp>
        <p:nvSpPr>
          <p:cNvPr id="2" name="Rectangle 7"/>
          <p:cNvSpPr txBox="1">
            <a:spLocks/>
          </p:cNvSpPr>
          <p:nvPr/>
        </p:nvSpPr>
        <p:spPr>
          <a:xfrm>
            <a:off x="4774134" y="1779986"/>
            <a:ext cx="3815164" cy="27494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1000"/>
              </a:spcBef>
              <a:spcAft>
                <a:spcPts val="0"/>
              </a:spcAft>
            </a:pPr>
            <a:r>
              <a:rPr lang="en-US" sz="1800" b="1" dirty="0"/>
              <a:t>Since early 2000, Japan has invested in various feasibility studies and project reports in the infrastructure </a:t>
            </a:r>
            <a:r>
              <a:rPr lang="en-US" sz="1800" b="1" dirty="0" smtClean="0"/>
              <a:t>space</a:t>
            </a:r>
          </a:p>
          <a:p>
            <a:pPr lvl="2">
              <a:spcBef>
                <a:spcPts val="1000"/>
              </a:spcBef>
              <a:spcAft>
                <a:spcPts val="0"/>
              </a:spcAft>
            </a:pPr>
            <a:r>
              <a:rPr lang="en-US" sz="1800" b="1" dirty="0" smtClean="0"/>
              <a:t>Feasibility </a:t>
            </a:r>
            <a:r>
              <a:rPr lang="en-US" sz="1800" b="1" dirty="0"/>
              <a:t>Study for developing a high speed railway </a:t>
            </a:r>
            <a:r>
              <a:rPr lang="en-US" sz="1800" b="1" dirty="0" smtClean="0"/>
              <a:t>systems</a:t>
            </a:r>
          </a:p>
          <a:p>
            <a:pPr lvl="2">
              <a:spcBef>
                <a:spcPts val="1000"/>
              </a:spcBef>
              <a:spcAft>
                <a:spcPts val="0"/>
              </a:spcAft>
            </a:pPr>
            <a:r>
              <a:rPr lang="en-US" sz="1800" b="1" dirty="0" smtClean="0"/>
              <a:t>Identified freight corridors as important sources of</a:t>
            </a:r>
            <a:endParaRPr lang="en-US" sz="1800" b="1" dirty="0"/>
          </a:p>
        </p:txBody>
      </p:sp>
      <p:grpSp>
        <p:nvGrpSpPr>
          <p:cNvPr id="12" name="Group 11"/>
          <p:cNvGrpSpPr/>
          <p:nvPr/>
        </p:nvGrpSpPr>
        <p:grpSpPr>
          <a:xfrm>
            <a:off x="503439" y="1765242"/>
            <a:ext cx="3542633" cy="3311086"/>
            <a:chOff x="4796261" y="1264023"/>
            <a:chExt cx="3936936" cy="4001497"/>
          </a:xfrm>
        </p:grpSpPr>
        <p:sp>
          <p:nvSpPr>
            <p:cNvPr id="13" name="Freeform 41"/>
            <p:cNvSpPr>
              <a:spLocks/>
            </p:cNvSpPr>
            <p:nvPr>
              <p:custDataLst>
                <p:tags r:id="rId4"/>
              </p:custDataLst>
            </p:nvPr>
          </p:nvSpPr>
          <p:spPr bwMode="gray">
            <a:xfrm>
              <a:off x="5015752" y="1264023"/>
              <a:ext cx="3405521" cy="4001497"/>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noFill/>
            <a:ln w="28575" cap="flat" cmpd="sng">
              <a:solidFill>
                <a:schemeClr val="accent6">
                  <a:lumMod val="40000"/>
                  <a:lumOff val="60000"/>
                </a:schemeClr>
              </a:solidFill>
              <a:prstDash val="solid"/>
              <a:round/>
              <a:headEnd type="none" w="med" len="med"/>
              <a:tailEnd type="none" w="med" len="med"/>
            </a:ln>
            <a:effectLst/>
            <a:extLst/>
          </p:spPr>
          <p:txBody>
            <a:bodyPr/>
            <a:lstStyle/>
            <a:p>
              <a:endParaRPr lang="en-CA">
                <a:solidFill>
                  <a:srgbClr val="000000"/>
                </a:solidFill>
              </a:endParaRPr>
            </a:p>
          </p:txBody>
        </p:sp>
        <p:sp>
          <p:nvSpPr>
            <p:cNvPr id="14" name="Rectangle 5"/>
            <p:cNvSpPr txBox="1"/>
            <p:nvPr>
              <p:custDataLst>
                <p:tags r:id="rId5"/>
              </p:custDataLst>
            </p:nvPr>
          </p:nvSpPr>
          <p:spPr bwMode="gray">
            <a:xfrm>
              <a:off x="4796261" y="1556641"/>
              <a:ext cx="2675683"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3600" b="1" dirty="0">
                  <a:solidFill>
                    <a:srgbClr val="0066CC"/>
                  </a:solidFill>
                </a:rPr>
                <a:t>790</a:t>
              </a:r>
              <a:r>
                <a:rPr lang="en-US" sz="2000" dirty="0">
                  <a:solidFill>
                    <a:srgbClr val="000000"/>
                  </a:solidFill>
                </a:rPr>
                <a:t> </a:t>
              </a:r>
              <a:endParaRPr lang="en-US" sz="2000" dirty="0" smtClean="0">
                <a:solidFill>
                  <a:srgbClr val="000000"/>
                </a:solidFill>
              </a:endParaRPr>
            </a:p>
            <a:p>
              <a:pPr algn="ctr">
                <a:buClr>
                  <a:srgbClr val="002960"/>
                </a:buClr>
              </a:pPr>
              <a:r>
                <a:rPr lang="en-US" sz="1200" dirty="0" smtClean="0">
                  <a:solidFill>
                    <a:srgbClr val="000000"/>
                  </a:solidFill>
                </a:rPr>
                <a:t>Training </a:t>
              </a:r>
              <a:r>
                <a:rPr lang="en-US" sz="1200" dirty="0">
                  <a:solidFill>
                    <a:srgbClr val="000000"/>
                  </a:solidFill>
                </a:rPr>
                <a:t>Academies</a:t>
              </a:r>
            </a:p>
          </p:txBody>
        </p:sp>
        <p:sp>
          <p:nvSpPr>
            <p:cNvPr id="16" name="Rectangle 15"/>
            <p:cNvSpPr/>
            <p:nvPr>
              <p:custDataLst>
                <p:tags r:id="rId6"/>
              </p:custDataLst>
            </p:nvPr>
          </p:nvSpPr>
          <p:spPr bwMode="gray">
            <a:xfrm>
              <a:off x="6156666" y="4049173"/>
              <a:ext cx="1843984" cy="553998"/>
            </a:xfrm>
            <a:prstGeom prst="rect">
              <a:avLst/>
            </a:prstGeom>
          </p:spPr>
          <p:txBody>
            <a:bodyPr wrap="square">
              <a:spAutoFit/>
            </a:bodyPr>
            <a:lstStyle/>
            <a:p>
              <a:pPr algn="ctr"/>
              <a:r>
                <a:rPr lang="en-US" sz="1200" dirty="0">
                  <a:solidFill>
                    <a:srgbClr val="000000"/>
                  </a:solidFill>
                </a:rPr>
                <a:t>R</a:t>
              </a:r>
              <a:r>
                <a:rPr lang="en-US" sz="1200" dirty="0" smtClean="0">
                  <a:solidFill>
                    <a:srgbClr val="000000"/>
                  </a:solidFill>
                </a:rPr>
                <a:t>unning </a:t>
              </a:r>
              <a:r>
                <a:rPr lang="en-US" sz="1200" dirty="0">
                  <a:solidFill>
                    <a:srgbClr val="000000"/>
                  </a:solidFill>
                </a:rPr>
                <a:t>in </a:t>
              </a:r>
              <a:r>
                <a:rPr lang="en-US" sz="1800" b="1" dirty="0">
                  <a:solidFill>
                    <a:srgbClr val="0066CC"/>
                  </a:solidFill>
                  <a:latin typeface="Arial"/>
                  <a:ea typeface="Arial Unicode MS" pitchFamily="34" charset="-128"/>
                  <a:cs typeface="Arial Unicode MS" pitchFamily="34" charset="-128"/>
                </a:rPr>
                <a:t>40</a:t>
              </a:r>
              <a:r>
                <a:rPr lang="en-US" sz="1200" dirty="0">
                  <a:solidFill>
                    <a:srgbClr val="000000"/>
                  </a:solidFill>
                </a:rPr>
                <a:t> countries</a:t>
              </a:r>
            </a:p>
          </p:txBody>
        </p:sp>
        <p:sp>
          <p:nvSpPr>
            <p:cNvPr id="17" name="Rectangle 5"/>
            <p:cNvSpPr txBox="1"/>
            <p:nvPr>
              <p:custDataLst>
                <p:tags r:id="rId7"/>
              </p:custDataLst>
            </p:nvPr>
          </p:nvSpPr>
          <p:spPr bwMode="gray">
            <a:xfrm>
              <a:off x="6117619" y="2553386"/>
              <a:ext cx="2159246"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rgbClr val="0066CC"/>
                  </a:solidFill>
                </a:rPr>
                <a:t>77,581</a:t>
              </a:r>
              <a:r>
                <a:rPr lang="en-US" dirty="0">
                  <a:solidFill>
                    <a:srgbClr val="000000"/>
                  </a:solidFill>
                </a:rPr>
                <a:t> </a:t>
              </a:r>
              <a:r>
                <a:rPr lang="en-US" sz="1200" dirty="0" smtClean="0">
                  <a:solidFill>
                    <a:srgbClr val="000000"/>
                  </a:solidFill>
                </a:rPr>
                <a:t>students</a:t>
              </a:r>
            </a:p>
            <a:p>
              <a:pPr algn="ctr">
                <a:buClr>
                  <a:srgbClr val="002960"/>
                </a:buClr>
              </a:pPr>
              <a:r>
                <a:rPr lang="en-US" sz="1200" dirty="0">
                  <a:solidFill>
                    <a:srgbClr val="000000"/>
                  </a:solidFill>
                </a:rPr>
                <a:t>i</a:t>
              </a:r>
              <a:r>
                <a:rPr lang="en-US" sz="1200" dirty="0" smtClean="0">
                  <a:solidFill>
                    <a:srgbClr val="000000"/>
                  </a:solidFill>
                </a:rPr>
                <a:t>n the academies</a:t>
              </a:r>
              <a:endParaRPr lang="en-US" sz="1200" dirty="0">
                <a:solidFill>
                  <a:srgbClr val="000000"/>
                </a:solidFill>
              </a:endParaRPr>
            </a:p>
          </p:txBody>
        </p:sp>
        <p:sp>
          <p:nvSpPr>
            <p:cNvPr id="18" name="Rectangle 5"/>
            <p:cNvSpPr txBox="1"/>
            <p:nvPr>
              <p:custDataLst>
                <p:tags r:id="rId8"/>
              </p:custDataLst>
            </p:nvPr>
          </p:nvSpPr>
          <p:spPr bwMode="gray">
            <a:xfrm>
              <a:off x="6652900" y="3446578"/>
              <a:ext cx="2080297"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2000" b="1" dirty="0">
                  <a:solidFill>
                    <a:srgbClr val="0066CC"/>
                  </a:solidFill>
                </a:rPr>
                <a:t>1,570</a:t>
              </a:r>
              <a:r>
                <a:rPr lang="en-US" dirty="0">
                  <a:solidFill>
                    <a:srgbClr val="000000"/>
                  </a:solidFill>
                </a:rPr>
                <a:t> </a:t>
              </a:r>
              <a:endParaRPr lang="en-US" dirty="0" smtClean="0">
                <a:solidFill>
                  <a:srgbClr val="000000"/>
                </a:solidFill>
              </a:endParaRPr>
            </a:p>
            <a:p>
              <a:pPr>
                <a:buClr>
                  <a:srgbClr val="002960"/>
                </a:buClr>
              </a:pPr>
              <a:r>
                <a:rPr lang="en-US" sz="1200" dirty="0" smtClean="0">
                  <a:solidFill>
                    <a:srgbClr val="000000"/>
                  </a:solidFill>
                </a:rPr>
                <a:t> instructors</a:t>
              </a:r>
              <a:endParaRPr lang="en-US" sz="1200" dirty="0">
                <a:solidFill>
                  <a:srgbClr val="000000"/>
                </a:solidFill>
              </a:endParaRPr>
            </a:p>
          </p:txBody>
        </p:sp>
      </p:grpSp>
    </p:spTree>
    <p:extLst>
      <p:ext uri="{BB962C8B-B14F-4D97-AF65-F5344CB8AC3E}">
        <p14:creationId xmlns:p14="http://schemas.microsoft.com/office/powerpoint/2010/main" val="35907624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236840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6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173" name="Rectangle 17"/>
          <p:cNvSpPr>
            <a:spLocks noChangeArrowheads="1"/>
          </p:cNvSpPr>
          <p:nvPr/>
        </p:nvSpPr>
        <p:spPr bwMode="gray">
          <a:xfrm>
            <a:off x="4737360" y="1117256"/>
            <a:ext cx="1950855" cy="4915852"/>
          </a:xfrm>
          <a:prstGeom prst="rect">
            <a:avLst/>
          </a:prstGeom>
          <a:solidFill>
            <a:schemeClr val="bg1">
              <a:lumMod val="95000"/>
            </a:schemeClr>
          </a:solidFill>
          <a:ln>
            <a:noFill/>
          </a:ln>
          <a:effectLst/>
          <a:extLst/>
        </p:spPr>
        <p:txBody>
          <a:bodyPr wrap="none" anchor="ctr"/>
          <a:lstStyle/>
          <a:p>
            <a:pPr algn="ctr"/>
            <a:endParaRPr lang="en-GB" sz="1400">
              <a:solidFill>
                <a:srgbClr val="000000"/>
              </a:solidFill>
            </a:endParaRPr>
          </a:p>
        </p:txBody>
      </p:sp>
      <p:sp>
        <p:nvSpPr>
          <p:cNvPr id="141" name="Rectangle 140"/>
          <p:cNvSpPr>
            <a:spLocks noChangeArrowheads="1"/>
          </p:cNvSpPr>
          <p:nvPr/>
        </p:nvSpPr>
        <p:spPr bwMode="gray">
          <a:xfrm>
            <a:off x="4737360" y="804883"/>
            <a:ext cx="1950855" cy="215444"/>
          </a:xfrm>
          <a:prstGeom prst="rect">
            <a:avLst/>
          </a:prstGeom>
          <a:noFill/>
          <a:ln w="28575">
            <a:noFill/>
            <a:miter lim="800000"/>
            <a:headEnd/>
            <a:tailEnd/>
          </a:ln>
          <a:effectLst/>
        </p:spPr>
        <p:txBody>
          <a:bodyPr wrap="none" lIns="0" tIns="0" rIns="0" bIns="0" anchor="ctr" anchorCtr="0">
            <a:spAutoFit/>
          </a:bodyPr>
          <a:lstStyle/>
          <a:p>
            <a:pPr algn="ctr" defTabSz="895350">
              <a:buClr>
                <a:srgbClr val="002960"/>
              </a:buClr>
            </a:pPr>
            <a:r>
              <a:rPr lang="en-US" altLang="ja-JP" sz="1400" b="1" dirty="0">
                <a:solidFill>
                  <a:schemeClr val="accent3"/>
                </a:solidFill>
                <a:latin typeface="Arial"/>
              </a:rPr>
              <a:t>Africa </a:t>
            </a:r>
            <a:r>
              <a:rPr lang="en-US" altLang="ja-JP" sz="1400" b="1" dirty="0" smtClean="0">
                <a:solidFill>
                  <a:schemeClr val="accent3"/>
                </a:solidFill>
                <a:latin typeface="Arial"/>
              </a:rPr>
              <a:t>tomorrow (2025)</a:t>
            </a:r>
            <a:endParaRPr lang="en-US" altLang="ja-JP" sz="1400" b="1" dirty="0">
              <a:solidFill>
                <a:schemeClr val="accent3"/>
              </a:solidFill>
              <a:latin typeface="Arial"/>
            </a:endParaRPr>
          </a:p>
        </p:txBody>
      </p:sp>
      <p:sp>
        <p:nvSpPr>
          <p:cNvPr id="142" name="Rectangle 17"/>
          <p:cNvSpPr>
            <a:spLocks noChangeArrowheads="1"/>
          </p:cNvSpPr>
          <p:nvPr/>
        </p:nvSpPr>
        <p:spPr bwMode="gray">
          <a:xfrm>
            <a:off x="4737360" y="1048676"/>
            <a:ext cx="1950855" cy="69040"/>
          </a:xfrm>
          <a:prstGeom prst="rect">
            <a:avLst/>
          </a:prstGeom>
          <a:solidFill>
            <a:schemeClr val="accent3"/>
          </a:solidFill>
          <a:ln>
            <a:noFill/>
          </a:ln>
          <a:effectLst/>
          <a:extLst/>
        </p:spPr>
        <p:txBody>
          <a:bodyPr wrap="none" anchor="ctr"/>
          <a:lstStyle/>
          <a:p>
            <a:pPr algn="ctr"/>
            <a:endParaRPr lang="en-GB" sz="1400">
              <a:solidFill>
                <a:srgbClr val="000000"/>
              </a:solidFill>
            </a:endParaRPr>
          </a:p>
        </p:txBody>
      </p:sp>
      <p:sp>
        <p:nvSpPr>
          <p:cNvPr id="135" name="Rectangle 8"/>
          <p:cNvSpPr txBox="1">
            <a:spLocks/>
          </p:cNvSpPr>
          <p:nvPr/>
        </p:nvSpPr>
        <p:spPr bwMode="gray">
          <a:xfrm>
            <a:off x="5130897" y="2028391"/>
            <a:ext cx="1163780"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3"/>
                </a:solidFill>
              </a:rPr>
              <a:t>USD 3.6</a:t>
            </a:r>
            <a:br>
              <a:rPr lang="en-US" sz="2400" b="1" dirty="0" smtClean="0">
                <a:solidFill>
                  <a:schemeClr val="accent3"/>
                </a:solidFill>
              </a:rPr>
            </a:br>
            <a:r>
              <a:rPr lang="en-US" sz="1800" b="1" dirty="0" smtClean="0">
                <a:solidFill>
                  <a:schemeClr val="accent3"/>
                </a:solidFill>
              </a:rPr>
              <a:t>trillion</a:t>
            </a:r>
            <a:endParaRPr lang="en-US" sz="1800" b="1" dirty="0">
              <a:solidFill>
                <a:schemeClr val="accent3"/>
              </a:solidFill>
            </a:endParaRPr>
          </a:p>
        </p:txBody>
      </p:sp>
      <p:sp>
        <p:nvSpPr>
          <p:cNvPr id="136" name="Rectangle 8"/>
          <p:cNvSpPr txBox="1">
            <a:spLocks/>
          </p:cNvSpPr>
          <p:nvPr/>
        </p:nvSpPr>
        <p:spPr bwMode="gray">
          <a:xfrm>
            <a:off x="5340891" y="2848998"/>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chemeClr val="accent3"/>
                </a:solidFill>
              </a:rPr>
              <a:t>845 </a:t>
            </a:r>
            <a:r>
              <a:rPr lang="en-US" sz="2400" b="1" dirty="0" smtClean="0">
                <a:solidFill>
                  <a:schemeClr val="accent3"/>
                </a:solidFill>
              </a:rPr>
              <a:t/>
            </a:r>
            <a:br>
              <a:rPr lang="en-US" sz="2400" b="1" dirty="0" smtClean="0">
                <a:solidFill>
                  <a:schemeClr val="accent3"/>
                </a:solidFill>
              </a:rPr>
            </a:br>
            <a:r>
              <a:rPr lang="en-US" sz="1800" b="1" dirty="0" smtClean="0">
                <a:solidFill>
                  <a:schemeClr val="accent3"/>
                </a:solidFill>
              </a:rPr>
              <a:t>million</a:t>
            </a:r>
            <a:endParaRPr lang="en-US" sz="1800" b="1" dirty="0">
              <a:solidFill>
                <a:schemeClr val="accent3"/>
              </a:solidFill>
            </a:endParaRPr>
          </a:p>
        </p:txBody>
      </p:sp>
      <p:sp>
        <p:nvSpPr>
          <p:cNvPr id="137" name="Rectangle 8"/>
          <p:cNvSpPr txBox="1">
            <a:spLocks/>
          </p:cNvSpPr>
          <p:nvPr/>
        </p:nvSpPr>
        <p:spPr bwMode="gray">
          <a:xfrm>
            <a:off x="5340891" y="4490212"/>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chemeClr val="accent3"/>
                </a:solidFill>
              </a:rPr>
              <a:t>194</a:t>
            </a:r>
            <a:r>
              <a:rPr lang="en-US" sz="2400" b="1" dirty="0" smtClean="0">
                <a:solidFill>
                  <a:schemeClr val="accent3"/>
                </a:solidFill>
              </a:rPr>
              <a:t/>
            </a:r>
            <a:br>
              <a:rPr lang="en-US" sz="2400" b="1" dirty="0" smtClean="0">
                <a:solidFill>
                  <a:schemeClr val="accent3"/>
                </a:solidFill>
              </a:rPr>
            </a:br>
            <a:r>
              <a:rPr lang="en-US" sz="1800" b="1" dirty="0" smtClean="0">
                <a:solidFill>
                  <a:schemeClr val="accent3"/>
                </a:solidFill>
              </a:rPr>
              <a:t>million</a:t>
            </a:r>
            <a:endParaRPr lang="en-US" sz="1800" b="1" dirty="0">
              <a:solidFill>
                <a:schemeClr val="accent3"/>
              </a:solidFill>
            </a:endParaRPr>
          </a:p>
        </p:txBody>
      </p:sp>
      <p:sp>
        <p:nvSpPr>
          <p:cNvPr id="138" name="Rectangle 8"/>
          <p:cNvSpPr txBox="1">
            <a:spLocks/>
          </p:cNvSpPr>
          <p:nvPr/>
        </p:nvSpPr>
        <p:spPr bwMode="gray">
          <a:xfrm>
            <a:off x="5268145" y="5310819"/>
            <a:ext cx="889284"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3"/>
                </a:solidFill>
              </a:rPr>
              <a:t>1,141 </a:t>
            </a:r>
            <a:endParaRPr lang="en-US" sz="2400" b="1" dirty="0">
              <a:solidFill>
                <a:schemeClr val="accent3"/>
              </a:solidFill>
            </a:endParaRPr>
          </a:p>
          <a:p>
            <a:pPr algn="ctr">
              <a:buClr>
                <a:srgbClr val="002960"/>
              </a:buClr>
            </a:pPr>
            <a:r>
              <a:rPr lang="en-US" sz="1800" b="1" dirty="0" smtClean="0">
                <a:solidFill>
                  <a:schemeClr val="accent3"/>
                </a:solidFill>
              </a:rPr>
              <a:t>million</a:t>
            </a:r>
            <a:endParaRPr lang="en-US" sz="1800" b="1" dirty="0">
              <a:solidFill>
                <a:schemeClr val="accent3"/>
              </a:solidFill>
            </a:endParaRPr>
          </a:p>
        </p:txBody>
      </p:sp>
      <p:sp>
        <p:nvSpPr>
          <p:cNvPr id="139" name="Rectangle 8"/>
          <p:cNvSpPr txBox="1">
            <a:spLocks/>
          </p:cNvSpPr>
          <p:nvPr/>
        </p:nvSpPr>
        <p:spPr bwMode="gray">
          <a:xfrm>
            <a:off x="5088418" y="1207784"/>
            <a:ext cx="1248739"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3"/>
                </a:solidFill>
              </a:rPr>
              <a:t>USD 5.3 </a:t>
            </a:r>
            <a:br>
              <a:rPr lang="en-US" sz="2400" b="1" dirty="0" smtClean="0">
                <a:solidFill>
                  <a:schemeClr val="accent3"/>
                </a:solidFill>
              </a:rPr>
            </a:br>
            <a:r>
              <a:rPr lang="en-US" sz="1800" b="1" dirty="0" smtClean="0">
                <a:solidFill>
                  <a:schemeClr val="accent3"/>
                </a:solidFill>
              </a:rPr>
              <a:t>trillion</a:t>
            </a:r>
            <a:endParaRPr lang="en-US" sz="1800" b="1" dirty="0">
              <a:solidFill>
                <a:schemeClr val="accent3"/>
              </a:solidFill>
            </a:endParaRPr>
          </a:p>
        </p:txBody>
      </p:sp>
      <p:sp>
        <p:nvSpPr>
          <p:cNvPr id="140" name="Rectangle 8"/>
          <p:cNvSpPr txBox="1">
            <a:spLocks/>
          </p:cNvSpPr>
          <p:nvPr/>
        </p:nvSpPr>
        <p:spPr bwMode="gray">
          <a:xfrm>
            <a:off x="5455506" y="3808104"/>
            <a:ext cx="514563" cy="369332"/>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3"/>
                </a:solidFill>
              </a:rPr>
              <a:t>103</a:t>
            </a:r>
            <a:endParaRPr lang="en-US" sz="2400" b="1" dirty="0">
              <a:solidFill>
                <a:schemeClr val="accent3"/>
              </a:solidFill>
            </a:endParaRPr>
          </a:p>
        </p:txBody>
      </p:sp>
      <p:sp>
        <p:nvSpPr>
          <p:cNvPr id="174" name="Rectangle 17"/>
          <p:cNvSpPr>
            <a:spLocks noChangeArrowheads="1"/>
          </p:cNvSpPr>
          <p:nvPr/>
        </p:nvSpPr>
        <p:spPr bwMode="gray">
          <a:xfrm>
            <a:off x="6799898" y="1117256"/>
            <a:ext cx="1950509" cy="4915852"/>
          </a:xfrm>
          <a:prstGeom prst="rect">
            <a:avLst/>
          </a:prstGeom>
          <a:solidFill>
            <a:schemeClr val="bg1">
              <a:lumMod val="95000"/>
            </a:schemeClr>
          </a:solidFill>
          <a:ln>
            <a:noFill/>
          </a:ln>
          <a:effectLst/>
          <a:extLst/>
        </p:spPr>
        <p:txBody>
          <a:bodyPr wrap="none" anchor="ctr"/>
          <a:lstStyle/>
          <a:p>
            <a:pPr algn="ctr"/>
            <a:endParaRPr lang="en-GB" sz="1400">
              <a:solidFill>
                <a:srgbClr val="000000"/>
              </a:solidFill>
            </a:endParaRPr>
          </a:p>
        </p:txBody>
      </p:sp>
      <p:sp>
        <p:nvSpPr>
          <p:cNvPr id="154" name="Rectangle 5"/>
          <p:cNvSpPr>
            <a:spLocks noChangeArrowheads="1"/>
          </p:cNvSpPr>
          <p:nvPr/>
        </p:nvSpPr>
        <p:spPr bwMode="gray">
          <a:xfrm>
            <a:off x="6799898" y="804883"/>
            <a:ext cx="1508426" cy="215444"/>
          </a:xfrm>
          <a:prstGeom prst="rect">
            <a:avLst/>
          </a:prstGeom>
          <a:noFill/>
          <a:ln w="28575">
            <a:noFill/>
            <a:miter lim="800000"/>
            <a:headEnd/>
            <a:tailEnd/>
          </a:ln>
          <a:effectLst/>
        </p:spPr>
        <p:txBody>
          <a:bodyPr wrap="none" lIns="0" tIns="0" rIns="0" bIns="0" anchor="ctr" anchorCtr="0">
            <a:spAutoFit/>
          </a:bodyPr>
          <a:lstStyle/>
          <a:p>
            <a:pPr defTabSz="895350">
              <a:buClr>
                <a:srgbClr val="002960"/>
              </a:buClr>
            </a:pPr>
            <a:r>
              <a:rPr lang="en-US" altLang="ja-JP" sz="1400" b="1" dirty="0" smtClean="0">
                <a:solidFill>
                  <a:schemeClr val="accent5"/>
                </a:solidFill>
                <a:latin typeface="Arial"/>
              </a:rPr>
              <a:t>India today (2013)</a:t>
            </a:r>
            <a:endParaRPr lang="en-US" altLang="ja-JP" sz="1400" b="1" dirty="0">
              <a:solidFill>
                <a:schemeClr val="accent5"/>
              </a:solidFill>
              <a:latin typeface="Arial"/>
            </a:endParaRPr>
          </a:p>
        </p:txBody>
      </p:sp>
      <p:sp>
        <p:nvSpPr>
          <p:cNvPr id="145" name="Rectangle 8"/>
          <p:cNvSpPr txBox="1">
            <a:spLocks/>
          </p:cNvSpPr>
          <p:nvPr/>
        </p:nvSpPr>
        <p:spPr bwMode="gray">
          <a:xfrm>
            <a:off x="7193262" y="2028391"/>
            <a:ext cx="1163780"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5"/>
                </a:solidFill>
              </a:rPr>
              <a:t>USD 1.1</a:t>
            </a:r>
            <a:br>
              <a:rPr lang="en-US" sz="2400" b="1" dirty="0" smtClean="0">
                <a:solidFill>
                  <a:schemeClr val="accent5"/>
                </a:solidFill>
              </a:rPr>
            </a:br>
            <a:r>
              <a:rPr lang="en-US" sz="1800" b="1" dirty="0" smtClean="0">
                <a:solidFill>
                  <a:schemeClr val="accent5"/>
                </a:solidFill>
              </a:rPr>
              <a:t>trillion</a:t>
            </a:r>
            <a:endParaRPr lang="en-US" sz="1800" b="1" dirty="0">
              <a:solidFill>
                <a:schemeClr val="accent5"/>
              </a:solidFill>
            </a:endParaRPr>
          </a:p>
        </p:txBody>
      </p:sp>
      <p:sp>
        <p:nvSpPr>
          <p:cNvPr id="146" name="Rectangle 8"/>
          <p:cNvSpPr txBox="1">
            <a:spLocks/>
          </p:cNvSpPr>
          <p:nvPr/>
        </p:nvSpPr>
        <p:spPr bwMode="gray">
          <a:xfrm>
            <a:off x="7403256" y="2848998"/>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5"/>
                </a:solidFill>
              </a:rPr>
              <a:t>822 </a:t>
            </a:r>
            <a:br>
              <a:rPr lang="en-US" sz="2400" b="1" dirty="0" smtClean="0">
                <a:solidFill>
                  <a:schemeClr val="accent5"/>
                </a:solidFill>
              </a:rPr>
            </a:br>
            <a:r>
              <a:rPr lang="en-US" sz="1800" b="1" dirty="0" smtClean="0">
                <a:solidFill>
                  <a:schemeClr val="accent5"/>
                </a:solidFill>
              </a:rPr>
              <a:t>million</a:t>
            </a:r>
            <a:endParaRPr lang="en-US" sz="1800" b="1" dirty="0">
              <a:solidFill>
                <a:schemeClr val="accent5"/>
              </a:solidFill>
            </a:endParaRPr>
          </a:p>
        </p:txBody>
      </p:sp>
      <p:sp>
        <p:nvSpPr>
          <p:cNvPr id="148" name="Rectangle 8"/>
          <p:cNvSpPr txBox="1">
            <a:spLocks/>
          </p:cNvSpPr>
          <p:nvPr/>
        </p:nvSpPr>
        <p:spPr bwMode="gray">
          <a:xfrm>
            <a:off x="7403256" y="4490212"/>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5"/>
                </a:solidFill>
              </a:rPr>
              <a:t>197</a:t>
            </a:r>
            <a:br>
              <a:rPr lang="en-US" sz="2400" b="1" dirty="0" smtClean="0">
                <a:solidFill>
                  <a:schemeClr val="accent5"/>
                </a:solidFill>
              </a:rPr>
            </a:br>
            <a:r>
              <a:rPr lang="en-US" sz="1800" b="1" dirty="0" smtClean="0">
                <a:solidFill>
                  <a:schemeClr val="accent5"/>
                </a:solidFill>
              </a:rPr>
              <a:t>million</a:t>
            </a:r>
            <a:endParaRPr lang="en-US" sz="1800" b="1" dirty="0">
              <a:solidFill>
                <a:schemeClr val="accent5"/>
              </a:solidFill>
            </a:endParaRPr>
          </a:p>
        </p:txBody>
      </p:sp>
      <p:sp>
        <p:nvSpPr>
          <p:cNvPr id="149" name="Rectangle 8"/>
          <p:cNvSpPr txBox="1">
            <a:spLocks/>
          </p:cNvSpPr>
          <p:nvPr/>
        </p:nvSpPr>
        <p:spPr bwMode="gray">
          <a:xfrm>
            <a:off x="7403256" y="5310819"/>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5"/>
                </a:solidFill>
              </a:rPr>
              <a:t>873 </a:t>
            </a:r>
          </a:p>
          <a:p>
            <a:pPr algn="ctr">
              <a:buClr>
                <a:srgbClr val="002960"/>
              </a:buClr>
            </a:pPr>
            <a:r>
              <a:rPr lang="en-US" sz="1800" b="1" dirty="0" smtClean="0">
                <a:solidFill>
                  <a:schemeClr val="accent5"/>
                </a:solidFill>
              </a:rPr>
              <a:t>million</a:t>
            </a:r>
            <a:endParaRPr lang="en-US" sz="1800" b="1" dirty="0">
              <a:solidFill>
                <a:schemeClr val="accent5"/>
              </a:solidFill>
            </a:endParaRPr>
          </a:p>
        </p:txBody>
      </p:sp>
      <p:sp>
        <p:nvSpPr>
          <p:cNvPr id="151" name="Rectangle 8"/>
          <p:cNvSpPr txBox="1">
            <a:spLocks/>
          </p:cNvSpPr>
          <p:nvPr/>
        </p:nvSpPr>
        <p:spPr bwMode="gray">
          <a:xfrm>
            <a:off x="7150782" y="1207784"/>
            <a:ext cx="1248740"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5"/>
                </a:solidFill>
              </a:rPr>
              <a:t>USD 1.9 </a:t>
            </a:r>
            <a:br>
              <a:rPr lang="en-US" sz="2400" b="1" dirty="0" smtClean="0">
                <a:solidFill>
                  <a:schemeClr val="accent5"/>
                </a:solidFill>
              </a:rPr>
            </a:br>
            <a:r>
              <a:rPr lang="en-US" sz="1800" b="1" dirty="0" smtClean="0">
                <a:solidFill>
                  <a:schemeClr val="accent5"/>
                </a:solidFill>
              </a:rPr>
              <a:t>trillion</a:t>
            </a:r>
            <a:endParaRPr lang="en-US" sz="1800" b="1" dirty="0">
              <a:solidFill>
                <a:schemeClr val="accent5"/>
              </a:solidFill>
            </a:endParaRPr>
          </a:p>
        </p:txBody>
      </p:sp>
      <p:sp>
        <p:nvSpPr>
          <p:cNvPr id="152" name="Rectangle 8"/>
          <p:cNvSpPr txBox="1">
            <a:spLocks/>
          </p:cNvSpPr>
          <p:nvPr/>
        </p:nvSpPr>
        <p:spPr bwMode="gray">
          <a:xfrm>
            <a:off x="7555220" y="3808104"/>
            <a:ext cx="439864" cy="369332"/>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chemeClr val="accent5"/>
                </a:solidFill>
              </a:rPr>
              <a:t>51</a:t>
            </a:r>
            <a:r>
              <a:rPr lang="en-US" sz="2400" b="1" baseline="30000" dirty="0" smtClean="0">
                <a:solidFill>
                  <a:schemeClr val="accent5"/>
                </a:solidFill>
              </a:rPr>
              <a:t>1</a:t>
            </a:r>
            <a:endParaRPr lang="en-US" sz="2400" b="1" baseline="30000" dirty="0">
              <a:solidFill>
                <a:schemeClr val="accent5"/>
              </a:solidFill>
            </a:endParaRPr>
          </a:p>
        </p:txBody>
      </p:sp>
      <p:sp>
        <p:nvSpPr>
          <p:cNvPr id="162" name="Rectangle 17"/>
          <p:cNvSpPr>
            <a:spLocks noChangeArrowheads="1"/>
          </p:cNvSpPr>
          <p:nvPr/>
        </p:nvSpPr>
        <p:spPr bwMode="gray">
          <a:xfrm>
            <a:off x="6799898" y="979619"/>
            <a:ext cx="1950509" cy="138097"/>
          </a:xfrm>
          <a:custGeom>
            <a:avLst/>
            <a:gdLst/>
            <a:ahLst/>
            <a:cxnLst/>
            <a:rect l="l" t="t" r="r" b="b"/>
            <a:pathLst>
              <a:path w="1950509" h="138097">
                <a:moveTo>
                  <a:pt x="1731168" y="0"/>
                </a:moveTo>
                <a:lnTo>
                  <a:pt x="1950509" y="138097"/>
                </a:lnTo>
                <a:lnTo>
                  <a:pt x="1819541" y="138097"/>
                </a:lnTo>
                <a:lnTo>
                  <a:pt x="1731168" y="138097"/>
                </a:lnTo>
                <a:lnTo>
                  <a:pt x="0" y="138097"/>
                </a:lnTo>
                <a:lnTo>
                  <a:pt x="0" y="69057"/>
                </a:lnTo>
                <a:lnTo>
                  <a:pt x="1731168" y="69057"/>
                </a:lnTo>
                <a:close/>
              </a:path>
            </a:pathLst>
          </a:custGeom>
          <a:solidFill>
            <a:schemeClr val="accent5"/>
          </a:solidFill>
          <a:ln>
            <a:noFill/>
          </a:ln>
          <a:effectLst/>
          <a:extLst/>
        </p:spPr>
        <p:txBody>
          <a:bodyPr wrap="none" anchor="ctr"/>
          <a:lstStyle/>
          <a:p>
            <a:pPr algn="ctr"/>
            <a:endParaRPr lang="en-GB" sz="1400">
              <a:solidFill>
                <a:srgbClr val="000000"/>
              </a:solidFill>
            </a:endParaRPr>
          </a:p>
        </p:txBody>
      </p:sp>
      <p:sp>
        <p:nvSpPr>
          <p:cNvPr id="172" name="Rectangle 17"/>
          <p:cNvSpPr>
            <a:spLocks noChangeArrowheads="1"/>
          </p:cNvSpPr>
          <p:nvPr/>
        </p:nvSpPr>
        <p:spPr bwMode="gray">
          <a:xfrm>
            <a:off x="2675168" y="1117256"/>
            <a:ext cx="1950509" cy="4915852"/>
          </a:xfrm>
          <a:prstGeom prst="rect">
            <a:avLst/>
          </a:prstGeom>
          <a:solidFill>
            <a:schemeClr val="bg1">
              <a:lumMod val="95000"/>
            </a:schemeClr>
          </a:solidFill>
          <a:ln>
            <a:noFill/>
          </a:ln>
          <a:effectLst/>
          <a:extLst/>
        </p:spPr>
        <p:txBody>
          <a:bodyPr wrap="none" anchor="ctr"/>
          <a:lstStyle/>
          <a:p>
            <a:pPr algn="ctr"/>
            <a:endParaRPr lang="en-GB" sz="1400">
              <a:solidFill>
                <a:srgbClr val="000000"/>
              </a:solidFill>
            </a:endParaRPr>
          </a:p>
        </p:txBody>
      </p:sp>
      <p:sp>
        <p:nvSpPr>
          <p:cNvPr id="131" name="Rectangle 5"/>
          <p:cNvSpPr>
            <a:spLocks noChangeArrowheads="1"/>
          </p:cNvSpPr>
          <p:nvPr/>
        </p:nvSpPr>
        <p:spPr bwMode="gray">
          <a:xfrm>
            <a:off x="2675168" y="804883"/>
            <a:ext cx="1599797" cy="215444"/>
          </a:xfrm>
          <a:prstGeom prst="rect">
            <a:avLst/>
          </a:prstGeom>
          <a:noFill/>
          <a:ln w="28575">
            <a:noFill/>
            <a:miter lim="800000"/>
            <a:headEnd/>
            <a:tailEnd/>
          </a:ln>
          <a:effectLst/>
        </p:spPr>
        <p:txBody>
          <a:bodyPr wrap="none" lIns="0" tIns="0" rIns="0" bIns="0" anchor="ctr" anchorCtr="0">
            <a:spAutoFit/>
          </a:bodyPr>
          <a:lstStyle/>
          <a:p>
            <a:pPr defTabSz="895350">
              <a:buClr>
                <a:srgbClr val="002960"/>
              </a:buClr>
            </a:pPr>
            <a:r>
              <a:rPr lang="en-US" altLang="ja-JP" sz="1400" b="1" dirty="0">
                <a:solidFill>
                  <a:srgbClr val="3280C0"/>
                </a:solidFill>
                <a:latin typeface="Arial"/>
              </a:rPr>
              <a:t>Africa </a:t>
            </a:r>
            <a:r>
              <a:rPr lang="en-US" altLang="ja-JP" sz="1400" b="1" dirty="0" smtClean="0">
                <a:solidFill>
                  <a:srgbClr val="3280C0"/>
                </a:solidFill>
                <a:latin typeface="Arial"/>
              </a:rPr>
              <a:t>today (2013)</a:t>
            </a:r>
            <a:endParaRPr lang="en-US" altLang="ja-JP" sz="1400" b="1" dirty="0">
              <a:solidFill>
                <a:srgbClr val="3280C0"/>
              </a:solidFill>
              <a:latin typeface="Arial"/>
            </a:endParaRPr>
          </a:p>
        </p:txBody>
      </p:sp>
      <p:sp>
        <p:nvSpPr>
          <p:cNvPr id="123" name="Rectangle 8"/>
          <p:cNvSpPr txBox="1">
            <a:spLocks/>
          </p:cNvSpPr>
          <p:nvPr/>
        </p:nvSpPr>
        <p:spPr bwMode="gray">
          <a:xfrm>
            <a:off x="3068532" y="2028391"/>
            <a:ext cx="1163781"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rgbClr val="3280C0"/>
                </a:solidFill>
              </a:rPr>
              <a:t>USD 1.3</a:t>
            </a:r>
            <a:br>
              <a:rPr lang="en-US" sz="2400" b="1" dirty="0" smtClean="0">
                <a:solidFill>
                  <a:srgbClr val="3280C0"/>
                </a:solidFill>
              </a:rPr>
            </a:br>
            <a:r>
              <a:rPr lang="en-US" sz="1800" b="1" dirty="0" smtClean="0">
                <a:solidFill>
                  <a:srgbClr val="3280C0"/>
                </a:solidFill>
              </a:rPr>
              <a:t>trillion</a:t>
            </a:r>
            <a:endParaRPr lang="en-US" sz="1800" b="1" dirty="0">
              <a:solidFill>
                <a:srgbClr val="3280C0"/>
              </a:solidFill>
            </a:endParaRPr>
          </a:p>
        </p:txBody>
      </p:sp>
      <p:sp>
        <p:nvSpPr>
          <p:cNvPr id="124" name="Rectangle 8"/>
          <p:cNvSpPr txBox="1">
            <a:spLocks/>
          </p:cNvSpPr>
          <p:nvPr/>
        </p:nvSpPr>
        <p:spPr bwMode="gray">
          <a:xfrm>
            <a:off x="3278526" y="2848998"/>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rgbClr val="3280C0"/>
                </a:solidFill>
              </a:rPr>
              <a:t>618</a:t>
            </a:r>
            <a:r>
              <a:rPr lang="en-US" sz="2400" b="1" dirty="0" smtClean="0">
                <a:solidFill>
                  <a:srgbClr val="3280C0"/>
                </a:solidFill>
              </a:rPr>
              <a:t> </a:t>
            </a:r>
            <a:br>
              <a:rPr lang="en-US" sz="2400" b="1" dirty="0" smtClean="0">
                <a:solidFill>
                  <a:srgbClr val="3280C0"/>
                </a:solidFill>
              </a:rPr>
            </a:br>
            <a:r>
              <a:rPr lang="en-US" sz="1800" b="1" dirty="0" smtClean="0">
                <a:solidFill>
                  <a:srgbClr val="3280C0"/>
                </a:solidFill>
              </a:rPr>
              <a:t>million</a:t>
            </a:r>
            <a:endParaRPr lang="en-US" sz="1800" b="1" dirty="0">
              <a:solidFill>
                <a:srgbClr val="3280C0"/>
              </a:solidFill>
            </a:endParaRPr>
          </a:p>
        </p:txBody>
      </p:sp>
      <p:sp>
        <p:nvSpPr>
          <p:cNvPr id="125" name="Rectangle 8"/>
          <p:cNvSpPr txBox="1">
            <a:spLocks/>
          </p:cNvSpPr>
          <p:nvPr/>
        </p:nvSpPr>
        <p:spPr bwMode="gray">
          <a:xfrm>
            <a:off x="3278526" y="4490212"/>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rgbClr val="3280C0"/>
                </a:solidFill>
              </a:rPr>
              <a:t>108</a:t>
            </a:r>
            <a:r>
              <a:rPr lang="en-US" sz="2400" b="1" dirty="0" smtClean="0">
                <a:solidFill>
                  <a:srgbClr val="3280C0"/>
                </a:solidFill>
              </a:rPr>
              <a:t/>
            </a:r>
            <a:br>
              <a:rPr lang="en-US" sz="2400" b="1" dirty="0" smtClean="0">
                <a:solidFill>
                  <a:srgbClr val="3280C0"/>
                </a:solidFill>
              </a:rPr>
            </a:br>
            <a:r>
              <a:rPr lang="en-US" sz="1800" b="1" dirty="0" smtClean="0">
                <a:solidFill>
                  <a:srgbClr val="3280C0"/>
                </a:solidFill>
              </a:rPr>
              <a:t>million</a:t>
            </a:r>
            <a:endParaRPr lang="en-US" sz="1800" b="1" dirty="0">
              <a:solidFill>
                <a:srgbClr val="3280C0"/>
              </a:solidFill>
            </a:endParaRPr>
          </a:p>
        </p:txBody>
      </p:sp>
      <p:sp>
        <p:nvSpPr>
          <p:cNvPr id="127" name="Rectangle 8"/>
          <p:cNvSpPr txBox="1">
            <a:spLocks/>
          </p:cNvSpPr>
          <p:nvPr/>
        </p:nvSpPr>
        <p:spPr bwMode="gray">
          <a:xfrm>
            <a:off x="3278526" y="5310819"/>
            <a:ext cx="743793"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rgbClr val="3280C0"/>
                </a:solidFill>
              </a:rPr>
              <a:t>815 </a:t>
            </a:r>
            <a:endParaRPr lang="en-US" sz="2400" b="1" dirty="0" smtClean="0">
              <a:solidFill>
                <a:srgbClr val="3280C0"/>
              </a:solidFill>
            </a:endParaRPr>
          </a:p>
          <a:p>
            <a:pPr algn="ctr">
              <a:buClr>
                <a:srgbClr val="002960"/>
              </a:buClr>
            </a:pPr>
            <a:r>
              <a:rPr lang="en-US" sz="1800" b="1" dirty="0" smtClean="0">
                <a:solidFill>
                  <a:srgbClr val="3280C0"/>
                </a:solidFill>
              </a:rPr>
              <a:t>million</a:t>
            </a:r>
            <a:endParaRPr lang="en-US" sz="1800" b="1" dirty="0">
              <a:solidFill>
                <a:srgbClr val="3280C0"/>
              </a:solidFill>
            </a:endParaRPr>
          </a:p>
        </p:txBody>
      </p:sp>
      <p:sp>
        <p:nvSpPr>
          <p:cNvPr id="129" name="Rectangle 8"/>
          <p:cNvSpPr txBox="1">
            <a:spLocks/>
          </p:cNvSpPr>
          <p:nvPr/>
        </p:nvSpPr>
        <p:spPr bwMode="gray">
          <a:xfrm>
            <a:off x="3026053" y="1207784"/>
            <a:ext cx="1248739" cy="646331"/>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smtClean="0">
                <a:solidFill>
                  <a:srgbClr val="3280C0"/>
                </a:solidFill>
              </a:rPr>
              <a:t>USD 2.1 </a:t>
            </a:r>
            <a:br>
              <a:rPr lang="en-US" sz="2400" b="1" dirty="0" smtClean="0">
                <a:solidFill>
                  <a:srgbClr val="3280C0"/>
                </a:solidFill>
              </a:rPr>
            </a:br>
            <a:r>
              <a:rPr lang="en-US" sz="1800" b="1" dirty="0" smtClean="0">
                <a:solidFill>
                  <a:srgbClr val="3280C0"/>
                </a:solidFill>
              </a:rPr>
              <a:t>trillion</a:t>
            </a:r>
            <a:endParaRPr lang="en-US" sz="1800" b="1" dirty="0">
              <a:solidFill>
                <a:srgbClr val="3280C0"/>
              </a:solidFill>
            </a:endParaRPr>
          </a:p>
        </p:txBody>
      </p:sp>
      <p:sp>
        <p:nvSpPr>
          <p:cNvPr id="130" name="Rectangle 8"/>
          <p:cNvSpPr txBox="1">
            <a:spLocks/>
          </p:cNvSpPr>
          <p:nvPr/>
        </p:nvSpPr>
        <p:spPr bwMode="gray">
          <a:xfrm>
            <a:off x="3421994" y="3808104"/>
            <a:ext cx="456856" cy="369332"/>
          </a:xfrm>
          <a:prstGeom prst="rect">
            <a:avLst/>
          </a:prstGeom>
          <a:noFill/>
          <a:ln w="9525">
            <a:noFill/>
            <a:miter lim="800000"/>
            <a:headEnd/>
            <a:tailEnd/>
          </a:ln>
          <a:effectLs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2400" b="1" dirty="0">
                <a:solidFill>
                  <a:srgbClr val="3280C0"/>
                </a:solidFill>
              </a:rPr>
              <a:t>54</a:t>
            </a:r>
            <a:r>
              <a:rPr lang="en-US" sz="2400" b="1" baseline="30000" dirty="0">
                <a:solidFill>
                  <a:srgbClr val="3280C0"/>
                </a:solidFill>
              </a:rPr>
              <a:t>1</a:t>
            </a:r>
          </a:p>
        </p:txBody>
      </p:sp>
      <p:sp>
        <p:nvSpPr>
          <p:cNvPr id="163" name="Rectangle 17"/>
          <p:cNvSpPr>
            <a:spLocks noChangeArrowheads="1"/>
          </p:cNvSpPr>
          <p:nvPr/>
        </p:nvSpPr>
        <p:spPr bwMode="gray">
          <a:xfrm>
            <a:off x="2675168" y="979619"/>
            <a:ext cx="1950509" cy="138097"/>
          </a:xfrm>
          <a:custGeom>
            <a:avLst/>
            <a:gdLst/>
            <a:ahLst/>
            <a:cxnLst/>
            <a:rect l="l" t="t" r="r" b="b"/>
            <a:pathLst>
              <a:path w="1950509" h="138097">
                <a:moveTo>
                  <a:pt x="1731168" y="0"/>
                </a:moveTo>
                <a:lnTo>
                  <a:pt x="1950509" y="138097"/>
                </a:lnTo>
                <a:lnTo>
                  <a:pt x="1819541" y="138097"/>
                </a:lnTo>
                <a:lnTo>
                  <a:pt x="1731168" y="138097"/>
                </a:lnTo>
                <a:lnTo>
                  <a:pt x="0" y="138097"/>
                </a:lnTo>
                <a:lnTo>
                  <a:pt x="0" y="69057"/>
                </a:lnTo>
                <a:lnTo>
                  <a:pt x="1731168" y="69057"/>
                </a:lnTo>
                <a:close/>
              </a:path>
            </a:pathLst>
          </a:custGeom>
          <a:solidFill>
            <a:srgbClr val="66A3D7"/>
          </a:solidFill>
          <a:ln>
            <a:noFill/>
          </a:ln>
          <a:effectLst/>
          <a:extLst/>
        </p:spPr>
        <p:txBody>
          <a:bodyPr wrap="none" anchor="ctr"/>
          <a:lstStyle/>
          <a:p>
            <a:pPr algn="ctr"/>
            <a:endParaRPr lang="en-GB" sz="1400">
              <a:solidFill>
                <a:srgbClr val="000000"/>
              </a:solidFill>
            </a:endParaRPr>
          </a:p>
        </p:txBody>
      </p:sp>
      <p:pic>
        <p:nvPicPr>
          <p:cNvPr id="36" name="Object 35"/>
          <p:cNvPicPr>
            <a:picLocks noChangeAspect="1"/>
          </p:cNvPicPr>
          <p:nvPr/>
        </p:nvPicPr>
        <p:blipFill>
          <a:blip r:embed="rId25"/>
          <a:srcRect/>
          <a:stretch>
            <a:fillRect/>
          </a:stretch>
        </p:blipFill>
        <p:spPr bwMode="gray">
          <a:xfrm>
            <a:off x="0" y="0"/>
            <a:ext cx="158750" cy="158750"/>
          </a:xfrm>
          <a:prstGeom prst="rect">
            <a:avLst/>
          </a:prstGeom>
          <a:noFill/>
        </p:spPr>
      </p:pic>
      <p:sp>
        <p:nvSpPr>
          <p:cNvPr id="2" name="Title 1"/>
          <p:cNvSpPr>
            <a:spLocks noGrp="1"/>
          </p:cNvSpPr>
          <p:nvPr>
            <p:ph type="title"/>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For Africa, the path ahead provides </a:t>
            </a:r>
            <a:r>
              <a:rPr lang="en-US" dirty="0"/>
              <a:t>great opportunities for the world to contribute to its development</a:t>
            </a:r>
            <a:endParaRPr lang="en-GB" dirty="0"/>
          </a:p>
        </p:txBody>
      </p:sp>
      <p:sp>
        <p:nvSpPr>
          <p:cNvPr id="5" name="McK 5. Source"/>
          <p:cNvSpPr>
            <a:spLocks noChangeArrowheads="1"/>
          </p:cNvSpPr>
          <p:nvPr/>
        </p:nvSpPr>
        <p:spPr bwMode="gray">
          <a:xfrm>
            <a:off x="119063" y="6358037"/>
            <a:ext cx="686276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latin typeface="+mn-lt"/>
              </a:rPr>
              <a:t>SOURCE: </a:t>
            </a:r>
            <a:r>
              <a:rPr lang="en-US" sz="1000" dirty="0" err="1">
                <a:latin typeface="+mn-lt"/>
              </a:rPr>
              <a:t>IHS</a:t>
            </a:r>
            <a:r>
              <a:rPr lang="en-US" sz="1000" dirty="0">
                <a:latin typeface="+mn-lt"/>
              </a:rPr>
              <a:t> Economics; C-</a:t>
            </a:r>
            <a:r>
              <a:rPr lang="en-US" sz="1000" dirty="0" err="1">
                <a:latin typeface="+mn-lt"/>
              </a:rPr>
              <a:t>GIDD</a:t>
            </a:r>
            <a:r>
              <a:rPr lang="en-US" sz="1000" dirty="0">
                <a:latin typeface="+mn-lt"/>
              </a:rPr>
              <a:t>; McKinsey Global Institute; Cityscope 2.2; Business Monitor International; </a:t>
            </a:r>
            <a:r>
              <a:rPr lang="en-US" sz="1000" dirty="0" smtClean="0">
                <a:latin typeface="+mn-lt"/>
              </a:rPr>
              <a:t>McKinsey analysis</a:t>
            </a:r>
            <a:endParaRPr lang="en-US" sz="1000" dirty="0">
              <a:latin typeface="+mn-lt"/>
            </a:endParaRPr>
          </a:p>
        </p:txBody>
      </p:sp>
      <p:sp>
        <p:nvSpPr>
          <p:cNvPr id="77" name="McK 4. Footnote"/>
          <p:cNvSpPr txBox="1">
            <a:spLocks noChangeArrowheads="1"/>
          </p:cNvSpPr>
          <p:nvPr>
            <p:custDataLst>
              <p:tags r:id="rId3"/>
            </p:custDataLst>
          </p:nvPr>
        </p:nvSpPr>
        <p:spPr bwMode="gray">
          <a:xfrm>
            <a:off x="119063" y="6121069"/>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GB" dirty="0"/>
              <a:t>1 The latest data available is for the year 2010 </a:t>
            </a:r>
          </a:p>
        </p:txBody>
      </p:sp>
      <p:cxnSp>
        <p:nvCxnSpPr>
          <p:cNvPr id="33" name="Straight Connector 32"/>
          <p:cNvCxnSpPr/>
          <p:nvPr/>
        </p:nvCxnSpPr>
        <p:spPr>
          <a:xfrm>
            <a:off x="153619" y="1941253"/>
            <a:ext cx="859536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153619" y="2761860"/>
            <a:ext cx="859536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153619" y="3582467"/>
            <a:ext cx="859536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153619" y="4403074"/>
            <a:ext cx="859536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53619" y="5223681"/>
            <a:ext cx="859536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pic>
        <p:nvPicPr>
          <p:cNvPr id="16389" name="Picture 5"/>
          <p:cNvPicPr>
            <a:picLocks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153619" y="1975766"/>
            <a:ext cx="808406" cy="74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5" name="Group 24"/>
          <p:cNvGrpSpPr/>
          <p:nvPr>
            <p:custDataLst>
              <p:tags r:id="rId4"/>
            </p:custDataLst>
          </p:nvPr>
        </p:nvGrpSpPr>
        <p:grpSpPr>
          <a:xfrm>
            <a:off x="975972" y="1975766"/>
            <a:ext cx="1643507" cy="751581"/>
            <a:chOff x="214276" y="1945915"/>
            <a:chExt cx="1643507" cy="751581"/>
          </a:xfrm>
          <a:solidFill>
            <a:srgbClr val="66A3D7"/>
          </a:solidFill>
        </p:grpSpPr>
        <p:sp>
          <p:nvSpPr>
            <p:cNvPr id="94" name="Freeform 93"/>
            <p:cNvSpPr/>
            <p:nvPr>
              <p:custDataLst>
                <p:tags r:id="rId20"/>
              </p:custDataLst>
            </p:nvPr>
          </p:nvSpPr>
          <p:spPr>
            <a:xfrm>
              <a:off x="214276" y="1945915"/>
              <a:ext cx="1643507" cy="75158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8264" y="0"/>
                  </a:lnTo>
                  <a:lnTo>
                    <a:pt x="1828800" y="457200"/>
                  </a:lnTo>
                  <a:lnTo>
                    <a:pt x="167826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smtClean="0">
                <a:solidFill>
                  <a:schemeClr val="bg1"/>
                </a:solidFill>
              </a:endParaRPr>
            </a:p>
          </p:txBody>
        </p:sp>
        <p:sp>
          <p:nvSpPr>
            <p:cNvPr id="95" name="Rectangle 16"/>
            <p:cNvSpPr txBox="1"/>
            <p:nvPr>
              <p:custDataLst>
                <p:tags r:id="rId21"/>
              </p:custDataLst>
            </p:nvPr>
          </p:nvSpPr>
          <p:spPr>
            <a:xfrm>
              <a:off x="265076" y="1998108"/>
              <a:ext cx="1457422" cy="647195"/>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solidFill>
                    <a:schemeClr val="bg1"/>
                  </a:solidFill>
                </a:rPr>
                <a:t>Consumer spending</a:t>
              </a:r>
            </a:p>
            <a:p>
              <a:r>
                <a:rPr lang="en-US" sz="1400" b="1" dirty="0">
                  <a:solidFill>
                    <a:schemeClr val="bg1"/>
                  </a:solidFill>
                </a:rPr>
                <a:t>(nominal) </a:t>
              </a:r>
            </a:p>
          </p:txBody>
        </p:sp>
      </p:grpSp>
      <p:grpSp>
        <p:nvGrpSpPr>
          <p:cNvPr id="26" name="Group 25"/>
          <p:cNvGrpSpPr/>
          <p:nvPr>
            <p:custDataLst>
              <p:tags r:id="rId5"/>
            </p:custDataLst>
          </p:nvPr>
        </p:nvGrpSpPr>
        <p:grpSpPr>
          <a:xfrm>
            <a:off x="975972" y="2796373"/>
            <a:ext cx="1643507" cy="751581"/>
            <a:chOff x="214276" y="2753513"/>
            <a:chExt cx="1643507" cy="751581"/>
          </a:xfrm>
          <a:solidFill>
            <a:srgbClr val="66A3D7"/>
          </a:solidFill>
        </p:grpSpPr>
        <p:sp>
          <p:nvSpPr>
            <p:cNvPr id="102" name="Freeform 101"/>
            <p:cNvSpPr/>
            <p:nvPr>
              <p:custDataLst>
                <p:tags r:id="rId18"/>
              </p:custDataLst>
            </p:nvPr>
          </p:nvSpPr>
          <p:spPr>
            <a:xfrm>
              <a:off x="214276" y="2753513"/>
              <a:ext cx="1643507" cy="75158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8264" y="0"/>
                  </a:lnTo>
                  <a:lnTo>
                    <a:pt x="1828800" y="457200"/>
                  </a:lnTo>
                  <a:lnTo>
                    <a:pt x="167826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smtClean="0">
                <a:solidFill>
                  <a:schemeClr val="bg1"/>
                </a:solidFill>
              </a:endParaRPr>
            </a:p>
          </p:txBody>
        </p:sp>
        <p:sp>
          <p:nvSpPr>
            <p:cNvPr id="103" name="Rectangle 16"/>
            <p:cNvSpPr txBox="1"/>
            <p:nvPr>
              <p:custDataLst>
                <p:tags r:id="rId19"/>
              </p:custDataLst>
            </p:nvPr>
          </p:nvSpPr>
          <p:spPr>
            <a:xfrm>
              <a:off x="265076" y="2805706"/>
              <a:ext cx="1457422" cy="647195"/>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solidFill>
                    <a:schemeClr val="bg1"/>
                  </a:solidFill>
                </a:rPr>
                <a:t>Working age population </a:t>
              </a:r>
            </a:p>
          </p:txBody>
        </p:sp>
      </p:grpSp>
      <p:grpSp>
        <p:nvGrpSpPr>
          <p:cNvPr id="28" name="Group 27"/>
          <p:cNvGrpSpPr/>
          <p:nvPr>
            <p:custDataLst>
              <p:tags r:id="rId6"/>
            </p:custDataLst>
          </p:nvPr>
        </p:nvGrpSpPr>
        <p:grpSpPr>
          <a:xfrm>
            <a:off x="975972" y="4437587"/>
            <a:ext cx="1643507" cy="751581"/>
            <a:chOff x="214276" y="4368709"/>
            <a:chExt cx="1643507" cy="751581"/>
          </a:xfrm>
          <a:solidFill>
            <a:srgbClr val="66A3D7"/>
          </a:solidFill>
        </p:grpSpPr>
        <p:sp>
          <p:nvSpPr>
            <p:cNvPr id="108" name="Freeform 107"/>
            <p:cNvSpPr/>
            <p:nvPr>
              <p:custDataLst>
                <p:tags r:id="rId16"/>
              </p:custDataLst>
            </p:nvPr>
          </p:nvSpPr>
          <p:spPr>
            <a:xfrm>
              <a:off x="214276" y="4368709"/>
              <a:ext cx="1643507" cy="75158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8264" y="0"/>
                  </a:lnTo>
                  <a:lnTo>
                    <a:pt x="1828800" y="457200"/>
                  </a:lnTo>
                  <a:lnTo>
                    <a:pt x="167826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smtClean="0">
                <a:solidFill>
                  <a:schemeClr val="bg1"/>
                </a:solidFill>
              </a:endParaRPr>
            </a:p>
          </p:txBody>
        </p:sp>
        <p:sp>
          <p:nvSpPr>
            <p:cNvPr id="109" name="Rectangle 16"/>
            <p:cNvSpPr txBox="1"/>
            <p:nvPr>
              <p:custDataLst>
                <p:tags r:id="rId17"/>
              </p:custDataLst>
            </p:nvPr>
          </p:nvSpPr>
          <p:spPr>
            <a:xfrm>
              <a:off x="265076" y="4420902"/>
              <a:ext cx="1457422" cy="647195"/>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solidFill>
                    <a:schemeClr val="bg1"/>
                  </a:solidFill>
                </a:rPr>
                <a:t>Households with discretionary income </a:t>
              </a:r>
            </a:p>
          </p:txBody>
        </p:sp>
      </p:grpSp>
      <p:grpSp>
        <p:nvGrpSpPr>
          <p:cNvPr id="30" name="Group 29"/>
          <p:cNvGrpSpPr/>
          <p:nvPr>
            <p:custDataLst>
              <p:tags r:id="rId7"/>
            </p:custDataLst>
          </p:nvPr>
        </p:nvGrpSpPr>
        <p:grpSpPr>
          <a:xfrm>
            <a:off x="975972" y="5258194"/>
            <a:ext cx="1643507" cy="751581"/>
            <a:chOff x="214276" y="5176306"/>
            <a:chExt cx="1643507" cy="751581"/>
          </a:xfrm>
          <a:solidFill>
            <a:srgbClr val="66A3D7"/>
          </a:solidFill>
        </p:grpSpPr>
        <p:sp>
          <p:nvSpPr>
            <p:cNvPr id="111" name="Freeform 110"/>
            <p:cNvSpPr/>
            <p:nvPr>
              <p:custDataLst>
                <p:tags r:id="rId14"/>
              </p:custDataLst>
            </p:nvPr>
          </p:nvSpPr>
          <p:spPr>
            <a:xfrm>
              <a:off x="214276" y="5176306"/>
              <a:ext cx="1643507" cy="75158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8264" y="0"/>
                  </a:lnTo>
                  <a:lnTo>
                    <a:pt x="1828800" y="457200"/>
                  </a:lnTo>
                  <a:lnTo>
                    <a:pt x="167826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smtClean="0">
                <a:solidFill>
                  <a:schemeClr val="bg1"/>
                </a:solidFill>
              </a:endParaRPr>
            </a:p>
          </p:txBody>
        </p:sp>
        <p:sp>
          <p:nvSpPr>
            <p:cNvPr id="112" name="Rectangle 16"/>
            <p:cNvSpPr txBox="1"/>
            <p:nvPr>
              <p:custDataLst>
                <p:tags r:id="rId15"/>
              </p:custDataLst>
            </p:nvPr>
          </p:nvSpPr>
          <p:spPr>
            <a:xfrm>
              <a:off x="265076" y="5228499"/>
              <a:ext cx="1457422" cy="647195"/>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solidFill>
                    <a:schemeClr val="bg1"/>
                  </a:solidFill>
                </a:rPr>
                <a:t>Mobile phone users</a:t>
              </a:r>
            </a:p>
          </p:txBody>
        </p:sp>
      </p:grpSp>
      <p:grpSp>
        <p:nvGrpSpPr>
          <p:cNvPr id="31" name="Group 30"/>
          <p:cNvGrpSpPr/>
          <p:nvPr>
            <p:custDataLst>
              <p:tags r:id="rId8"/>
            </p:custDataLst>
          </p:nvPr>
        </p:nvGrpSpPr>
        <p:grpSpPr>
          <a:xfrm>
            <a:off x="975972" y="1155159"/>
            <a:ext cx="1643507" cy="751581"/>
            <a:chOff x="214276" y="1138317"/>
            <a:chExt cx="1643507" cy="751581"/>
          </a:xfrm>
          <a:solidFill>
            <a:srgbClr val="66A3D7"/>
          </a:solidFill>
        </p:grpSpPr>
        <p:sp>
          <p:nvSpPr>
            <p:cNvPr id="11" name="Freeform 10"/>
            <p:cNvSpPr/>
            <p:nvPr>
              <p:custDataLst>
                <p:tags r:id="rId12"/>
              </p:custDataLst>
            </p:nvPr>
          </p:nvSpPr>
          <p:spPr>
            <a:xfrm>
              <a:off x="214276" y="1138317"/>
              <a:ext cx="1643507" cy="75158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8264" y="0"/>
                  </a:lnTo>
                  <a:lnTo>
                    <a:pt x="1828800" y="457200"/>
                  </a:lnTo>
                  <a:lnTo>
                    <a:pt x="167826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smtClean="0">
                <a:solidFill>
                  <a:schemeClr val="bg1"/>
                </a:solidFill>
              </a:endParaRPr>
            </a:p>
          </p:txBody>
        </p:sp>
        <p:sp>
          <p:nvSpPr>
            <p:cNvPr id="92" name="Rectangle 16"/>
            <p:cNvSpPr txBox="1"/>
            <p:nvPr>
              <p:custDataLst>
                <p:tags r:id="rId13"/>
              </p:custDataLst>
            </p:nvPr>
          </p:nvSpPr>
          <p:spPr>
            <a:xfrm>
              <a:off x="265076" y="1190510"/>
              <a:ext cx="1457422" cy="647195"/>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solidFill>
                    <a:schemeClr val="bg1"/>
                  </a:solidFill>
                </a:rPr>
                <a:t>GDP </a:t>
              </a:r>
            </a:p>
            <a:p>
              <a:r>
                <a:rPr lang="en-US" sz="1400" b="1" dirty="0">
                  <a:solidFill>
                    <a:schemeClr val="bg1"/>
                  </a:solidFill>
                </a:rPr>
                <a:t>(nominal)</a:t>
              </a:r>
            </a:p>
          </p:txBody>
        </p:sp>
      </p:grpSp>
      <p:grpSp>
        <p:nvGrpSpPr>
          <p:cNvPr id="27" name="Group 26"/>
          <p:cNvGrpSpPr/>
          <p:nvPr>
            <p:custDataLst>
              <p:tags r:id="rId9"/>
            </p:custDataLst>
          </p:nvPr>
        </p:nvGrpSpPr>
        <p:grpSpPr>
          <a:xfrm>
            <a:off x="975972" y="3616980"/>
            <a:ext cx="1643507" cy="751581"/>
            <a:chOff x="214276" y="3561111"/>
            <a:chExt cx="1643507" cy="751581"/>
          </a:xfrm>
          <a:solidFill>
            <a:srgbClr val="66A3D7"/>
          </a:solidFill>
        </p:grpSpPr>
        <p:sp>
          <p:nvSpPr>
            <p:cNvPr id="105" name="Freeform 104"/>
            <p:cNvSpPr/>
            <p:nvPr>
              <p:custDataLst>
                <p:tags r:id="rId10"/>
              </p:custDataLst>
            </p:nvPr>
          </p:nvSpPr>
          <p:spPr>
            <a:xfrm>
              <a:off x="214276" y="3561111"/>
              <a:ext cx="1643507" cy="75158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150537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78264 w 1828800"/>
                <a:gd name="connsiteY1" fmla="*/ 0 h 914400"/>
                <a:gd name="connsiteX2" fmla="*/ 1828800 w 1828800"/>
                <a:gd name="connsiteY2" fmla="*/ 457200 h 914400"/>
                <a:gd name="connsiteX3" fmla="*/ 1678264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8264" y="0"/>
                  </a:lnTo>
                  <a:lnTo>
                    <a:pt x="1828800" y="457200"/>
                  </a:lnTo>
                  <a:lnTo>
                    <a:pt x="1678264" y="914400"/>
                  </a:lnTo>
                  <a:lnTo>
                    <a:pt x="0" y="914400"/>
                  </a:lnTo>
                  <a:lnTo>
                    <a:pt x="0" y="457201"/>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smtClean="0">
                <a:solidFill>
                  <a:schemeClr val="bg1"/>
                </a:solidFill>
              </a:endParaRPr>
            </a:p>
          </p:txBody>
        </p:sp>
        <p:sp>
          <p:nvSpPr>
            <p:cNvPr id="106" name="Rectangle 16"/>
            <p:cNvSpPr txBox="1"/>
            <p:nvPr>
              <p:custDataLst>
                <p:tags r:id="rId11"/>
              </p:custDataLst>
            </p:nvPr>
          </p:nvSpPr>
          <p:spPr>
            <a:xfrm>
              <a:off x="265076" y="3613304"/>
              <a:ext cx="1457422" cy="647195"/>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a:solidFill>
                    <a:schemeClr val="bg1"/>
                  </a:solidFill>
                </a:rPr>
                <a:t>Cities with </a:t>
              </a:r>
              <a:br>
                <a:rPr lang="en-US" sz="1400" b="1" dirty="0">
                  <a:solidFill>
                    <a:schemeClr val="bg1"/>
                  </a:solidFill>
                </a:rPr>
              </a:br>
              <a:r>
                <a:rPr lang="en-US" sz="1400" b="1" dirty="0">
                  <a:solidFill>
                    <a:schemeClr val="bg1"/>
                  </a:solidFill>
                </a:rPr>
                <a:t>&gt;1 million people </a:t>
              </a:r>
            </a:p>
          </p:txBody>
        </p:sp>
      </p:grpSp>
      <p:pic>
        <p:nvPicPr>
          <p:cNvPr id="16390" name="Picture 6"/>
          <p:cNvPicPr>
            <a:picLocks noChangeArrowheads="1"/>
          </p:cNvPicPr>
          <p:nvPr/>
        </p:nvPicPr>
        <p:blipFill rotWithShape="1">
          <a:blip r:embed="rId27" cstate="email">
            <a:extLst>
              <a:ext uri="{28A0092B-C50C-407E-A947-70E740481C1C}">
                <a14:useLocalDpi xmlns:a14="http://schemas.microsoft.com/office/drawing/2010/main"/>
              </a:ext>
            </a:extLst>
          </a:blip>
          <a:srcRect/>
          <a:stretch/>
        </p:blipFill>
        <p:spPr bwMode="auto">
          <a:xfrm>
            <a:off x="153619" y="1156932"/>
            <a:ext cx="808406" cy="74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2" name="Picture 8"/>
          <p:cNvPicPr>
            <a:picLocks noChangeArrowheads="1"/>
          </p:cNvPicPr>
          <p:nvPr/>
        </p:nvPicPr>
        <p:blipFill rotWithShape="1">
          <a:blip r:embed="rId28" cstate="email">
            <a:extLst>
              <a:ext uri="{28A0092B-C50C-407E-A947-70E740481C1C}">
                <a14:useLocalDpi xmlns:a14="http://schemas.microsoft.com/office/drawing/2010/main"/>
              </a:ext>
            </a:extLst>
          </a:blip>
          <a:srcRect/>
          <a:stretch/>
        </p:blipFill>
        <p:spPr bwMode="auto">
          <a:xfrm>
            <a:off x="153619" y="2798146"/>
            <a:ext cx="808406" cy="74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4" name="Picture 10"/>
          <p:cNvPicPr>
            <a:picLocks noChangeArrowheads="1"/>
          </p:cNvPicPr>
          <p:nvPr/>
        </p:nvPicPr>
        <p:blipFill rotWithShape="1">
          <a:blip r:embed="rId29" cstate="email">
            <a:extLst>
              <a:ext uri="{28A0092B-C50C-407E-A947-70E740481C1C}">
                <a14:useLocalDpi xmlns:a14="http://schemas.microsoft.com/office/drawing/2010/main"/>
              </a:ext>
            </a:extLst>
          </a:blip>
          <a:srcRect/>
          <a:stretch/>
        </p:blipFill>
        <p:spPr bwMode="auto">
          <a:xfrm>
            <a:off x="153619" y="3618753"/>
            <a:ext cx="808406" cy="74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6" name="Picture 12"/>
          <p:cNvPicPr>
            <a:picLocks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153619" y="5259967"/>
            <a:ext cx="808406" cy="74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97" name="Picture 13"/>
          <p:cNvPicPr>
            <a:picLocks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153619" y="4439360"/>
            <a:ext cx="808406" cy="74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75343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18878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06" name="Oval 205"/>
          <p:cNvSpPr/>
          <p:nvPr/>
        </p:nvSpPr>
        <p:spPr>
          <a:xfrm>
            <a:off x="4592326" y="5524500"/>
            <a:ext cx="1428527" cy="171450"/>
          </a:xfrm>
          <a:prstGeom prst="ellipse">
            <a:avLst/>
          </a:prstGeom>
          <a:gradFill flip="none" rotWithShape="1">
            <a:gsLst>
              <a:gs pos="0">
                <a:schemeClr val="tx1"/>
              </a:gs>
              <a:gs pos="100000">
                <a:schemeClr val="bg1"/>
              </a:gs>
            </a:gsLst>
            <a:path path="shape">
              <a:fillToRect l="50000" t="50000" r="50000" b="50000"/>
            </a:path>
            <a:tileRect/>
          </a:gra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207" name="Oval 206"/>
          <p:cNvSpPr/>
          <p:nvPr/>
        </p:nvSpPr>
        <p:spPr>
          <a:xfrm>
            <a:off x="2940587" y="5524500"/>
            <a:ext cx="1428527" cy="171450"/>
          </a:xfrm>
          <a:prstGeom prst="ellipse">
            <a:avLst/>
          </a:prstGeom>
          <a:gradFill flip="none" rotWithShape="1">
            <a:gsLst>
              <a:gs pos="0">
                <a:schemeClr val="tx1"/>
              </a:gs>
              <a:gs pos="100000">
                <a:schemeClr val="bg1"/>
              </a:gs>
            </a:gsLst>
            <a:path path="shape">
              <a:fillToRect l="50000" t="50000" r="50000" b="50000"/>
            </a:path>
            <a:tileRect/>
          </a:gra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5" name="Rectangle 14"/>
          <p:cNvSpPr/>
          <p:nvPr/>
        </p:nvSpPr>
        <p:spPr>
          <a:xfrm>
            <a:off x="0" y="2562224"/>
            <a:ext cx="2857500" cy="1524000"/>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193" name="Rectangle 192"/>
          <p:cNvSpPr/>
          <p:nvPr/>
        </p:nvSpPr>
        <p:spPr>
          <a:xfrm>
            <a:off x="6103938" y="2562225"/>
            <a:ext cx="2857500" cy="1524000"/>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195" name="Rectangle 194"/>
          <p:cNvSpPr>
            <a:spLocks/>
          </p:cNvSpPr>
          <p:nvPr/>
        </p:nvSpPr>
        <p:spPr>
          <a:xfrm>
            <a:off x="5276850" y="1057275"/>
            <a:ext cx="3684588" cy="1409700"/>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196" name="Rectangle 195"/>
          <p:cNvSpPr>
            <a:spLocks/>
          </p:cNvSpPr>
          <p:nvPr/>
        </p:nvSpPr>
        <p:spPr>
          <a:xfrm>
            <a:off x="0" y="1057274"/>
            <a:ext cx="3686175" cy="1409700"/>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197" name="Rectangle 196"/>
          <p:cNvSpPr>
            <a:spLocks/>
          </p:cNvSpPr>
          <p:nvPr/>
        </p:nvSpPr>
        <p:spPr>
          <a:xfrm>
            <a:off x="5276850" y="4181475"/>
            <a:ext cx="3684588" cy="1409700"/>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198" name="Rectangle 197"/>
          <p:cNvSpPr>
            <a:spLocks/>
          </p:cNvSpPr>
          <p:nvPr/>
        </p:nvSpPr>
        <p:spPr>
          <a:xfrm>
            <a:off x="0" y="4181475"/>
            <a:ext cx="3686175" cy="1409700"/>
          </a:xfrm>
          <a:prstGeom prst="rect">
            <a:avLst/>
          </a:prstGeom>
          <a:solidFill>
            <a:srgbClr val="E4E4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2" name="Title 1"/>
          <p:cNvSpPr>
            <a:spLocks noGrp="1"/>
          </p:cNvSpPr>
          <p:nvPr>
            <p:ph type="title"/>
          </p:nvPr>
        </p:nvSpPr>
        <p:spPr bwMode="gray">
          <a:xfrm>
            <a:off x="119063"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rivers of Africa’s growth story</a:t>
            </a:r>
            <a:endParaRPr lang="en-GB" dirty="0"/>
          </a:p>
        </p:txBody>
      </p:sp>
      <p:sp>
        <p:nvSpPr>
          <p:cNvPr id="17" name="Rectangle 9"/>
          <p:cNvSpPr>
            <a:spLocks noChangeArrowheads="1"/>
          </p:cNvSpPr>
          <p:nvPr/>
        </p:nvSpPr>
        <p:spPr bwMode="gray">
          <a:xfrm>
            <a:off x="6289303" y="1454349"/>
            <a:ext cx="2235572"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895350">
              <a:buClr>
                <a:schemeClr val="tx2"/>
              </a:buClr>
            </a:pPr>
            <a:r>
              <a:rPr lang="en-US" sz="2000" b="1" dirty="0">
                <a:latin typeface="+mn-lt"/>
              </a:rPr>
              <a:t>Macro and political stability</a:t>
            </a:r>
          </a:p>
        </p:txBody>
      </p:sp>
      <p:sp>
        <p:nvSpPr>
          <p:cNvPr id="38" name="McK 5. Source"/>
          <p:cNvSpPr>
            <a:spLocks noChangeArrowheads="1"/>
          </p:cNvSpPr>
          <p:nvPr/>
        </p:nvSpPr>
        <p:spPr bwMode="gray">
          <a:xfrm>
            <a:off x="119063" y="6373426"/>
            <a:ext cx="71705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534988" indent="-534988" defTabSz="895350"/>
            <a:r>
              <a:rPr lang="en-US" sz="900" dirty="0">
                <a:solidFill>
                  <a:srgbClr val="000000"/>
                </a:solidFill>
              </a:rPr>
              <a:t>SOURCE</a:t>
            </a:r>
            <a:r>
              <a:rPr lang="en-US" sz="900" dirty="0" smtClean="0">
                <a:solidFill>
                  <a:srgbClr val="000000"/>
                </a:solidFill>
              </a:rPr>
              <a:t>:	</a:t>
            </a:r>
            <a:r>
              <a:rPr lang="en-US" sz="900" dirty="0" err="1" smtClean="0">
                <a:solidFill>
                  <a:srgbClr val="000000"/>
                </a:solidFill>
              </a:rPr>
              <a:t>IHS</a:t>
            </a:r>
            <a:r>
              <a:rPr lang="en-US" sz="900" dirty="0" smtClean="0">
                <a:solidFill>
                  <a:srgbClr val="000000"/>
                </a:solidFill>
              </a:rPr>
              <a:t> Economics; IMF; Business Monitor International; C-</a:t>
            </a:r>
            <a:r>
              <a:rPr lang="en-US" sz="900" dirty="0" err="1" smtClean="0">
                <a:solidFill>
                  <a:srgbClr val="000000"/>
                </a:solidFill>
              </a:rPr>
              <a:t>GIDD</a:t>
            </a:r>
            <a:r>
              <a:rPr lang="en-US" altLang="zh-CN" sz="900" dirty="0" smtClean="0">
                <a:solidFill>
                  <a:srgbClr val="000000"/>
                </a:solidFill>
              </a:rPr>
              <a:t>; </a:t>
            </a:r>
            <a:r>
              <a:rPr lang="en-US" altLang="zh-CN" sz="900" dirty="0">
                <a:solidFill>
                  <a:srgbClr val="000000"/>
                </a:solidFill>
              </a:rPr>
              <a:t>World Bank </a:t>
            </a:r>
            <a:r>
              <a:rPr lang="en-US" altLang="zh-CN" sz="900" dirty="0" smtClean="0">
                <a:solidFill>
                  <a:srgbClr val="000000"/>
                </a:solidFill>
              </a:rPr>
              <a:t>Group doing business </a:t>
            </a:r>
            <a:r>
              <a:rPr lang="en-US" altLang="zh-CN" sz="900" dirty="0">
                <a:solidFill>
                  <a:srgbClr val="000000"/>
                </a:solidFill>
              </a:rPr>
              <a:t>2013</a:t>
            </a:r>
            <a:r>
              <a:rPr lang="en-US" altLang="zh-CN" sz="900" dirty="0" smtClean="0">
                <a:solidFill>
                  <a:srgbClr val="000000"/>
                </a:solidFill>
              </a:rPr>
              <a:t>;</a:t>
            </a:r>
            <a:br>
              <a:rPr lang="en-US" altLang="zh-CN" sz="900" dirty="0" smtClean="0">
                <a:solidFill>
                  <a:srgbClr val="000000"/>
                </a:solidFill>
              </a:rPr>
            </a:br>
            <a:r>
              <a:rPr lang="en-US" sz="900" dirty="0" err="1" smtClean="0">
                <a:solidFill>
                  <a:srgbClr val="000000"/>
                </a:solidFill>
              </a:rPr>
              <a:t>UNCTAD</a:t>
            </a:r>
            <a:r>
              <a:rPr lang="en-US" sz="900" dirty="0" smtClean="0">
                <a:solidFill>
                  <a:srgbClr val="000000"/>
                </a:solidFill>
              </a:rPr>
              <a:t> </a:t>
            </a:r>
            <a:r>
              <a:rPr lang="en-US" sz="900" dirty="0">
                <a:solidFill>
                  <a:srgbClr val="000000"/>
                </a:solidFill>
              </a:rPr>
              <a:t>– World Investment Report 2013; McKinsey Global Institute </a:t>
            </a:r>
            <a:r>
              <a:rPr lang="en-US" sz="900" dirty="0" err="1">
                <a:solidFill>
                  <a:srgbClr val="000000"/>
                </a:solidFill>
              </a:rPr>
              <a:t>Cityscope</a:t>
            </a:r>
            <a:r>
              <a:rPr lang="en-US" sz="900" dirty="0">
                <a:solidFill>
                  <a:srgbClr val="000000"/>
                </a:solidFill>
              </a:rPr>
              <a:t> </a:t>
            </a:r>
            <a:r>
              <a:rPr lang="en-US" sz="900" dirty="0" smtClean="0">
                <a:solidFill>
                  <a:srgbClr val="000000"/>
                </a:solidFill>
              </a:rPr>
              <a:t>2.2; </a:t>
            </a:r>
            <a:r>
              <a:rPr lang="en-US" altLang="zh-CN" sz="900" dirty="0" smtClean="0">
                <a:solidFill>
                  <a:srgbClr val="000000"/>
                </a:solidFill>
              </a:rPr>
              <a:t>Press </a:t>
            </a:r>
            <a:r>
              <a:rPr lang="en-US" altLang="zh-CN" sz="900" dirty="0">
                <a:solidFill>
                  <a:srgbClr val="000000"/>
                </a:solidFill>
              </a:rPr>
              <a:t>Search; </a:t>
            </a:r>
            <a:r>
              <a:rPr lang="en-US" sz="900" dirty="0">
                <a:solidFill>
                  <a:srgbClr val="000000"/>
                </a:solidFill>
                <a:latin typeface="Arial"/>
              </a:rPr>
              <a:t>McKinsey analysis</a:t>
            </a:r>
            <a:endParaRPr lang="en-US" sz="900" dirty="0">
              <a:solidFill>
                <a:srgbClr val="000000"/>
              </a:solidFill>
            </a:endParaRPr>
          </a:p>
        </p:txBody>
      </p:sp>
      <p:sp>
        <p:nvSpPr>
          <p:cNvPr id="5" name="Oval 4"/>
          <p:cNvSpPr>
            <a:spLocks/>
          </p:cNvSpPr>
          <p:nvPr/>
        </p:nvSpPr>
        <p:spPr>
          <a:xfrm>
            <a:off x="2203258" y="1025488"/>
            <a:ext cx="4521392" cy="4521390"/>
          </a:xfrm>
          <a:prstGeom prst="ellipse">
            <a:avLst/>
          </a:prstGeom>
          <a:pattFill prst="pct10">
            <a:fgClr>
              <a:schemeClr val="tx2">
                <a:lumMod val="25000"/>
                <a:lumOff val="75000"/>
              </a:schemeClr>
            </a:fgClr>
            <a:bgClr>
              <a:schemeClr val="bg1"/>
            </a:bgClr>
          </a:pattFill>
          <a:ln w="28575">
            <a:solidFill>
              <a:srgbClr val="3280C0"/>
            </a:solidFill>
          </a:ln>
          <a:effectLst>
            <a:softEdge rad="495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pic>
        <p:nvPicPr>
          <p:cNvPr id="157" name="Picture 12" descr="team"/>
          <p:cNvPicPr>
            <a:picLocks noChangeArrowheads="1"/>
          </p:cNvPicPr>
          <p:nvPr/>
        </p:nvPicPr>
        <p:blipFill rotWithShape="1">
          <a:blip r:embed="rId7" cstate="email">
            <a:extLst>
              <a:ext uri="{28A0092B-C50C-407E-A947-70E740481C1C}">
                <a14:useLocalDpi xmlns:a14="http://schemas.microsoft.com/office/drawing/2010/main"/>
              </a:ext>
            </a:extLst>
          </a:blip>
          <a:srcRect l="-6839" t="-6839" r="-6839" b="-6839"/>
          <a:stretch/>
        </p:blipFill>
        <p:spPr bwMode="auto">
          <a:xfrm>
            <a:off x="3091000" y="1913228"/>
            <a:ext cx="2745909" cy="2745909"/>
          </a:xfrm>
          <a:prstGeom prst="ellipse">
            <a:avLst/>
          </a:prstGeom>
          <a:noFill/>
          <a:ln>
            <a:noFill/>
          </a:ln>
          <a:effectLst>
            <a:softEdge rad="304800"/>
          </a:effectLst>
          <a:extLst>
            <a:ext uri="{909E8E84-426E-40DD-AFC4-6F175D3DCCD1}">
              <a14:hiddenFill xmlns:a14="http://schemas.microsoft.com/office/drawing/2010/main">
                <a:solidFill>
                  <a:srgbClr val="FFFFFF"/>
                </a:solidFill>
              </a14:hiddenFill>
            </a:ext>
          </a:extLst>
        </p:spPr>
      </p:pic>
      <p:sp>
        <p:nvSpPr>
          <p:cNvPr id="183" name="Oval 182"/>
          <p:cNvSpPr>
            <a:spLocks/>
          </p:cNvSpPr>
          <p:nvPr/>
        </p:nvSpPr>
        <p:spPr>
          <a:xfrm>
            <a:off x="2678303" y="1500532"/>
            <a:ext cx="3571301" cy="3571301"/>
          </a:xfrm>
          <a:prstGeom prst="ellipse">
            <a:avLst/>
          </a:prstGeom>
          <a:noFill/>
          <a:ln w="57150">
            <a:solidFill>
              <a:srgbClr val="66A3D7"/>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176" name="Oval 175"/>
          <p:cNvSpPr/>
          <p:nvPr/>
        </p:nvSpPr>
        <p:spPr>
          <a:xfrm>
            <a:off x="4592326" y="1035052"/>
            <a:ext cx="1428527" cy="1428527"/>
          </a:xfrm>
          <a:prstGeom prst="ellipse">
            <a:avLst/>
          </a:prstGeom>
          <a:solidFill>
            <a:srgbClr val="3280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77" name="Oval 176"/>
          <p:cNvSpPr/>
          <p:nvPr/>
        </p:nvSpPr>
        <p:spPr>
          <a:xfrm>
            <a:off x="5418195" y="2571919"/>
            <a:ext cx="1428527" cy="1428527"/>
          </a:xfrm>
          <a:prstGeom prst="ellipse">
            <a:avLst/>
          </a:prstGeom>
          <a:solidFill>
            <a:srgbClr val="3280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78" name="Oval 177"/>
          <p:cNvSpPr/>
          <p:nvPr/>
        </p:nvSpPr>
        <p:spPr>
          <a:xfrm>
            <a:off x="4592326" y="4162648"/>
            <a:ext cx="1428527" cy="1428527"/>
          </a:xfrm>
          <a:prstGeom prst="ellipse">
            <a:avLst/>
          </a:prstGeom>
          <a:solidFill>
            <a:srgbClr val="3280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79" name="Oval 178"/>
          <p:cNvSpPr/>
          <p:nvPr/>
        </p:nvSpPr>
        <p:spPr>
          <a:xfrm>
            <a:off x="2940587" y="4162648"/>
            <a:ext cx="1428527" cy="1428527"/>
          </a:xfrm>
          <a:prstGeom prst="ellipse">
            <a:avLst/>
          </a:prstGeom>
          <a:solidFill>
            <a:srgbClr val="3280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0" name="Oval 179"/>
          <p:cNvSpPr/>
          <p:nvPr/>
        </p:nvSpPr>
        <p:spPr>
          <a:xfrm>
            <a:off x="2114716" y="2571919"/>
            <a:ext cx="1428527" cy="1428527"/>
          </a:xfrm>
          <a:prstGeom prst="ellipse">
            <a:avLst/>
          </a:prstGeom>
          <a:solidFill>
            <a:srgbClr val="3280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1" name="Oval 180"/>
          <p:cNvSpPr/>
          <p:nvPr/>
        </p:nvSpPr>
        <p:spPr>
          <a:xfrm>
            <a:off x="2940587" y="1035051"/>
            <a:ext cx="1428527" cy="1428527"/>
          </a:xfrm>
          <a:prstGeom prst="ellipse">
            <a:avLst/>
          </a:prstGeom>
          <a:solidFill>
            <a:srgbClr val="3280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4" name="Oval 183"/>
          <p:cNvSpPr/>
          <p:nvPr/>
        </p:nvSpPr>
        <p:spPr>
          <a:xfrm>
            <a:off x="4662008" y="1104733"/>
            <a:ext cx="1289164" cy="1289164"/>
          </a:xfrm>
          <a:prstGeom prst="ellipse">
            <a:avLst/>
          </a:prstGeom>
          <a:blipFill>
            <a:blip r:embed="rId8" cstate="email">
              <a:extLst>
                <a:ext uri="{28A0092B-C50C-407E-A947-70E740481C1C}">
                  <a14:useLocalDpi xmlns:a14="http://schemas.microsoft.com/office/drawing/2010/main"/>
                </a:ext>
              </a:extLst>
            </a:blip>
            <a:srcRect/>
            <a:stretch>
              <a:fillRect/>
            </a:stretch>
          </a:blipFill>
          <a:ln w="63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5" name="Oval 184"/>
          <p:cNvSpPr/>
          <p:nvPr/>
        </p:nvSpPr>
        <p:spPr>
          <a:xfrm>
            <a:off x="5487877" y="2641600"/>
            <a:ext cx="1289164" cy="1289164"/>
          </a:xfrm>
          <a:prstGeom prst="ellipse">
            <a:avLst/>
          </a:prstGeom>
          <a:blipFill>
            <a:blip r:embed="rId9" cstate="email">
              <a:extLst>
                <a:ext uri="{28A0092B-C50C-407E-A947-70E740481C1C}">
                  <a14:useLocalDpi xmlns:a14="http://schemas.microsoft.com/office/drawing/2010/main"/>
                </a:ext>
              </a:extLst>
            </a:blip>
            <a:stretch>
              <a:fillRect/>
            </a:stretch>
          </a:blipFill>
          <a:ln w="63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6" name="Oval 185"/>
          <p:cNvSpPr/>
          <p:nvPr/>
        </p:nvSpPr>
        <p:spPr>
          <a:xfrm>
            <a:off x="4662008" y="4232330"/>
            <a:ext cx="1289164" cy="1289164"/>
          </a:xfrm>
          <a:prstGeom prst="ellipse">
            <a:avLst/>
          </a:prstGeom>
          <a:blipFill>
            <a:blip r:embed="rId10" cstate="email">
              <a:extLst>
                <a:ext uri="{28A0092B-C50C-407E-A947-70E740481C1C}">
                  <a14:useLocalDpi xmlns:a14="http://schemas.microsoft.com/office/drawing/2010/main"/>
                </a:ext>
              </a:extLst>
            </a:blip>
            <a:stretch>
              <a:fillRect/>
            </a:stretch>
          </a:blipFill>
          <a:ln w="63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7" name="Oval 186"/>
          <p:cNvSpPr/>
          <p:nvPr/>
        </p:nvSpPr>
        <p:spPr>
          <a:xfrm>
            <a:off x="3010269" y="4232329"/>
            <a:ext cx="1289164" cy="1289164"/>
          </a:xfrm>
          <a:prstGeom prst="ellipse">
            <a:avLst/>
          </a:prstGeom>
          <a:blipFill>
            <a:blip r:embed="rId11" cstate="email">
              <a:extLst>
                <a:ext uri="{28A0092B-C50C-407E-A947-70E740481C1C}">
                  <a14:useLocalDpi xmlns:a14="http://schemas.microsoft.com/office/drawing/2010/main"/>
                </a:ext>
              </a:extLst>
            </a:blip>
            <a:srcRect/>
            <a:stretch>
              <a:fillRect/>
            </a:stretch>
          </a:blipFill>
          <a:ln w="63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8" name="Oval 187"/>
          <p:cNvSpPr/>
          <p:nvPr/>
        </p:nvSpPr>
        <p:spPr>
          <a:xfrm>
            <a:off x="2184398" y="2641600"/>
            <a:ext cx="1289164" cy="1289164"/>
          </a:xfrm>
          <a:prstGeom prst="ellipse">
            <a:avLst/>
          </a:prstGeom>
          <a:blipFill>
            <a:blip r:embed="rId12" cstate="email">
              <a:extLst>
                <a:ext uri="{28A0092B-C50C-407E-A947-70E740481C1C}">
                  <a14:useLocalDpi xmlns:a14="http://schemas.microsoft.com/office/drawing/2010/main"/>
                </a:ext>
              </a:extLst>
            </a:blip>
            <a:srcRect/>
            <a:stretch>
              <a:fillRect/>
            </a:stretch>
          </a:blipFill>
          <a:ln w="63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89" name="Oval 188"/>
          <p:cNvSpPr/>
          <p:nvPr/>
        </p:nvSpPr>
        <p:spPr>
          <a:xfrm>
            <a:off x="3010269" y="1104732"/>
            <a:ext cx="1289164" cy="1289164"/>
          </a:xfrm>
          <a:prstGeom prst="ellipse">
            <a:avLst/>
          </a:prstGeom>
          <a:blipFill>
            <a:blip r:embed="rId13" cstate="email">
              <a:extLst>
                <a:ext uri="{28A0092B-C50C-407E-A947-70E740481C1C}">
                  <a14:useLocalDpi xmlns:a14="http://schemas.microsoft.com/office/drawing/2010/main"/>
                </a:ext>
              </a:extLst>
            </a:blip>
            <a:srcRect/>
            <a:stretch>
              <a:fillRect/>
            </a:stretch>
          </a:blipFill>
          <a:ln w="63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199" name="Rectangle 9"/>
          <p:cNvSpPr>
            <a:spLocks noChangeArrowheads="1"/>
          </p:cNvSpPr>
          <p:nvPr/>
        </p:nvSpPr>
        <p:spPr bwMode="gray">
          <a:xfrm>
            <a:off x="6962774" y="2862561"/>
            <a:ext cx="1609725"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895350">
              <a:buClr>
                <a:schemeClr val="tx2"/>
              </a:buClr>
            </a:pPr>
            <a:r>
              <a:rPr lang="en-US" sz="2000" b="1" dirty="0">
                <a:latin typeface="+mn-lt"/>
              </a:rPr>
              <a:t>Ongoing economic reforms</a:t>
            </a:r>
          </a:p>
        </p:txBody>
      </p:sp>
      <p:sp>
        <p:nvSpPr>
          <p:cNvPr id="200" name="Rectangle 9"/>
          <p:cNvSpPr>
            <a:spLocks noChangeArrowheads="1"/>
          </p:cNvSpPr>
          <p:nvPr/>
        </p:nvSpPr>
        <p:spPr bwMode="gray">
          <a:xfrm>
            <a:off x="6153150" y="4578549"/>
            <a:ext cx="2562225"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895350">
              <a:buClr>
                <a:schemeClr val="tx2"/>
              </a:buClr>
            </a:pPr>
            <a:r>
              <a:rPr lang="en-US" sz="2000" b="1" dirty="0">
                <a:latin typeface="+mn-lt"/>
              </a:rPr>
              <a:t>Access to </a:t>
            </a:r>
            <a:r>
              <a:rPr lang="en-US" sz="2000" b="1" dirty="0" smtClean="0">
                <a:latin typeface="+mn-lt"/>
              </a:rPr>
              <a:t>international </a:t>
            </a:r>
            <a:r>
              <a:rPr lang="en-US" sz="2000" b="1" dirty="0">
                <a:latin typeface="+mn-lt"/>
              </a:rPr>
              <a:t>capital</a:t>
            </a:r>
          </a:p>
        </p:txBody>
      </p:sp>
      <p:sp>
        <p:nvSpPr>
          <p:cNvPr id="201" name="Rectangle 9"/>
          <p:cNvSpPr>
            <a:spLocks noChangeArrowheads="1"/>
          </p:cNvSpPr>
          <p:nvPr/>
        </p:nvSpPr>
        <p:spPr bwMode="gray">
          <a:xfrm>
            <a:off x="119063" y="1454349"/>
            <a:ext cx="2235572"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895350">
              <a:buClr>
                <a:schemeClr val="tx2"/>
              </a:buClr>
            </a:pPr>
            <a:r>
              <a:rPr lang="en-US" sz="2000" b="1" dirty="0">
                <a:latin typeface="+mn-lt"/>
              </a:rPr>
              <a:t>African green revolution</a:t>
            </a:r>
          </a:p>
        </p:txBody>
      </p:sp>
      <p:sp>
        <p:nvSpPr>
          <p:cNvPr id="202" name="Rectangle 9"/>
          <p:cNvSpPr>
            <a:spLocks noChangeArrowheads="1"/>
          </p:cNvSpPr>
          <p:nvPr/>
        </p:nvSpPr>
        <p:spPr bwMode="gray">
          <a:xfrm>
            <a:off x="119063" y="2862561"/>
            <a:ext cx="1609725"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895350">
              <a:buClr>
                <a:schemeClr val="tx2"/>
              </a:buClr>
            </a:pPr>
            <a:r>
              <a:rPr lang="en-US" sz="2000" b="1" dirty="0">
                <a:latin typeface="+mn-lt"/>
              </a:rPr>
              <a:t>The commodity boom</a:t>
            </a:r>
          </a:p>
        </p:txBody>
      </p:sp>
      <p:sp>
        <p:nvSpPr>
          <p:cNvPr id="203" name="Rectangle 9"/>
          <p:cNvSpPr>
            <a:spLocks noChangeArrowheads="1"/>
          </p:cNvSpPr>
          <p:nvPr/>
        </p:nvSpPr>
        <p:spPr bwMode="gray">
          <a:xfrm>
            <a:off x="119063" y="4578549"/>
            <a:ext cx="2319337"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895350">
              <a:buClr>
                <a:schemeClr val="tx2"/>
              </a:buClr>
            </a:pPr>
            <a:r>
              <a:rPr lang="en-US" sz="2000" b="1" dirty="0" smtClean="0">
                <a:latin typeface="+mn-lt"/>
              </a:rPr>
              <a:t>Demographic shifts</a:t>
            </a:r>
            <a:endParaRPr lang="en-US" sz="2000" b="1" dirty="0">
              <a:latin typeface="+mn-lt"/>
            </a:endParaRPr>
          </a:p>
        </p:txBody>
      </p:sp>
    </p:spTree>
    <p:extLst>
      <p:ext uri="{BB962C8B-B14F-4D97-AF65-F5344CB8AC3E}">
        <p14:creationId xmlns:p14="http://schemas.microsoft.com/office/powerpoint/2010/main" val="6833783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562128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63" name="think-cell Slide" r:id="rId112" imgW="270" imgH="270" progId="TCLayout.ActiveDocument.1">
                  <p:embed/>
                </p:oleObj>
              </mc:Choice>
              <mc:Fallback>
                <p:oleObj name="think-cell Slide" r:id="rId112" imgW="270" imgH="270" progId="TCLayout.ActiveDocument.1">
                  <p:embed/>
                  <p:pic>
                    <p:nvPicPr>
                      <p:cNvPr id="0" name=""/>
                      <p:cNvPicPr/>
                      <p:nvPr/>
                    </p:nvPicPr>
                    <p:blipFill>
                      <a:blip r:embed="rId113"/>
                      <a:stretch>
                        <a:fillRect/>
                      </a:stretch>
                    </p:blipFill>
                    <p:spPr>
                      <a:xfrm>
                        <a:off x="0" y="0"/>
                        <a:ext cx="158750" cy="158750"/>
                      </a:xfrm>
                      <a:prstGeom prst="rect">
                        <a:avLst/>
                      </a:prstGeom>
                    </p:spPr>
                  </p:pic>
                </p:oleObj>
              </mc:Fallback>
            </mc:AlternateContent>
          </a:graphicData>
        </a:graphic>
      </p:graphicFrame>
      <p:sp>
        <p:nvSpPr>
          <p:cNvPr id="280" name="Rectangle 279"/>
          <p:cNvSpPr>
            <a:spLocks/>
          </p:cNvSpPr>
          <p:nvPr/>
        </p:nvSpPr>
        <p:spPr bwMode="gray">
          <a:xfrm>
            <a:off x="119063" y="954088"/>
            <a:ext cx="8721725" cy="5173979"/>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latin typeface="+mn-lt"/>
            </a:endParaRPr>
          </a:p>
        </p:txBody>
      </p:sp>
      <p:pic>
        <p:nvPicPr>
          <p:cNvPr id="17" name="Object 16"/>
          <p:cNvPicPr>
            <a:picLocks noChangeAspect="1"/>
          </p:cNvPicPr>
          <p:nvPr/>
        </p:nvPicPr>
        <p:blipFill>
          <a:blip r:embed="rId114"/>
          <a:srcRect/>
          <a:stretch>
            <a:fillRect/>
          </a:stretch>
        </p:blipFill>
        <p:spPr bwMode="gray">
          <a:xfrm>
            <a:off x="0" y="0"/>
            <a:ext cx="158750" cy="158750"/>
          </a:xfrm>
          <a:prstGeom prst="rect">
            <a:avLst/>
          </a:prstGeom>
          <a:noFill/>
        </p:spPr>
      </p:pic>
      <p:cxnSp>
        <p:nvCxnSpPr>
          <p:cNvPr id="861" name="Straight Arrow Connector 860"/>
          <p:cNvCxnSpPr/>
          <p:nvPr/>
        </p:nvCxnSpPr>
        <p:spPr bwMode="gray">
          <a:xfrm>
            <a:off x="4336054" y="1629006"/>
            <a:ext cx="0" cy="4384444"/>
          </a:xfrm>
          <a:prstGeom prst="straightConnector1">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bwMode="gray">
          <a:xfrm>
            <a:off x="119063" y="230188"/>
            <a:ext cx="7804993"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More than half of Africa’s 55 countries are expected to grow faster than 5% annually till 2025</a:t>
            </a:r>
            <a:endParaRPr lang="en-US" dirty="0"/>
          </a:p>
        </p:txBody>
      </p:sp>
      <p:sp>
        <p:nvSpPr>
          <p:cNvPr id="575" name="McK 5. Source"/>
          <p:cNvSpPr>
            <a:spLocks noChangeArrowheads="1"/>
          </p:cNvSpPr>
          <p:nvPr>
            <p:custDataLst>
              <p:tags r:id="rId3"/>
            </p:custDataLst>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latin typeface="Arial"/>
              </a:rPr>
              <a:t>SOURCE: </a:t>
            </a:r>
            <a:r>
              <a:rPr lang="en-US" sz="1000" dirty="0" smtClean="0">
                <a:solidFill>
                  <a:srgbClr val="000000"/>
                </a:solidFill>
                <a:latin typeface="Arial"/>
              </a:rPr>
              <a:t>IHS Economics</a:t>
            </a:r>
            <a:endParaRPr lang="en-US" altLang="ja-JP" sz="1000" dirty="0">
              <a:solidFill>
                <a:srgbClr val="000000"/>
              </a:solidFill>
              <a:latin typeface="Arial"/>
            </a:endParaRPr>
          </a:p>
        </p:txBody>
      </p:sp>
      <p:sp>
        <p:nvSpPr>
          <p:cNvPr id="846" name="Rounded Rectangle 845"/>
          <p:cNvSpPr>
            <a:spLocks/>
          </p:cNvSpPr>
          <p:nvPr/>
        </p:nvSpPr>
        <p:spPr bwMode="gray">
          <a:xfrm>
            <a:off x="115888" y="1518633"/>
            <a:ext cx="4259263" cy="45719"/>
          </a:xfrm>
          <a:prstGeom prst="roundRect">
            <a:avLst/>
          </a:pr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rgbClr val="000000"/>
              </a:solidFill>
            </a:endParaRPr>
          </a:p>
        </p:txBody>
      </p:sp>
      <p:sp>
        <p:nvSpPr>
          <p:cNvPr id="847" name="Rounded Rectangle 846"/>
          <p:cNvSpPr>
            <a:spLocks/>
          </p:cNvSpPr>
          <p:nvPr/>
        </p:nvSpPr>
        <p:spPr bwMode="gray">
          <a:xfrm>
            <a:off x="4581525" y="1518633"/>
            <a:ext cx="4259263" cy="45719"/>
          </a:xfrm>
          <a:prstGeom prst="roundRect">
            <a:avLst/>
          </a:prstGeom>
          <a:solidFill>
            <a:schemeClr val="accent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rgbClr val="000000"/>
              </a:solidFill>
            </a:endParaRPr>
          </a:p>
        </p:txBody>
      </p:sp>
      <p:grpSp>
        <p:nvGrpSpPr>
          <p:cNvPr id="848" name="Group 847"/>
          <p:cNvGrpSpPr/>
          <p:nvPr/>
        </p:nvGrpSpPr>
        <p:grpSpPr bwMode="gray">
          <a:xfrm>
            <a:off x="4048932" y="1248195"/>
            <a:ext cx="574244" cy="574244"/>
            <a:chOff x="4570384" y="1020222"/>
            <a:chExt cx="365760" cy="365760"/>
          </a:xfrm>
        </p:grpSpPr>
        <p:sp>
          <p:nvSpPr>
            <p:cNvPr id="849" name="Oval 848"/>
            <p:cNvSpPr/>
            <p:nvPr/>
          </p:nvSpPr>
          <p:spPr bwMode="gray">
            <a:xfrm>
              <a:off x="4570384" y="1020222"/>
              <a:ext cx="365760" cy="365760"/>
            </a:xfrm>
            <a:prstGeom prst="ellipse">
              <a:avLst/>
            </a:prstGeom>
            <a:solidFill>
              <a:schemeClr val="accent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rgbClr val="000000"/>
                </a:solidFill>
              </a:endParaRPr>
            </a:p>
          </p:txBody>
        </p:sp>
        <p:sp>
          <p:nvSpPr>
            <p:cNvPr id="850" name="Chevron 849"/>
            <p:cNvSpPr/>
            <p:nvPr/>
          </p:nvSpPr>
          <p:spPr bwMode="gray">
            <a:xfrm>
              <a:off x="4675762" y="1094656"/>
              <a:ext cx="155004" cy="216892"/>
            </a:xfrm>
            <a:prstGeom prst="chevron">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rgbClr val="000000"/>
                </a:solidFill>
              </a:endParaRPr>
            </a:p>
          </p:txBody>
        </p:sp>
      </p:grpSp>
      <p:sp>
        <p:nvSpPr>
          <p:cNvPr id="853" name="AutoShape 250"/>
          <p:cNvSpPr>
            <a:spLocks noChangeArrowheads="1"/>
          </p:cNvSpPr>
          <p:nvPr/>
        </p:nvSpPr>
        <p:spPr bwMode="gray">
          <a:xfrm>
            <a:off x="237935" y="1001973"/>
            <a:ext cx="3562170"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r>
              <a:rPr lang="en-US" b="1" dirty="0" smtClean="0">
                <a:solidFill>
                  <a:srgbClr val="002960"/>
                </a:solidFill>
                <a:latin typeface="Arial"/>
              </a:rPr>
              <a:t>Compound annual real GDP growth </a:t>
            </a:r>
          </a:p>
          <a:p>
            <a:r>
              <a:rPr lang="en-US" b="1" dirty="0" smtClean="0">
                <a:solidFill>
                  <a:srgbClr val="002960"/>
                </a:solidFill>
                <a:latin typeface="Arial"/>
              </a:rPr>
              <a:t>2000–2013</a:t>
            </a:r>
            <a:endParaRPr lang="en-US" b="1" dirty="0">
              <a:solidFill>
                <a:srgbClr val="002960"/>
              </a:solidFill>
              <a:latin typeface="Arial"/>
            </a:endParaRPr>
          </a:p>
        </p:txBody>
      </p:sp>
      <p:sp>
        <p:nvSpPr>
          <p:cNvPr id="856" name="AutoShape 250"/>
          <p:cNvSpPr>
            <a:spLocks noChangeArrowheads="1"/>
          </p:cNvSpPr>
          <p:nvPr/>
        </p:nvSpPr>
        <p:spPr bwMode="gray">
          <a:xfrm>
            <a:off x="4795802" y="1001973"/>
            <a:ext cx="3730978"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r>
              <a:rPr lang="en-US" b="1" dirty="0" smtClean="0">
                <a:solidFill>
                  <a:srgbClr val="002960"/>
                </a:solidFill>
              </a:rPr>
              <a:t>Compound annual real GDP growth</a:t>
            </a:r>
          </a:p>
          <a:p>
            <a:r>
              <a:rPr lang="en-US" b="1" dirty="0" smtClean="0">
                <a:solidFill>
                  <a:srgbClr val="002960"/>
                </a:solidFill>
              </a:rPr>
              <a:t>2013–2025</a:t>
            </a:r>
            <a:endParaRPr lang="en-US" b="1" dirty="0">
              <a:solidFill>
                <a:srgbClr val="002960"/>
              </a:solidFill>
            </a:endParaRPr>
          </a:p>
        </p:txBody>
      </p:sp>
      <p:sp>
        <p:nvSpPr>
          <p:cNvPr id="27" name="Rectangle 26"/>
          <p:cNvSpPr/>
          <p:nvPr/>
        </p:nvSpPr>
        <p:spPr bwMode="gray">
          <a:xfrm>
            <a:off x="115888" y="5581650"/>
            <a:ext cx="8724900" cy="651510"/>
          </a:xfrm>
          <a:prstGeom prst="rect">
            <a:avLst/>
          </a:prstGeom>
          <a:solidFill>
            <a:schemeClr val="accent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rgbClr val="000000"/>
              </a:solidFill>
            </a:endParaRPr>
          </a:p>
        </p:txBody>
      </p:sp>
      <p:sp>
        <p:nvSpPr>
          <p:cNvPr id="28" name="Rectangle 28"/>
          <p:cNvSpPr txBox="1"/>
          <p:nvPr/>
        </p:nvSpPr>
        <p:spPr bwMode="gray">
          <a:xfrm>
            <a:off x="409418" y="5661184"/>
            <a:ext cx="813784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b="1" dirty="0">
                <a:solidFill>
                  <a:schemeClr val="tx2"/>
                </a:solidFill>
              </a:rPr>
              <a:t>8 </a:t>
            </a:r>
            <a:r>
              <a:rPr lang="en-US" b="1" dirty="0" smtClean="0">
                <a:solidFill>
                  <a:schemeClr val="tx2"/>
                </a:solidFill>
              </a:rPr>
              <a:t>countries (</a:t>
            </a:r>
            <a:r>
              <a:rPr lang="it-IT" b="1" dirty="0" smtClean="0">
                <a:solidFill>
                  <a:schemeClr val="tx2"/>
                </a:solidFill>
              </a:rPr>
              <a:t>Nigeria, South Africa, </a:t>
            </a:r>
            <a:r>
              <a:rPr lang="it-IT" b="1" dirty="0" err="1" smtClean="0">
                <a:solidFill>
                  <a:schemeClr val="tx2"/>
                </a:solidFill>
              </a:rPr>
              <a:t>Egypt</a:t>
            </a:r>
            <a:r>
              <a:rPr lang="it-IT" b="1" dirty="0" smtClean="0">
                <a:solidFill>
                  <a:schemeClr val="tx2"/>
                </a:solidFill>
              </a:rPr>
              <a:t>, Libya, Algeria, Angola, Morocco, </a:t>
            </a:r>
            <a:r>
              <a:rPr lang="it-IT" b="1" dirty="0" err="1" smtClean="0">
                <a:solidFill>
                  <a:schemeClr val="tx2"/>
                </a:solidFill>
              </a:rPr>
              <a:t>Ethiopia</a:t>
            </a:r>
            <a:r>
              <a:rPr lang="it-IT" b="1" dirty="0" smtClean="0">
                <a:solidFill>
                  <a:schemeClr val="tx2"/>
                </a:solidFill>
              </a:rPr>
              <a:t>)</a:t>
            </a:r>
            <a:r>
              <a:rPr lang="en-US" b="1" dirty="0" smtClean="0">
                <a:solidFill>
                  <a:schemeClr val="tx2"/>
                </a:solidFill>
              </a:rPr>
              <a:t> </a:t>
            </a:r>
            <a:r>
              <a:rPr lang="en-US" b="1" dirty="0">
                <a:solidFill>
                  <a:schemeClr val="tx2"/>
                </a:solidFill>
              </a:rPr>
              <a:t>will account for ~70% of Africa’s total GDP growth between 2013 and 2025</a:t>
            </a:r>
          </a:p>
        </p:txBody>
      </p:sp>
      <p:sp>
        <p:nvSpPr>
          <p:cNvPr id="2" name="Rectangle 1"/>
          <p:cNvSpPr/>
          <p:nvPr/>
        </p:nvSpPr>
        <p:spPr bwMode="gray">
          <a:xfrm>
            <a:off x="8112876" y="215496"/>
            <a:ext cx="155448" cy="15544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rgbClr val="000000"/>
              </a:solidFill>
            </a:endParaRPr>
          </a:p>
        </p:txBody>
      </p:sp>
      <p:sp>
        <p:nvSpPr>
          <p:cNvPr id="5" name="Rectangle 5"/>
          <p:cNvSpPr txBox="1"/>
          <p:nvPr/>
        </p:nvSpPr>
        <p:spPr bwMode="gray">
          <a:xfrm>
            <a:off x="8327630" y="216276"/>
            <a:ext cx="25968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dirty="0" smtClean="0">
                <a:solidFill>
                  <a:srgbClr val="000000"/>
                </a:solidFill>
              </a:rPr>
              <a:t>&gt;7%</a:t>
            </a:r>
            <a:endParaRPr lang="en-US" sz="1000" dirty="0">
              <a:solidFill>
                <a:srgbClr val="000000"/>
              </a:solidFill>
            </a:endParaRPr>
          </a:p>
        </p:txBody>
      </p:sp>
      <p:sp>
        <p:nvSpPr>
          <p:cNvPr id="155" name="Rectangle 154"/>
          <p:cNvSpPr/>
          <p:nvPr/>
        </p:nvSpPr>
        <p:spPr bwMode="gray">
          <a:xfrm>
            <a:off x="8112876" y="437614"/>
            <a:ext cx="155448" cy="15544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rgbClr val="000000"/>
              </a:solidFill>
            </a:endParaRPr>
          </a:p>
        </p:txBody>
      </p:sp>
      <p:sp>
        <p:nvSpPr>
          <p:cNvPr id="156" name="Rectangle 5"/>
          <p:cNvSpPr txBox="1"/>
          <p:nvPr/>
        </p:nvSpPr>
        <p:spPr bwMode="gray">
          <a:xfrm>
            <a:off x="8327630" y="438394"/>
            <a:ext cx="32541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dirty="0" smtClean="0">
                <a:solidFill>
                  <a:srgbClr val="000000"/>
                </a:solidFill>
              </a:rPr>
              <a:t>5–7%</a:t>
            </a:r>
            <a:endParaRPr lang="en-US" sz="1000" dirty="0">
              <a:solidFill>
                <a:srgbClr val="000000"/>
              </a:solidFill>
            </a:endParaRPr>
          </a:p>
        </p:txBody>
      </p:sp>
      <p:sp>
        <p:nvSpPr>
          <p:cNvPr id="157" name="Rectangle 156"/>
          <p:cNvSpPr/>
          <p:nvPr/>
        </p:nvSpPr>
        <p:spPr bwMode="gray">
          <a:xfrm>
            <a:off x="8112876" y="659732"/>
            <a:ext cx="155448" cy="15544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rgbClr val="000000"/>
              </a:solidFill>
            </a:endParaRPr>
          </a:p>
        </p:txBody>
      </p:sp>
      <p:sp>
        <p:nvSpPr>
          <p:cNvPr id="158" name="Rectangle 5"/>
          <p:cNvSpPr txBox="1"/>
          <p:nvPr/>
        </p:nvSpPr>
        <p:spPr bwMode="gray">
          <a:xfrm>
            <a:off x="8327630" y="660512"/>
            <a:ext cx="32541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dirty="0" smtClean="0">
                <a:solidFill>
                  <a:srgbClr val="000000"/>
                </a:solidFill>
              </a:rPr>
              <a:t>2–5%</a:t>
            </a:r>
            <a:endParaRPr lang="en-US" sz="1000" dirty="0">
              <a:solidFill>
                <a:srgbClr val="000000"/>
              </a:solidFill>
            </a:endParaRPr>
          </a:p>
        </p:txBody>
      </p:sp>
      <p:sp>
        <p:nvSpPr>
          <p:cNvPr id="229" name="Oval 214"/>
          <p:cNvSpPr>
            <a:spLocks noChangeArrowheads="1"/>
          </p:cNvSpPr>
          <p:nvPr/>
        </p:nvSpPr>
        <p:spPr bwMode="gray">
          <a:xfrm>
            <a:off x="8274211" y="3988560"/>
            <a:ext cx="101091" cy="107979"/>
          </a:xfrm>
          <a:prstGeom prst="ellipse">
            <a:avLst/>
          </a:prstGeom>
          <a:solidFill>
            <a:schemeClr val="accent3"/>
          </a:solidFill>
          <a:ln w="9525" cap="flat" cmpd="sng">
            <a:solidFill>
              <a:srgbClr val="808080"/>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230" name="Oval 215"/>
          <p:cNvSpPr>
            <a:spLocks noChangeArrowheads="1"/>
          </p:cNvSpPr>
          <p:nvPr/>
        </p:nvSpPr>
        <p:spPr bwMode="gray">
          <a:xfrm>
            <a:off x="8307461" y="4641343"/>
            <a:ext cx="97664" cy="107979"/>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231" name="Oval 216"/>
          <p:cNvSpPr>
            <a:spLocks noChangeArrowheads="1"/>
          </p:cNvSpPr>
          <p:nvPr/>
        </p:nvSpPr>
        <p:spPr bwMode="gray">
          <a:xfrm>
            <a:off x="8190950" y="4762411"/>
            <a:ext cx="97664" cy="109615"/>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232" name="Oval 214"/>
          <p:cNvSpPr>
            <a:spLocks noChangeArrowheads="1"/>
          </p:cNvSpPr>
          <p:nvPr/>
        </p:nvSpPr>
        <p:spPr bwMode="gray">
          <a:xfrm>
            <a:off x="5899311" y="3493260"/>
            <a:ext cx="101091" cy="107979"/>
          </a:xfrm>
          <a:prstGeom prst="ellipse">
            <a:avLst/>
          </a:prstGeom>
          <a:solidFill>
            <a:schemeClr val="tx2"/>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ZA" dirty="0">
              <a:solidFill>
                <a:srgbClr val="FFFFFF"/>
              </a:solidFill>
            </a:endParaRPr>
          </a:p>
        </p:txBody>
      </p:sp>
      <p:sp>
        <p:nvSpPr>
          <p:cNvPr id="233" name="Oval 214"/>
          <p:cNvSpPr>
            <a:spLocks noChangeArrowheads="1"/>
          </p:cNvSpPr>
          <p:nvPr/>
        </p:nvSpPr>
        <p:spPr bwMode="gray">
          <a:xfrm>
            <a:off x="4705511" y="2655061"/>
            <a:ext cx="45719" cy="48834"/>
          </a:xfrm>
          <a:prstGeom prst="ellipse">
            <a:avLst/>
          </a:prstGeom>
          <a:solidFill>
            <a:schemeClr val="accent2"/>
          </a:solidFill>
          <a:ln w="9525" cap="flat" cmpd="sng">
            <a:solidFill>
              <a:srgbClr val="808080"/>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651" name="Oval 214"/>
          <p:cNvSpPr>
            <a:spLocks noChangeArrowheads="1"/>
          </p:cNvSpPr>
          <p:nvPr/>
        </p:nvSpPr>
        <p:spPr bwMode="gray">
          <a:xfrm>
            <a:off x="3857574" y="3988560"/>
            <a:ext cx="101091" cy="107979"/>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652" name="Oval 215"/>
          <p:cNvSpPr>
            <a:spLocks noChangeArrowheads="1"/>
          </p:cNvSpPr>
          <p:nvPr/>
        </p:nvSpPr>
        <p:spPr bwMode="gray">
          <a:xfrm>
            <a:off x="3890824" y="4641343"/>
            <a:ext cx="97664" cy="107979"/>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653" name="Oval 216"/>
          <p:cNvSpPr>
            <a:spLocks noChangeArrowheads="1"/>
          </p:cNvSpPr>
          <p:nvPr/>
        </p:nvSpPr>
        <p:spPr bwMode="gray">
          <a:xfrm>
            <a:off x="3774313" y="4762411"/>
            <a:ext cx="97664" cy="109615"/>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159" name="Oval 214"/>
          <p:cNvSpPr>
            <a:spLocks noChangeArrowheads="1"/>
          </p:cNvSpPr>
          <p:nvPr/>
        </p:nvSpPr>
        <p:spPr bwMode="gray">
          <a:xfrm>
            <a:off x="1482674" y="3493260"/>
            <a:ext cx="101091" cy="107979"/>
          </a:xfrm>
          <a:prstGeom prst="ellipse">
            <a:avLst/>
          </a:prstGeom>
          <a:solidFill>
            <a:schemeClr val="accent3"/>
          </a:solidFill>
          <a:ln w="9525" cap="flat" cmpd="sng">
            <a:solidFill>
              <a:srgbClr val="808080"/>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160" name="Oval 214"/>
          <p:cNvSpPr>
            <a:spLocks noChangeArrowheads="1"/>
          </p:cNvSpPr>
          <p:nvPr/>
        </p:nvSpPr>
        <p:spPr bwMode="gray">
          <a:xfrm>
            <a:off x="288874" y="2655061"/>
            <a:ext cx="45719" cy="48834"/>
          </a:xfrm>
          <a:prstGeom prst="ellipse">
            <a:avLst/>
          </a:prstGeom>
          <a:solidFill>
            <a:schemeClr val="accent3"/>
          </a:solidFill>
          <a:ln w="9525" cap="flat" cmpd="sng">
            <a:solidFill>
              <a:srgbClr val="808080"/>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grpSp>
        <p:nvGrpSpPr>
          <p:cNvPr id="282" name="Group 281"/>
          <p:cNvGrpSpPr>
            <a:grpSpLocks/>
          </p:cNvGrpSpPr>
          <p:nvPr/>
        </p:nvGrpSpPr>
        <p:grpSpPr bwMode="gray">
          <a:xfrm>
            <a:off x="400918" y="1652284"/>
            <a:ext cx="3502201" cy="3774362"/>
            <a:chOff x="1974850" y="814388"/>
            <a:chExt cx="4764088" cy="5356226"/>
          </a:xfrm>
        </p:grpSpPr>
        <p:sp>
          <p:nvSpPr>
            <p:cNvPr id="283" name="Freeform 201"/>
            <p:cNvSpPr>
              <a:spLocks/>
            </p:cNvSpPr>
            <p:nvPr>
              <p:custDataLst>
                <p:tags r:id="rId57"/>
              </p:custDataLst>
            </p:nvPr>
          </p:nvSpPr>
          <p:spPr bwMode="gray">
            <a:xfrm>
              <a:off x="4857750" y="2741613"/>
              <a:ext cx="819150" cy="611188"/>
            </a:xfrm>
            <a:custGeom>
              <a:avLst/>
              <a:gdLst>
                <a:gd name="T0" fmla="*/ 445 w 516"/>
                <a:gd name="T1" fmla="*/ 339 h 385"/>
                <a:gd name="T2" fmla="*/ 394 w 516"/>
                <a:gd name="T3" fmla="*/ 376 h 385"/>
                <a:gd name="T4" fmla="*/ 346 w 516"/>
                <a:gd name="T5" fmla="*/ 382 h 385"/>
                <a:gd name="T6" fmla="*/ 324 w 516"/>
                <a:gd name="T7" fmla="*/ 384 h 385"/>
                <a:gd name="T8" fmla="*/ 291 w 516"/>
                <a:gd name="T9" fmla="*/ 385 h 385"/>
                <a:gd name="T10" fmla="*/ 256 w 516"/>
                <a:gd name="T11" fmla="*/ 360 h 385"/>
                <a:gd name="T12" fmla="*/ 219 w 516"/>
                <a:gd name="T13" fmla="*/ 345 h 385"/>
                <a:gd name="T14" fmla="*/ 186 w 516"/>
                <a:gd name="T15" fmla="*/ 352 h 385"/>
                <a:gd name="T16" fmla="*/ 148 w 516"/>
                <a:gd name="T17" fmla="*/ 327 h 385"/>
                <a:gd name="T18" fmla="*/ 133 w 516"/>
                <a:gd name="T19" fmla="*/ 312 h 385"/>
                <a:gd name="T20" fmla="*/ 99 w 516"/>
                <a:gd name="T21" fmla="*/ 277 h 385"/>
                <a:gd name="T22" fmla="*/ 85 w 516"/>
                <a:gd name="T23" fmla="*/ 246 h 385"/>
                <a:gd name="T24" fmla="*/ 54 w 516"/>
                <a:gd name="T25" fmla="*/ 222 h 385"/>
                <a:gd name="T26" fmla="*/ 34 w 516"/>
                <a:gd name="T27" fmla="*/ 192 h 385"/>
                <a:gd name="T28" fmla="*/ 1 w 516"/>
                <a:gd name="T29" fmla="*/ 175 h 385"/>
                <a:gd name="T30" fmla="*/ 22 w 516"/>
                <a:gd name="T31" fmla="*/ 130 h 385"/>
                <a:gd name="T32" fmla="*/ 39 w 516"/>
                <a:gd name="T33" fmla="*/ 93 h 385"/>
                <a:gd name="T34" fmla="*/ 102 w 516"/>
                <a:gd name="T35" fmla="*/ 112 h 385"/>
                <a:gd name="T36" fmla="*/ 163 w 516"/>
                <a:gd name="T37" fmla="*/ 120 h 385"/>
                <a:gd name="T38" fmla="*/ 204 w 516"/>
                <a:gd name="T39" fmla="*/ 124 h 385"/>
                <a:gd name="T40" fmla="*/ 223 w 516"/>
                <a:gd name="T41" fmla="*/ 111 h 385"/>
                <a:gd name="T42" fmla="*/ 256 w 516"/>
                <a:gd name="T43" fmla="*/ 84 h 385"/>
                <a:gd name="T44" fmla="*/ 315 w 516"/>
                <a:gd name="T45" fmla="*/ 112 h 385"/>
                <a:gd name="T46" fmla="*/ 363 w 516"/>
                <a:gd name="T47" fmla="*/ 60 h 385"/>
                <a:gd name="T48" fmla="*/ 352 w 516"/>
                <a:gd name="T49" fmla="*/ 13 h 385"/>
                <a:gd name="T50" fmla="*/ 396 w 516"/>
                <a:gd name="T51" fmla="*/ 46 h 385"/>
                <a:gd name="T52" fmla="*/ 429 w 516"/>
                <a:gd name="T53" fmla="*/ 84 h 385"/>
                <a:gd name="T54" fmla="*/ 432 w 516"/>
                <a:gd name="T55" fmla="*/ 124 h 385"/>
                <a:gd name="T56" fmla="*/ 402 w 516"/>
                <a:gd name="T57" fmla="*/ 171 h 385"/>
                <a:gd name="T58" fmla="*/ 412 w 516"/>
                <a:gd name="T59" fmla="*/ 202 h 385"/>
                <a:gd name="T60" fmla="*/ 450 w 516"/>
                <a:gd name="T61" fmla="*/ 243 h 385"/>
                <a:gd name="T62" fmla="*/ 474 w 516"/>
                <a:gd name="T63" fmla="*/ 289 h 385"/>
                <a:gd name="T64" fmla="*/ 489 w 516"/>
                <a:gd name="T65" fmla="*/ 309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6" h="385">
                  <a:moveTo>
                    <a:pt x="508" y="339"/>
                  </a:moveTo>
                  <a:lnTo>
                    <a:pt x="445" y="339"/>
                  </a:lnTo>
                  <a:cubicBezTo>
                    <a:pt x="437" y="347"/>
                    <a:pt x="429" y="352"/>
                    <a:pt x="420" y="358"/>
                  </a:cubicBezTo>
                  <a:cubicBezTo>
                    <a:pt x="416" y="369"/>
                    <a:pt x="405" y="374"/>
                    <a:pt x="394" y="376"/>
                  </a:cubicBezTo>
                  <a:cubicBezTo>
                    <a:pt x="387" y="371"/>
                    <a:pt x="384" y="372"/>
                    <a:pt x="375" y="373"/>
                  </a:cubicBezTo>
                  <a:cubicBezTo>
                    <a:pt x="370" y="381"/>
                    <a:pt x="356" y="380"/>
                    <a:pt x="346" y="382"/>
                  </a:cubicBezTo>
                  <a:cubicBezTo>
                    <a:pt x="341" y="379"/>
                    <a:pt x="337" y="377"/>
                    <a:pt x="334" y="372"/>
                  </a:cubicBezTo>
                  <a:cubicBezTo>
                    <a:pt x="326" y="373"/>
                    <a:pt x="325" y="376"/>
                    <a:pt x="324" y="384"/>
                  </a:cubicBezTo>
                  <a:cubicBezTo>
                    <a:pt x="319" y="381"/>
                    <a:pt x="316" y="379"/>
                    <a:pt x="310" y="378"/>
                  </a:cubicBezTo>
                  <a:cubicBezTo>
                    <a:pt x="300" y="379"/>
                    <a:pt x="298" y="380"/>
                    <a:pt x="291" y="385"/>
                  </a:cubicBezTo>
                  <a:cubicBezTo>
                    <a:pt x="286" y="384"/>
                    <a:pt x="282" y="382"/>
                    <a:pt x="277" y="381"/>
                  </a:cubicBezTo>
                  <a:cubicBezTo>
                    <a:pt x="276" y="375"/>
                    <a:pt x="262" y="361"/>
                    <a:pt x="256" y="360"/>
                  </a:cubicBezTo>
                  <a:cubicBezTo>
                    <a:pt x="248" y="354"/>
                    <a:pt x="247" y="344"/>
                    <a:pt x="241" y="336"/>
                  </a:cubicBezTo>
                  <a:cubicBezTo>
                    <a:pt x="231" y="337"/>
                    <a:pt x="227" y="341"/>
                    <a:pt x="219" y="345"/>
                  </a:cubicBezTo>
                  <a:cubicBezTo>
                    <a:pt x="216" y="351"/>
                    <a:pt x="214" y="346"/>
                    <a:pt x="208" y="345"/>
                  </a:cubicBezTo>
                  <a:cubicBezTo>
                    <a:pt x="197" y="339"/>
                    <a:pt x="193" y="347"/>
                    <a:pt x="186" y="352"/>
                  </a:cubicBezTo>
                  <a:cubicBezTo>
                    <a:pt x="178" y="351"/>
                    <a:pt x="171" y="352"/>
                    <a:pt x="165" y="346"/>
                  </a:cubicBezTo>
                  <a:cubicBezTo>
                    <a:pt x="158" y="339"/>
                    <a:pt x="160" y="329"/>
                    <a:pt x="148" y="327"/>
                  </a:cubicBezTo>
                  <a:cubicBezTo>
                    <a:pt x="147" y="325"/>
                    <a:pt x="147" y="323"/>
                    <a:pt x="145" y="322"/>
                  </a:cubicBezTo>
                  <a:cubicBezTo>
                    <a:pt x="143" y="320"/>
                    <a:pt x="138" y="318"/>
                    <a:pt x="133" y="312"/>
                  </a:cubicBezTo>
                  <a:cubicBezTo>
                    <a:pt x="130" y="296"/>
                    <a:pt x="132" y="288"/>
                    <a:pt x="115" y="285"/>
                  </a:cubicBezTo>
                  <a:cubicBezTo>
                    <a:pt x="111" y="278"/>
                    <a:pt x="107" y="279"/>
                    <a:pt x="99" y="277"/>
                  </a:cubicBezTo>
                  <a:cubicBezTo>
                    <a:pt x="100" y="270"/>
                    <a:pt x="100" y="268"/>
                    <a:pt x="93" y="265"/>
                  </a:cubicBezTo>
                  <a:cubicBezTo>
                    <a:pt x="89" y="257"/>
                    <a:pt x="98" y="248"/>
                    <a:pt x="85" y="246"/>
                  </a:cubicBezTo>
                  <a:cubicBezTo>
                    <a:pt x="76" y="239"/>
                    <a:pt x="76" y="227"/>
                    <a:pt x="64" y="225"/>
                  </a:cubicBezTo>
                  <a:cubicBezTo>
                    <a:pt x="61" y="223"/>
                    <a:pt x="57" y="224"/>
                    <a:pt x="54" y="222"/>
                  </a:cubicBezTo>
                  <a:cubicBezTo>
                    <a:pt x="51" y="220"/>
                    <a:pt x="51" y="216"/>
                    <a:pt x="48" y="214"/>
                  </a:cubicBezTo>
                  <a:cubicBezTo>
                    <a:pt x="50" y="201"/>
                    <a:pt x="47" y="195"/>
                    <a:pt x="34" y="192"/>
                  </a:cubicBezTo>
                  <a:cubicBezTo>
                    <a:pt x="22" y="186"/>
                    <a:pt x="28" y="184"/>
                    <a:pt x="10" y="181"/>
                  </a:cubicBezTo>
                  <a:cubicBezTo>
                    <a:pt x="7" y="178"/>
                    <a:pt x="1" y="179"/>
                    <a:pt x="1" y="175"/>
                  </a:cubicBezTo>
                  <a:cubicBezTo>
                    <a:pt x="0" y="162"/>
                    <a:pt x="2" y="154"/>
                    <a:pt x="13" y="151"/>
                  </a:cubicBezTo>
                  <a:cubicBezTo>
                    <a:pt x="16" y="143"/>
                    <a:pt x="18" y="137"/>
                    <a:pt x="22" y="130"/>
                  </a:cubicBezTo>
                  <a:cubicBezTo>
                    <a:pt x="23" y="122"/>
                    <a:pt x="23" y="115"/>
                    <a:pt x="27" y="108"/>
                  </a:cubicBezTo>
                  <a:cubicBezTo>
                    <a:pt x="29" y="99"/>
                    <a:pt x="32" y="98"/>
                    <a:pt x="39" y="93"/>
                  </a:cubicBezTo>
                  <a:cubicBezTo>
                    <a:pt x="48" y="78"/>
                    <a:pt x="53" y="85"/>
                    <a:pt x="75" y="87"/>
                  </a:cubicBezTo>
                  <a:cubicBezTo>
                    <a:pt x="85" y="90"/>
                    <a:pt x="93" y="107"/>
                    <a:pt x="102" y="112"/>
                  </a:cubicBezTo>
                  <a:cubicBezTo>
                    <a:pt x="104" y="128"/>
                    <a:pt x="116" y="119"/>
                    <a:pt x="129" y="117"/>
                  </a:cubicBezTo>
                  <a:cubicBezTo>
                    <a:pt x="140" y="117"/>
                    <a:pt x="154" y="114"/>
                    <a:pt x="163" y="120"/>
                  </a:cubicBezTo>
                  <a:cubicBezTo>
                    <a:pt x="168" y="123"/>
                    <a:pt x="167" y="126"/>
                    <a:pt x="174" y="127"/>
                  </a:cubicBezTo>
                  <a:cubicBezTo>
                    <a:pt x="184" y="127"/>
                    <a:pt x="196" y="131"/>
                    <a:pt x="204" y="124"/>
                  </a:cubicBezTo>
                  <a:cubicBezTo>
                    <a:pt x="206" y="123"/>
                    <a:pt x="204" y="120"/>
                    <a:pt x="205" y="118"/>
                  </a:cubicBezTo>
                  <a:cubicBezTo>
                    <a:pt x="207" y="110"/>
                    <a:pt x="216" y="112"/>
                    <a:pt x="223" y="111"/>
                  </a:cubicBezTo>
                  <a:cubicBezTo>
                    <a:pt x="237" y="108"/>
                    <a:pt x="225" y="98"/>
                    <a:pt x="240" y="96"/>
                  </a:cubicBezTo>
                  <a:cubicBezTo>
                    <a:pt x="244" y="93"/>
                    <a:pt x="256" y="84"/>
                    <a:pt x="256" y="84"/>
                  </a:cubicBezTo>
                  <a:lnTo>
                    <a:pt x="297" y="112"/>
                  </a:lnTo>
                  <a:lnTo>
                    <a:pt x="315" y="112"/>
                  </a:lnTo>
                  <a:lnTo>
                    <a:pt x="343" y="78"/>
                  </a:lnTo>
                  <a:lnTo>
                    <a:pt x="363" y="60"/>
                  </a:lnTo>
                  <a:lnTo>
                    <a:pt x="366" y="25"/>
                  </a:lnTo>
                  <a:lnTo>
                    <a:pt x="352" y="13"/>
                  </a:lnTo>
                  <a:cubicBezTo>
                    <a:pt x="379" y="12"/>
                    <a:pt x="379" y="19"/>
                    <a:pt x="382" y="0"/>
                  </a:cubicBezTo>
                  <a:cubicBezTo>
                    <a:pt x="402" y="3"/>
                    <a:pt x="388" y="30"/>
                    <a:pt x="396" y="46"/>
                  </a:cubicBezTo>
                  <a:cubicBezTo>
                    <a:pt x="397" y="62"/>
                    <a:pt x="398" y="74"/>
                    <a:pt x="415" y="76"/>
                  </a:cubicBezTo>
                  <a:cubicBezTo>
                    <a:pt x="420" y="79"/>
                    <a:pt x="424" y="82"/>
                    <a:pt x="429" y="84"/>
                  </a:cubicBezTo>
                  <a:cubicBezTo>
                    <a:pt x="430" y="91"/>
                    <a:pt x="430" y="97"/>
                    <a:pt x="427" y="103"/>
                  </a:cubicBezTo>
                  <a:cubicBezTo>
                    <a:pt x="425" y="112"/>
                    <a:pt x="427" y="117"/>
                    <a:pt x="432" y="124"/>
                  </a:cubicBezTo>
                  <a:cubicBezTo>
                    <a:pt x="433" y="148"/>
                    <a:pt x="444" y="162"/>
                    <a:pt x="424" y="166"/>
                  </a:cubicBezTo>
                  <a:cubicBezTo>
                    <a:pt x="418" y="177"/>
                    <a:pt x="413" y="172"/>
                    <a:pt x="402" y="171"/>
                  </a:cubicBezTo>
                  <a:cubicBezTo>
                    <a:pt x="388" y="173"/>
                    <a:pt x="390" y="179"/>
                    <a:pt x="388" y="192"/>
                  </a:cubicBezTo>
                  <a:cubicBezTo>
                    <a:pt x="392" y="211"/>
                    <a:pt x="386" y="201"/>
                    <a:pt x="412" y="202"/>
                  </a:cubicBezTo>
                  <a:cubicBezTo>
                    <a:pt x="420" y="207"/>
                    <a:pt x="424" y="220"/>
                    <a:pt x="432" y="225"/>
                  </a:cubicBezTo>
                  <a:cubicBezTo>
                    <a:pt x="437" y="232"/>
                    <a:pt x="442" y="238"/>
                    <a:pt x="450" y="243"/>
                  </a:cubicBezTo>
                  <a:cubicBezTo>
                    <a:pt x="455" y="250"/>
                    <a:pt x="464" y="252"/>
                    <a:pt x="469" y="259"/>
                  </a:cubicBezTo>
                  <a:cubicBezTo>
                    <a:pt x="472" y="286"/>
                    <a:pt x="468" y="277"/>
                    <a:pt x="474" y="289"/>
                  </a:cubicBezTo>
                  <a:cubicBezTo>
                    <a:pt x="475" y="296"/>
                    <a:pt x="477" y="297"/>
                    <a:pt x="483" y="300"/>
                  </a:cubicBezTo>
                  <a:cubicBezTo>
                    <a:pt x="485" y="303"/>
                    <a:pt x="485" y="308"/>
                    <a:pt x="489" y="309"/>
                  </a:cubicBezTo>
                  <a:cubicBezTo>
                    <a:pt x="516" y="313"/>
                    <a:pt x="503" y="286"/>
                    <a:pt x="508" y="339"/>
                  </a:cubicBez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84" name="Freeform 202"/>
            <p:cNvSpPr>
              <a:spLocks/>
            </p:cNvSpPr>
            <p:nvPr>
              <p:custDataLst>
                <p:tags r:id="rId58"/>
              </p:custDataLst>
            </p:nvPr>
          </p:nvSpPr>
          <p:spPr bwMode="gray">
            <a:xfrm>
              <a:off x="4697413" y="1947863"/>
              <a:ext cx="1150938" cy="1049338"/>
            </a:xfrm>
            <a:custGeom>
              <a:avLst/>
              <a:gdLst>
                <a:gd name="T0" fmla="*/ 96 w 725"/>
                <a:gd name="T1" fmla="*/ 348 h 661"/>
                <a:gd name="T2" fmla="*/ 138 w 725"/>
                <a:gd name="T3" fmla="*/ 149 h 661"/>
                <a:gd name="T4" fmla="*/ 465 w 725"/>
                <a:gd name="T5" fmla="*/ 59 h 661"/>
                <a:gd name="T6" fmla="*/ 509 w 725"/>
                <a:gd name="T7" fmla="*/ 72 h 661"/>
                <a:gd name="T8" fmla="*/ 537 w 725"/>
                <a:gd name="T9" fmla="*/ 56 h 661"/>
                <a:gd name="T10" fmla="*/ 566 w 725"/>
                <a:gd name="T11" fmla="*/ 29 h 661"/>
                <a:gd name="T12" fmla="*/ 596 w 725"/>
                <a:gd name="T13" fmla="*/ 3 h 661"/>
                <a:gd name="T14" fmla="*/ 620 w 725"/>
                <a:gd name="T15" fmla="*/ 24 h 661"/>
                <a:gd name="T16" fmla="*/ 633 w 725"/>
                <a:gd name="T17" fmla="*/ 36 h 661"/>
                <a:gd name="T18" fmla="*/ 659 w 725"/>
                <a:gd name="T19" fmla="*/ 78 h 661"/>
                <a:gd name="T20" fmla="*/ 669 w 725"/>
                <a:gd name="T21" fmla="*/ 147 h 661"/>
                <a:gd name="T22" fmla="*/ 694 w 725"/>
                <a:gd name="T23" fmla="*/ 215 h 661"/>
                <a:gd name="T24" fmla="*/ 725 w 725"/>
                <a:gd name="T25" fmla="*/ 242 h 661"/>
                <a:gd name="T26" fmla="*/ 678 w 725"/>
                <a:gd name="T27" fmla="*/ 276 h 661"/>
                <a:gd name="T28" fmla="*/ 653 w 725"/>
                <a:gd name="T29" fmla="*/ 321 h 661"/>
                <a:gd name="T30" fmla="*/ 633 w 725"/>
                <a:gd name="T31" fmla="*/ 378 h 661"/>
                <a:gd name="T32" fmla="*/ 605 w 725"/>
                <a:gd name="T33" fmla="*/ 483 h 661"/>
                <a:gd name="T34" fmla="*/ 584 w 725"/>
                <a:gd name="T35" fmla="*/ 518 h 661"/>
                <a:gd name="T36" fmla="*/ 569 w 725"/>
                <a:gd name="T37" fmla="*/ 552 h 661"/>
                <a:gd name="T38" fmla="*/ 543 w 725"/>
                <a:gd name="T39" fmla="*/ 582 h 661"/>
                <a:gd name="T40" fmla="*/ 527 w 725"/>
                <a:gd name="T41" fmla="*/ 608 h 661"/>
                <a:gd name="T42" fmla="*/ 501 w 725"/>
                <a:gd name="T43" fmla="*/ 561 h 661"/>
                <a:gd name="T44" fmla="*/ 483 w 725"/>
                <a:gd name="T45" fmla="*/ 501 h 661"/>
                <a:gd name="T46" fmla="*/ 452 w 725"/>
                <a:gd name="T47" fmla="*/ 515 h 661"/>
                <a:gd name="T48" fmla="*/ 467 w 725"/>
                <a:gd name="T49" fmla="*/ 560 h 661"/>
                <a:gd name="T50" fmla="*/ 416 w 725"/>
                <a:gd name="T51" fmla="*/ 612 h 661"/>
                <a:gd name="T52" fmla="*/ 359 w 725"/>
                <a:gd name="T53" fmla="*/ 585 h 661"/>
                <a:gd name="T54" fmla="*/ 329 w 725"/>
                <a:gd name="T55" fmla="*/ 609 h 661"/>
                <a:gd name="T56" fmla="*/ 293 w 725"/>
                <a:gd name="T57" fmla="*/ 627 h 661"/>
                <a:gd name="T58" fmla="*/ 203 w 725"/>
                <a:gd name="T59" fmla="*/ 620 h 661"/>
                <a:gd name="T60" fmla="*/ 134 w 725"/>
                <a:gd name="T61" fmla="*/ 597 h 661"/>
                <a:gd name="T62" fmla="*/ 104 w 725"/>
                <a:gd name="T63" fmla="*/ 659 h 661"/>
                <a:gd name="T64" fmla="*/ 80 w 725"/>
                <a:gd name="T65" fmla="*/ 626 h 661"/>
                <a:gd name="T66" fmla="*/ 57 w 725"/>
                <a:gd name="T67" fmla="*/ 578 h 661"/>
                <a:gd name="T68" fmla="*/ 47 w 725"/>
                <a:gd name="T69" fmla="*/ 540 h 661"/>
                <a:gd name="T70" fmla="*/ 30 w 725"/>
                <a:gd name="T71" fmla="*/ 522 h 661"/>
                <a:gd name="T72" fmla="*/ 5 w 725"/>
                <a:gd name="T73" fmla="*/ 483 h 661"/>
                <a:gd name="T74" fmla="*/ 17 w 725"/>
                <a:gd name="T75" fmla="*/ 444 h 661"/>
                <a:gd name="T76" fmla="*/ 30 w 725"/>
                <a:gd name="T77" fmla="*/ 420 h 661"/>
                <a:gd name="T78" fmla="*/ 44 w 725"/>
                <a:gd name="T79" fmla="*/ 37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5" h="661">
                  <a:moveTo>
                    <a:pt x="53" y="345"/>
                  </a:moveTo>
                  <a:lnTo>
                    <a:pt x="96" y="348"/>
                  </a:lnTo>
                  <a:lnTo>
                    <a:pt x="95" y="146"/>
                  </a:lnTo>
                  <a:lnTo>
                    <a:pt x="138" y="149"/>
                  </a:lnTo>
                  <a:lnTo>
                    <a:pt x="137" y="59"/>
                  </a:lnTo>
                  <a:lnTo>
                    <a:pt x="465" y="59"/>
                  </a:lnTo>
                  <a:lnTo>
                    <a:pt x="495" y="54"/>
                  </a:lnTo>
                  <a:lnTo>
                    <a:pt x="509" y="72"/>
                  </a:lnTo>
                  <a:lnTo>
                    <a:pt x="531" y="69"/>
                  </a:lnTo>
                  <a:cubicBezTo>
                    <a:pt x="530" y="61"/>
                    <a:pt x="531" y="60"/>
                    <a:pt x="537" y="56"/>
                  </a:cubicBezTo>
                  <a:cubicBezTo>
                    <a:pt x="542" y="42"/>
                    <a:pt x="540" y="42"/>
                    <a:pt x="558" y="41"/>
                  </a:cubicBezTo>
                  <a:cubicBezTo>
                    <a:pt x="565" y="38"/>
                    <a:pt x="563" y="35"/>
                    <a:pt x="566" y="29"/>
                  </a:cubicBezTo>
                  <a:cubicBezTo>
                    <a:pt x="568" y="20"/>
                    <a:pt x="572" y="18"/>
                    <a:pt x="581" y="17"/>
                  </a:cubicBezTo>
                  <a:cubicBezTo>
                    <a:pt x="586" y="15"/>
                    <a:pt x="587" y="0"/>
                    <a:pt x="596" y="3"/>
                  </a:cubicBezTo>
                  <a:cubicBezTo>
                    <a:pt x="600" y="4"/>
                    <a:pt x="600" y="20"/>
                    <a:pt x="604" y="23"/>
                  </a:cubicBezTo>
                  <a:cubicBezTo>
                    <a:pt x="608" y="26"/>
                    <a:pt x="616" y="25"/>
                    <a:pt x="620" y="24"/>
                  </a:cubicBezTo>
                  <a:cubicBezTo>
                    <a:pt x="624" y="23"/>
                    <a:pt x="627" y="13"/>
                    <a:pt x="629" y="15"/>
                  </a:cubicBezTo>
                  <a:cubicBezTo>
                    <a:pt x="631" y="17"/>
                    <a:pt x="629" y="28"/>
                    <a:pt x="633" y="36"/>
                  </a:cubicBezTo>
                  <a:cubicBezTo>
                    <a:pt x="645" y="44"/>
                    <a:pt x="649" y="55"/>
                    <a:pt x="653" y="62"/>
                  </a:cubicBezTo>
                  <a:cubicBezTo>
                    <a:pt x="657" y="67"/>
                    <a:pt x="656" y="72"/>
                    <a:pt x="659" y="78"/>
                  </a:cubicBezTo>
                  <a:cubicBezTo>
                    <a:pt x="661" y="86"/>
                    <a:pt x="664" y="94"/>
                    <a:pt x="666" y="105"/>
                  </a:cubicBezTo>
                  <a:cubicBezTo>
                    <a:pt x="668" y="116"/>
                    <a:pt x="668" y="132"/>
                    <a:pt x="669" y="147"/>
                  </a:cubicBezTo>
                  <a:cubicBezTo>
                    <a:pt x="672" y="160"/>
                    <a:pt x="669" y="184"/>
                    <a:pt x="673" y="194"/>
                  </a:cubicBezTo>
                  <a:cubicBezTo>
                    <a:pt x="677" y="205"/>
                    <a:pt x="688" y="209"/>
                    <a:pt x="694" y="215"/>
                  </a:cubicBezTo>
                  <a:cubicBezTo>
                    <a:pt x="700" y="223"/>
                    <a:pt x="699" y="226"/>
                    <a:pt x="710" y="228"/>
                  </a:cubicBezTo>
                  <a:cubicBezTo>
                    <a:pt x="717" y="233"/>
                    <a:pt x="720" y="234"/>
                    <a:pt x="725" y="242"/>
                  </a:cubicBezTo>
                  <a:cubicBezTo>
                    <a:pt x="719" y="254"/>
                    <a:pt x="710" y="267"/>
                    <a:pt x="696" y="270"/>
                  </a:cubicBezTo>
                  <a:cubicBezTo>
                    <a:pt x="690" y="273"/>
                    <a:pt x="684" y="275"/>
                    <a:pt x="678" y="276"/>
                  </a:cubicBezTo>
                  <a:cubicBezTo>
                    <a:pt x="677" y="288"/>
                    <a:pt x="666" y="281"/>
                    <a:pt x="657" y="287"/>
                  </a:cubicBezTo>
                  <a:cubicBezTo>
                    <a:pt x="650" y="296"/>
                    <a:pt x="662" y="314"/>
                    <a:pt x="653" y="321"/>
                  </a:cubicBezTo>
                  <a:cubicBezTo>
                    <a:pt x="647" y="335"/>
                    <a:pt x="648" y="347"/>
                    <a:pt x="639" y="360"/>
                  </a:cubicBezTo>
                  <a:cubicBezTo>
                    <a:pt x="638" y="366"/>
                    <a:pt x="636" y="372"/>
                    <a:pt x="633" y="378"/>
                  </a:cubicBezTo>
                  <a:cubicBezTo>
                    <a:pt x="639" y="394"/>
                    <a:pt x="644" y="441"/>
                    <a:pt x="629" y="452"/>
                  </a:cubicBezTo>
                  <a:cubicBezTo>
                    <a:pt x="618" y="473"/>
                    <a:pt x="635" y="479"/>
                    <a:pt x="605" y="483"/>
                  </a:cubicBezTo>
                  <a:cubicBezTo>
                    <a:pt x="599" y="493"/>
                    <a:pt x="598" y="504"/>
                    <a:pt x="588" y="509"/>
                  </a:cubicBezTo>
                  <a:cubicBezTo>
                    <a:pt x="586" y="512"/>
                    <a:pt x="586" y="515"/>
                    <a:pt x="584" y="518"/>
                  </a:cubicBezTo>
                  <a:cubicBezTo>
                    <a:pt x="582" y="521"/>
                    <a:pt x="575" y="525"/>
                    <a:pt x="575" y="525"/>
                  </a:cubicBezTo>
                  <a:cubicBezTo>
                    <a:pt x="574" y="535"/>
                    <a:pt x="575" y="544"/>
                    <a:pt x="569" y="552"/>
                  </a:cubicBezTo>
                  <a:cubicBezTo>
                    <a:pt x="567" y="569"/>
                    <a:pt x="568" y="569"/>
                    <a:pt x="552" y="570"/>
                  </a:cubicBezTo>
                  <a:cubicBezTo>
                    <a:pt x="551" y="577"/>
                    <a:pt x="549" y="578"/>
                    <a:pt x="543" y="582"/>
                  </a:cubicBezTo>
                  <a:cubicBezTo>
                    <a:pt x="541" y="594"/>
                    <a:pt x="542" y="605"/>
                    <a:pt x="537" y="617"/>
                  </a:cubicBezTo>
                  <a:cubicBezTo>
                    <a:pt x="534" y="621"/>
                    <a:pt x="531" y="615"/>
                    <a:pt x="527" y="608"/>
                  </a:cubicBezTo>
                  <a:cubicBezTo>
                    <a:pt x="535" y="595"/>
                    <a:pt x="526" y="581"/>
                    <a:pt x="513" y="578"/>
                  </a:cubicBezTo>
                  <a:cubicBezTo>
                    <a:pt x="507" y="574"/>
                    <a:pt x="504" y="568"/>
                    <a:pt x="501" y="561"/>
                  </a:cubicBezTo>
                  <a:cubicBezTo>
                    <a:pt x="500" y="549"/>
                    <a:pt x="502" y="545"/>
                    <a:pt x="495" y="536"/>
                  </a:cubicBezTo>
                  <a:cubicBezTo>
                    <a:pt x="495" y="533"/>
                    <a:pt x="506" y="488"/>
                    <a:pt x="483" y="501"/>
                  </a:cubicBezTo>
                  <a:cubicBezTo>
                    <a:pt x="479" y="503"/>
                    <a:pt x="484" y="514"/>
                    <a:pt x="476" y="515"/>
                  </a:cubicBezTo>
                  <a:cubicBezTo>
                    <a:pt x="468" y="516"/>
                    <a:pt x="460" y="515"/>
                    <a:pt x="452" y="515"/>
                  </a:cubicBezTo>
                  <a:lnTo>
                    <a:pt x="467" y="527"/>
                  </a:lnTo>
                  <a:lnTo>
                    <a:pt x="467" y="560"/>
                  </a:lnTo>
                  <a:lnTo>
                    <a:pt x="444" y="579"/>
                  </a:lnTo>
                  <a:lnTo>
                    <a:pt x="416" y="612"/>
                  </a:lnTo>
                  <a:lnTo>
                    <a:pt x="399" y="614"/>
                  </a:lnTo>
                  <a:lnTo>
                    <a:pt x="359" y="585"/>
                  </a:lnTo>
                  <a:cubicBezTo>
                    <a:pt x="352" y="589"/>
                    <a:pt x="344" y="590"/>
                    <a:pt x="339" y="596"/>
                  </a:cubicBezTo>
                  <a:cubicBezTo>
                    <a:pt x="324" y="613"/>
                    <a:pt x="352" y="606"/>
                    <a:pt x="329" y="609"/>
                  </a:cubicBezTo>
                  <a:cubicBezTo>
                    <a:pt x="323" y="613"/>
                    <a:pt x="316" y="614"/>
                    <a:pt x="309" y="615"/>
                  </a:cubicBezTo>
                  <a:cubicBezTo>
                    <a:pt x="307" y="625"/>
                    <a:pt x="303" y="626"/>
                    <a:pt x="293" y="627"/>
                  </a:cubicBezTo>
                  <a:cubicBezTo>
                    <a:pt x="285" y="630"/>
                    <a:pt x="281" y="630"/>
                    <a:pt x="272" y="629"/>
                  </a:cubicBezTo>
                  <a:cubicBezTo>
                    <a:pt x="262" y="605"/>
                    <a:pt x="222" y="620"/>
                    <a:pt x="203" y="620"/>
                  </a:cubicBezTo>
                  <a:cubicBezTo>
                    <a:pt x="198" y="608"/>
                    <a:pt x="185" y="591"/>
                    <a:pt x="174" y="584"/>
                  </a:cubicBezTo>
                  <a:cubicBezTo>
                    <a:pt x="125" y="586"/>
                    <a:pt x="154" y="582"/>
                    <a:pt x="134" y="597"/>
                  </a:cubicBezTo>
                  <a:cubicBezTo>
                    <a:pt x="128" y="608"/>
                    <a:pt x="128" y="619"/>
                    <a:pt x="123" y="630"/>
                  </a:cubicBezTo>
                  <a:cubicBezTo>
                    <a:pt x="122" y="640"/>
                    <a:pt x="112" y="653"/>
                    <a:pt x="104" y="659"/>
                  </a:cubicBezTo>
                  <a:cubicBezTo>
                    <a:pt x="76" y="658"/>
                    <a:pt x="75" y="661"/>
                    <a:pt x="71" y="639"/>
                  </a:cubicBezTo>
                  <a:cubicBezTo>
                    <a:pt x="72" y="631"/>
                    <a:pt x="76" y="632"/>
                    <a:pt x="80" y="626"/>
                  </a:cubicBezTo>
                  <a:cubicBezTo>
                    <a:pt x="82" y="615"/>
                    <a:pt x="80" y="607"/>
                    <a:pt x="75" y="596"/>
                  </a:cubicBezTo>
                  <a:cubicBezTo>
                    <a:pt x="73" y="588"/>
                    <a:pt x="64" y="582"/>
                    <a:pt x="57" y="578"/>
                  </a:cubicBezTo>
                  <a:cubicBezTo>
                    <a:pt x="53" y="572"/>
                    <a:pt x="51" y="566"/>
                    <a:pt x="48" y="560"/>
                  </a:cubicBezTo>
                  <a:cubicBezTo>
                    <a:pt x="48" y="553"/>
                    <a:pt x="49" y="546"/>
                    <a:pt x="47" y="540"/>
                  </a:cubicBezTo>
                  <a:cubicBezTo>
                    <a:pt x="47" y="538"/>
                    <a:pt x="43" y="540"/>
                    <a:pt x="42" y="539"/>
                  </a:cubicBezTo>
                  <a:cubicBezTo>
                    <a:pt x="37" y="536"/>
                    <a:pt x="32" y="527"/>
                    <a:pt x="30" y="522"/>
                  </a:cubicBezTo>
                  <a:cubicBezTo>
                    <a:pt x="29" y="508"/>
                    <a:pt x="26" y="496"/>
                    <a:pt x="24" y="482"/>
                  </a:cubicBezTo>
                  <a:cubicBezTo>
                    <a:pt x="17" y="483"/>
                    <a:pt x="11" y="486"/>
                    <a:pt x="5" y="483"/>
                  </a:cubicBezTo>
                  <a:cubicBezTo>
                    <a:pt x="0" y="473"/>
                    <a:pt x="0" y="463"/>
                    <a:pt x="11" y="459"/>
                  </a:cubicBezTo>
                  <a:cubicBezTo>
                    <a:pt x="15" y="454"/>
                    <a:pt x="15" y="450"/>
                    <a:pt x="17" y="444"/>
                  </a:cubicBezTo>
                  <a:cubicBezTo>
                    <a:pt x="14" y="440"/>
                    <a:pt x="11" y="436"/>
                    <a:pt x="9" y="431"/>
                  </a:cubicBezTo>
                  <a:cubicBezTo>
                    <a:pt x="21" y="428"/>
                    <a:pt x="21" y="427"/>
                    <a:pt x="30" y="420"/>
                  </a:cubicBezTo>
                  <a:cubicBezTo>
                    <a:pt x="17" y="403"/>
                    <a:pt x="33" y="393"/>
                    <a:pt x="47" y="390"/>
                  </a:cubicBezTo>
                  <a:cubicBezTo>
                    <a:pt x="43" y="385"/>
                    <a:pt x="39" y="383"/>
                    <a:pt x="44" y="377"/>
                  </a:cubicBezTo>
                  <a:cubicBezTo>
                    <a:pt x="47" y="361"/>
                    <a:pt x="54" y="365"/>
                    <a:pt x="53" y="345"/>
                  </a:cubicBez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85" name="Freeform 5"/>
            <p:cNvSpPr>
              <a:spLocks/>
            </p:cNvSpPr>
            <p:nvPr>
              <p:custDataLst>
                <p:tags r:id="rId59"/>
              </p:custDataLst>
            </p:nvPr>
          </p:nvSpPr>
          <p:spPr bwMode="gray">
            <a:xfrm>
              <a:off x="2279650" y="933451"/>
              <a:ext cx="839788" cy="669925"/>
            </a:xfrm>
            <a:custGeom>
              <a:avLst/>
              <a:gdLst>
                <a:gd name="T0" fmla="*/ 1933 w 678"/>
                <a:gd name="T1" fmla="*/ 191995 h 540"/>
                <a:gd name="T2" fmla="*/ 8697 w 678"/>
                <a:gd name="T3" fmla="*/ 185208 h 540"/>
                <a:gd name="T4" fmla="*/ 17395 w 678"/>
                <a:gd name="T5" fmla="*/ 185208 h 540"/>
                <a:gd name="T6" fmla="*/ 27058 w 678"/>
                <a:gd name="T7" fmla="*/ 181329 h 540"/>
                <a:gd name="T8" fmla="*/ 33822 w 678"/>
                <a:gd name="T9" fmla="*/ 174542 h 540"/>
                <a:gd name="T10" fmla="*/ 40586 w 678"/>
                <a:gd name="T11" fmla="*/ 168723 h 540"/>
                <a:gd name="T12" fmla="*/ 51216 w 678"/>
                <a:gd name="T13" fmla="*/ 164845 h 540"/>
                <a:gd name="T14" fmla="*/ 57015 w 678"/>
                <a:gd name="T15" fmla="*/ 158057 h 540"/>
                <a:gd name="T16" fmla="*/ 60880 w 678"/>
                <a:gd name="T17" fmla="*/ 149329 h 540"/>
                <a:gd name="T18" fmla="*/ 67644 w 678"/>
                <a:gd name="T19" fmla="*/ 138664 h 540"/>
                <a:gd name="T20" fmla="*/ 67644 w 678"/>
                <a:gd name="T21" fmla="*/ 127997 h 540"/>
                <a:gd name="T22" fmla="*/ 65711 w 678"/>
                <a:gd name="T23" fmla="*/ 121209 h 540"/>
                <a:gd name="T24" fmla="*/ 65711 w 678"/>
                <a:gd name="T25" fmla="*/ 108603 h 540"/>
                <a:gd name="T26" fmla="*/ 70543 w 678"/>
                <a:gd name="T27" fmla="*/ 100846 h 540"/>
                <a:gd name="T28" fmla="*/ 76341 w 678"/>
                <a:gd name="T29" fmla="*/ 94058 h 540"/>
                <a:gd name="T30" fmla="*/ 76341 w 678"/>
                <a:gd name="T31" fmla="*/ 81452 h 540"/>
                <a:gd name="T32" fmla="*/ 83106 w 678"/>
                <a:gd name="T33" fmla="*/ 74665 h 540"/>
                <a:gd name="T34" fmla="*/ 88904 w 678"/>
                <a:gd name="T35" fmla="*/ 65938 h 540"/>
                <a:gd name="T36" fmla="*/ 97601 w 678"/>
                <a:gd name="T37" fmla="*/ 62059 h 540"/>
                <a:gd name="T38" fmla="*/ 105332 w 678"/>
                <a:gd name="T39" fmla="*/ 57211 h 540"/>
                <a:gd name="T40" fmla="*/ 114996 w 678"/>
                <a:gd name="T41" fmla="*/ 53332 h 540"/>
                <a:gd name="T42" fmla="*/ 124659 w 678"/>
                <a:gd name="T43" fmla="*/ 46544 h 540"/>
                <a:gd name="T44" fmla="*/ 129491 w 678"/>
                <a:gd name="T45" fmla="*/ 37817 h 540"/>
                <a:gd name="T46" fmla="*/ 135289 w 678"/>
                <a:gd name="T47" fmla="*/ 26181 h 540"/>
                <a:gd name="T48" fmla="*/ 138188 w 678"/>
                <a:gd name="T49" fmla="*/ 14545 h 540"/>
                <a:gd name="T50" fmla="*/ 142054 w 678"/>
                <a:gd name="T51" fmla="*/ 6788 h 540"/>
                <a:gd name="T52" fmla="*/ 150751 w 678"/>
                <a:gd name="T53" fmla="*/ 1940 h 540"/>
                <a:gd name="T54" fmla="*/ 152684 w 678"/>
                <a:gd name="T55" fmla="*/ 1940 h 540"/>
                <a:gd name="T56" fmla="*/ 158482 w 678"/>
                <a:gd name="T57" fmla="*/ 10666 h 540"/>
                <a:gd name="T58" fmla="*/ 165246 w 678"/>
                <a:gd name="T59" fmla="*/ 17454 h 540"/>
                <a:gd name="T60" fmla="*/ 175875 w 678"/>
                <a:gd name="T61" fmla="*/ 19393 h 540"/>
                <a:gd name="T62" fmla="*/ 184573 w 678"/>
                <a:gd name="T63" fmla="*/ 19393 h 540"/>
                <a:gd name="T64" fmla="*/ 193270 w 678"/>
                <a:gd name="T65" fmla="*/ 19393 h 540"/>
                <a:gd name="T66" fmla="*/ 199068 w 678"/>
                <a:gd name="T67" fmla="*/ 12606 h 540"/>
                <a:gd name="T68" fmla="*/ 202933 w 678"/>
                <a:gd name="T69" fmla="*/ 21333 h 540"/>
                <a:gd name="T70" fmla="*/ 202933 w 678"/>
                <a:gd name="T71" fmla="*/ 19393 h 540"/>
                <a:gd name="T72" fmla="*/ 212597 w 678"/>
                <a:gd name="T73" fmla="*/ 19393 h 540"/>
                <a:gd name="T74" fmla="*/ 218395 w 678"/>
                <a:gd name="T75" fmla="*/ 26181 h 540"/>
                <a:gd name="T76" fmla="*/ 225160 w 678"/>
                <a:gd name="T77" fmla="*/ 33939 h 540"/>
                <a:gd name="T78" fmla="*/ 225160 w 678"/>
                <a:gd name="T79" fmla="*/ 46544 h 540"/>
                <a:gd name="T80" fmla="*/ 227092 w 678"/>
                <a:gd name="T81" fmla="*/ 57211 h 540"/>
                <a:gd name="T82" fmla="*/ 229025 w 678"/>
                <a:gd name="T83" fmla="*/ 70786 h 540"/>
                <a:gd name="T84" fmla="*/ 235790 w 678"/>
                <a:gd name="T85" fmla="*/ 78544 h 540"/>
                <a:gd name="T86" fmla="*/ 235790 w 678"/>
                <a:gd name="T87" fmla="*/ 85332 h 540"/>
                <a:gd name="T88" fmla="*/ 235790 w 678"/>
                <a:gd name="T89" fmla="*/ 90180 h 540"/>
                <a:gd name="T90" fmla="*/ 225160 w 678"/>
                <a:gd name="T91" fmla="*/ 91150 h 540"/>
                <a:gd name="T92" fmla="*/ 212597 w 678"/>
                <a:gd name="T93" fmla="*/ 90180 h 540"/>
                <a:gd name="T94" fmla="*/ 201967 w 678"/>
                <a:gd name="T95" fmla="*/ 94058 h 540"/>
                <a:gd name="T96" fmla="*/ 199068 w 678"/>
                <a:gd name="T97" fmla="*/ 100846 h 540"/>
                <a:gd name="T98" fmla="*/ 188438 w 678"/>
                <a:gd name="T99" fmla="*/ 101816 h 540"/>
                <a:gd name="T100" fmla="*/ 184573 w 678"/>
                <a:gd name="T101" fmla="*/ 110543 h 540"/>
                <a:gd name="T102" fmla="*/ 188438 w 678"/>
                <a:gd name="T103" fmla="*/ 119270 h 540"/>
                <a:gd name="T104" fmla="*/ 179741 w 678"/>
                <a:gd name="T105" fmla="*/ 121209 h 540"/>
                <a:gd name="T106" fmla="*/ 169111 w 678"/>
                <a:gd name="T107" fmla="*/ 124118 h 540"/>
                <a:gd name="T108" fmla="*/ 163313 w 678"/>
                <a:gd name="T109" fmla="*/ 129936 h 540"/>
                <a:gd name="T110" fmla="*/ 158482 w 678"/>
                <a:gd name="T111" fmla="*/ 138664 h 540"/>
                <a:gd name="T112" fmla="*/ 150751 w 678"/>
                <a:gd name="T113" fmla="*/ 142542 h 540"/>
                <a:gd name="T114" fmla="*/ 138188 w 678"/>
                <a:gd name="T115" fmla="*/ 147391 h 540"/>
                <a:gd name="T116" fmla="*/ 127558 w 678"/>
                <a:gd name="T117" fmla="*/ 149329 h 540"/>
                <a:gd name="T118" fmla="*/ 116929 w 678"/>
                <a:gd name="T119" fmla="*/ 151269 h 540"/>
                <a:gd name="T120" fmla="*/ 108231 w 678"/>
                <a:gd name="T121" fmla="*/ 155148 h 540"/>
                <a:gd name="T122" fmla="*/ 99534 w 678"/>
                <a:gd name="T123" fmla="*/ 161935 h 540"/>
                <a:gd name="T124" fmla="*/ 88904 w 678"/>
                <a:gd name="T125" fmla="*/ 168723 h 5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8" h="540">
                  <a:moveTo>
                    <a:pt x="252" y="540"/>
                  </a:moveTo>
                  <a:lnTo>
                    <a:pt x="168" y="540"/>
                  </a:lnTo>
                  <a:lnTo>
                    <a:pt x="96" y="540"/>
                  </a:lnTo>
                  <a:lnTo>
                    <a:pt x="78" y="540"/>
                  </a:lnTo>
                  <a:lnTo>
                    <a:pt x="0" y="540"/>
                  </a:lnTo>
                  <a:lnTo>
                    <a:pt x="6" y="540"/>
                  </a:lnTo>
                  <a:lnTo>
                    <a:pt x="6" y="534"/>
                  </a:lnTo>
                  <a:lnTo>
                    <a:pt x="12" y="534"/>
                  </a:lnTo>
                  <a:lnTo>
                    <a:pt x="12" y="528"/>
                  </a:lnTo>
                  <a:lnTo>
                    <a:pt x="18" y="528"/>
                  </a:lnTo>
                  <a:lnTo>
                    <a:pt x="18" y="522"/>
                  </a:lnTo>
                  <a:lnTo>
                    <a:pt x="24" y="522"/>
                  </a:lnTo>
                  <a:lnTo>
                    <a:pt x="30" y="522"/>
                  </a:lnTo>
                  <a:lnTo>
                    <a:pt x="36" y="522"/>
                  </a:lnTo>
                  <a:lnTo>
                    <a:pt x="42" y="522"/>
                  </a:lnTo>
                  <a:lnTo>
                    <a:pt x="48" y="522"/>
                  </a:lnTo>
                  <a:lnTo>
                    <a:pt x="54" y="522"/>
                  </a:lnTo>
                  <a:lnTo>
                    <a:pt x="48" y="522"/>
                  </a:lnTo>
                  <a:lnTo>
                    <a:pt x="54" y="522"/>
                  </a:lnTo>
                  <a:lnTo>
                    <a:pt x="54" y="516"/>
                  </a:lnTo>
                  <a:lnTo>
                    <a:pt x="60" y="516"/>
                  </a:lnTo>
                  <a:lnTo>
                    <a:pt x="66" y="516"/>
                  </a:lnTo>
                  <a:lnTo>
                    <a:pt x="72" y="510"/>
                  </a:lnTo>
                  <a:lnTo>
                    <a:pt x="78" y="510"/>
                  </a:lnTo>
                  <a:lnTo>
                    <a:pt x="84" y="510"/>
                  </a:lnTo>
                  <a:lnTo>
                    <a:pt x="84" y="504"/>
                  </a:lnTo>
                  <a:lnTo>
                    <a:pt x="90" y="504"/>
                  </a:lnTo>
                  <a:lnTo>
                    <a:pt x="96" y="504"/>
                  </a:lnTo>
                  <a:lnTo>
                    <a:pt x="96" y="498"/>
                  </a:lnTo>
                  <a:lnTo>
                    <a:pt x="96" y="492"/>
                  </a:lnTo>
                  <a:lnTo>
                    <a:pt x="102" y="492"/>
                  </a:lnTo>
                  <a:lnTo>
                    <a:pt x="102" y="486"/>
                  </a:lnTo>
                  <a:lnTo>
                    <a:pt x="108" y="486"/>
                  </a:lnTo>
                  <a:lnTo>
                    <a:pt x="108" y="480"/>
                  </a:lnTo>
                  <a:lnTo>
                    <a:pt x="114" y="480"/>
                  </a:lnTo>
                  <a:lnTo>
                    <a:pt x="114" y="474"/>
                  </a:lnTo>
                  <a:lnTo>
                    <a:pt x="120" y="474"/>
                  </a:lnTo>
                  <a:lnTo>
                    <a:pt x="126" y="474"/>
                  </a:lnTo>
                  <a:lnTo>
                    <a:pt x="126" y="468"/>
                  </a:lnTo>
                  <a:lnTo>
                    <a:pt x="132" y="468"/>
                  </a:lnTo>
                  <a:lnTo>
                    <a:pt x="138" y="462"/>
                  </a:lnTo>
                  <a:lnTo>
                    <a:pt x="144" y="462"/>
                  </a:lnTo>
                  <a:lnTo>
                    <a:pt x="144" y="456"/>
                  </a:lnTo>
                  <a:lnTo>
                    <a:pt x="150" y="456"/>
                  </a:lnTo>
                  <a:lnTo>
                    <a:pt x="150" y="450"/>
                  </a:lnTo>
                  <a:lnTo>
                    <a:pt x="156" y="450"/>
                  </a:lnTo>
                  <a:lnTo>
                    <a:pt x="156" y="444"/>
                  </a:lnTo>
                  <a:lnTo>
                    <a:pt x="162" y="444"/>
                  </a:lnTo>
                  <a:lnTo>
                    <a:pt x="162" y="438"/>
                  </a:lnTo>
                  <a:lnTo>
                    <a:pt x="168" y="438"/>
                  </a:lnTo>
                  <a:lnTo>
                    <a:pt x="168" y="432"/>
                  </a:lnTo>
                  <a:lnTo>
                    <a:pt x="168" y="426"/>
                  </a:lnTo>
                  <a:lnTo>
                    <a:pt x="174" y="426"/>
                  </a:lnTo>
                  <a:lnTo>
                    <a:pt x="174" y="420"/>
                  </a:lnTo>
                  <a:lnTo>
                    <a:pt x="174" y="414"/>
                  </a:lnTo>
                  <a:lnTo>
                    <a:pt x="180" y="414"/>
                  </a:lnTo>
                  <a:lnTo>
                    <a:pt x="186" y="408"/>
                  </a:lnTo>
                  <a:lnTo>
                    <a:pt x="186" y="402"/>
                  </a:lnTo>
                  <a:lnTo>
                    <a:pt x="192" y="396"/>
                  </a:lnTo>
                  <a:lnTo>
                    <a:pt x="192" y="390"/>
                  </a:lnTo>
                  <a:lnTo>
                    <a:pt x="198" y="384"/>
                  </a:lnTo>
                  <a:lnTo>
                    <a:pt x="198" y="378"/>
                  </a:lnTo>
                  <a:lnTo>
                    <a:pt x="198" y="372"/>
                  </a:lnTo>
                  <a:lnTo>
                    <a:pt x="198" y="366"/>
                  </a:lnTo>
                  <a:lnTo>
                    <a:pt x="192" y="366"/>
                  </a:lnTo>
                  <a:lnTo>
                    <a:pt x="192" y="360"/>
                  </a:lnTo>
                  <a:lnTo>
                    <a:pt x="186" y="360"/>
                  </a:lnTo>
                  <a:lnTo>
                    <a:pt x="186" y="354"/>
                  </a:lnTo>
                  <a:lnTo>
                    <a:pt x="180" y="354"/>
                  </a:lnTo>
                  <a:lnTo>
                    <a:pt x="180" y="348"/>
                  </a:lnTo>
                  <a:lnTo>
                    <a:pt x="186" y="348"/>
                  </a:lnTo>
                  <a:lnTo>
                    <a:pt x="186" y="342"/>
                  </a:lnTo>
                  <a:lnTo>
                    <a:pt x="186" y="336"/>
                  </a:lnTo>
                  <a:lnTo>
                    <a:pt x="186" y="330"/>
                  </a:lnTo>
                  <a:lnTo>
                    <a:pt x="186" y="324"/>
                  </a:lnTo>
                  <a:lnTo>
                    <a:pt x="186" y="318"/>
                  </a:lnTo>
                  <a:lnTo>
                    <a:pt x="186" y="312"/>
                  </a:lnTo>
                  <a:lnTo>
                    <a:pt x="186" y="306"/>
                  </a:lnTo>
                  <a:lnTo>
                    <a:pt x="186" y="300"/>
                  </a:lnTo>
                  <a:lnTo>
                    <a:pt x="186" y="294"/>
                  </a:lnTo>
                  <a:lnTo>
                    <a:pt x="192" y="294"/>
                  </a:lnTo>
                  <a:lnTo>
                    <a:pt x="192" y="288"/>
                  </a:lnTo>
                  <a:lnTo>
                    <a:pt x="192" y="282"/>
                  </a:lnTo>
                  <a:lnTo>
                    <a:pt x="198" y="282"/>
                  </a:lnTo>
                  <a:lnTo>
                    <a:pt x="198" y="276"/>
                  </a:lnTo>
                  <a:lnTo>
                    <a:pt x="204" y="276"/>
                  </a:lnTo>
                  <a:lnTo>
                    <a:pt x="204" y="270"/>
                  </a:lnTo>
                  <a:lnTo>
                    <a:pt x="210" y="270"/>
                  </a:lnTo>
                  <a:lnTo>
                    <a:pt x="210" y="264"/>
                  </a:lnTo>
                  <a:lnTo>
                    <a:pt x="216" y="264"/>
                  </a:lnTo>
                  <a:lnTo>
                    <a:pt x="216" y="258"/>
                  </a:lnTo>
                  <a:lnTo>
                    <a:pt x="216" y="252"/>
                  </a:lnTo>
                  <a:lnTo>
                    <a:pt x="216" y="246"/>
                  </a:lnTo>
                  <a:lnTo>
                    <a:pt x="216" y="240"/>
                  </a:lnTo>
                  <a:lnTo>
                    <a:pt x="216" y="234"/>
                  </a:lnTo>
                  <a:lnTo>
                    <a:pt x="216" y="228"/>
                  </a:lnTo>
                  <a:lnTo>
                    <a:pt x="222" y="228"/>
                  </a:lnTo>
                  <a:lnTo>
                    <a:pt x="222" y="222"/>
                  </a:lnTo>
                  <a:lnTo>
                    <a:pt x="228" y="222"/>
                  </a:lnTo>
                  <a:lnTo>
                    <a:pt x="228" y="216"/>
                  </a:lnTo>
                  <a:lnTo>
                    <a:pt x="234" y="216"/>
                  </a:lnTo>
                  <a:lnTo>
                    <a:pt x="234" y="210"/>
                  </a:lnTo>
                  <a:lnTo>
                    <a:pt x="240" y="210"/>
                  </a:lnTo>
                  <a:lnTo>
                    <a:pt x="240" y="204"/>
                  </a:lnTo>
                  <a:lnTo>
                    <a:pt x="246" y="204"/>
                  </a:lnTo>
                  <a:lnTo>
                    <a:pt x="246" y="198"/>
                  </a:lnTo>
                  <a:lnTo>
                    <a:pt x="252" y="192"/>
                  </a:lnTo>
                  <a:lnTo>
                    <a:pt x="252" y="186"/>
                  </a:lnTo>
                  <a:lnTo>
                    <a:pt x="258" y="186"/>
                  </a:lnTo>
                  <a:lnTo>
                    <a:pt x="258" y="180"/>
                  </a:lnTo>
                  <a:lnTo>
                    <a:pt x="264" y="180"/>
                  </a:lnTo>
                  <a:lnTo>
                    <a:pt x="270" y="180"/>
                  </a:lnTo>
                  <a:lnTo>
                    <a:pt x="270" y="174"/>
                  </a:lnTo>
                  <a:lnTo>
                    <a:pt x="276" y="174"/>
                  </a:lnTo>
                  <a:lnTo>
                    <a:pt x="282" y="174"/>
                  </a:lnTo>
                  <a:lnTo>
                    <a:pt x="282" y="168"/>
                  </a:lnTo>
                  <a:lnTo>
                    <a:pt x="288" y="168"/>
                  </a:lnTo>
                  <a:lnTo>
                    <a:pt x="294" y="168"/>
                  </a:lnTo>
                  <a:lnTo>
                    <a:pt x="294" y="162"/>
                  </a:lnTo>
                  <a:lnTo>
                    <a:pt x="300" y="162"/>
                  </a:lnTo>
                  <a:lnTo>
                    <a:pt x="306" y="162"/>
                  </a:lnTo>
                  <a:lnTo>
                    <a:pt x="306" y="156"/>
                  </a:lnTo>
                  <a:lnTo>
                    <a:pt x="312" y="156"/>
                  </a:lnTo>
                  <a:lnTo>
                    <a:pt x="318" y="156"/>
                  </a:lnTo>
                  <a:lnTo>
                    <a:pt x="318" y="150"/>
                  </a:lnTo>
                  <a:lnTo>
                    <a:pt x="324" y="150"/>
                  </a:lnTo>
                  <a:lnTo>
                    <a:pt x="330" y="150"/>
                  </a:lnTo>
                  <a:lnTo>
                    <a:pt x="330" y="144"/>
                  </a:lnTo>
                  <a:lnTo>
                    <a:pt x="336" y="144"/>
                  </a:lnTo>
                  <a:lnTo>
                    <a:pt x="342" y="138"/>
                  </a:lnTo>
                  <a:lnTo>
                    <a:pt x="348" y="132"/>
                  </a:lnTo>
                  <a:lnTo>
                    <a:pt x="354" y="132"/>
                  </a:lnTo>
                  <a:lnTo>
                    <a:pt x="354" y="126"/>
                  </a:lnTo>
                  <a:lnTo>
                    <a:pt x="360" y="120"/>
                  </a:lnTo>
                  <a:lnTo>
                    <a:pt x="360" y="114"/>
                  </a:lnTo>
                  <a:lnTo>
                    <a:pt x="366" y="114"/>
                  </a:lnTo>
                  <a:lnTo>
                    <a:pt x="360" y="114"/>
                  </a:lnTo>
                  <a:lnTo>
                    <a:pt x="366" y="108"/>
                  </a:lnTo>
                  <a:lnTo>
                    <a:pt x="366" y="102"/>
                  </a:lnTo>
                  <a:lnTo>
                    <a:pt x="372" y="96"/>
                  </a:lnTo>
                  <a:lnTo>
                    <a:pt x="378" y="90"/>
                  </a:lnTo>
                  <a:lnTo>
                    <a:pt x="378" y="84"/>
                  </a:lnTo>
                  <a:lnTo>
                    <a:pt x="378" y="78"/>
                  </a:lnTo>
                  <a:lnTo>
                    <a:pt x="384" y="72"/>
                  </a:lnTo>
                  <a:lnTo>
                    <a:pt x="384" y="66"/>
                  </a:lnTo>
                  <a:lnTo>
                    <a:pt x="384" y="60"/>
                  </a:lnTo>
                  <a:lnTo>
                    <a:pt x="390" y="60"/>
                  </a:lnTo>
                  <a:lnTo>
                    <a:pt x="390" y="54"/>
                  </a:lnTo>
                  <a:lnTo>
                    <a:pt x="390" y="48"/>
                  </a:lnTo>
                  <a:lnTo>
                    <a:pt x="390" y="42"/>
                  </a:lnTo>
                  <a:lnTo>
                    <a:pt x="396" y="42"/>
                  </a:lnTo>
                  <a:lnTo>
                    <a:pt x="396" y="36"/>
                  </a:lnTo>
                  <a:lnTo>
                    <a:pt x="396" y="30"/>
                  </a:lnTo>
                  <a:lnTo>
                    <a:pt x="396" y="24"/>
                  </a:lnTo>
                  <a:lnTo>
                    <a:pt x="402" y="24"/>
                  </a:lnTo>
                  <a:lnTo>
                    <a:pt x="402" y="18"/>
                  </a:lnTo>
                  <a:lnTo>
                    <a:pt x="402" y="12"/>
                  </a:lnTo>
                  <a:lnTo>
                    <a:pt x="408" y="12"/>
                  </a:lnTo>
                  <a:lnTo>
                    <a:pt x="414" y="12"/>
                  </a:lnTo>
                  <a:lnTo>
                    <a:pt x="414" y="6"/>
                  </a:lnTo>
                  <a:lnTo>
                    <a:pt x="420" y="6"/>
                  </a:lnTo>
                  <a:lnTo>
                    <a:pt x="426" y="6"/>
                  </a:lnTo>
                  <a:lnTo>
                    <a:pt x="426" y="0"/>
                  </a:lnTo>
                  <a:lnTo>
                    <a:pt x="432" y="0"/>
                  </a:lnTo>
                  <a:lnTo>
                    <a:pt x="438" y="6"/>
                  </a:lnTo>
                  <a:lnTo>
                    <a:pt x="438" y="0"/>
                  </a:lnTo>
                  <a:lnTo>
                    <a:pt x="438" y="6"/>
                  </a:lnTo>
                  <a:lnTo>
                    <a:pt x="432" y="6"/>
                  </a:lnTo>
                  <a:lnTo>
                    <a:pt x="432" y="12"/>
                  </a:lnTo>
                  <a:lnTo>
                    <a:pt x="438" y="12"/>
                  </a:lnTo>
                  <a:lnTo>
                    <a:pt x="438" y="18"/>
                  </a:lnTo>
                  <a:lnTo>
                    <a:pt x="438" y="24"/>
                  </a:lnTo>
                  <a:lnTo>
                    <a:pt x="444" y="30"/>
                  </a:lnTo>
                  <a:lnTo>
                    <a:pt x="450" y="30"/>
                  </a:lnTo>
                  <a:lnTo>
                    <a:pt x="450" y="36"/>
                  </a:lnTo>
                  <a:lnTo>
                    <a:pt x="456" y="36"/>
                  </a:lnTo>
                  <a:lnTo>
                    <a:pt x="456" y="42"/>
                  </a:lnTo>
                  <a:lnTo>
                    <a:pt x="462" y="42"/>
                  </a:lnTo>
                  <a:lnTo>
                    <a:pt x="462" y="48"/>
                  </a:lnTo>
                  <a:lnTo>
                    <a:pt x="468" y="48"/>
                  </a:lnTo>
                  <a:lnTo>
                    <a:pt x="474" y="48"/>
                  </a:lnTo>
                  <a:lnTo>
                    <a:pt x="474" y="54"/>
                  </a:lnTo>
                  <a:lnTo>
                    <a:pt x="480" y="54"/>
                  </a:lnTo>
                  <a:lnTo>
                    <a:pt x="486" y="54"/>
                  </a:lnTo>
                  <a:lnTo>
                    <a:pt x="492" y="54"/>
                  </a:lnTo>
                  <a:lnTo>
                    <a:pt x="498" y="54"/>
                  </a:lnTo>
                  <a:lnTo>
                    <a:pt x="504" y="54"/>
                  </a:lnTo>
                  <a:lnTo>
                    <a:pt x="504" y="48"/>
                  </a:lnTo>
                  <a:lnTo>
                    <a:pt x="510" y="48"/>
                  </a:lnTo>
                  <a:lnTo>
                    <a:pt x="516" y="48"/>
                  </a:lnTo>
                  <a:lnTo>
                    <a:pt x="516" y="54"/>
                  </a:lnTo>
                  <a:lnTo>
                    <a:pt x="522" y="54"/>
                  </a:lnTo>
                  <a:lnTo>
                    <a:pt x="522" y="48"/>
                  </a:lnTo>
                  <a:lnTo>
                    <a:pt x="528" y="48"/>
                  </a:lnTo>
                  <a:lnTo>
                    <a:pt x="534" y="48"/>
                  </a:lnTo>
                  <a:lnTo>
                    <a:pt x="540" y="48"/>
                  </a:lnTo>
                  <a:lnTo>
                    <a:pt x="540" y="54"/>
                  </a:lnTo>
                  <a:lnTo>
                    <a:pt x="546" y="54"/>
                  </a:lnTo>
                  <a:lnTo>
                    <a:pt x="546" y="48"/>
                  </a:lnTo>
                  <a:lnTo>
                    <a:pt x="552" y="48"/>
                  </a:lnTo>
                  <a:lnTo>
                    <a:pt x="558" y="48"/>
                  </a:lnTo>
                  <a:lnTo>
                    <a:pt x="564" y="48"/>
                  </a:lnTo>
                  <a:lnTo>
                    <a:pt x="564" y="42"/>
                  </a:lnTo>
                  <a:lnTo>
                    <a:pt x="564" y="36"/>
                  </a:lnTo>
                  <a:lnTo>
                    <a:pt x="570" y="36"/>
                  </a:lnTo>
                  <a:lnTo>
                    <a:pt x="570" y="42"/>
                  </a:lnTo>
                  <a:lnTo>
                    <a:pt x="570" y="48"/>
                  </a:lnTo>
                  <a:lnTo>
                    <a:pt x="570" y="54"/>
                  </a:lnTo>
                  <a:lnTo>
                    <a:pt x="576" y="54"/>
                  </a:lnTo>
                  <a:lnTo>
                    <a:pt x="576" y="60"/>
                  </a:lnTo>
                  <a:lnTo>
                    <a:pt x="582" y="60"/>
                  </a:lnTo>
                  <a:lnTo>
                    <a:pt x="582" y="54"/>
                  </a:lnTo>
                  <a:lnTo>
                    <a:pt x="576" y="54"/>
                  </a:lnTo>
                  <a:lnTo>
                    <a:pt x="570" y="48"/>
                  </a:lnTo>
                  <a:lnTo>
                    <a:pt x="576" y="48"/>
                  </a:lnTo>
                  <a:lnTo>
                    <a:pt x="576" y="54"/>
                  </a:lnTo>
                  <a:lnTo>
                    <a:pt x="582" y="54"/>
                  </a:lnTo>
                  <a:lnTo>
                    <a:pt x="582" y="60"/>
                  </a:lnTo>
                  <a:lnTo>
                    <a:pt x="588" y="60"/>
                  </a:lnTo>
                  <a:lnTo>
                    <a:pt x="594" y="60"/>
                  </a:lnTo>
                  <a:lnTo>
                    <a:pt x="594" y="54"/>
                  </a:lnTo>
                  <a:lnTo>
                    <a:pt x="600" y="54"/>
                  </a:lnTo>
                  <a:lnTo>
                    <a:pt x="606" y="54"/>
                  </a:lnTo>
                  <a:lnTo>
                    <a:pt x="606" y="60"/>
                  </a:lnTo>
                  <a:lnTo>
                    <a:pt x="612" y="60"/>
                  </a:lnTo>
                  <a:lnTo>
                    <a:pt x="612" y="66"/>
                  </a:lnTo>
                  <a:lnTo>
                    <a:pt x="618" y="66"/>
                  </a:lnTo>
                  <a:lnTo>
                    <a:pt x="618" y="72"/>
                  </a:lnTo>
                  <a:lnTo>
                    <a:pt x="624" y="72"/>
                  </a:lnTo>
                  <a:lnTo>
                    <a:pt x="624" y="78"/>
                  </a:lnTo>
                  <a:lnTo>
                    <a:pt x="630" y="78"/>
                  </a:lnTo>
                  <a:lnTo>
                    <a:pt x="636" y="84"/>
                  </a:lnTo>
                  <a:lnTo>
                    <a:pt x="630" y="90"/>
                  </a:lnTo>
                  <a:lnTo>
                    <a:pt x="636" y="96"/>
                  </a:lnTo>
                  <a:lnTo>
                    <a:pt x="636" y="102"/>
                  </a:lnTo>
                  <a:lnTo>
                    <a:pt x="636" y="108"/>
                  </a:lnTo>
                  <a:lnTo>
                    <a:pt x="636" y="120"/>
                  </a:lnTo>
                  <a:lnTo>
                    <a:pt x="642" y="126"/>
                  </a:lnTo>
                  <a:lnTo>
                    <a:pt x="642" y="132"/>
                  </a:lnTo>
                  <a:lnTo>
                    <a:pt x="636" y="132"/>
                  </a:lnTo>
                  <a:lnTo>
                    <a:pt x="636" y="144"/>
                  </a:lnTo>
                  <a:lnTo>
                    <a:pt x="642" y="150"/>
                  </a:lnTo>
                  <a:lnTo>
                    <a:pt x="636" y="150"/>
                  </a:lnTo>
                  <a:lnTo>
                    <a:pt x="636" y="156"/>
                  </a:lnTo>
                  <a:lnTo>
                    <a:pt x="642" y="156"/>
                  </a:lnTo>
                  <a:lnTo>
                    <a:pt x="642" y="162"/>
                  </a:lnTo>
                  <a:lnTo>
                    <a:pt x="642" y="168"/>
                  </a:lnTo>
                  <a:lnTo>
                    <a:pt x="642" y="174"/>
                  </a:lnTo>
                  <a:lnTo>
                    <a:pt x="642" y="180"/>
                  </a:lnTo>
                  <a:lnTo>
                    <a:pt x="642" y="186"/>
                  </a:lnTo>
                  <a:lnTo>
                    <a:pt x="648" y="192"/>
                  </a:lnTo>
                  <a:lnTo>
                    <a:pt x="648" y="198"/>
                  </a:lnTo>
                  <a:lnTo>
                    <a:pt x="648" y="204"/>
                  </a:lnTo>
                  <a:lnTo>
                    <a:pt x="654" y="210"/>
                  </a:lnTo>
                  <a:lnTo>
                    <a:pt x="654" y="216"/>
                  </a:lnTo>
                  <a:lnTo>
                    <a:pt x="660" y="216"/>
                  </a:lnTo>
                  <a:lnTo>
                    <a:pt x="660" y="222"/>
                  </a:lnTo>
                  <a:lnTo>
                    <a:pt x="666" y="222"/>
                  </a:lnTo>
                  <a:lnTo>
                    <a:pt x="672" y="228"/>
                  </a:lnTo>
                  <a:lnTo>
                    <a:pt x="678" y="228"/>
                  </a:lnTo>
                  <a:lnTo>
                    <a:pt x="678" y="234"/>
                  </a:lnTo>
                  <a:lnTo>
                    <a:pt x="672" y="234"/>
                  </a:lnTo>
                  <a:lnTo>
                    <a:pt x="672" y="240"/>
                  </a:lnTo>
                  <a:lnTo>
                    <a:pt x="666" y="240"/>
                  </a:lnTo>
                  <a:lnTo>
                    <a:pt x="666" y="246"/>
                  </a:lnTo>
                  <a:lnTo>
                    <a:pt x="660" y="246"/>
                  </a:lnTo>
                  <a:lnTo>
                    <a:pt x="666" y="246"/>
                  </a:lnTo>
                  <a:lnTo>
                    <a:pt x="660" y="246"/>
                  </a:lnTo>
                  <a:lnTo>
                    <a:pt x="660" y="252"/>
                  </a:lnTo>
                  <a:lnTo>
                    <a:pt x="666" y="252"/>
                  </a:lnTo>
                  <a:lnTo>
                    <a:pt x="666" y="258"/>
                  </a:lnTo>
                  <a:lnTo>
                    <a:pt x="660" y="258"/>
                  </a:lnTo>
                  <a:lnTo>
                    <a:pt x="654" y="258"/>
                  </a:lnTo>
                  <a:lnTo>
                    <a:pt x="648" y="258"/>
                  </a:lnTo>
                  <a:lnTo>
                    <a:pt x="642" y="258"/>
                  </a:lnTo>
                  <a:lnTo>
                    <a:pt x="636" y="258"/>
                  </a:lnTo>
                  <a:lnTo>
                    <a:pt x="630" y="258"/>
                  </a:lnTo>
                  <a:lnTo>
                    <a:pt x="624" y="258"/>
                  </a:lnTo>
                  <a:lnTo>
                    <a:pt x="618" y="258"/>
                  </a:lnTo>
                  <a:lnTo>
                    <a:pt x="612" y="252"/>
                  </a:lnTo>
                  <a:lnTo>
                    <a:pt x="606" y="252"/>
                  </a:lnTo>
                  <a:lnTo>
                    <a:pt x="600" y="252"/>
                  </a:lnTo>
                  <a:lnTo>
                    <a:pt x="594" y="252"/>
                  </a:lnTo>
                  <a:lnTo>
                    <a:pt x="588" y="258"/>
                  </a:lnTo>
                  <a:lnTo>
                    <a:pt x="582" y="258"/>
                  </a:lnTo>
                  <a:lnTo>
                    <a:pt x="576" y="258"/>
                  </a:lnTo>
                  <a:lnTo>
                    <a:pt x="570" y="258"/>
                  </a:lnTo>
                  <a:lnTo>
                    <a:pt x="570" y="264"/>
                  </a:lnTo>
                  <a:lnTo>
                    <a:pt x="570" y="270"/>
                  </a:lnTo>
                  <a:lnTo>
                    <a:pt x="576" y="270"/>
                  </a:lnTo>
                  <a:lnTo>
                    <a:pt x="576" y="276"/>
                  </a:lnTo>
                  <a:lnTo>
                    <a:pt x="576" y="282"/>
                  </a:lnTo>
                  <a:lnTo>
                    <a:pt x="570" y="282"/>
                  </a:lnTo>
                  <a:lnTo>
                    <a:pt x="564" y="282"/>
                  </a:lnTo>
                  <a:lnTo>
                    <a:pt x="558" y="282"/>
                  </a:lnTo>
                  <a:lnTo>
                    <a:pt x="552" y="282"/>
                  </a:lnTo>
                  <a:lnTo>
                    <a:pt x="552" y="288"/>
                  </a:lnTo>
                  <a:lnTo>
                    <a:pt x="546" y="288"/>
                  </a:lnTo>
                  <a:lnTo>
                    <a:pt x="540" y="288"/>
                  </a:lnTo>
                  <a:lnTo>
                    <a:pt x="534" y="288"/>
                  </a:lnTo>
                  <a:lnTo>
                    <a:pt x="528" y="288"/>
                  </a:lnTo>
                  <a:lnTo>
                    <a:pt x="528" y="294"/>
                  </a:lnTo>
                  <a:lnTo>
                    <a:pt x="528" y="300"/>
                  </a:lnTo>
                  <a:lnTo>
                    <a:pt x="528" y="306"/>
                  </a:lnTo>
                  <a:lnTo>
                    <a:pt x="522" y="306"/>
                  </a:lnTo>
                  <a:lnTo>
                    <a:pt x="522" y="312"/>
                  </a:lnTo>
                  <a:lnTo>
                    <a:pt x="522" y="318"/>
                  </a:lnTo>
                  <a:lnTo>
                    <a:pt x="522" y="324"/>
                  </a:lnTo>
                  <a:lnTo>
                    <a:pt x="528" y="324"/>
                  </a:lnTo>
                  <a:lnTo>
                    <a:pt x="534" y="324"/>
                  </a:lnTo>
                  <a:lnTo>
                    <a:pt x="534" y="330"/>
                  </a:lnTo>
                  <a:lnTo>
                    <a:pt x="534" y="336"/>
                  </a:lnTo>
                  <a:lnTo>
                    <a:pt x="528" y="336"/>
                  </a:lnTo>
                  <a:lnTo>
                    <a:pt x="522" y="336"/>
                  </a:lnTo>
                  <a:lnTo>
                    <a:pt x="522" y="342"/>
                  </a:lnTo>
                  <a:lnTo>
                    <a:pt x="522" y="336"/>
                  </a:lnTo>
                  <a:lnTo>
                    <a:pt x="516" y="336"/>
                  </a:lnTo>
                  <a:lnTo>
                    <a:pt x="510" y="342"/>
                  </a:lnTo>
                  <a:lnTo>
                    <a:pt x="504" y="342"/>
                  </a:lnTo>
                  <a:lnTo>
                    <a:pt x="504" y="348"/>
                  </a:lnTo>
                  <a:lnTo>
                    <a:pt x="498" y="348"/>
                  </a:lnTo>
                  <a:lnTo>
                    <a:pt x="492" y="348"/>
                  </a:lnTo>
                  <a:lnTo>
                    <a:pt x="486" y="348"/>
                  </a:lnTo>
                  <a:lnTo>
                    <a:pt x="480" y="348"/>
                  </a:lnTo>
                  <a:lnTo>
                    <a:pt x="474" y="348"/>
                  </a:lnTo>
                  <a:lnTo>
                    <a:pt x="474" y="354"/>
                  </a:lnTo>
                  <a:lnTo>
                    <a:pt x="468" y="354"/>
                  </a:lnTo>
                  <a:lnTo>
                    <a:pt x="462" y="354"/>
                  </a:lnTo>
                  <a:lnTo>
                    <a:pt x="462" y="360"/>
                  </a:lnTo>
                  <a:lnTo>
                    <a:pt x="462" y="366"/>
                  </a:lnTo>
                  <a:lnTo>
                    <a:pt x="456" y="366"/>
                  </a:lnTo>
                  <a:lnTo>
                    <a:pt x="456" y="372"/>
                  </a:lnTo>
                  <a:lnTo>
                    <a:pt x="456" y="378"/>
                  </a:lnTo>
                  <a:lnTo>
                    <a:pt x="456" y="384"/>
                  </a:lnTo>
                  <a:lnTo>
                    <a:pt x="450" y="384"/>
                  </a:lnTo>
                  <a:lnTo>
                    <a:pt x="450" y="390"/>
                  </a:lnTo>
                  <a:lnTo>
                    <a:pt x="450" y="396"/>
                  </a:lnTo>
                  <a:lnTo>
                    <a:pt x="444" y="396"/>
                  </a:lnTo>
                  <a:lnTo>
                    <a:pt x="438" y="396"/>
                  </a:lnTo>
                  <a:lnTo>
                    <a:pt x="438" y="402"/>
                  </a:lnTo>
                  <a:lnTo>
                    <a:pt x="432" y="402"/>
                  </a:lnTo>
                  <a:lnTo>
                    <a:pt x="426" y="402"/>
                  </a:lnTo>
                  <a:lnTo>
                    <a:pt x="420" y="408"/>
                  </a:lnTo>
                  <a:lnTo>
                    <a:pt x="414" y="408"/>
                  </a:lnTo>
                  <a:lnTo>
                    <a:pt x="408" y="408"/>
                  </a:lnTo>
                  <a:lnTo>
                    <a:pt x="402" y="408"/>
                  </a:lnTo>
                  <a:lnTo>
                    <a:pt x="396" y="414"/>
                  </a:lnTo>
                  <a:lnTo>
                    <a:pt x="390" y="414"/>
                  </a:lnTo>
                  <a:lnTo>
                    <a:pt x="384" y="414"/>
                  </a:lnTo>
                  <a:lnTo>
                    <a:pt x="378" y="414"/>
                  </a:lnTo>
                  <a:lnTo>
                    <a:pt x="372" y="414"/>
                  </a:lnTo>
                  <a:lnTo>
                    <a:pt x="372" y="420"/>
                  </a:lnTo>
                  <a:lnTo>
                    <a:pt x="366" y="420"/>
                  </a:lnTo>
                  <a:lnTo>
                    <a:pt x="360" y="420"/>
                  </a:lnTo>
                  <a:lnTo>
                    <a:pt x="354" y="420"/>
                  </a:lnTo>
                  <a:lnTo>
                    <a:pt x="348" y="420"/>
                  </a:lnTo>
                  <a:lnTo>
                    <a:pt x="342" y="420"/>
                  </a:lnTo>
                  <a:lnTo>
                    <a:pt x="336" y="420"/>
                  </a:lnTo>
                  <a:lnTo>
                    <a:pt x="330" y="420"/>
                  </a:lnTo>
                  <a:lnTo>
                    <a:pt x="330" y="426"/>
                  </a:lnTo>
                  <a:lnTo>
                    <a:pt x="324" y="426"/>
                  </a:lnTo>
                  <a:lnTo>
                    <a:pt x="324" y="432"/>
                  </a:lnTo>
                  <a:lnTo>
                    <a:pt x="318" y="432"/>
                  </a:lnTo>
                  <a:lnTo>
                    <a:pt x="318" y="438"/>
                  </a:lnTo>
                  <a:lnTo>
                    <a:pt x="312" y="432"/>
                  </a:lnTo>
                  <a:lnTo>
                    <a:pt x="306" y="438"/>
                  </a:lnTo>
                  <a:lnTo>
                    <a:pt x="300" y="438"/>
                  </a:lnTo>
                  <a:lnTo>
                    <a:pt x="300" y="444"/>
                  </a:lnTo>
                  <a:lnTo>
                    <a:pt x="294" y="444"/>
                  </a:lnTo>
                  <a:lnTo>
                    <a:pt x="294" y="450"/>
                  </a:lnTo>
                  <a:lnTo>
                    <a:pt x="288" y="450"/>
                  </a:lnTo>
                  <a:lnTo>
                    <a:pt x="282" y="456"/>
                  </a:lnTo>
                  <a:lnTo>
                    <a:pt x="276" y="456"/>
                  </a:lnTo>
                  <a:lnTo>
                    <a:pt x="270" y="462"/>
                  </a:lnTo>
                  <a:lnTo>
                    <a:pt x="264" y="468"/>
                  </a:lnTo>
                  <a:lnTo>
                    <a:pt x="258" y="468"/>
                  </a:lnTo>
                  <a:lnTo>
                    <a:pt x="258" y="474"/>
                  </a:lnTo>
                  <a:lnTo>
                    <a:pt x="252" y="474"/>
                  </a:lnTo>
                  <a:lnTo>
                    <a:pt x="252" y="480"/>
                  </a:lnTo>
                  <a:lnTo>
                    <a:pt x="252" y="486"/>
                  </a:lnTo>
                  <a:lnTo>
                    <a:pt x="252" y="498"/>
                  </a:lnTo>
                  <a:lnTo>
                    <a:pt x="252" y="504"/>
                  </a:lnTo>
                  <a:lnTo>
                    <a:pt x="252" y="54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87" name="Freeform 6"/>
            <p:cNvSpPr>
              <a:spLocks/>
            </p:cNvSpPr>
            <p:nvPr>
              <p:custDataLst>
                <p:tags r:id="rId60"/>
              </p:custDataLst>
            </p:nvPr>
          </p:nvSpPr>
          <p:spPr bwMode="gray">
            <a:xfrm>
              <a:off x="2003425" y="1603376"/>
              <a:ext cx="587375" cy="530225"/>
            </a:xfrm>
            <a:custGeom>
              <a:avLst/>
              <a:gdLst>
                <a:gd name="T0" fmla="*/ 1936 w 474"/>
                <a:gd name="T1" fmla="*/ 151395 h 426"/>
                <a:gd name="T2" fmla="*/ 1936 w 474"/>
                <a:gd name="T3" fmla="*/ 147488 h 426"/>
                <a:gd name="T4" fmla="*/ 1936 w 474"/>
                <a:gd name="T5" fmla="*/ 138698 h 426"/>
                <a:gd name="T6" fmla="*/ 3872 w 474"/>
                <a:gd name="T7" fmla="*/ 132837 h 426"/>
                <a:gd name="T8" fmla="*/ 6776 w 474"/>
                <a:gd name="T9" fmla="*/ 126000 h 426"/>
                <a:gd name="T10" fmla="*/ 10648 w 474"/>
                <a:gd name="T11" fmla="*/ 121117 h 426"/>
                <a:gd name="T12" fmla="*/ 14521 w 474"/>
                <a:gd name="T13" fmla="*/ 117209 h 426"/>
                <a:gd name="T14" fmla="*/ 17424 w 474"/>
                <a:gd name="T15" fmla="*/ 110372 h 426"/>
                <a:gd name="T16" fmla="*/ 19360 w 474"/>
                <a:gd name="T17" fmla="*/ 103535 h 426"/>
                <a:gd name="T18" fmla="*/ 21296 w 474"/>
                <a:gd name="T19" fmla="*/ 97675 h 426"/>
                <a:gd name="T20" fmla="*/ 26137 w 474"/>
                <a:gd name="T21" fmla="*/ 92791 h 426"/>
                <a:gd name="T22" fmla="*/ 26137 w 474"/>
                <a:gd name="T23" fmla="*/ 88884 h 426"/>
                <a:gd name="T24" fmla="*/ 27104 w 474"/>
                <a:gd name="T25" fmla="*/ 86930 h 426"/>
                <a:gd name="T26" fmla="*/ 26137 w 474"/>
                <a:gd name="T27" fmla="*/ 88884 h 426"/>
                <a:gd name="T28" fmla="*/ 23232 w 474"/>
                <a:gd name="T29" fmla="*/ 86930 h 426"/>
                <a:gd name="T30" fmla="*/ 30008 w 474"/>
                <a:gd name="T31" fmla="*/ 84000 h 426"/>
                <a:gd name="T32" fmla="*/ 31944 w 474"/>
                <a:gd name="T33" fmla="*/ 83023 h 426"/>
                <a:gd name="T34" fmla="*/ 36785 w 474"/>
                <a:gd name="T35" fmla="*/ 76186 h 426"/>
                <a:gd name="T36" fmla="*/ 40656 w 474"/>
                <a:gd name="T37" fmla="*/ 71302 h 426"/>
                <a:gd name="T38" fmla="*/ 44529 w 474"/>
                <a:gd name="T39" fmla="*/ 67395 h 426"/>
                <a:gd name="T40" fmla="*/ 46465 w 474"/>
                <a:gd name="T41" fmla="*/ 58604 h 426"/>
                <a:gd name="T42" fmla="*/ 46465 w 474"/>
                <a:gd name="T43" fmla="*/ 53721 h 426"/>
                <a:gd name="T44" fmla="*/ 46465 w 474"/>
                <a:gd name="T45" fmla="*/ 49814 h 426"/>
                <a:gd name="T46" fmla="*/ 49368 w 474"/>
                <a:gd name="T47" fmla="*/ 42977 h 426"/>
                <a:gd name="T48" fmla="*/ 53241 w 474"/>
                <a:gd name="T49" fmla="*/ 37116 h 426"/>
                <a:gd name="T50" fmla="*/ 57113 w 474"/>
                <a:gd name="T51" fmla="*/ 32233 h 426"/>
                <a:gd name="T52" fmla="*/ 61953 w 474"/>
                <a:gd name="T53" fmla="*/ 28326 h 426"/>
                <a:gd name="T54" fmla="*/ 67761 w 474"/>
                <a:gd name="T55" fmla="*/ 26372 h 426"/>
                <a:gd name="T56" fmla="*/ 72601 w 474"/>
                <a:gd name="T57" fmla="*/ 21488 h 426"/>
                <a:gd name="T58" fmla="*/ 74537 w 474"/>
                <a:gd name="T59" fmla="*/ 15628 h 426"/>
                <a:gd name="T60" fmla="*/ 76473 w 474"/>
                <a:gd name="T61" fmla="*/ 6838 h 426"/>
                <a:gd name="T62" fmla="*/ 78409 w 474"/>
                <a:gd name="T63" fmla="*/ 0 h 426"/>
                <a:gd name="T64" fmla="*/ 168434 w 474"/>
                <a:gd name="T65" fmla="*/ 0 h 426"/>
                <a:gd name="T66" fmla="*/ 168434 w 474"/>
                <a:gd name="T67" fmla="*/ 39069 h 426"/>
                <a:gd name="T68" fmla="*/ 157786 w 474"/>
                <a:gd name="T69" fmla="*/ 39069 h 426"/>
                <a:gd name="T70" fmla="*/ 147138 w 474"/>
                <a:gd name="T71" fmla="*/ 39069 h 426"/>
                <a:gd name="T72" fmla="*/ 136490 w 474"/>
                <a:gd name="T73" fmla="*/ 39069 h 426"/>
                <a:gd name="T74" fmla="*/ 127778 w 474"/>
                <a:gd name="T75" fmla="*/ 39069 h 426"/>
                <a:gd name="T76" fmla="*/ 115193 w 474"/>
                <a:gd name="T77" fmla="*/ 39069 h 426"/>
                <a:gd name="T78" fmla="*/ 104545 w 474"/>
                <a:gd name="T79" fmla="*/ 39069 h 426"/>
                <a:gd name="T80" fmla="*/ 101641 w 474"/>
                <a:gd name="T81" fmla="*/ 64465 h 426"/>
                <a:gd name="T82" fmla="*/ 90026 w 474"/>
                <a:gd name="T83" fmla="*/ 95721 h 426"/>
                <a:gd name="T84" fmla="*/ 81313 w 474"/>
                <a:gd name="T85" fmla="*/ 101581 h 426"/>
                <a:gd name="T86" fmla="*/ 78409 w 474"/>
                <a:gd name="T87" fmla="*/ 110372 h 426"/>
                <a:gd name="T88" fmla="*/ 81313 w 474"/>
                <a:gd name="T89" fmla="*/ 121117 h 426"/>
                <a:gd name="T90" fmla="*/ 81313 w 474"/>
                <a:gd name="T91" fmla="*/ 129907 h 426"/>
                <a:gd name="T92" fmla="*/ 81313 w 474"/>
                <a:gd name="T93" fmla="*/ 138698 h 426"/>
                <a:gd name="T94" fmla="*/ 72601 w 474"/>
                <a:gd name="T95" fmla="*/ 140651 h 426"/>
                <a:gd name="T96" fmla="*/ 61953 w 474"/>
                <a:gd name="T97" fmla="*/ 140651 h 426"/>
                <a:gd name="T98" fmla="*/ 53241 w 474"/>
                <a:gd name="T99" fmla="*/ 140651 h 426"/>
                <a:gd name="T100" fmla="*/ 44529 w 474"/>
                <a:gd name="T101" fmla="*/ 140651 h 426"/>
                <a:gd name="T102" fmla="*/ 27104 w 474"/>
                <a:gd name="T103" fmla="*/ 140651 h 426"/>
                <a:gd name="T104" fmla="*/ 3872 w 474"/>
                <a:gd name="T105" fmla="*/ 140651 h 426"/>
                <a:gd name="T106" fmla="*/ 1936 w 474"/>
                <a:gd name="T107" fmla="*/ 147488 h 4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74" h="426">
                  <a:moveTo>
                    <a:pt x="6" y="426"/>
                  </a:moveTo>
                  <a:lnTo>
                    <a:pt x="6" y="420"/>
                  </a:lnTo>
                  <a:lnTo>
                    <a:pt x="0" y="420"/>
                  </a:lnTo>
                  <a:lnTo>
                    <a:pt x="6" y="420"/>
                  </a:lnTo>
                  <a:lnTo>
                    <a:pt x="6" y="414"/>
                  </a:lnTo>
                  <a:lnTo>
                    <a:pt x="0" y="414"/>
                  </a:lnTo>
                  <a:lnTo>
                    <a:pt x="6" y="414"/>
                  </a:lnTo>
                  <a:lnTo>
                    <a:pt x="6" y="408"/>
                  </a:lnTo>
                  <a:lnTo>
                    <a:pt x="6" y="402"/>
                  </a:lnTo>
                  <a:lnTo>
                    <a:pt x="6" y="396"/>
                  </a:lnTo>
                  <a:lnTo>
                    <a:pt x="6" y="390"/>
                  </a:lnTo>
                  <a:lnTo>
                    <a:pt x="6" y="384"/>
                  </a:lnTo>
                  <a:lnTo>
                    <a:pt x="6" y="378"/>
                  </a:lnTo>
                  <a:lnTo>
                    <a:pt x="12" y="378"/>
                  </a:lnTo>
                  <a:lnTo>
                    <a:pt x="12" y="372"/>
                  </a:lnTo>
                  <a:lnTo>
                    <a:pt x="12" y="366"/>
                  </a:lnTo>
                  <a:lnTo>
                    <a:pt x="12" y="360"/>
                  </a:lnTo>
                  <a:lnTo>
                    <a:pt x="12" y="354"/>
                  </a:lnTo>
                  <a:lnTo>
                    <a:pt x="18" y="354"/>
                  </a:lnTo>
                  <a:lnTo>
                    <a:pt x="18" y="348"/>
                  </a:lnTo>
                  <a:lnTo>
                    <a:pt x="18" y="342"/>
                  </a:lnTo>
                  <a:lnTo>
                    <a:pt x="18" y="336"/>
                  </a:lnTo>
                  <a:lnTo>
                    <a:pt x="24" y="336"/>
                  </a:lnTo>
                  <a:lnTo>
                    <a:pt x="30" y="336"/>
                  </a:lnTo>
                  <a:lnTo>
                    <a:pt x="36" y="336"/>
                  </a:lnTo>
                  <a:lnTo>
                    <a:pt x="36" y="330"/>
                  </a:lnTo>
                  <a:lnTo>
                    <a:pt x="36" y="324"/>
                  </a:lnTo>
                  <a:lnTo>
                    <a:pt x="42" y="324"/>
                  </a:lnTo>
                  <a:lnTo>
                    <a:pt x="42" y="318"/>
                  </a:lnTo>
                  <a:lnTo>
                    <a:pt x="42" y="312"/>
                  </a:lnTo>
                  <a:lnTo>
                    <a:pt x="42" y="306"/>
                  </a:lnTo>
                  <a:lnTo>
                    <a:pt x="48" y="306"/>
                  </a:lnTo>
                  <a:lnTo>
                    <a:pt x="48" y="300"/>
                  </a:lnTo>
                  <a:lnTo>
                    <a:pt x="48" y="294"/>
                  </a:lnTo>
                  <a:lnTo>
                    <a:pt x="54" y="294"/>
                  </a:lnTo>
                  <a:lnTo>
                    <a:pt x="54" y="288"/>
                  </a:lnTo>
                  <a:lnTo>
                    <a:pt x="54" y="282"/>
                  </a:lnTo>
                  <a:lnTo>
                    <a:pt x="60" y="282"/>
                  </a:lnTo>
                  <a:lnTo>
                    <a:pt x="60" y="276"/>
                  </a:lnTo>
                  <a:lnTo>
                    <a:pt x="60" y="270"/>
                  </a:lnTo>
                  <a:lnTo>
                    <a:pt x="66" y="270"/>
                  </a:lnTo>
                  <a:lnTo>
                    <a:pt x="66" y="264"/>
                  </a:lnTo>
                  <a:lnTo>
                    <a:pt x="66" y="258"/>
                  </a:lnTo>
                  <a:lnTo>
                    <a:pt x="72" y="258"/>
                  </a:lnTo>
                  <a:lnTo>
                    <a:pt x="72" y="252"/>
                  </a:lnTo>
                  <a:lnTo>
                    <a:pt x="72" y="246"/>
                  </a:lnTo>
                  <a:lnTo>
                    <a:pt x="78" y="246"/>
                  </a:lnTo>
                  <a:lnTo>
                    <a:pt x="72" y="246"/>
                  </a:lnTo>
                  <a:lnTo>
                    <a:pt x="78" y="246"/>
                  </a:lnTo>
                  <a:lnTo>
                    <a:pt x="78" y="240"/>
                  </a:lnTo>
                  <a:lnTo>
                    <a:pt x="78" y="234"/>
                  </a:lnTo>
                  <a:lnTo>
                    <a:pt x="78" y="240"/>
                  </a:lnTo>
                  <a:lnTo>
                    <a:pt x="78" y="234"/>
                  </a:lnTo>
                  <a:lnTo>
                    <a:pt x="78" y="240"/>
                  </a:lnTo>
                  <a:lnTo>
                    <a:pt x="72" y="240"/>
                  </a:lnTo>
                  <a:lnTo>
                    <a:pt x="72" y="246"/>
                  </a:lnTo>
                  <a:lnTo>
                    <a:pt x="66" y="246"/>
                  </a:lnTo>
                  <a:lnTo>
                    <a:pt x="66" y="252"/>
                  </a:lnTo>
                  <a:lnTo>
                    <a:pt x="66" y="246"/>
                  </a:lnTo>
                  <a:lnTo>
                    <a:pt x="66" y="240"/>
                  </a:lnTo>
                  <a:lnTo>
                    <a:pt x="72" y="240"/>
                  </a:lnTo>
                  <a:lnTo>
                    <a:pt x="72" y="234"/>
                  </a:lnTo>
                  <a:lnTo>
                    <a:pt x="78" y="234"/>
                  </a:lnTo>
                  <a:lnTo>
                    <a:pt x="84" y="234"/>
                  </a:lnTo>
                  <a:lnTo>
                    <a:pt x="84" y="228"/>
                  </a:lnTo>
                  <a:lnTo>
                    <a:pt x="90" y="228"/>
                  </a:lnTo>
                  <a:lnTo>
                    <a:pt x="84" y="228"/>
                  </a:lnTo>
                  <a:lnTo>
                    <a:pt x="90" y="228"/>
                  </a:lnTo>
                  <a:lnTo>
                    <a:pt x="90" y="222"/>
                  </a:lnTo>
                  <a:lnTo>
                    <a:pt x="96" y="216"/>
                  </a:lnTo>
                  <a:lnTo>
                    <a:pt x="102" y="216"/>
                  </a:lnTo>
                  <a:lnTo>
                    <a:pt x="102" y="210"/>
                  </a:lnTo>
                  <a:lnTo>
                    <a:pt x="102" y="204"/>
                  </a:lnTo>
                  <a:lnTo>
                    <a:pt x="108" y="204"/>
                  </a:lnTo>
                  <a:lnTo>
                    <a:pt x="108" y="198"/>
                  </a:lnTo>
                  <a:lnTo>
                    <a:pt x="114" y="198"/>
                  </a:lnTo>
                  <a:lnTo>
                    <a:pt x="120" y="198"/>
                  </a:lnTo>
                  <a:lnTo>
                    <a:pt x="120" y="192"/>
                  </a:lnTo>
                  <a:lnTo>
                    <a:pt x="126" y="192"/>
                  </a:lnTo>
                  <a:lnTo>
                    <a:pt x="126" y="186"/>
                  </a:lnTo>
                  <a:lnTo>
                    <a:pt x="126" y="180"/>
                  </a:lnTo>
                  <a:lnTo>
                    <a:pt x="126" y="174"/>
                  </a:lnTo>
                  <a:lnTo>
                    <a:pt x="132" y="168"/>
                  </a:lnTo>
                  <a:lnTo>
                    <a:pt x="132" y="162"/>
                  </a:lnTo>
                  <a:lnTo>
                    <a:pt x="126" y="162"/>
                  </a:lnTo>
                  <a:lnTo>
                    <a:pt x="126" y="156"/>
                  </a:lnTo>
                  <a:lnTo>
                    <a:pt x="132" y="156"/>
                  </a:lnTo>
                  <a:lnTo>
                    <a:pt x="132" y="150"/>
                  </a:lnTo>
                  <a:lnTo>
                    <a:pt x="126" y="150"/>
                  </a:lnTo>
                  <a:lnTo>
                    <a:pt x="132" y="150"/>
                  </a:lnTo>
                  <a:lnTo>
                    <a:pt x="132" y="144"/>
                  </a:lnTo>
                  <a:lnTo>
                    <a:pt x="132" y="138"/>
                  </a:lnTo>
                  <a:lnTo>
                    <a:pt x="138" y="138"/>
                  </a:lnTo>
                  <a:lnTo>
                    <a:pt x="138" y="132"/>
                  </a:lnTo>
                  <a:lnTo>
                    <a:pt x="138" y="126"/>
                  </a:lnTo>
                  <a:lnTo>
                    <a:pt x="138" y="120"/>
                  </a:lnTo>
                  <a:lnTo>
                    <a:pt x="144" y="120"/>
                  </a:lnTo>
                  <a:lnTo>
                    <a:pt x="144" y="114"/>
                  </a:lnTo>
                  <a:lnTo>
                    <a:pt x="150" y="108"/>
                  </a:lnTo>
                  <a:lnTo>
                    <a:pt x="150" y="102"/>
                  </a:lnTo>
                  <a:lnTo>
                    <a:pt x="150" y="96"/>
                  </a:lnTo>
                  <a:lnTo>
                    <a:pt x="150" y="90"/>
                  </a:lnTo>
                  <a:lnTo>
                    <a:pt x="156" y="90"/>
                  </a:lnTo>
                  <a:lnTo>
                    <a:pt x="162" y="90"/>
                  </a:lnTo>
                  <a:lnTo>
                    <a:pt x="162" y="84"/>
                  </a:lnTo>
                  <a:lnTo>
                    <a:pt x="168" y="84"/>
                  </a:lnTo>
                  <a:lnTo>
                    <a:pt x="168" y="78"/>
                  </a:lnTo>
                  <a:lnTo>
                    <a:pt x="174" y="78"/>
                  </a:lnTo>
                  <a:lnTo>
                    <a:pt x="180" y="78"/>
                  </a:lnTo>
                  <a:lnTo>
                    <a:pt x="180" y="72"/>
                  </a:lnTo>
                  <a:lnTo>
                    <a:pt x="186" y="72"/>
                  </a:lnTo>
                  <a:lnTo>
                    <a:pt x="192" y="72"/>
                  </a:lnTo>
                  <a:lnTo>
                    <a:pt x="192" y="66"/>
                  </a:lnTo>
                  <a:lnTo>
                    <a:pt x="198" y="66"/>
                  </a:lnTo>
                  <a:lnTo>
                    <a:pt x="198" y="60"/>
                  </a:lnTo>
                  <a:lnTo>
                    <a:pt x="204" y="60"/>
                  </a:lnTo>
                  <a:lnTo>
                    <a:pt x="204" y="54"/>
                  </a:lnTo>
                  <a:lnTo>
                    <a:pt x="204" y="48"/>
                  </a:lnTo>
                  <a:lnTo>
                    <a:pt x="204" y="42"/>
                  </a:lnTo>
                  <a:lnTo>
                    <a:pt x="210" y="42"/>
                  </a:lnTo>
                  <a:lnTo>
                    <a:pt x="210" y="36"/>
                  </a:lnTo>
                  <a:lnTo>
                    <a:pt x="210" y="30"/>
                  </a:lnTo>
                  <a:lnTo>
                    <a:pt x="216" y="24"/>
                  </a:lnTo>
                  <a:lnTo>
                    <a:pt x="216" y="18"/>
                  </a:lnTo>
                  <a:lnTo>
                    <a:pt x="216" y="12"/>
                  </a:lnTo>
                  <a:lnTo>
                    <a:pt x="222" y="12"/>
                  </a:lnTo>
                  <a:lnTo>
                    <a:pt x="222" y="6"/>
                  </a:lnTo>
                  <a:lnTo>
                    <a:pt x="222" y="0"/>
                  </a:lnTo>
                  <a:lnTo>
                    <a:pt x="300" y="0"/>
                  </a:lnTo>
                  <a:lnTo>
                    <a:pt x="318" y="0"/>
                  </a:lnTo>
                  <a:lnTo>
                    <a:pt x="390" y="0"/>
                  </a:lnTo>
                  <a:lnTo>
                    <a:pt x="474" y="0"/>
                  </a:lnTo>
                  <a:lnTo>
                    <a:pt x="474" y="30"/>
                  </a:lnTo>
                  <a:lnTo>
                    <a:pt x="474" y="42"/>
                  </a:lnTo>
                  <a:lnTo>
                    <a:pt x="474" y="54"/>
                  </a:lnTo>
                  <a:lnTo>
                    <a:pt x="474" y="108"/>
                  </a:lnTo>
                  <a:lnTo>
                    <a:pt x="468" y="108"/>
                  </a:lnTo>
                  <a:lnTo>
                    <a:pt x="456" y="108"/>
                  </a:lnTo>
                  <a:lnTo>
                    <a:pt x="450" y="108"/>
                  </a:lnTo>
                  <a:lnTo>
                    <a:pt x="444" y="108"/>
                  </a:lnTo>
                  <a:lnTo>
                    <a:pt x="438" y="108"/>
                  </a:lnTo>
                  <a:lnTo>
                    <a:pt x="426" y="108"/>
                  </a:lnTo>
                  <a:lnTo>
                    <a:pt x="420" y="108"/>
                  </a:lnTo>
                  <a:lnTo>
                    <a:pt x="414" y="108"/>
                  </a:lnTo>
                  <a:lnTo>
                    <a:pt x="402" y="108"/>
                  </a:lnTo>
                  <a:lnTo>
                    <a:pt x="396" y="108"/>
                  </a:lnTo>
                  <a:lnTo>
                    <a:pt x="390" y="108"/>
                  </a:lnTo>
                  <a:lnTo>
                    <a:pt x="384" y="108"/>
                  </a:lnTo>
                  <a:lnTo>
                    <a:pt x="378" y="108"/>
                  </a:lnTo>
                  <a:lnTo>
                    <a:pt x="372" y="108"/>
                  </a:lnTo>
                  <a:lnTo>
                    <a:pt x="366" y="108"/>
                  </a:lnTo>
                  <a:lnTo>
                    <a:pt x="360" y="108"/>
                  </a:lnTo>
                  <a:lnTo>
                    <a:pt x="348" y="108"/>
                  </a:lnTo>
                  <a:lnTo>
                    <a:pt x="342" y="108"/>
                  </a:lnTo>
                  <a:lnTo>
                    <a:pt x="336" y="108"/>
                  </a:lnTo>
                  <a:lnTo>
                    <a:pt x="324" y="108"/>
                  </a:lnTo>
                  <a:lnTo>
                    <a:pt x="318" y="108"/>
                  </a:lnTo>
                  <a:lnTo>
                    <a:pt x="312" y="108"/>
                  </a:lnTo>
                  <a:lnTo>
                    <a:pt x="300" y="108"/>
                  </a:lnTo>
                  <a:lnTo>
                    <a:pt x="294" y="108"/>
                  </a:lnTo>
                  <a:lnTo>
                    <a:pt x="288" y="108"/>
                  </a:lnTo>
                  <a:lnTo>
                    <a:pt x="288" y="114"/>
                  </a:lnTo>
                  <a:lnTo>
                    <a:pt x="288" y="168"/>
                  </a:lnTo>
                  <a:lnTo>
                    <a:pt x="288" y="180"/>
                  </a:lnTo>
                  <a:lnTo>
                    <a:pt x="288" y="204"/>
                  </a:lnTo>
                  <a:lnTo>
                    <a:pt x="288" y="264"/>
                  </a:lnTo>
                  <a:lnTo>
                    <a:pt x="258" y="264"/>
                  </a:lnTo>
                  <a:lnTo>
                    <a:pt x="252" y="264"/>
                  </a:lnTo>
                  <a:lnTo>
                    <a:pt x="246" y="270"/>
                  </a:lnTo>
                  <a:lnTo>
                    <a:pt x="240" y="270"/>
                  </a:lnTo>
                  <a:lnTo>
                    <a:pt x="234" y="276"/>
                  </a:lnTo>
                  <a:lnTo>
                    <a:pt x="228" y="282"/>
                  </a:lnTo>
                  <a:lnTo>
                    <a:pt x="228" y="288"/>
                  </a:lnTo>
                  <a:lnTo>
                    <a:pt x="228" y="294"/>
                  </a:lnTo>
                  <a:lnTo>
                    <a:pt x="222" y="300"/>
                  </a:lnTo>
                  <a:lnTo>
                    <a:pt x="222" y="306"/>
                  </a:lnTo>
                  <a:lnTo>
                    <a:pt x="222" y="312"/>
                  </a:lnTo>
                  <a:lnTo>
                    <a:pt x="222" y="318"/>
                  </a:lnTo>
                  <a:lnTo>
                    <a:pt x="222" y="330"/>
                  </a:lnTo>
                  <a:lnTo>
                    <a:pt x="228" y="336"/>
                  </a:lnTo>
                  <a:lnTo>
                    <a:pt x="228" y="342"/>
                  </a:lnTo>
                  <a:lnTo>
                    <a:pt x="228" y="348"/>
                  </a:lnTo>
                  <a:lnTo>
                    <a:pt x="228" y="354"/>
                  </a:lnTo>
                  <a:lnTo>
                    <a:pt x="228" y="360"/>
                  </a:lnTo>
                  <a:lnTo>
                    <a:pt x="228" y="366"/>
                  </a:lnTo>
                  <a:lnTo>
                    <a:pt x="228" y="372"/>
                  </a:lnTo>
                  <a:lnTo>
                    <a:pt x="228" y="378"/>
                  </a:lnTo>
                  <a:lnTo>
                    <a:pt x="228" y="384"/>
                  </a:lnTo>
                  <a:lnTo>
                    <a:pt x="228" y="390"/>
                  </a:lnTo>
                  <a:lnTo>
                    <a:pt x="222" y="390"/>
                  </a:lnTo>
                  <a:lnTo>
                    <a:pt x="210" y="390"/>
                  </a:lnTo>
                  <a:lnTo>
                    <a:pt x="204" y="390"/>
                  </a:lnTo>
                  <a:lnTo>
                    <a:pt x="198" y="390"/>
                  </a:lnTo>
                  <a:lnTo>
                    <a:pt x="192" y="390"/>
                  </a:lnTo>
                  <a:lnTo>
                    <a:pt x="180" y="390"/>
                  </a:lnTo>
                  <a:lnTo>
                    <a:pt x="174" y="390"/>
                  </a:lnTo>
                  <a:lnTo>
                    <a:pt x="168" y="390"/>
                  </a:lnTo>
                  <a:lnTo>
                    <a:pt x="162" y="390"/>
                  </a:lnTo>
                  <a:lnTo>
                    <a:pt x="156" y="390"/>
                  </a:lnTo>
                  <a:lnTo>
                    <a:pt x="150" y="390"/>
                  </a:lnTo>
                  <a:lnTo>
                    <a:pt x="144" y="390"/>
                  </a:lnTo>
                  <a:lnTo>
                    <a:pt x="138" y="390"/>
                  </a:lnTo>
                  <a:lnTo>
                    <a:pt x="132" y="390"/>
                  </a:lnTo>
                  <a:lnTo>
                    <a:pt x="126" y="390"/>
                  </a:lnTo>
                  <a:lnTo>
                    <a:pt x="120" y="390"/>
                  </a:lnTo>
                  <a:lnTo>
                    <a:pt x="108" y="390"/>
                  </a:lnTo>
                  <a:lnTo>
                    <a:pt x="90" y="390"/>
                  </a:lnTo>
                  <a:lnTo>
                    <a:pt x="78" y="390"/>
                  </a:lnTo>
                  <a:lnTo>
                    <a:pt x="60" y="390"/>
                  </a:lnTo>
                  <a:lnTo>
                    <a:pt x="48" y="390"/>
                  </a:lnTo>
                  <a:lnTo>
                    <a:pt x="30" y="390"/>
                  </a:lnTo>
                  <a:lnTo>
                    <a:pt x="12" y="390"/>
                  </a:lnTo>
                  <a:lnTo>
                    <a:pt x="12" y="396"/>
                  </a:lnTo>
                  <a:lnTo>
                    <a:pt x="12" y="402"/>
                  </a:lnTo>
                  <a:lnTo>
                    <a:pt x="6" y="402"/>
                  </a:lnTo>
                  <a:lnTo>
                    <a:pt x="6" y="408"/>
                  </a:lnTo>
                  <a:lnTo>
                    <a:pt x="6" y="414"/>
                  </a:lnTo>
                  <a:lnTo>
                    <a:pt x="6" y="420"/>
                  </a:lnTo>
                  <a:lnTo>
                    <a:pt x="6" y="42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89" name="Freeform 8"/>
            <p:cNvSpPr>
              <a:spLocks noEditPoints="1"/>
            </p:cNvSpPr>
            <p:nvPr>
              <p:custDataLst>
                <p:tags r:id="rId61"/>
              </p:custDataLst>
            </p:nvPr>
          </p:nvSpPr>
          <p:spPr bwMode="gray">
            <a:xfrm>
              <a:off x="2033588" y="2714626"/>
              <a:ext cx="215900" cy="134938"/>
            </a:xfrm>
            <a:custGeom>
              <a:avLst/>
              <a:gdLst>
                <a:gd name="T0" fmla="*/ 31879 w 174"/>
                <a:gd name="T1" fmla="*/ 35479 h 108"/>
                <a:gd name="T2" fmla="*/ 31879 w 174"/>
                <a:gd name="T3" fmla="*/ 33508 h 108"/>
                <a:gd name="T4" fmla="*/ 33811 w 174"/>
                <a:gd name="T5" fmla="*/ 33508 h 108"/>
                <a:gd name="T6" fmla="*/ 29947 w 174"/>
                <a:gd name="T7" fmla="*/ 30551 h 108"/>
                <a:gd name="T8" fmla="*/ 25116 w 174"/>
                <a:gd name="T9" fmla="*/ 28580 h 108"/>
                <a:gd name="T10" fmla="*/ 23184 w 174"/>
                <a:gd name="T11" fmla="*/ 28580 h 108"/>
                <a:gd name="T12" fmla="*/ 25116 w 174"/>
                <a:gd name="T13" fmla="*/ 23653 h 108"/>
                <a:gd name="T14" fmla="*/ 27048 w 174"/>
                <a:gd name="T15" fmla="*/ 23653 h 108"/>
                <a:gd name="T16" fmla="*/ 27048 w 174"/>
                <a:gd name="T17" fmla="*/ 22667 h 108"/>
                <a:gd name="T18" fmla="*/ 31879 w 174"/>
                <a:gd name="T19" fmla="*/ 23653 h 108"/>
                <a:gd name="T20" fmla="*/ 33811 w 174"/>
                <a:gd name="T21" fmla="*/ 23653 h 108"/>
                <a:gd name="T22" fmla="*/ 29947 w 174"/>
                <a:gd name="T23" fmla="*/ 22667 h 108"/>
                <a:gd name="T24" fmla="*/ 27048 w 174"/>
                <a:gd name="T25" fmla="*/ 22667 h 108"/>
                <a:gd name="T26" fmla="*/ 27048 w 174"/>
                <a:gd name="T27" fmla="*/ 19711 h 108"/>
                <a:gd name="T28" fmla="*/ 25116 w 174"/>
                <a:gd name="T29" fmla="*/ 22667 h 108"/>
                <a:gd name="T30" fmla="*/ 25116 w 174"/>
                <a:gd name="T31" fmla="*/ 17740 h 108"/>
                <a:gd name="T32" fmla="*/ 33811 w 174"/>
                <a:gd name="T33" fmla="*/ 15768 h 108"/>
                <a:gd name="T34" fmla="*/ 25116 w 174"/>
                <a:gd name="T35" fmla="*/ 15768 h 108"/>
                <a:gd name="T36" fmla="*/ 19321 w 174"/>
                <a:gd name="T37" fmla="*/ 19711 h 108"/>
                <a:gd name="T38" fmla="*/ 14490 w 174"/>
                <a:gd name="T39" fmla="*/ 17740 h 108"/>
                <a:gd name="T40" fmla="*/ 12558 w 174"/>
                <a:gd name="T41" fmla="*/ 17740 h 108"/>
                <a:gd name="T42" fmla="*/ 6762 w 174"/>
                <a:gd name="T43" fmla="*/ 10841 h 108"/>
                <a:gd name="T44" fmla="*/ 7728 w 174"/>
                <a:gd name="T45" fmla="*/ 10841 h 108"/>
                <a:gd name="T46" fmla="*/ 0 w 174"/>
                <a:gd name="T47" fmla="*/ 8870 h 108"/>
                <a:gd name="T48" fmla="*/ 7728 w 174"/>
                <a:gd name="T49" fmla="*/ 6898 h 108"/>
                <a:gd name="T50" fmla="*/ 19321 w 174"/>
                <a:gd name="T51" fmla="*/ 6898 h 108"/>
                <a:gd name="T52" fmla="*/ 25116 w 174"/>
                <a:gd name="T53" fmla="*/ 1971 h 108"/>
                <a:gd name="T54" fmla="*/ 35742 w 174"/>
                <a:gd name="T55" fmla="*/ 0 h 108"/>
                <a:gd name="T56" fmla="*/ 48301 w 174"/>
                <a:gd name="T57" fmla="*/ 0 h 108"/>
                <a:gd name="T58" fmla="*/ 58927 w 174"/>
                <a:gd name="T59" fmla="*/ 0 h 108"/>
                <a:gd name="T60" fmla="*/ 58927 w 174"/>
                <a:gd name="T61" fmla="*/ 6898 h 108"/>
                <a:gd name="T62" fmla="*/ 55063 w 174"/>
                <a:gd name="T63" fmla="*/ 8870 h 108"/>
                <a:gd name="T64" fmla="*/ 58927 w 174"/>
                <a:gd name="T65" fmla="*/ 15768 h 108"/>
                <a:gd name="T66" fmla="*/ 56995 w 174"/>
                <a:gd name="T67" fmla="*/ 19711 h 108"/>
                <a:gd name="T68" fmla="*/ 55063 w 174"/>
                <a:gd name="T69" fmla="*/ 19711 h 108"/>
                <a:gd name="T70" fmla="*/ 46369 w 174"/>
                <a:gd name="T71" fmla="*/ 22667 h 108"/>
                <a:gd name="T72" fmla="*/ 40573 w 174"/>
                <a:gd name="T73" fmla="*/ 23653 h 108"/>
                <a:gd name="T74" fmla="*/ 35742 w 174"/>
                <a:gd name="T75" fmla="*/ 33508 h 108"/>
                <a:gd name="T76" fmla="*/ 7728 w 174"/>
                <a:gd name="T77" fmla="*/ 35479 h 108"/>
                <a:gd name="T78" fmla="*/ 10626 w 174"/>
                <a:gd name="T79" fmla="*/ 19711 h 108"/>
                <a:gd name="T80" fmla="*/ 12558 w 174"/>
                <a:gd name="T81" fmla="*/ 26610 h 108"/>
                <a:gd name="T82" fmla="*/ 6762 w 174"/>
                <a:gd name="T83" fmla="*/ 26610 h 108"/>
                <a:gd name="T84" fmla="*/ 19321 w 174"/>
                <a:gd name="T85" fmla="*/ 33508 h 108"/>
                <a:gd name="T86" fmla="*/ 14490 w 174"/>
                <a:gd name="T87" fmla="*/ 35479 h 108"/>
                <a:gd name="T88" fmla="*/ 6762 w 174"/>
                <a:gd name="T89" fmla="*/ 17740 h 108"/>
                <a:gd name="T90" fmla="*/ 7728 w 174"/>
                <a:gd name="T91" fmla="*/ 30551 h 108"/>
                <a:gd name="T92" fmla="*/ 21252 w 174"/>
                <a:gd name="T93" fmla="*/ 23653 h 108"/>
                <a:gd name="T94" fmla="*/ 12558 w 174"/>
                <a:gd name="T95" fmla="*/ 35479 h 108"/>
                <a:gd name="T96" fmla="*/ 7728 w 174"/>
                <a:gd name="T97" fmla="*/ 26610 h 108"/>
                <a:gd name="T98" fmla="*/ 14490 w 174"/>
                <a:gd name="T99" fmla="*/ 30551 h 108"/>
                <a:gd name="T100" fmla="*/ 10626 w 174"/>
                <a:gd name="T101" fmla="*/ 28580 h 108"/>
                <a:gd name="T102" fmla="*/ 17388 w 174"/>
                <a:gd name="T103" fmla="*/ 23653 h 108"/>
                <a:gd name="T104" fmla="*/ 21252 w 174"/>
                <a:gd name="T105" fmla="*/ 26610 h 108"/>
                <a:gd name="T106" fmla="*/ 12558 w 174"/>
                <a:gd name="T107" fmla="*/ 28580 h 108"/>
                <a:gd name="T108" fmla="*/ 17388 w 174"/>
                <a:gd name="T109" fmla="*/ 28580 h 108"/>
                <a:gd name="T110" fmla="*/ 6762 w 174"/>
                <a:gd name="T111" fmla="*/ 28580 h 108"/>
                <a:gd name="T112" fmla="*/ 14490 w 174"/>
                <a:gd name="T113" fmla="*/ 17740 h 108"/>
                <a:gd name="T114" fmla="*/ 6762 w 174"/>
                <a:gd name="T115" fmla="*/ 30551 h 108"/>
                <a:gd name="T116" fmla="*/ 21252 w 174"/>
                <a:gd name="T117" fmla="*/ 37450 h 108"/>
                <a:gd name="T118" fmla="*/ 12558 w 174"/>
                <a:gd name="T119" fmla="*/ 28580 h 108"/>
                <a:gd name="T120" fmla="*/ 29947 w 174"/>
                <a:gd name="T121" fmla="*/ 39421 h 1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108">
                  <a:moveTo>
                    <a:pt x="102" y="96"/>
                  </a:moveTo>
                  <a:lnTo>
                    <a:pt x="96" y="96"/>
                  </a:lnTo>
                  <a:lnTo>
                    <a:pt x="96" y="102"/>
                  </a:lnTo>
                  <a:lnTo>
                    <a:pt x="90" y="102"/>
                  </a:lnTo>
                  <a:lnTo>
                    <a:pt x="90" y="96"/>
                  </a:lnTo>
                  <a:lnTo>
                    <a:pt x="96" y="96"/>
                  </a:lnTo>
                  <a:lnTo>
                    <a:pt x="90" y="96"/>
                  </a:lnTo>
                  <a:lnTo>
                    <a:pt x="90" y="102"/>
                  </a:lnTo>
                  <a:lnTo>
                    <a:pt x="90" y="96"/>
                  </a:lnTo>
                  <a:lnTo>
                    <a:pt x="90" y="90"/>
                  </a:lnTo>
                  <a:lnTo>
                    <a:pt x="96" y="90"/>
                  </a:lnTo>
                  <a:lnTo>
                    <a:pt x="90" y="90"/>
                  </a:lnTo>
                  <a:lnTo>
                    <a:pt x="96" y="90"/>
                  </a:lnTo>
                  <a:lnTo>
                    <a:pt x="96" y="84"/>
                  </a:lnTo>
                  <a:lnTo>
                    <a:pt x="96" y="90"/>
                  </a:lnTo>
                  <a:lnTo>
                    <a:pt x="90" y="90"/>
                  </a:lnTo>
                  <a:lnTo>
                    <a:pt x="84" y="90"/>
                  </a:lnTo>
                  <a:lnTo>
                    <a:pt x="84" y="96"/>
                  </a:lnTo>
                  <a:lnTo>
                    <a:pt x="84" y="90"/>
                  </a:lnTo>
                  <a:lnTo>
                    <a:pt x="84" y="84"/>
                  </a:lnTo>
                  <a:lnTo>
                    <a:pt x="84" y="90"/>
                  </a:lnTo>
                  <a:lnTo>
                    <a:pt x="78" y="90"/>
                  </a:lnTo>
                  <a:lnTo>
                    <a:pt x="72" y="90"/>
                  </a:lnTo>
                  <a:lnTo>
                    <a:pt x="72" y="84"/>
                  </a:lnTo>
                  <a:lnTo>
                    <a:pt x="72" y="78"/>
                  </a:lnTo>
                  <a:lnTo>
                    <a:pt x="78" y="78"/>
                  </a:lnTo>
                  <a:lnTo>
                    <a:pt x="78" y="72"/>
                  </a:lnTo>
                  <a:lnTo>
                    <a:pt x="72" y="72"/>
                  </a:lnTo>
                  <a:lnTo>
                    <a:pt x="72" y="78"/>
                  </a:lnTo>
                  <a:lnTo>
                    <a:pt x="66" y="78"/>
                  </a:lnTo>
                  <a:lnTo>
                    <a:pt x="66" y="72"/>
                  </a:lnTo>
                  <a:lnTo>
                    <a:pt x="72" y="72"/>
                  </a:lnTo>
                  <a:lnTo>
                    <a:pt x="66" y="72"/>
                  </a:lnTo>
                  <a:lnTo>
                    <a:pt x="72" y="72"/>
                  </a:lnTo>
                  <a:lnTo>
                    <a:pt x="72" y="66"/>
                  </a:lnTo>
                  <a:lnTo>
                    <a:pt x="72" y="72"/>
                  </a:lnTo>
                  <a:lnTo>
                    <a:pt x="72" y="66"/>
                  </a:lnTo>
                  <a:lnTo>
                    <a:pt x="78" y="66"/>
                  </a:lnTo>
                  <a:lnTo>
                    <a:pt x="78" y="60"/>
                  </a:lnTo>
                  <a:lnTo>
                    <a:pt x="78" y="66"/>
                  </a:lnTo>
                  <a:lnTo>
                    <a:pt x="84" y="66"/>
                  </a:lnTo>
                  <a:lnTo>
                    <a:pt x="78" y="66"/>
                  </a:lnTo>
                  <a:lnTo>
                    <a:pt x="84" y="66"/>
                  </a:lnTo>
                  <a:lnTo>
                    <a:pt x="78" y="66"/>
                  </a:lnTo>
                  <a:lnTo>
                    <a:pt x="78" y="60"/>
                  </a:lnTo>
                  <a:lnTo>
                    <a:pt x="84" y="60"/>
                  </a:lnTo>
                  <a:lnTo>
                    <a:pt x="84" y="66"/>
                  </a:lnTo>
                  <a:lnTo>
                    <a:pt x="84" y="60"/>
                  </a:lnTo>
                  <a:lnTo>
                    <a:pt x="90" y="60"/>
                  </a:lnTo>
                  <a:lnTo>
                    <a:pt x="90" y="66"/>
                  </a:lnTo>
                  <a:lnTo>
                    <a:pt x="90" y="60"/>
                  </a:lnTo>
                  <a:lnTo>
                    <a:pt x="90" y="66"/>
                  </a:lnTo>
                  <a:lnTo>
                    <a:pt x="96" y="66"/>
                  </a:lnTo>
                  <a:lnTo>
                    <a:pt x="96" y="60"/>
                  </a:lnTo>
                  <a:lnTo>
                    <a:pt x="96" y="66"/>
                  </a:lnTo>
                  <a:lnTo>
                    <a:pt x="90" y="66"/>
                  </a:lnTo>
                  <a:lnTo>
                    <a:pt x="90" y="60"/>
                  </a:lnTo>
                  <a:lnTo>
                    <a:pt x="84" y="60"/>
                  </a:lnTo>
                  <a:lnTo>
                    <a:pt x="90" y="60"/>
                  </a:lnTo>
                  <a:lnTo>
                    <a:pt x="84" y="60"/>
                  </a:lnTo>
                  <a:lnTo>
                    <a:pt x="78" y="60"/>
                  </a:lnTo>
                  <a:lnTo>
                    <a:pt x="84" y="60"/>
                  </a:lnTo>
                  <a:lnTo>
                    <a:pt x="84" y="54"/>
                  </a:lnTo>
                  <a:lnTo>
                    <a:pt x="84" y="60"/>
                  </a:lnTo>
                  <a:lnTo>
                    <a:pt x="78" y="60"/>
                  </a:lnTo>
                  <a:lnTo>
                    <a:pt x="84" y="60"/>
                  </a:lnTo>
                  <a:lnTo>
                    <a:pt x="78" y="60"/>
                  </a:lnTo>
                  <a:lnTo>
                    <a:pt x="78" y="54"/>
                  </a:lnTo>
                  <a:lnTo>
                    <a:pt x="78" y="60"/>
                  </a:lnTo>
                  <a:lnTo>
                    <a:pt x="78" y="54"/>
                  </a:lnTo>
                  <a:lnTo>
                    <a:pt x="78" y="60"/>
                  </a:lnTo>
                  <a:lnTo>
                    <a:pt x="72" y="60"/>
                  </a:lnTo>
                  <a:lnTo>
                    <a:pt x="78" y="66"/>
                  </a:lnTo>
                  <a:lnTo>
                    <a:pt x="72" y="66"/>
                  </a:lnTo>
                  <a:lnTo>
                    <a:pt x="72" y="60"/>
                  </a:lnTo>
                  <a:lnTo>
                    <a:pt x="72" y="66"/>
                  </a:lnTo>
                  <a:lnTo>
                    <a:pt x="72" y="60"/>
                  </a:lnTo>
                  <a:lnTo>
                    <a:pt x="66" y="60"/>
                  </a:lnTo>
                  <a:lnTo>
                    <a:pt x="66" y="54"/>
                  </a:lnTo>
                  <a:lnTo>
                    <a:pt x="72" y="48"/>
                  </a:lnTo>
                  <a:lnTo>
                    <a:pt x="78" y="48"/>
                  </a:lnTo>
                  <a:lnTo>
                    <a:pt x="84" y="48"/>
                  </a:lnTo>
                  <a:lnTo>
                    <a:pt x="90" y="48"/>
                  </a:lnTo>
                  <a:lnTo>
                    <a:pt x="90" y="42"/>
                  </a:lnTo>
                  <a:lnTo>
                    <a:pt x="96" y="42"/>
                  </a:lnTo>
                  <a:lnTo>
                    <a:pt x="90" y="42"/>
                  </a:lnTo>
                  <a:lnTo>
                    <a:pt x="84" y="42"/>
                  </a:lnTo>
                  <a:lnTo>
                    <a:pt x="84" y="48"/>
                  </a:lnTo>
                  <a:lnTo>
                    <a:pt x="78" y="42"/>
                  </a:lnTo>
                  <a:lnTo>
                    <a:pt x="72" y="42"/>
                  </a:lnTo>
                  <a:lnTo>
                    <a:pt x="66" y="42"/>
                  </a:lnTo>
                  <a:lnTo>
                    <a:pt x="66" y="48"/>
                  </a:lnTo>
                  <a:lnTo>
                    <a:pt x="60" y="48"/>
                  </a:lnTo>
                  <a:lnTo>
                    <a:pt x="60" y="54"/>
                  </a:lnTo>
                  <a:lnTo>
                    <a:pt x="54" y="54"/>
                  </a:lnTo>
                  <a:lnTo>
                    <a:pt x="48" y="54"/>
                  </a:lnTo>
                  <a:lnTo>
                    <a:pt x="48" y="48"/>
                  </a:lnTo>
                  <a:lnTo>
                    <a:pt x="48" y="54"/>
                  </a:lnTo>
                  <a:lnTo>
                    <a:pt x="42" y="54"/>
                  </a:lnTo>
                  <a:lnTo>
                    <a:pt x="42" y="48"/>
                  </a:lnTo>
                  <a:lnTo>
                    <a:pt x="48" y="48"/>
                  </a:lnTo>
                  <a:lnTo>
                    <a:pt x="48" y="42"/>
                  </a:lnTo>
                  <a:lnTo>
                    <a:pt x="42" y="42"/>
                  </a:lnTo>
                  <a:lnTo>
                    <a:pt x="42" y="48"/>
                  </a:lnTo>
                  <a:lnTo>
                    <a:pt x="36" y="48"/>
                  </a:lnTo>
                  <a:lnTo>
                    <a:pt x="30" y="48"/>
                  </a:lnTo>
                  <a:lnTo>
                    <a:pt x="24" y="42"/>
                  </a:lnTo>
                  <a:lnTo>
                    <a:pt x="18" y="42"/>
                  </a:lnTo>
                  <a:lnTo>
                    <a:pt x="18" y="36"/>
                  </a:lnTo>
                  <a:lnTo>
                    <a:pt x="18" y="30"/>
                  </a:lnTo>
                  <a:lnTo>
                    <a:pt x="24" y="30"/>
                  </a:lnTo>
                  <a:lnTo>
                    <a:pt x="24" y="24"/>
                  </a:lnTo>
                  <a:lnTo>
                    <a:pt x="30" y="24"/>
                  </a:lnTo>
                  <a:lnTo>
                    <a:pt x="24" y="24"/>
                  </a:lnTo>
                  <a:lnTo>
                    <a:pt x="24" y="30"/>
                  </a:lnTo>
                  <a:lnTo>
                    <a:pt x="18" y="30"/>
                  </a:lnTo>
                  <a:lnTo>
                    <a:pt x="12" y="30"/>
                  </a:lnTo>
                  <a:lnTo>
                    <a:pt x="12" y="24"/>
                  </a:lnTo>
                  <a:lnTo>
                    <a:pt x="6" y="24"/>
                  </a:lnTo>
                  <a:lnTo>
                    <a:pt x="0" y="24"/>
                  </a:lnTo>
                  <a:lnTo>
                    <a:pt x="0" y="18"/>
                  </a:lnTo>
                  <a:lnTo>
                    <a:pt x="6" y="18"/>
                  </a:lnTo>
                  <a:lnTo>
                    <a:pt x="12" y="18"/>
                  </a:lnTo>
                  <a:lnTo>
                    <a:pt x="18" y="18"/>
                  </a:lnTo>
                  <a:lnTo>
                    <a:pt x="24" y="18"/>
                  </a:lnTo>
                  <a:lnTo>
                    <a:pt x="30" y="12"/>
                  </a:lnTo>
                  <a:lnTo>
                    <a:pt x="36" y="12"/>
                  </a:lnTo>
                  <a:lnTo>
                    <a:pt x="42" y="18"/>
                  </a:lnTo>
                  <a:lnTo>
                    <a:pt x="48" y="18"/>
                  </a:lnTo>
                  <a:lnTo>
                    <a:pt x="54" y="18"/>
                  </a:lnTo>
                  <a:lnTo>
                    <a:pt x="60" y="18"/>
                  </a:lnTo>
                  <a:lnTo>
                    <a:pt x="60" y="12"/>
                  </a:lnTo>
                  <a:lnTo>
                    <a:pt x="66" y="12"/>
                  </a:lnTo>
                  <a:lnTo>
                    <a:pt x="72" y="12"/>
                  </a:lnTo>
                  <a:lnTo>
                    <a:pt x="72" y="6"/>
                  </a:lnTo>
                  <a:lnTo>
                    <a:pt x="78" y="6"/>
                  </a:lnTo>
                  <a:lnTo>
                    <a:pt x="84" y="0"/>
                  </a:lnTo>
                  <a:lnTo>
                    <a:pt x="90" y="0"/>
                  </a:lnTo>
                  <a:lnTo>
                    <a:pt x="96" y="0"/>
                  </a:lnTo>
                  <a:lnTo>
                    <a:pt x="102" y="0"/>
                  </a:lnTo>
                  <a:lnTo>
                    <a:pt x="108" y="0"/>
                  </a:lnTo>
                  <a:lnTo>
                    <a:pt x="114" y="0"/>
                  </a:lnTo>
                  <a:lnTo>
                    <a:pt x="120" y="0"/>
                  </a:lnTo>
                  <a:lnTo>
                    <a:pt x="132" y="0"/>
                  </a:lnTo>
                  <a:lnTo>
                    <a:pt x="138" y="0"/>
                  </a:lnTo>
                  <a:lnTo>
                    <a:pt x="144" y="0"/>
                  </a:lnTo>
                  <a:lnTo>
                    <a:pt x="150" y="0"/>
                  </a:lnTo>
                  <a:lnTo>
                    <a:pt x="156" y="0"/>
                  </a:lnTo>
                  <a:lnTo>
                    <a:pt x="162" y="0"/>
                  </a:lnTo>
                  <a:lnTo>
                    <a:pt x="168" y="0"/>
                  </a:lnTo>
                  <a:lnTo>
                    <a:pt x="168" y="6"/>
                  </a:lnTo>
                  <a:lnTo>
                    <a:pt x="168" y="12"/>
                  </a:lnTo>
                  <a:lnTo>
                    <a:pt x="174" y="12"/>
                  </a:lnTo>
                  <a:lnTo>
                    <a:pt x="174" y="18"/>
                  </a:lnTo>
                  <a:lnTo>
                    <a:pt x="168" y="18"/>
                  </a:lnTo>
                  <a:lnTo>
                    <a:pt x="168" y="24"/>
                  </a:lnTo>
                  <a:lnTo>
                    <a:pt x="162" y="24"/>
                  </a:lnTo>
                  <a:lnTo>
                    <a:pt x="156" y="24"/>
                  </a:lnTo>
                  <a:lnTo>
                    <a:pt x="162" y="24"/>
                  </a:lnTo>
                  <a:lnTo>
                    <a:pt x="156" y="24"/>
                  </a:lnTo>
                  <a:lnTo>
                    <a:pt x="156" y="30"/>
                  </a:lnTo>
                  <a:lnTo>
                    <a:pt x="156" y="36"/>
                  </a:lnTo>
                  <a:lnTo>
                    <a:pt x="162" y="36"/>
                  </a:lnTo>
                  <a:lnTo>
                    <a:pt x="162" y="42"/>
                  </a:lnTo>
                  <a:lnTo>
                    <a:pt x="168" y="42"/>
                  </a:lnTo>
                  <a:lnTo>
                    <a:pt x="168" y="48"/>
                  </a:lnTo>
                  <a:lnTo>
                    <a:pt x="168" y="54"/>
                  </a:lnTo>
                  <a:lnTo>
                    <a:pt x="168" y="60"/>
                  </a:lnTo>
                  <a:lnTo>
                    <a:pt x="162" y="60"/>
                  </a:lnTo>
                  <a:lnTo>
                    <a:pt x="162" y="54"/>
                  </a:lnTo>
                  <a:lnTo>
                    <a:pt x="162" y="60"/>
                  </a:lnTo>
                  <a:lnTo>
                    <a:pt x="162" y="54"/>
                  </a:lnTo>
                  <a:lnTo>
                    <a:pt x="156" y="54"/>
                  </a:lnTo>
                  <a:lnTo>
                    <a:pt x="162" y="54"/>
                  </a:lnTo>
                  <a:lnTo>
                    <a:pt x="156" y="54"/>
                  </a:lnTo>
                  <a:lnTo>
                    <a:pt x="156" y="60"/>
                  </a:lnTo>
                  <a:lnTo>
                    <a:pt x="150" y="60"/>
                  </a:lnTo>
                  <a:lnTo>
                    <a:pt x="144" y="60"/>
                  </a:lnTo>
                  <a:lnTo>
                    <a:pt x="138" y="60"/>
                  </a:lnTo>
                  <a:lnTo>
                    <a:pt x="132" y="60"/>
                  </a:lnTo>
                  <a:lnTo>
                    <a:pt x="132" y="66"/>
                  </a:lnTo>
                  <a:lnTo>
                    <a:pt x="126" y="66"/>
                  </a:lnTo>
                  <a:lnTo>
                    <a:pt x="120" y="72"/>
                  </a:lnTo>
                  <a:lnTo>
                    <a:pt x="120" y="66"/>
                  </a:lnTo>
                  <a:lnTo>
                    <a:pt x="114" y="66"/>
                  </a:lnTo>
                  <a:lnTo>
                    <a:pt x="114" y="72"/>
                  </a:lnTo>
                  <a:lnTo>
                    <a:pt x="108" y="72"/>
                  </a:lnTo>
                  <a:lnTo>
                    <a:pt x="108" y="78"/>
                  </a:lnTo>
                  <a:lnTo>
                    <a:pt x="108" y="84"/>
                  </a:lnTo>
                  <a:lnTo>
                    <a:pt x="102" y="90"/>
                  </a:lnTo>
                  <a:lnTo>
                    <a:pt x="102" y="96"/>
                  </a:lnTo>
                  <a:close/>
                  <a:moveTo>
                    <a:pt x="24" y="84"/>
                  </a:moveTo>
                  <a:lnTo>
                    <a:pt x="36" y="84"/>
                  </a:lnTo>
                  <a:lnTo>
                    <a:pt x="36" y="96"/>
                  </a:lnTo>
                  <a:lnTo>
                    <a:pt x="24" y="96"/>
                  </a:lnTo>
                  <a:lnTo>
                    <a:pt x="24" y="84"/>
                  </a:lnTo>
                  <a:close/>
                  <a:moveTo>
                    <a:pt x="30" y="48"/>
                  </a:moveTo>
                  <a:lnTo>
                    <a:pt x="42" y="48"/>
                  </a:lnTo>
                  <a:lnTo>
                    <a:pt x="42" y="54"/>
                  </a:lnTo>
                  <a:lnTo>
                    <a:pt x="30" y="54"/>
                  </a:lnTo>
                  <a:lnTo>
                    <a:pt x="30" y="48"/>
                  </a:lnTo>
                  <a:close/>
                  <a:moveTo>
                    <a:pt x="36" y="66"/>
                  </a:moveTo>
                  <a:lnTo>
                    <a:pt x="42" y="66"/>
                  </a:lnTo>
                  <a:lnTo>
                    <a:pt x="42" y="72"/>
                  </a:lnTo>
                  <a:lnTo>
                    <a:pt x="36" y="72"/>
                  </a:lnTo>
                  <a:lnTo>
                    <a:pt x="36" y="66"/>
                  </a:lnTo>
                  <a:close/>
                  <a:moveTo>
                    <a:pt x="18" y="66"/>
                  </a:moveTo>
                  <a:lnTo>
                    <a:pt x="24" y="66"/>
                  </a:lnTo>
                  <a:lnTo>
                    <a:pt x="24" y="72"/>
                  </a:lnTo>
                  <a:lnTo>
                    <a:pt x="18" y="72"/>
                  </a:lnTo>
                  <a:lnTo>
                    <a:pt x="18" y="66"/>
                  </a:lnTo>
                  <a:close/>
                  <a:moveTo>
                    <a:pt x="54" y="78"/>
                  </a:moveTo>
                  <a:lnTo>
                    <a:pt x="60" y="78"/>
                  </a:lnTo>
                  <a:lnTo>
                    <a:pt x="60" y="90"/>
                  </a:lnTo>
                  <a:lnTo>
                    <a:pt x="54" y="90"/>
                  </a:lnTo>
                  <a:lnTo>
                    <a:pt x="54" y="78"/>
                  </a:lnTo>
                  <a:close/>
                  <a:moveTo>
                    <a:pt x="42" y="84"/>
                  </a:moveTo>
                  <a:lnTo>
                    <a:pt x="48" y="84"/>
                  </a:lnTo>
                  <a:lnTo>
                    <a:pt x="48" y="96"/>
                  </a:lnTo>
                  <a:lnTo>
                    <a:pt x="42" y="96"/>
                  </a:lnTo>
                  <a:lnTo>
                    <a:pt x="42" y="84"/>
                  </a:lnTo>
                  <a:close/>
                  <a:moveTo>
                    <a:pt x="18" y="42"/>
                  </a:moveTo>
                  <a:lnTo>
                    <a:pt x="30" y="42"/>
                  </a:lnTo>
                  <a:lnTo>
                    <a:pt x="30" y="48"/>
                  </a:lnTo>
                  <a:lnTo>
                    <a:pt x="18" y="48"/>
                  </a:lnTo>
                  <a:lnTo>
                    <a:pt x="18" y="42"/>
                  </a:lnTo>
                  <a:close/>
                  <a:moveTo>
                    <a:pt x="24" y="78"/>
                  </a:moveTo>
                  <a:lnTo>
                    <a:pt x="30" y="78"/>
                  </a:lnTo>
                  <a:lnTo>
                    <a:pt x="30" y="84"/>
                  </a:lnTo>
                  <a:lnTo>
                    <a:pt x="24" y="84"/>
                  </a:lnTo>
                  <a:lnTo>
                    <a:pt x="24" y="78"/>
                  </a:lnTo>
                  <a:close/>
                  <a:moveTo>
                    <a:pt x="60" y="60"/>
                  </a:moveTo>
                  <a:lnTo>
                    <a:pt x="72" y="60"/>
                  </a:lnTo>
                  <a:lnTo>
                    <a:pt x="72" y="66"/>
                  </a:lnTo>
                  <a:lnTo>
                    <a:pt x="60" y="66"/>
                  </a:lnTo>
                  <a:lnTo>
                    <a:pt x="60" y="60"/>
                  </a:lnTo>
                  <a:close/>
                  <a:moveTo>
                    <a:pt x="36" y="84"/>
                  </a:moveTo>
                  <a:lnTo>
                    <a:pt x="42" y="84"/>
                  </a:lnTo>
                  <a:lnTo>
                    <a:pt x="42" y="96"/>
                  </a:lnTo>
                  <a:lnTo>
                    <a:pt x="36" y="96"/>
                  </a:lnTo>
                  <a:lnTo>
                    <a:pt x="36" y="84"/>
                  </a:lnTo>
                  <a:close/>
                  <a:moveTo>
                    <a:pt x="24" y="66"/>
                  </a:moveTo>
                  <a:lnTo>
                    <a:pt x="30" y="66"/>
                  </a:lnTo>
                  <a:lnTo>
                    <a:pt x="30" y="72"/>
                  </a:lnTo>
                  <a:lnTo>
                    <a:pt x="24" y="72"/>
                  </a:lnTo>
                  <a:lnTo>
                    <a:pt x="24" y="66"/>
                  </a:lnTo>
                  <a:close/>
                  <a:moveTo>
                    <a:pt x="42" y="78"/>
                  </a:moveTo>
                  <a:lnTo>
                    <a:pt x="48" y="78"/>
                  </a:lnTo>
                  <a:lnTo>
                    <a:pt x="48" y="84"/>
                  </a:lnTo>
                  <a:lnTo>
                    <a:pt x="42" y="84"/>
                  </a:lnTo>
                  <a:lnTo>
                    <a:pt x="42" y="78"/>
                  </a:lnTo>
                  <a:close/>
                  <a:moveTo>
                    <a:pt x="78" y="96"/>
                  </a:moveTo>
                  <a:lnTo>
                    <a:pt x="84" y="96"/>
                  </a:lnTo>
                  <a:lnTo>
                    <a:pt x="78" y="96"/>
                  </a:lnTo>
                  <a:close/>
                  <a:moveTo>
                    <a:pt x="30" y="78"/>
                  </a:moveTo>
                  <a:lnTo>
                    <a:pt x="36" y="78"/>
                  </a:lnTo>
                  <a:lnTo>
                    <a:pt x="30" y="78"/>
                  </a:lnTo>
                  <a:close/>
                  <a:moveTo>
                    <a:pt x="42" y="60"/>
                  </a:moveTo>
                  <a:lnTo>
                    <a:pt x="48" y="60"/>
                  </a:lnTo>
                  <a:lnTo>
                    <a:pt x="48" y="66"/>
                  </a:lnTo>
                  <a:lnTo>
                    <a:pt x="42" y="66"/>
                  </a:lnTo>
                  <a:lnTo>
                    <a:pt x="42" y="60"/>
                  </a:lnTo>
                  <a:close/>
                  <a:moveTo>
                    <a:pt x="54" y="66"/>
                  </a:moveTo>
                  <a:lnTo>
                    <a:pt x="60" y="66"/>
                  </a:lnTo>
                  <a:lnTo>
                    <a:pt x="60" y="72"/>
                  </a:lnTo>
                  <a:lnTo>
                    <a:pt x="54" y="72"/>
                  </a:lnTo>
                  <a:lnTo>
                    <a:pt x="54" y="66"/>
                  </a:lnTo>
                  <a:close/>
                  <a:moveTo>
                    <a:pt x="30" y="72"/>
                  </a:moveTo>
                  <a:lnTo>
                    <a:pt x="36" y="72"/>
                  </a:lnTo>
                  <a:lnTo>
                    <a:pt x="36" y="78"/>
                  </a:lnTo>
                  <a:lnTo>
                    <a:pt x="30" y="78"/>
                  </a:lnTo>
                  <a:lnTo>
                    <a:pt x="30" y="72"/>
                  </a:lnTo>
                  <a:close/>
                  <a:moveTo>
                    <a:pt x="48" y="78"/>
                  </a:moveTo>
                  <a:lnTo>
                    <a:pt x="54" y="78"/>
                  </a:lnTo>
                  <a:lnTo>
                    <a:pt x="48" y="78"/>
                  </a:lnTo>
                  <a:close/>
                  <a:moveTo>
                    <a:pt x="36" y="66"/>
                  </a:moveTo>
                  <a:lnTo>
                    <a:pt x="42" y="66"/>
                  </a:lnTo>
                  <a:lnTo>
                    <a:pt x="36" y="66"/>
                  </a:lnTo>
                  <a:close/>
                  <a:moveTo>
                    <a:pt x="12" y="78"/>
                  </a:moveTo>
                  <a:lnTo>
                    <a:pt x="18" y="78"/>
                  </a:lnTo>
                  <a:lnTo>
                    <a:pt x="18" y="84"/>
                  </a:lnTo>
                  <a:lnTo>
                    <a:pt x="12" y="84"/>
                  </a:lnTo>
                  <a:lnTo>
                    <a:pt x="12" y="78"/>
                  </a:lnTo>
                  <a:close/>
                  <a:moveTo>
                    <a:pt x="36" y="48"/>
                  </a:moveTo>
                  <a:lnTo>
                    <a:pt x="42" y="48"/>
                  </a:lnTo>
                  <a:lnTo>
                    <a:pt x="42" y="54"/>
                  </a:lnTo>
                  <a:lnTo>
                    <a:pt x="36" y="54"/>
                  </a:lnTo>
                  <a:lnTo>
                    <a:pt x="36" y="48"/>
                  </a:lnTo>
                  <a:close/>
                  <a:moveTo>
                    <a:pt x="18" y="78"/>
                  </a:moveTo>
                  <a:lnTo>
                    <a:pt x="18" y="84"/>
                  </a:lnTo>
                  <a:lnTo>
                    <a:pt x="19" y="84"/>
                  </a:lnTo>
                  <a:lnTo>
                    <a:pt x="18" y="78"/>
                  </a:lnTo>
                  <a:close/>
                  <a:moveTo>
                    <a:pt x="60" y="96"/>
                  </a:moveTo>
                  <a:lnTo>
                    <a:pt x="60" y="102"/>
                  </a:lnTo>
                  <a:lnTo>
                    <a:pt x="61" y="102"/>
                  </a:lnTo>
                  <a:lnTo>
                    <a:pt x="60" y="96"/>
                  </a:lnTo>
                  <a:close/>
                  <a:moveTo>
                    <a:pt x="36" y="48"/>
                  </a:moveTo>
                  <a:lnTo>
                    <a:pt x="42" y="48"/>
                  </a:lnTo>
                  <a:lnTo>
                    <a:pt x="36" y="48"/>
                  </a:lnTo>
                  <a:close/>
                  <a:moveTo>
                    <a:pt x="36" y="78"/>
                  </a:moveTo>
                  <a:lnTo>
                    <a:pt x="42" y="78"/>
                  </a:lnTo>
                  <a:lnTo>
                    <a:pt x="36" y="78"/>
                  </a:lnTo>
                  <a:close/>
                  <a:moveTo>
                    <a:pt x="84" y="102"/>
                  </a:moveTo>
                  <a:lnTo>
                    <a:pt x="84" y="108"/>
                  </a:lnTo>
                  <a:lnTo>
                    <a:pt x="85" y="108"/>
                  </a:lnTo>
                  <a:lnTo>
                    <a:pt x="84" y="10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91" name="Freeform 9"/>
            <p:cNvSpPr>
              <a:spLocks/>
            </p:cNvSpPr>
            <p:nvPr>
              <p:custDataLst>
                <p:tags r:id="rId62"/>
              </p:custDataLst>
            </p:nvPr>
          </p:nvSpPr>
          <p:spPr bwMode="gray">
            <a:xfrm>
              <a:off x="2025650" y="2632076"/>
              <a:ext cx="209550" cy="58738"/>
            </a:xfrm>
            <a:custGeom>
              <a:avLst/>
              <a:gdLst>
                <a:gd name="T0" fmla="*/ 0 w 168"/>
                <a:gd name="T1" fmla="*/ 17177 h 48"/>
                <a:gd name="T2" fmla="*/ 0 w 168"/>
                <a:gd name="T3" fmla="*/ 12406 h 48"/>
                <a:gd name="T4" fmla="*/ 1954 w 168"/>
                <a:gd name="T5" fmla="*/ 8589 h 48"/>
                <a:gd name="T6" fmla="*/ 3908 w 168"/>
                <a:gd name="T7" fmla="*/ 10497 h 48"/>
                <a:gd name="T8" fmla="*/ 6840 w 168"/>
                <a:gd name="T9" fmla="*/ 12406 h 48"/>
                <a:gd name="T10" fmla="*/ 10748 w 168"/>
                <a:gd name="T11" fmla="*/ 10497 h 48"/>
                <a:gd name="T12" fmla="*/ 10748 w 168"/>
                <a:gd name="T13" fmla="*/ 10497 h 48"/>
                <a:gd name="T14" fmla="*/ 12702 w 168"/>
                <a:gd name="T15" fmla="*/ 8589 h 48"/>
                <a:gd name="T16" fmla="*/ 17587 w 168"/>
                <a:gd name="T17" fmla="*/ 8589 h 48"/>
                <a:gd name="T18" fmla="*/ 21495 w 168"/>
                <a:gd name="T19" fmla="*/ 8589 h 48"/>
                <a:gd name="T20" fmla="*/ 23449 w 168"/>
                <a:gd name="T21" fmla="*/ 6680 h 48"/>
                <a:gd name="T22" fmla="*/ 23449 w 168"/>
                <a:gd name="T23" fmla="*/ 6680 h 48"/>
                <a:gd name="T24" fmla="*/ 19541 w 168"/>
                <a:gd name="T25" fmla="*/ 8589 h 48"/>
                <a:gd name="T26" fmla="*/ 15633 w 168"/>
                <a:gd name="T27" fmla="*/ 8589 h 48"/>
                <a:gd name="T28" fmla="*/ 10748 w 168"/>
                <a:gd name="T29" fmla="*/ 8589 h 48"/>
                <a:gd name="T30" fmla="*/ 8794 w 168"/>
                <a:gd name="T31" fmla="*/ 10497 h 48"/>
                <a:gd name="T32" fmla="*/ 6840 w 168"/>
                <a:gd name="T33" fmla="*/ 8589 h 48"/>
                <a:gd name="T34" fmla="*/ 3908 w 168"/>
                <a:gd name="T35" fmla="*/ 6680 h 48"/>
                <a:gd name="T36" fmla="*/ 3908 w 168"/>
                <a:gd name="T37" fmla="*/ 6680 h 48"/>
                <a:gd name="T38" fmla="*/ 8794 w 168"/>
                <a:gd name="T39" fmla="*/ 6680 h 48"/>
                <a:gd name="T40" fmla="*/ 12702 w 168"/>
                <a:gd name="T41" fmla="*/ 6680 h 48"/>
                <a:gd name="T42" fmla="*/ 17587 w 168"/>
                <a:gd name="T43" fmla="*/ 6680 h 48"/>
                <a:gd name="T44" fmla="*/ 21495 w 168"/>
                <a:gd name="T45" fmla="*/ 6680 h 48"/>
                <a:gd name="T46" fmla="*/ 26380 w 168"/>
                <a:gd name="T47" fmla="*/ 6680 h 48"/>
                <a:gd name="T48" fmla="*/ 28334 w 168"/>
                <a:gd name="T49" fmla="*/ 3817 h 48"/>
                <a:gd name="T50" fmla="*/ 30289 w 168"/>
                <a:gd name="T51" fmla="*/ 1909 h 48"/>
                <a:gd name="T52" fmla="*/ 34197 w 168"/>
                <a:gd name="T53" fmla="*/ 1909 h 48"/>
                <a:gd name="T54" fmla="*/ 37127 w 168"/>
                <a:gd name="T55" fmla="*/ 1909 h 48"/>
                <a:gd name="T56" fmla="*/ 41036 w 168"/>
                <a:gd name="T57" fmla="*/ 1909 h 48"/>
                <a:gd name="T58" fmla="*/ 42990 w 168"/>
                <a:gd name="T59" fmla="*/ 3817 h 48"/>
                <a:gd name="T60" fmla="*/ 47875 w 168"/>
                <a:gd name="T61" fmla="*/ 3817 h 48"/>
                <a:gd name="T62" fmla="*/ 49829 w 168"/>
                <a:gd name="T63" fmla="*/ 8589 h 48"/>
                <a:gd name="T64" fmla="*/ 51783 w 168"/>
                <a:gd name="T65" fmla="*/ 6680 h 48"/>
                <a:gd name="T66" fmla="*/ 56668 w 168"/>
                <a:gd name="T67" fmla="*/ 6680 h 48"/>
                <a:gd name="T68" fmla="*/ 60576 w 168"/>
                <a:gd name="T69" fmla="*/ 6680 h 48"/>
                <a:gd name="T70" fmla="*/ 60576 w 168"/>
                <a:gd name="T71" fmla="*/ 10497 h 48"/>
                <a:gd name="T72" fmla="*/ 56668 w 168"/>
                <a:gd name="T73" fmla="*/ 10497 h 48"/>
                <a:gd name="T74" fmla="*/ 53737 w 168"/>
                <a:gd name="T75" fmla="*/ 12406 h 48"/>
                <a:gd name="T76" fmla="*/ 49829 w 168"/>
                <a:gd name="T77" fmla="*/ 12406 h 48"/>
                <a:gd name="T78" fmla="*/ 47875 w 168"/>
                <a:gd name="T79" fmla="*/ 10497 h 48"/>
                <a:gd name="T80" fmla="*/ 42990 w 168"/>
                <a:gd name="T81" fmla="*/ 10497 h 48"/>
                <a:gd name="T82" fmla="*/ 41036 w 168"/>
                <a:gd name="T83" fmla="*/ 8589 h 48"/>
                <a:gd name="T84" fmla="*/ 37127 w 168"/>
                <a:gd name="T85" fmla="*/ 8589 h 48"/>
                <a:gd name="T86" fmla="*/ 32243 w 168"/>
                <a:gd name="T87" fmla="*/ 6680 h 48"/>
                <a:gd name="T88" fmla="*/ 30289 w 168"/>
                <a:gd name="T89" fmla="*/ 10497 h 48"/>
                <a:gd name="T90" fmla="*/ 26380 w 168"/>
                <a:gd name="T91" fmla="*/ 10497 h 48"/>
                <a:gd name="T92" fmla="*/ 21495 w 168"/>
                <a:gd name="T93" fmla="*/ 10497 h 48"/>
                <a:gd name="T94" fmla="*/ 19541 w 168"/>
                <a:gd name="T95" fmla="*/ 12406 h 48"/>
                <a:gd name="T96" fmla="*/ 17587 w 168"/>
                <a:gd name="T97" fmla="*/ 14314 h 48"/>
                <a:gd name="T98" fmla="*/ 12702 w 168"/>
                <a:gd name="T99" fmla="*/ 14314 h 48"/>
                <a:gd name="T100" fmla="*/ 8794 w 168"/>
                <a:gd name="T101" fmla="*/ 14314 h 48"/>
                <a:gd name="T102" fmla="*/ 3908 w 168"/>
                <a:gd name="T103" fmla="*/ 14314 h 48"/>
                <a:gd name="T104" fmla="*/ 1954 w 168"/>
                <a:gd name="T105" fmla="*/ 17177 h 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8" h="48">
                  <a:moveTo>
                    <a:pt x="6" y="48"/>
                  </a:moveTo>
                  <a:lnTo>
                    <a:pt x="0" y="48"/>
                  </a:lnTo>
                  <a:lnTo>
                    <a:pt x="0" y="42"/>
                  </a:lnTo>
                  <a:lnTo>
                    <a:pt x="0" y="36"/>
                  </a:lnTo>
                  <a:lnTo>
                    <a:pt x="0" y="30"/>
                  </a:lnTo>
                  <a:lnTo>
                    <a:pt x="6" y="24"/>
                  </a:lnTo>
                  <a:lnTo>
                    <a:pt x="12" y="24"/>
                  </a:lnTo>
                  <a:lnTo>
                    <a:pt x="12" y="30"/>
                  </a:lnTo>
                  <a:lnTo>
                    <a:pt x="18" y="30"/>
                  </a:lnTo>
                  <a:lnTo>
                    <a:pt x="18" y="36"/>
                  </a:lnTo>
                  <a:lnTo>
                    <a:pt x="24" y="36"/>
                  </a:lnTo>
                  <a:lnTo>
                    <a:pt x="30" y="30"/>
                  </a:lnTo>
                  <a:lnTo>
                    <a:pt x="30" y="36"/>
                  </a:lnTo>
                  <a:lnTo>
                    <a:pt x="30" y="30"/>
                  </a:lnTo>
                  <a:lnTo>
                    <a:pt x="36" y="30"/>
                  </a:lnTo>
                  <a:lnTo>
                    <a:pt x="36" y="24"/>
                  </a:lnTo>
                  <a:lnTo>
                    <a:pt x="42" y="24"/>
                  </a:lnTo>
                  <a:lnTo>
                    <a:pt x="48" y="24"/>
                  </a:lnTo>
                  <a:lnTo>
                    <a:pt x="54" y="24"/>
                  </a:lnTo>
                  <a:lnTo>
                    <a:pt x="60" y="24"/>
                  </a:lnTo>
                  <a:lnTo>
                    <a:pt x="66" y="24"/>
                  </a:lnTo>
                  <a:lnTo>
                    <a:pt x="66" y="18"/>
                  </a:lnTo>
                  <a:lnTo>
                    <a:pt x="66" y="24"/>
                  </a:lnTo>
                  <a:lnTo>
                    <a:pt x="66" y="18"/>
                  </a:lnTo>
                  <a:lnTo>
                    <a:pt x="60" y="24"/>
                  </a:lnTo>
                  <a:lnTo>
                    <a:pt x="54" y="24"/>
                  </a:lnTo>
                  <a:lnTo>
                    <a:pt x="48" y="24"/>
                  </a:lnTo>
                  <a:lnTo>
                    <a:pt x="42" y="24"/>
                  </a:lnTo>
                  <a:lnTo>
                    <a:pt x="36" y="24"/>
                  </a:lnTo>
                  <a:lnTo>
                    <a:pt x="30" y="24"/>
                  </a:lnTo>
                  <a:lnTo>
                    <a:pt x="30" y="30"/>
                  </a:lnTo>
                  <a:lnTo>
                    <a:pt x="24" y="30"/>
                  </a:lnTo>
                  <a:lnTo>
                    <a:pt x="18" y="30"/>
                  </a:lnTo>
                  <a:lnTo>
                    <a:pt x="18" y="24"/>
                  </a:lnTo>
                  <a:lnTo>
                    <a:pt x="12" y="24"/>
                  </a:lnTo>
                  <a:lnTo>
                    <a:pt x="12" y="18"/>
                  </a:lnTo>
                  <a:lnTo>
                    <a:pt x="18" y="18"/>
                  </a:lnTo>
                  <a:lnTo>
                    <a:pt x="12" y="18"/>
                  </a:lnTo>
                  <a:lnTo>
                    <a:pt x="18" y="18"/>
                  </a:lnTo>
                  <a:lnTo>
                    <a:pt x="24" y="18"/>
                  </a:lnTo>
                  <a:lnTo>
                    <a:pt x="30" y="18"/>
                  </a:lnTo>
                  <a:lnTo>
                    <a:pt x="36" y="18"/>
                  </a:lnTo>
                  <a:lnTo>
                    <a:pt x="42" y="18"/>
                  </a:lnTo>
                  <a:lnTo>
                    <a:pt x="48" y="18"/>
                  </a:lnTo>
                  <a:lnTo>
                    <a:pt x="54" y="18"/>
                  </a:lnTo>
                  <a:lnTo>
                    <a:pt x="60" y="18"/>
                  </a:lnTo>
                  <a:lnTo>
                    <a:pt x="66" y="18"/>
                  </a:lnTo>
                  <a:lnTo>
                    <a:pt x="72" y="18"/>
                  </a:lnTo>
                  <a:lnTo>
                    <a:pt x="72" y="12"/>
                  </a:lnTo>
                  <a:lnTo>
                    <a:pt x="78" y="12"/>
                  </a:lnTo>
                  <a:lnTo>
                    <a:pt x="78" y="6"/>
                  </a:lnTo>
                  <a:lnTo>
                    <a:pt x="84" y="6"/>
                  </a:lnTo>
                  <a:lnTo>
                    <a:pt x="90" y="6"/>
                  </a:lnTo>
                  <a:lnTo>
                    <a:pt x="96" y="6"/>
                  </a:lnTo>
                  <a:lnTo>
                    <a:pt x="96" y="0"/>
                  </a:lnTo>
                  <a:lnTo>
                    <a:pt x="102" y="6"/>
                  </a:lnTo>
                  <a:lnTo>
                    <a:pt x="108" y="6"/>
                  </a:lnTo>
                  <a:lnTo>
                    <a:pt x="114" y="6"/>
                  </a:lnTo>
                  <a:lnTo>
                    <a:pt x="114" y="12"/>
                  </a:lnTo>
                  <a:lnTo>
                    <a:pt x="120" y="12"/>
                  </a:lnTo>
                  <a:lnTo>
                    <a:pt x="126" y="12"/>
                  </a:lnTo>
                  <a:lnTo>
                    <a:pt x="132" y="12"/>
                  </a:lnTo>
                  <a:lnTo>
                    <a:pt x="132" y="18"/>
                  </a:lnTo>
                  <a:lnTo>
                    <a:pt x="138" y="24"/>
                  </a:lnTo>
                  <a:lnTo>
                    <a:pt x="144" y="24"/>
                  </a:lnTo>
                  <a:lnTo>
                    <a:pt x="144" y="18"/>
                  </a:lnTo>
                  <a:lnTo>
                    <a:pt x="150" y="18"/>
                  </a:lnTo>
                  <a:lnTo>
                    <a:pt x="156" y="18"/>
                  </a:lnTo>
                  <a:lnTo>
                    <a:pt x="162" y="18"/>
                  </a:lnTo>
                  <a:lnTo>
                    <a:pt x="168" y="18"/>
                  </a:lnTo>
                  <a:lnTo>
                    <a:pt x="168" y="24"/>
                  </a:lnTo>
                  <a:lnTo>
                    <a:pt x="168" y="30"/>
                  </a:lnTo>
                  <a:lnTo>
                    <a:pt x="162" y="30"/>
                  </a:lnTo>
                  <a:lnTo>
                    <a:pt x="156" y="30"/>
                  </a:lnTo>
                  <a:lnTo>
                    <a:pt x="156" y="36"/>
                  </a:lnTo>
                  <a:lnTo>
                    <a:pt x="150" y="36"/>
                  </a:lnTo>
                  <a:lnTo>
                    <a:pt x="144" y="36"/>
                  </a:lnTo>
                  <a:lnTo>
                    <a:pt x="138" y="36"/>
                  </a:lnTo>
                  <a:lnTo>
                    <a:pt x="132" y="36"/>
                  </a:lnTo>
                  <a:lnTo>
                    <a:pt x="132" y="30"/>
                  </a:lnTo>
                  <a:lnTo>
                    <a:pt x="126" y="30"/>
                  </a:lnTo>
                  <a:lnTo>
                    <a:pt x="120" y="30"/>
                  </a:lnTo>
                  <a:lnTo>
                    <a:pt x="114" y="30"/>
                  </a:lnTo>
                  <a:lnTo>
                    <a:pt x="114" y="24"/>
                  </a:lnTo>
                  <a:lnTo>
                    <a:pt x="108" y="24"/>
                  </a:lnTo>
                  <a:lnTo>
                    <a:pt x="102" y="24"/>
                  </a:lnTo>
                  <a:lnTo>
                    <a:pt x="96" y="18"/>
                  </a:lnTo>
                  <a:lnTo>
                    <a:pt x="90" y="18"/>
                  </a:lnTo>
                  <a:lnTo>
                    <a:pt x="90" y="24"/>
                  </a:lnTo>
                  <a:lnTo>
                    <a:pt x="84" y="30"/>
                  </a:lnTo>
                  <a:lnTo>
                    <a:pt x="78" y="30"/>
                  </a:lnTo>
                  <a:lnTo>
                    <a:pt x="72" y="30"/>
                  </a:lnTo>
                  <a:lnTo>
                    <a:pt x="66" y="30"/>
                  </a:lnTo>
                  <a:lnTo>
                    <a:pt x="60" y="30"/>
                  </a:lnTo>
                  <a:lnTo>
                    <a:pt x="54" y="30"/>
                  </a:lnTo>
                  <a:lnTo>
                    <a:pt x="54" y="36"/>
                  </a:lnTo>
                  <a:lnTo>
                    <a:pt x="54" y="42"/>
                  </a:lnTo>
                  <a:lnTo>
                    <a:pt x="48" y="42"/>
                  </a:lnTo>
                  <a:lnTo>
                    <a:pt x="42" y="42"/>
                  </a:lnTo>
                  <a:lnTo>
                    <a:pt x="36" y="42"/>
                  </a:lnTo>
                  <a:lnTo>
                    <a:pt x="30" y="42"/>
                  </a:lnTo>
                  <a:lnTo>
                    <a:pt x="24" y="42"/>
                  </a:lnTo>
                  <a:lnTo>
                    <a:pt x="18" y="42"/>
                  </a:lnTo>
                  <a:lnTo>
                    <a:pt x="12" y="42"/>
                  </a:lnTo>
                  <a:lnTo>
                    <a:pt x="6" y="42"/>
                  </a:lnTo>
                  <a:lnTo>
                    <a:pt x="6" y="48"/>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93" name="Freeform 10"/>
            <p:cNvSpPr>
              <a:spLocks noEditPoints="1"/>
            </p:cNvSpPr>
            <p:nvPr>
              <p:custDataLst>
                <p:tags r:id="rId63"/>
              </p:custDataLst>
            </p:nvPr>
          </p:nvSpPr>
          <p:spPr bwMode="gray">
            <a:xfrm>
              <a:off x="1974850" y="2430463"/>
              <a:ext cx="431800" cy="314325"/>
            </a:xfrm>
            <a:custGeom>
              <a:avLst/>
              <a:gdLst>
                <a:gd name="T0" fmla="*/ 66972 w 348"/>
                <a:gd name="T1" fmla="*/ 82109 h 252"/>
                <a:gd name="T2" fmla="*/ 51442 w 348"/>
                <a:gd name="T3" fmla="*/ 82109 h 252"/>
                <a:gd name="T4" fmla="*/ 40766 w 348"/>
                <a:gd name="T5" fmla="*/ 86996 h 252"/>
                <a:gd name="T6" fmla="*/ 30089 w 348"/>
                <a:gd name="T7" fmla="*/ 86996 h 252"/>
                <a:gd name="T8" fmla="*/ 17471 w 348"/>
                <a:gd name="T9" fmla="*/ 87973 h 252"/>
                <a:gd name="T10" fmla="*/ 17471 w 348"/>
                <a:gd name="T11" fmla="*/ 84064 h 252"/>
                <a:gd name="T12" fmla="*/ 21354 w 348"/>
                <a:gd name="T13" fmla="*/ 84064 h 252"/>
                <a:gd name="T14" fmla="*/ 14559 w 348"/>
                <a:gd name="T15" fmla="*/ 80154 h 252"/>
                <a:gd name="T16" fmla="*/ 21354 w 348"/>
                <a:gd name="T17" fmla="*/ 73311 h 252"/>
                <a:gd name="T18" fmla="*/ 33972 w 348"/>
                <a:gd name="T19" fmla="*/ 73311 h 252"/>
                <a:gd name="T20" fmla="*/ 42707 w 348"/>
                <a:gd name="T21" fmla="*/ 69401 h 252"/>
                <a:gd name="T22" fmla="*/ 53384 w 348"/>
                <a:gd name="T23" fmla="*/ 67447 h 252"/>
                <a:gd name="T24" fmla="*/ 62119 w 348"/>
                <a:gd name="T25" fmla="*/ 71356 h 252"/>
                <a:gd name="T26" fmla="*/ 72796 w 348"/>
                <a:gd name="T27" fmla="*/ 69401 h 252"/>
                <a:gd name="T28" fmla="*/ 67943 w 348"/>
                <a:gd name="T29" fmla="*/ 64513 h 252"/>
                <a:gd name="T30" fmla="*/ 60178 w 348"/>
                <a:gd name="T31" fmla="*/ 62559 h 252"/>
                <a:gd name="T32" fmla="*/ 49502 w 348"/>
                <a:gd name="T33" fmla="*/ 58649 h 252"/>
                <a:gd name="T34" fmla="*/ 40766 w 348"/>
                <a:gd name="T35" fmla="*/ 62559 h 252"/>
                <a:gd name="T36" fmla="*/ 30089 w 348"/>
                <a:gd name="T37" fmla="*/ 64513 h 252"/>
                <a:gd name="T38" fmla="*/ 19412 w 348"/>
                <a:gd name="T39" fmla="*/ 62559 h 252"/>
                <a:gd name="T40" fmla="*/ 19412 w 348"/>
                <a:gd name="T41" fmla="*/ 58649 h 252"/>
                <a:gd name="T42" fmla="*/ 14559 w 348"/>
                <a:gd name="T43" fmla="*/ 58649 h 252"/>
                <a:gd name="T44" fmla="*/ 12618 w 348"/>
                <a:gd name="T45" fmla="*/ 51807 h 252"/>
                <a:gd name="T46" fmla="*/ 8735 w 348"/>
                <a:gd name="T47" fmla="*/ 43009 h 252"/>
                <a:gd name="T48" fmla="*/ 1942 w 348"/>
                <a:gd name="T49" fmla="*/ 39100 h 252"/>
                <a:gd name="T50" fmla="*/ 10677 w 348"/>
                <a:gd name="T51" fmla="*/ 34212 h 252"/>
                <a:gd name="T52" fmla="*/ 14559 w 348"/>
                <a:gd name="T53" fmla="*/ 26392 h 252"/>
                <a:gd name="T54" fmla="*/ 21354 w 348"/>
                <a:gd name="T55" fmla="*/ 17595 h 252"/>
                <a:gd name="T56" fmla="*/ 23295 w 348"/>
                <a:gd name="T57" fmla="*/ 8798 h 252"/>
                <a:gd name="T58" fmla="*/ 27177 w 348"/>
                <a:gd name="T59" fmla="*/ 1955 h 252"/>
                <a:gd name="T60" fmla="*/ 36883 w 348"/>
                <a:gd name="T61" fmla="*/ 3910 h 252"/>
                <a:gd name="T62" fmla="*/ 42707 w 348"/>
                <a:gd name="T63" fmla="*/ 1955 h 252"/>
                <a:gd name="T64" fmla="*/ 53384 w 348"/>
                <a:gd name="T65" fmla="*/ 0 h 252"/>
                <a:gd name="T66" fmla="*/ 64061 w 348"/>
                <a:gd name="T67" fmla="*/ 1955 h 252"/>
                <a:gd name="T68" fmla="*/ 72796 w 348"/>
                <a:gd name="T69" fmla="*/ 8798 h 252"/>
                <a:gd name="T70" fmla="*/ 76678 w 348"/>
                <a:gd name="T71" fmla="*/ 12707 h 252"/>
                <a:gd name="T72" fmla="*/ 81532 w 348"/>
                <a:gd name="T73" fmla="*/ 12707 h 252"/>
                <a:gd name="T74" fmla="*/ 86385 w 348"/>
                <a:gd name="T75" fmla="*/ 21504 h 252"/>
                <a:gd name="T76" fmla="*/ 90267 w 348"/>
                <a:gd name="T77" fmla="*/ 23460 h 252"/>
                <a:gd name="T78" fmla="*/ 92209 w 348"/>
                <a:gd name="T79" fmla="*/ 30302 h 252"/>
                <a:gd name="T80" fmla="*/ 100944 w 348"/>
                <a:gd name="T81" fmla="*/ 34212 h 252"/>
                <a:gd name="T82" fmla="*/ 106768 w 348"/>
                <a:gd name="T83" fmla="*/ 41054 h 252"/>
                <a:gd name="T84" fmla="*/ 111621 w 348"/>
                <a:gd name="T85" fmla="*/ 49851 h 252"/>
                <a:gd name="T86" fmla="*/ 109679 w 348"/>
                <a:gd name="T87" fmla="*/ 60604 h 252"/>
                <a:gd name="T88" fmla="*/ 115503 w 348"/>
                <a:gd name="T89" fmla="*/ 67447 h 252"/>
                <a:gd name="T90" fmla="*/ 122298 w 348"/>
                <a:gd name="T91" fmla="*/ 73311 h 252"/>
                <a:gd name="T92" fmla="*/ 122298 w 348"/>
                <a:gd name="T93" fmla="*/ 78198 h 252"/>
                <a:gd name="T94" fmla="*/ 122298 w 348"/>
                <a:gd name="T95" fmla="*/ 86996 h 252"/>
                <a:gd name="T96" fmla="*/ 120356 w 348"/>
                <a:gd name="T97" fmla="*/ 87973 h 252"/>
                <a:gd name="T98" fmla="*/ 106768 w 348"/>
                <a:gd name="T99" fmla="*/ 87973 h 252"/>
                <a:gd name="T100" fmla="*/ 96091 w 348"/>
                <a:gd name="T101" fmla="*/ 87973 h 252"/>
                <a:gd name="T102" fmla="*/ 87355 w 348"/>
                <a:gd name="T103" fmla="*/ 84064 h 252"/>
                <a:gd name="T104" fmla="*/ 76678 w 348"/>
                <a:gd name="T105" fmla="*/ 82109 h 252"/>
                <a:gd name="T106" fmla="*/ 17471 w 348"/>
                <a:gd name="T107" fmla="*/ 62559 h 252"/>
                <a:gd name="T108" fmla="*/ 17471 w 348"/>
                <a:gd name="T109" fmla="*/ 56694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8" h="252">
                  <a:moveTo>
                    <a:pt x="216" y="228"/>
                  </a:moveTo>
                  <a:lnTo>
                    <a:pt x="210" y="228"/>
                  </a:lnTo>
                  <a:lnTo>
                    <a:pt x="204" y="228"/>
                  </a:lnTo>
                  <a:lnTo>
                    <a:pt x="198" y="228"/>
                  </a:lnTo>
                  <a:lnTo>
                    <a:pt x="192" y="228"/>
                  </a:lnTo>
                  <a:lnTo>
                    <a:pt x="186" y="228"/>
                  </a:lnTo>
                  <a:lnTo>
                    <a:pt x="180" y="228"/>
                  </a:lnTo>
                  <a:lnTo>
                    <a:pt x="168" y="228"/>
                  </a:lnTo>
                  <a:lnTo>
                    <a:pt x="162" y="228"/>
                  </a:lnTo>
                  <a:lnTo>
                    <a:pt x="156" y="228"/>
                  </a:lnTo>
                  <a:lnTo>
                    <a:pt x="150" y="228"/>
                  </a:lnTo>
                  <a:lnTo>
                    <a:pt x="144" y="228"/>
                  </a:lnTo>
                  <a:lnTo>
                    <a:pt x="138" y="228"/>
                  </a:lnTo>
                  <a:lnTo>
                    <a:pt x="132" y="228"/>
                  </a:lnTo>
                  <a:lnTo>
                    <a:pt x="126" y="234"/>
                  </a:lnTo>
                  <a:lnTo>
                    <a:pt x="120" y="234"/>
                  </a:lnTo>
                  <a:lnTo>
                    <a:pt x="120" y="240"/>
                  </a:lnTo>
                  <a:lnTo>
                    <a:pt x="114" y="240"/>
                  </a:lnTo>
                  <a:lnTo>
                    <a:pt x="108" y="240"/>
                  </a:lnTo>
                  <a:lnTo>
                    <a:pt x="108" y="246"/>
                  </a:lnTo>
                  <a:lnTo>
                    <a:pt x="102" y="246"/>
                  </a:lnTo>
                  <a:lnTo>
                    <a:pt x="96" y="246"/>
                  </a:lnTo>
                  <a:lnTo>
                    <a:pt x="90" y="246"/>
                  </a:lnTo>
                  <a:lnTo>
                    <a:pt x="84" y="240"/>
                  </a:lnTo>
                  <a:lnTo>
                    <a:pt x="78" y="240"/>
                  </a:lnTo>
                  <a:lnTo>
                    <a:pt x="72" y="246"/>
                  </a:lnTo>
                  <a:lnTo>
                    <a:pt x="66" y="246"/>
                  </a:lnTo>
                  <a:lnTo>
                    <a:pt x="60" y="246"/>
                  </a:lnTo>
                  <a:lnTo>
                    <a:pt x="54" y="246"/>
                  </a:lnTo>
                  <a:lnTo>
                    <a:pt x="48" y="246"/>
                  </a:lnTo>
                  <a:lnTo>
                    <a:pt x="48" y="252"/>
                  </a:lnTo>
                  <a:lnTo>
                    <a:pt x="48" y="246"/>
                  </a:lnTo>
                  <a:lnTo>
                    <a:pt x="42" y="246"/>
                  </a:lnTo>
                  <a:lnTo>
                    <a:pt x="42" y="240"/>
                  </a:lnTo>
                  <a:lnTo>
                    <a:pt x="48" y="240"/>
                  </a:lnTo>
                  <a:lnTo>
                    <a:pt x="48" y="234"/>
                  </a:lnTo>
                  <a:lnTo>
                    <a:pt x="48" y="240"/>
                  </a:lnTo>
                  <a:lnTo>
                    <a:pt x="48" y="234"/>
                  </a:lnTo>
                  <a:lnTo>
                    <a:pt x="54" y="234"/>
                  </a:lnTo>
                  <a:lnTo>
                    <a:pt x="60" y="234"/>
                  </a:lnTo>
                  <a:lnTo>
                    <a:pt x="66" y="234"/>
                  </a:lnTo>
                  <a:lnTo>
                    <a:pt x="60" y="234"/>
                  </a:lnTo>
                  <a:lnTo>
                    <a:pt x="54" y="228"/>
                  </a:lnTo>
                  <a:lnTo>
                    <a:pt x="54" y="234"/>
                  </a:lnTo>
                  <a:lnTo>
                    <a:pt x="48" y="234"/>
                  </a:lnTo>
                  <a:lnTo>
                    <a:pt x="42" y="234"/>
                  </a:lnTo>
                  <a:lnTo>
                    <a:pt x="42" y="228"/>
                  </a:lnTo>
                  <a:lnTo>
                    <a:pt x="42" y="222"/>
                  </a:lnTo>
                  <a:lnTo>
                    <a:pt x="42" y="216"/>
                  </a:lnTo>
                  <a:lnTo>
                    <a:pt x="48" y="216"/>
                  </a:lnTo>
                  <a:lnTo>
                    <a:pt x="48" y="210"/>
                  </a:lnTo>
                  <a:lnTo>
                    <a:pt x="48" y="204"/>
                  </a:lnTo>
                  <a:lnTo>
                    <a:pt x="54" y="204"/>
                  </a:lnTo>
                  <a:lnTo>
                    <a:pt x="60" y="204"/>
                  </a:lnTo>
                  <a:lnTo>
                    <a:pt x="66" y="204"/>
                  </a:lnTo>
                  <a:lnTo>
                    <a:pt x="72" y="204"/>
                  </a:lnTo>
                  <a:lnTo>
                    <a:pt x="78" y="204"/>
                  </a:lnTo>
                  <a:lnTo>
                    <a:pt x="84" y="204"/>
                  </a:lnTo>
                  <a:lnTo>
                    <a:pt x="90" y="204"/>
                  </a:lnTo>
                  <a:lnTo>
                    <a:pt x="96" y="204"/>
                  </a:lnTo>
                  <a:lnTo>
                    <a:pt x="96" y="198"/>
                  </a:lnTo>
                  <a:lnTo>
                    <a:pt x="96" y="192"/>
                  </a:lnTo>
                  <a:lnTo>
                    <a:pt x="102" y="192"/>
                  </a:lnTo>
                  <a:lnTo>
                    <a:pt x="108" y="192"/>
                  </a:lnTo>
                  <a:lnTo>
                    <a:pt x="114" y="192"/>
                  </a:lnTo>
                  <a:lnTo>
                    <a:pt x="120" y="192"/>
                  </a:lnTo>
                  <a:lnTo>
                    <a:pt x="126" y="192"/>
                  </a:lnTo>
                  <a:lnTo>
                    <a:pt x="132" y="186"/>
                  </a:lnTo>
                  <a:lnTo>
                    <a:pt x="132" y="180"/>
                  </a:lnTo>
                  <a:lnTo>
                    <a:pt x="138" y="180"/>
                  </a:lnTo>
                  <a:lnTo>
                    <a:pt x="144" y="186"/>
                  </a:lnTo>
                  <a:lnTo>
                    <a:pt x="150" y="186"/>
                  </a:lnTo>
                  <a:lnTo>
                    <a:pt x="156" y="186"/>
                  </a:lnTo>
                  <a:lnTo>
                    <a:pt x="156" y="192"/>
                  </a:lnTo>
                  <a:lnTo>
                    <a:pt x="162" y="192"/>
                  </a:lnTo>
                  <a:lnTo>
                    <a:pt x="168" y="192"/>
                  </a:lnTo>
                  <a:lnTo>
                    <a:pt x="174" y="192"/>
                  </a:lnTo>
                  <a:lnTo>
                    <a:pt x="174" y="198"/>
                  </a:lnTo>
                  <a:lnTo>
                    <a:pt x="180" y="198"/>
                  </a:lnTo>
                  <a:lnTo>
                    <a:pt x="186" y="198"/>
                  </a:lnTo>
                  <a:lnTo>
                    <a:pt x="192" y="198"/>
                  </a:lnTo>
                  <a:lnTo>
                    <a:pt x="198" y="198"/>
                  </a:lnTo>
                  <a:lnTo>
                    <a:pt x="198" y="192"/>
                  </a:lnTo>
                  <a:lnTo>
                    <a:pt x="204" y="192"/>
                  </a:lnTo>
                  <a:lnTo>
                    <a:pt x="210" y="192"/>
                  </a:lnTo>
                  <a:lnTo>
                    <a:pt x="210" y="186"/>
                  </a:lnTo>
                  <a:lnTo>
                    <a:pt x="210" y="180"/>
                  </a:lnTo>
                  <a:lnTo>
                    <a:pt x="204" y="180"/>
                  </a:lnTo>
                  <a:lnTo>
                    <a:pt x="198" y="180"/>
                  </a:lnTo>
                  <a:lnTo>
                    <a:pt x="192" y="180"/>
                  </a:lnTo>
                  <a:lnTo>
                    <a:pt x="186" y="180"/>
                  </a:lnTo>
                  <a:lnTo>
                    <a:pt x="186" y="186"/>
                  </a:lnTo>
                  <a:lnTo>
                    <a:pt x="180" y="186"/>
                  </a:lnTo>
                  <a:lnTo>
                    <a:pt x="174" y="180"/>
                  </a:lnTo>
                  <a:lnTo>
                    <a:pt x="174" y="174"/>
                  </a:lnTo>
                  <a:lnTo>
                    <a:pt x="168" y="174"/>
                  </a:lnTo>
                  <a:lnTo>
                    <a:pt x="162" y="174"/>
                  </a:lnTo>
                  <a:lnTo>
                    <a:pt x="156" y="174"/>
                  </a:lnTo>
                  <a:lnTo>
                    <a:pt x="156" y="168"/>
                  </a:lnTo>
                  <a:lnTo>
                    <a:pt x="150" y="168"/>
                  </a:lnTo>
                  <a:lnTo>
                    <a:pt x="144" y="168"/>
                  </a:lnTo>
                  <a:lnTo>
                    <a:pt x="138" y="162"/>
                  </a:lnTo>
                  <a:lnTo>
                    <a:pt x="138" y="168"/>
                  </a:lnTo>
                  <a:lnTo>
                    <a:pt x="132" y="168"/>
                  </a:lnTo>
                  <a:lnTo>
                    <a:pt x="126" y="168"/>
                  </a:lnTo>
                  <a:lnTo>
                    <a:pt x="120" y="168"/>
                  </a:lnTo>
                  <a:lnTo>
                    <a:pt x="120" y="174"/>
                  </a:lnTo>
                  <a:lnTo>
                    <a:pt x="114" y="174"/>
                  </a:lnTo>
                  <a:lnTo>
                    <a:pt x="114" y="180"/>
                  </a:lnTo>
                  <a:lnTo>
                    <a:pt x="108" y="180"/>
                  </a:lnTo>
                  <a:lnTo>
                    <a:pt x="102" y="180"/>
                  </a:lnTo>
                  <a:lnTo>
                    <a:pt x="96" y="180"/>
                  </a:lnTo>
                  <a:lnTo>
                    <a:pt x="90" y="180"/>
                  </a:lnTo>
                  <a:lnTo>
                    <a:pt x="84" y="180"/>
                  </a:lnTo>
                  <a:lnTo>
                    <a:pt x="78" y="180"/>
                  </a:lnTo>
                  <a:lnTo>
                    <a:pt x="72" y="180"/>
                  </a:lnTo>
                  <a:lnTo>
                    <a:pt x="66" y="180"/>
                  </a:lnTo>
                  <a:lnTo>
                    <a:pt x="60" y="180"/>
                  </a:lnTo>
                  <a:lnTo>
                    <a:pt x="54" y="180"/>
                  </a:lnTo>
                  <a:lnTo>
                    <a:pt x="54" y="174"/>
                  </a:lnTo>
                  <a:lnTo>
                    <a:pt x="54" y="168"/>
                  </a:lnTo>
                  <a:lnTo>
                    <a:pt x="54" y="162"/>
                  </a:lnTo>
                  <a:lnTo>
                    <a:pt x="60" y="162"/>
                  </a:lnTo>
                  <a:lnTo>
                    <a:pt x="54" y="162"/>
                  </a:lnTo>
                  <a:lnTo>
                    <a:pt x="60" y="162"/>
                  </a:lnTo>
                  <a:lnTo>
                    <a:pt x="54" y="162"/>
                  </a:lnTo>
                  <a:lnTo>
                    <a:pt x="48" y="162"/>
                  </a:lnTo>
                  <a:lnTo>
                    <a:pt x="48" y="168"/>
                  </a:lnTo>
                  <a:lnTo>
                    <a:pt x="48" y="162"/>
                  </a:lnTo>
                  <a:lnTo>
                    <a:pt x="48" y="156"/>
                  </a:lnTo>
                  <a:lnTo>
                    <a:pt x="42" y="156"/>
                  </a:lnTo>
                  <a:lnTo>
                    <a:pt x="42" y="162"/>
                  </a:lnTo>
                  <a:lnTo>
                    <a:pt x="48" y="162"/>
                  </a:lnTo>
                  <a:lnTo>
                    <a:pt x="42" y="162"/>
                  </a:lnTo>
                  <a:lnTo>
                    <a:pt x="42" y="156"/>
                  </a:lnTo>
                  <a:lnTo>
                    <a:pt x="42" y="150"/>
                  </a:lnTo>
                  <a:lnTo>
                    <a:pt x="42" y="144"/>
                  </a:lnTo>
                  <a:lnTo>
                    <a:pt x="36" y="144"/>
                  </a:lnTo>
                  <a:lnTo>
                    <a:pt x="36" y="138"/>
                  </a:lnTo>
                  <a:lnTo>
                    <a:pt x="36" y="132"/>
                  </a:lnTo>
                  <a:lnTo>
                    <a:pt x="30" y="132"/>
                  </a:lnTo>
                  <a:lnTo>
                    <a:pt x="30" y="126"/>
                  </a:lnTo>
                  <a:lnTo>
                    <a:pt x="24" y="126"/>
                  </a:lnTo>
                  <a:lnTo>
                    <a:pt x="24" y="120"/>
                  </a:lnTo>
                  <a:lnTo>
                    <a:pt x="18" y="114"/>
                  </a:lnTo>
                  <a:lnTo>
                    <a:pt x="12" y="114"/>
                  </a:lnTo>
                  <a:lnTo>
                    <a:pt x="6" y="114"/>
                  </a:lnTo>
                  <a:lnTo>
                    <a:pt x="0" y="114"/>
                  </a:lnTo>
                  <a:lnTo>
                    <a:pt x="6" y="114"/>
                  </a:lnTo>
                  <a:lnTo>
                    <a:pt x="6" y="108"/>
                  </a:lnTo>
                  <a:lnTo>
                    <a:pt x="12" y="108"/>
                  </a:lnTo>
                  <a:lnTo>
                    <a:pt x="18" y="108"/>
                  </a:lnTo>
                  <a:lnTo>
                    <a:pt x="18" y="102"/>
                  </a:lnTo>
                  <a:lnTo>
                    <a:pt x="24" y="102"/>
                  </a:lnTo>
                  <a:lnTo>
                    <a:pt x="24" y="96"/>
                  </a:lnTo>
                  <a:lnTo>
                    <a:pt x="30" y="96"/>
                  </a:lnTo>
                  <a:lnTo>
                    <a:pt x="30" y="90"/>
                  </a:lnTo>
                  <a:lnTo>
                    <a:pt x="36" y="90"/>
                  </a:lnTo>
                  <a:lnTo>
                    <a:pt x="36" y="84"/>
                  </a:lnTo>
                  <a:lnTo>
                    <a:pt x="42" y="84"/>
                  </a:lnTo>
                  <a:lnTo>
                    <a:pt x="42" y="78"/>
                  </a:lnTo>
                  <a:lnTo>
                    <a:pt x="42" y="72"/>
                  </a:lnTo>
                  <a:lnTo>
                    <a:pt x="48" y="72"/>
                  </a:lnTo>
                  <a:lnTo>
                    <a:pt x="48" y="66"/>
                  </a:lnTo>
                  <a:lnTo>
                    <a:pt x="54" y="60"/>
                  </a:lnTo>
                  <a:lnTo>
                    <a:pt x="54" y="54"/>
                  </a:lnTo>
                  <a:lnTo>
                    <a:pt x="60" y="54"/>
                  </a:lnTo>
                  <a:lnTo>
                    <a:pt x="60" y="48"/>
                  </a:lnTo>
                  <a:lnTo>
                    <a:pt x="60" y="42"/>
                  </a:lnTo>
                  <a:lnTo>
                    <a:pt x="60" y="36"/>
                  </a:lnTo>
                  <a:lnTo>
                    <a:pt x="66" y="36"/>
                  </a:lnTo>
                  <a:lnTo>
                    <a:pt x="66" y="30"/>
                  </a:lnTo>
                  <a:lnTo>
                    <a:pt x="60" y="30"/>
                  </a:lnTo>
                  <a:lnTo>
                    <a:pt x="66" y="24"/>
                  </a:lnTo>
                  <a:lnTo>
                    <a:pt x="66" y="18"/>
                  </a:lnTo>
                  <a:lnTo>
                    <a:pt x="72" y="18"/>
                  </a:lnTo>
                  <a:lnTo>
                    <a:pt x="72" y="12"/>
                  </a:lnTo>
                  <a:lnTo>
                    <a:pt x="72" y="6"/>
                  </a:lnTo>
                  <a:lnTo>
                    <a:pt x="78" y="12"/>
                  </a:lnTo>
                  <a:lnTo>
                    <a:pt x="78" y="6"/>
                  </a:lnTo>
                  <a:lnTo>
                    <a:pt x="84" y="6"/>
                  </a:lnTo>
                  <a:lnTo>
                    <a:pt x="84" y="12"/>
                  </a:lnTo>
                  <a:lnTo>
                    <a:pt x="90" y="12"/>
                  </a:lnTo>
                  <a:lnTo>
                    <a:pt x="96" y="6"/>
                  </a:lnTo>
                  <a:lnTo>
                    <a:pt x="96" y="12"/>
                  </a:lnTo>
                  <a:lnTo>
                    <a:pt x="102" y="12"/>
                  </a:lnTo>
                  <a:lnTo>
                    <a:pt x="108" y="12"/>
                  </a:lnTo>
                  <a:lnTo>
                    <a:pt x="108" y="6"/>
                  </a:lnTo>
                  <a:lnTo>
                    <a:pt x="114" y="6"/>
                  </a:lnTo>
                  <a:lnTo>
                    <a:pt x="114" y="12"/>
                  </a:lnTo>
                  <a:lnTo>
                    <a:pt x="114" y="6"/>
                  </a:lnTo>
                  <a:lnTo>
                    <a:pt x="120" y="6"/>
                  </a:lnTo>
                  <a:lnTo>
                    <a:pt x="126" y="6"/>
                  </a:lnTo>
                  <a:lnTo>
                    <a:pt x="132" y="6"/>
                  </a:lnTo>
                  <a:lnTo>
                    <a:pt x="138" y="6"/>
                  </a:lnTo>
                  <a:lnTo>
                    <a:pt x="138" y="0"/>
                  </a:lnTo>
                  <a:lnTo>
                    <a:pt x="144" y="0"/>
                  </a:lnTo>
                  <a:lnTo>
                    <a:pt x="150" y="0"/>
                  </a:lnTo>
                  <a:lnTo>
                    <a:pt x="156" y="0"/>
                  </a:lnTo>
                  <a:lnTo>
                    <a:pt x="162" y="0"/>
                  </a:lnTo>
                  <a:lnTo>
                    <a:pt x="168" y="0"/>
                  </a:lnTo>
                  <a:lnTo>
                    <a:pt x="174" y="0"/>
                  </a:lnTo>
                  <a:lnTo>
                    <a:pt x="180" y="0"/>
                  </a:lnTo>
                  <a:lnTo>
                    <a:pt x="180" y="6"/>
                  </a:lnTo>
                  <a:lnTo>
                    <a:pt x="186" y="6"/>
                  </a:lnTo>
                  <a:lnTo>
                    <a:pt x="186" y="12"/>
                  </a:lnTo>
                  <a:lnTo>
                    <a:pt x="192" y="12"/>
                  </a:lnTo>
                  <a:lnTo>
                    <a:pt x="198" y="18"/>
                  </a:lnTo>
                  <a:lnTo>
                    <a:pt x="204" y="18"/>
                  </a:lnTo>
                  <a:lnTo>
                    <a:pt x="204" y="24"/>
                  </a:lnTo>
                  <a:lnTo>
                    <a:pt x="198" y="24"/>
                  </a:lnTo>
                  <a:lnTo>
                    <a:pt x="204" y="24"/>
                  </a:lnTo>
                  <a:lnTo>
                    <a:pt x="204" y="30"/>
                  </a:lnTo>
                  <a:lnTo>
                    <a:pt x="210" y="30"/>
                  </a:lnTo>
                  <a:lnTo>
                    <a:pt x="216" y="30"/>
                  </a:lnTo>
                  <a:lnTo>
                    <a:pt x="216" y="36"/>
                  </a:lnTo>
                  <a:lnTo>
                    <a:pt x="216" y="30"/>
                  </a:lnTo>
                  <a:lnTo>
                    <a:pt x="222" y="30"/>
                  </a:lnTo>
                  <a:lnTo>
                    <a:pt x="228" y="30"/>
                  </a:lnTo>
                  <a:lnTo>
                    <a:pt x="228" y="36"/>
                  </a:lnTo>
                  <a:lnTo>
                    <a:pt x="228" y="30"/>
                  </a:lnTo>
                  <a:lnTo>
                    <a:pt x="228" y="36"/>
                  </a:lnTo>
                  <a:lnTo>
                    <a:pt x="234" y="36"/>
                  </a:lnTo>
                  <a:lnTo>
                    <a:pt x="234" y="42"/>
                  </a:lnTo>
                  <a:lnTo>
                    <a:pt x="234" y="48"/>
                  </a:lnTo>
                  <a:lnTo>
                    <a:pt x="240" y="48"/>
                  </a:lnTo>
                  <a:lnTo>
                    <a:pt x="240" y="54"/>
                  </a:lnTo>
                  <a:lnTo>
                    <a:pt x="240" y="60"/>
                  </a:lnTo>
                  <a:lnTo>
                    <a:pt x="246" y="60"/>
                  </a:lnTo>
                  <a:lnTo>
                    <a:pt x="252" y="66"/>
                  </a:lnTo>
                  <a:lnTo>
                    <a:pt x="246" y="66"/>
                  </a:lnTo>
                  <a:lnTo>
                    <a:pt x="252" y="66"/>
                  </a:lnTo>
                  <a:lnTo>
                    <a:pt x="252" y="72"/>
                  </a:lnTo>
                  <a:lnTo>
                    <a:pt x="252" y="66"/>
                  </a:lnTo>
                  <a:lnTo>
                    <a:pt x="258" y="66"/>
                  </a:lnTo>
                  <a:lnTo>
                    <a:pt x="258" y="72"/>
                  </a:lnTo>
                  <a:lnTo>
                    <a:pt x="258" y="78"/>
                  </a:lnTo>
                  <a:lnTo>
                    <a:pt x="264" y="78"/>
                  </a:lnTo>
                  <a:lnTo>
                    <a:pt x="264" y="84"/>
                  </a:lnTo>
                  <a:lnTo>
                    <a:pt x="258" y="84"/>
                  </a:lnTo>
                  <a:lnTo>
                    <a:pt x="264" y="84"/>
                  </a:lnTo>
                  <a:lnTo>
                    <a:pt x="264" y="90"/>
                  </a:lnTo>
                  <a:lnTo>
                    <a:pt x="270" y="90"/>
                  </a:lnTo>
                  <a:lnTo>
                    <a:pt x="276" y="90"/>
                  </a:lnTo>
                  <a:lnTo>
                    <a:pt x="276" y="96"/>
                  </a:lnTo>
                  <a:lnTo>
                    <a:pt x="282" y="96"/>
                  </a:lnTo>
                  <a:lnTo>
                    <a:pt x="282" y="102"/>
                  </a:lnTo>
                  <a:lnTo>
                    <a:pt x="288" y="102"/>
                  </a:lnTo>
                  <a:lnTo>
                    <a:pt x="288" y="108"/>
                  </a:lnTo>
                  <a:lnTo>
                    <a:pt x="294" y="108"/>
                  </a:lnTo>
                  <a:lnTo>
                    <a:pt x="294" y="114"/>
                  </a:lnTo>
                  <a:lnTo>
                    <a:pt x="300" y="114"/>
                  </a:lnTo>
                  <a:lnTo>
                    <a:pt x="300" y="120"/>
                  </a:lnTo>
                  <a:lnTo>
                    <a:pt x="300" y="126"/>
                  </a:lnTo>
                  <a:lnTo>
                    <a:pt x="300" y="132"/>
                  </a:lnTo>
                  <a:lnTo>
                    <a:pt x="306" y="132"/>
                  </a:lnTo>
                  <a:lnTo>
                    <a:pt x="306" y="138"/>
                  </a:lnTo>
                  <a:lnTo>
                    <a:pt x="312" y="138"/>
                  </a:lnTo>
                  <a:lnTo>
                    <a:pt x="312" y="144"/>
                  </a:lnTo>
                  <a:lnTo>
                    <a:pt x="312" y="150"/>
                  </a:lnTo>
                  <a:lnTo>
                    <a:pt x="312" y="156"/>
                  </a:lnTo>
                  <a:lnTo>
                    <a:pt x="312" y="162"/>
                  </a:lnTo>
                  <a:lnTo>
                    <a:pt x="312" y="168"/>
                  </a:lnTo>
                  <a:lnTo>
                    <a:pt x="306" y="168"/>
                  </a:lnTo>
                  <a:lnTo>
                    <a:pt x="306" y="174"/>
                  </a:lnTo>
                  <a:lnTo>
                    <a:pt x="312" y="180"/>
                  </a:lnTo>
                  <a:lnTo>
                    <a:pt x="318" y="186"/>
                  </a:lnTo>
                  <a:lnTo>
                    <a:pt x="318" y="192"/>
                  </a:lnTo>
                  <a:lnTo>
                    <a:pt x="324" y="192"/>
                  </a:lnTo>
                  <a:lnTo>
                    <a:pt x="324" y="186"/>
                  </a:lnTo>
                  <a:lnTo>
                    <a:pt x="324" y="192"/>
                  </a:lnTo>
                  <a:lnTo>
                    <a:pt x="330" y="192"/>
                  </a:lnTo>
                  <a:lnTo>
                    <a:pt x="336" y="192"/>
                  </a:lnTo>
                  <a:lnTo>
                    <a:pt x="336" y="198"/>
                  </a:lnTo>
                  <a:lnTo>
                    <a:pt x="336" y="204"/>
                  </a:lnTo>
                  <a:lnTo>
                    <a:pt x="342" y="204"/>
                  </a:lnTo>
                  <a:lnTo>
                    <a:pt x="342" y="210"/>
                  </a:lnTo>
                  <a:lnTo>
                    <a:pt x="342" y="216"/>
                  </a:lnTo>
                  <a:lnTo>
                    <a:pt x="342" y="210"/>
                  </a:lnTo>
                  <a:lnTo>
                    <a:pt x="348" y="210"/>
                  </a:lnTo>
                  <a:lnTo>
                    <a:pt x="348" y="216"/>
                  </a:lnTo>
                  <a:lnTo>
                    <a:pt x="342" y="216"/>
                  </a:lnTo>
                  <a:lnTo>
                    <a:pt x="342" y="222"/>
                  </a:lnTo>
                  <a:lnTo>
                    <a:pt x="342" y="228"/>
                  </a:lnTo>
                  <a:lnTo>
                    <a:pt x="348" y="228"/>
                  </a:lnTo>
                  <a:lnTo>
                    <a:pt x="342" y="228"/>
                  </a:lnTo>
                  <a:lnTo>
                    <a:pt x="342" y="234"/>
                  </a:lnTo>
                  <a:lnTo>
                    <a:pt x="342" y="240"/>
                  </a:lnTo>
                  <a:lnTo>
                    <a:pt x="348" y="240"/>
                  </a:lnTo>
                  <a:lnTo>
                    <a:pt x="348" y="246"/>
                  </a:lnTo>
                  <a:lnTo>
                    <a:pt x="342" y="246"/>
                  </a:lnTo>
                  <a:lnTo>
                    <a:pt x="348" y="246"/>
                  </a:lnTo>
                  <a:lnTo>
                    <a:pt x="342" y="246"/>
                  </a:lnTo>
                  <a:lnTo>
                    <a:pt x="336" y="246"/>
                  </a:lnTo>
                  <a:lnTo>
                    <a:pt x="330" y="246"/>
                  </a:lnTo>
                  <a:lnTo>
                    <a:pt x="324" y="246"/>
                  </a:lnTo>
                  <a:lnTo>
                    <a:pt x="318" y="246"/>
                  </a:lnTo>
                  <a:lnTo>
                    <a:pt x="312" y="246"/>
                  </a:lnTo>
                  <a:lnTo>
                    <a:pt x="306" y="246"/>
                  </a:lnTo>
                  <a:lnTo>
                    <a:pt x="300" y="246"/>
                  </a:lnTo>
                  <a:lnTo>
                    <a:pt x="294" y="252"/>
                  </a:lnTo>
                  <a:lnTo>
                    <a:pt x="288" y="252"/>
                  </a:lnTo>
                  <a:lnTo>
                    <a:pt x="288" y="246"/>
                  </a:lnTo>
                  <a:lnTo>
                    <a:pt x="282" y="246"/>
                  </a:lnTo>
                  <a:lnTo>
                    <a:pt x="276" y="246"/>
                  </a:lnTo>
                  <a:lnTo>
                    <a:pt x="270" y="246"/>
                  </a:lnTo>
                  <a:lnTo>
                    <a:pt x="270" y="240"/>
                  </a:lnTo>
                  <a:lnTo>
                    <a:pt x="264" y="240"/>
                  </a:lnTo>
                  <a:lnTo>
                    <a:pt x="258" y="240"/>
                  </a:lnTo>
                  <a:lnTo>
                    <a:pt x="252" y="240"/>
                  </a:lnTo>
                  <a:lnTo>
                    <a:pt x="252" y="234"/>
                  </a:lnTo>
                  <a:lnTo>
                    <a:pt x="246" y="234"/>
                  </a:lnTo>
                  <a:lnTo>
                    <a:pt x="240" y="234"/>
                  </a:lnTo>
                  <a:lnTo>
                    <a:pt x="234" y="234"/>
                  </a:lnTo>
                  <a:lnTo>
                    <a:pt x="234" y="228"/>
                  </a:lnTo>
                  <a:lnTo>
                    <a:pt x="228" y="228"/>
                  </a:lnTo>
                  <a:lnTo>
                    <a:pt x="222" y="228"/>
                  </a:lnTo>
                  <a:lnTo>
                    <a:pt x="216" y="228"/>
                  </a:lnTo>
                  <a:close/>
                  <a:moveTo>
                    <a:pt x="48" y="162"/>
                  </a:moveTo>
                  <a:lnTo>
                    <a:pt x="54" y="162"/>
                  </a:lnTo>
                  <a:lnTo>
                    <a:pt x="54" y="168"/>
                  </a:lnTo>
                  <a:lnTo>
                    <a:pt x="48" y="168"/>
                  </a:lnTo>
                  <a:lnTo>
                    <a:pt x="48" y="162"/>
                  </a:lnTo>
                  <a:close/>
                  <a:moveTo>
                    <a:pt x="48" y="174"/>
                  </a:moveTo>
                  <a:lnTo>
                    <a:pt x="54" y="174"/>
                  </a:lnTo>
                  <a:lnTo>
                    <a:pt x="48" y="174"/>
                  </a:lnTo>
                  <a:close/>
                  <a:moveTo>
                    <a:pt x="48" y="156"/>
                  </a:moveTo>
                  <a:lnTo>
                    <a:pt x="48" y="162"/>
                  </a:lnTo>
                  <a:lnTo>
                    <a:pt x="49" y="162"/>
                  </a:lnTo>
                  <a:lnTo>
                    <a:pt x="48" y="15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95" name="Freeform 11"/>
            <p:cNvSpPr>
              <a:spLocks noEditPoints="1"/>
            </p:cNvSpPr>
            <p:nvPr>
              <p:custDataLst>
                <p:tags r:id="rId64"/>
              </p:custDataLst>
            </p:nvPr>
          </p:nvSpPr>
          <p:spPr bwMode="gray">
            <a:xfrm>
              <a:off x="2011363" y="1641476"/>
              <a:ext cx="841375" cy="930275"/>
            </a:xfrm>
            <a:custGeom>
              <a:avLst/>
              <a:gdLst>
                <a:gd name="T0" fmla="*/ 83466 w 678"/>
                <a:gd name="T1" fmla="*/ 257790 h 750"/>
                <a:gd name="T2" fmla="*/ 79584 w 678"/>
                <a:gd name="T3" fmla="*/ 251975 h 750"/>
                <a:gd name="T4" fmla="*/ 72791 w 678"/>
                <a:gd name="T5" fmla="*/ 240345 h 750"/>
                <a:gd name="T6" fmla="*/ 66967 w 678"/>
                <a:gd name="T7" fmla="*/ 236469 h 750"/>
                <a:gd name="T8" fmla="*/ 56291 w 678"/>
                <a:gd name="T9" fmla="*/ 229685 h 750"/>
                <a:gd name="T10" fmla="*/ 40762 w 678"/>
                <a:gd name="T11" fmla="*/ 225808 h 750"/>
                <a:gd name="T12" fmla="*/ 27175 w 678"/>
                <a:gd name="T13" fmla="*/ 227747 h 750"/>
                <a:gd name="T14" fmla="*/ 17470 w 678"/>
                <a:gd name="T15" fmla="*/ 229685 h 750"/>
                <a:gd name="T16" fmla="*/ 10676 w 678"/>
                <a:gd name="T17" fmla="*/ 238407 h 750"/>
                <a:gd name="T18" fmla="*/ 12617 w 678"/>
                <a:gd name="T19" fmla="*/ 221931 h 750"/>
                <a:gd name="T20" fmla="*/ 19411 w 678"/>
                <a:gd name="T21" fmla="*/ 206426 h 750"/>
                <a:gd name="T22" fmla="*/ 19411 w 678"/>
                <a:gd name="T23" fmla="*/ 188012 h 750"/>
                <a:gd name="T24" fmla="*/ 12617 w 678"/>
                <a:gd name="T25" fmla="*/ 172506 h 750"/>
                <a:gd name="T26" fmla="*/ 12617 w 678"/>
                <a:gd name="T27" fmla="*/ 165722 h 750"/>
                <a:gd name="T28" fmla="*/ 14558 w 678"/>
                <a:gd name="T29" fmla="*/ 159907 h 750"/>
                <a:gd name="T30" fmla="*/ 14558 w 678"/>
                <a:gd name="T31" fmla="*/ 151185 h 750"/>
                <a:gd name="T32" fmla="*/ 10676 w 678"/>
                <a:gd name="T33" fmla="*/ 145370 h 750"/>
                <a:gd name="T34" fmla="*/ 6794 w 678"/>
                <a:gd name="T35" fmla="*/ 135679 h 750"/>
                <a:gd name="T36" fmla="*/ 0 w 678"/>
                <a:gd name="T37" fmla="*/ 138586 h 750"/>
                <a:gd name="T38" fmla="*/ 8735 w 678"/>
                <a:gd name="T39" fmla="*/ 127926 h 750"/>
                <a:gd name="T40" fmla="*/ 46586 w 678"/>
                <a:gd name="T41" fmla="*/ 127926 h 750"/>
                <a:gd name="T42" fmla="*/ 67938 w 678"/>
                <a:gd name="T43" fmla="*/ 127926 h 750"/>
                <a:gd name="T44" fmla="*/ 79584 w 678"/>
                <a:gd name="T45" fmla="*/ 117266 h 750"/>
                <a:gd name="T46" fmla="*/ 76673 w 678"/>
                <a:gd name="T47" fmla="*/ 95945 h 750"/>
                <a:gd name="T48" fmla="*/ 100936 w 678"/>
                <a:gd name="T49" fmla="*/ 83346 h 750"/>
                <a:gd name="T50" fmla="*/ 111612 w 678"/>
                <a:gd name="T51" fmla="*/ 27136 h 750"/>
                <a:gd name="T52" fmla="*/ 134905 w 678"/>
                <a:gd name="T53" fmla="*/ 27136 h 750"/>
                <a:gd name="T54" fmla="*/ 158198 w 678"/>
                <a:gd name="T55" fmla="*/ 27136 h 750"/>
                <a:gd name="T56" fmla="*/ 173727 w 678"/>
                <a:gd name="T57" fmla="*/ 1938 h 750"/>
                <a:gd name="T58" fmla="*/ 192166 w 678"/>
                <a:gd name="T59" fmla="*/ 14537 h 750"/>
                <a:gd name="T60" fmla="*/ 211577 w 678"/>
                <a:gd name="T61" fmla="*/ 30043 h 750"/>
                <a:gd name="T62" fmla="*/ 230988 w 678"/>
                <a:gd name="T63" fmla="*/ 42642 h 750"/>
                <a:gd name="T64" fmla="*/ 234871 w 678"/>
                <a:gd name="T65" fmla="*/ 49426 h 750"/>
                <a:gd name="T66" fmla="*/ 215459 w 678"/>
                <a:gd name="T67" fmla="*/ 49426 h 750"/>
                <a:gd name="T68" fmla="*/ 209636 w 678"/>
                <a:gd name="T69" fmla="*/ 70747 h 750"/>
                <a:gd name="T70" fmla="*/ 211577 w 678"/>
                <a:gd name="T71" fmla="*/ 90129 h 750"/>
                <a:gd name="T72" fmla="*/ 214489 w 678"/>
                <a:gd name="T73" fmla="*/ 106605 h 750"/>
                <a:gd name="T74" fmla="*/ 215459 w 678"/>
                <a:gd name="T75" fmla="*/ 124049 h 750"/>
                <a:gd name="T76" fmla="*/ 218371 w 678"/>
                <a:gd name="T77" fmla="*/ 142463 h 750"/>
                <a:gd name="T78" fmla="*/ 220312 w 678"/>
                <a:gd name="T79" fmla="*/ 163784 h 750"/>
                <a:gd name="T80" fmla="*/ 222253 w 678"/>
                <a:gd name="T81" fmla="*/ 181228 h 750"/>
                <a:gd name="T82" fmla="*/ 225165 w 678"/>
                <a:gd name="T83" fmla="*/ 199642 h 750"/>
                <a:gd name="T84" fmla="*/ 227106 w 678"/>
                <a:gd name="T85" fmla="*/ 219024 h 750"/>
                <a:gd name="T86" fmla="*/ 229047 w 678"/>
                <a:gd name="T87" fmla="*/ 247129 h 750"/>
                <a:gd name="T88" fmla="*/ 211577 w 678"/>
                <a:gd name="T89" fmla="*/ 249068 h 750"/>
                <a:gd name="T90" fmla="*/ 190225 w 678"/>
                <a:gd name="T91" fmla="*/ 249068 h 750"/>
                <a:gd name="T92" fmla="*/ 168874 w 678"/>
                <a:gd name="T93" fmla="*/ 249068 h 750"/>
                <a:gd name="T94" fmla="*/ 154315 w 678"/>
                <a:gd name="T95" fmla="*/ 247129 h 750"/>
                <a:gd name="T96" fmla="*/ 143639 w 678"/>
                <a:gd name="T97" fmla="*/ 251975 h 750"/>
                <a:gd name="T98" fmla="*/ 128111 w 678"/>
                <a:gd name="T99" fmla="*/ 251975 h 750"/>
                <a:gd name="T100" fmla="*/ 117435 w 678"/>
                <a:gd name="T101" fmla="*/ 253913 h 750"/>
                <a:gd name="T102" fmla="*/ 104818 w 678"/>
                <a:gd name="T103" fmla="*/ 249068 h 750"/>
                <a:gd name="T104" fmla="*/ 104818 w 678"/>
                <a:gd name="T105" fmla="*/ 262636 h 750"/>
                <a:gd name="T106" fmla="*/ 10676 w 678"/>
                <a:gd name="T107" fmla="*/ 163784 h 750"/>
                <a:gd name="T108" fmla="*/ 14558 w 678"/>
                <a:gd name="T109" fmla="*/ 161845 h 750"/>
                <a:gd name="T110" fmla="*/ 10676 w 678"/>
                <a:gd name="T111" fmla="*/ 163784 h 750"/>
                <a:gd name="T112" fmla="*/ 10676 w 678"/>
                <a:gd name="T113" fmla="*/ 145370 h 7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78" h="750">
                  <a:moveTo>
                    <a:pt x="264" y="744"/>
                  </a:moveTo>
                  <a:lnTo>
                    <a:pt x="258" y="744"/>
                  </a:lnTo>
                  <a:lnTo>
                    <a:pt x="258" y="738"/>
                  </a:lnTo>
                  <a:lnTo>
                    <a:pt x="252" y="738"/>
                  </a:lnTo>
                  <a:lnTo>
                    <a:pt x="252" y="732"/>
                  </a:lnTo>
                  <a:lnTo>
                    <a:pt x="246" y="732"/>
                  </a:lnTo>
                  <a:lnTo>
                    <a:pt x="246" y="726"/>
                  </a:lnTo>
                  <a:lnTo>
                    <a:pt x="240" y="726"/>
                  </a:lnTo>
                  <a:lnTo>
                    <a:pt x="234" y="726"/>
                  </a:lnTo>
                  <a:lnTo>
                    <a:pt x="234" y="720"/>
                  </a:lnTo>
                  <a:lnTo>
                    <a:pt x="228" y="720"/>
                  </a:lnTo>
                  <a:lnTo>
                    <a:pt x="234" y="720"/>
                  </a:lnTo>
                  <a:lnTo>
                    <a:pt x="234" y="714"/>
                  </a:lnTo>
                  <a:lnTo>
                    <a:pt x="228" y="714"/>
                  </a:lnTo>
                  <a:lnTo>
                    <a:pt x="228" y="708"/>
                  </a:lnTo>
                  <a:lnTo>
                    <a:pt x="228" y="702"/>
                  </a:lnTo>
                  <a:lnTo>
                    <a:pt x="222" y="702"/>
                  </a:lnTo>
                  <a:lnTo>
                    <a:pt x="222" y="708"/>
                  </a:lnTo>
                  <a:lnTo>
                    <a:pt x="222" y="702"/>
                  </a:lnTo>
                  <a:lnTo>
                    <a:pt x="216" y="702"/>
                  </a:lnTo>
                  <a:lnTo>
                    <a:pt x="222" y="702"/>
                  </a:lnTo>
                  <a:lnTo>
                    <a:pt x="216" y="696"/>
                  </a:lnTo>
                  <a:lnTo>
                    <a:pt x="210" y="696"/>
                  </a:lnTo>
                  <a:lnTo>
                    <a:pt x="210" y="690"/>
                  </a:lnTo>
                  <a:lnTo>
                    <a:pt x="210" y="684"/>
                  </a:lnTo>
                  <a:lnTo>
                    <a:pt x="204" y="684"/>
                  </a:lnTo>
                  <a:lnTo>
                    <a:pt x="204" y="678"/>
                  </a:lnTo>
                  <a:lnTo>
                    <a:pt x="204" y="672"/>
                  </a:lnTo>
                  <a:lnTo>
                    <a:pt x="198" y="672"/>
                  </a:lnTo>
                  <a:lnTo>
                    <a:pt x="198" y="666"/>
                  </a:lnTo>
                  <a:lnTo>
                    <a:pt x="198" y="672"/>
                  </a:lnTo>
                  <a:lnTo>
                    <a:pt x="198" y="666"/>
                  </a:lnTo>
                  <a:lnTo>
                    <a:pt x="192" y="666"/>
                  </a:lnTo>
                  <a:lnTo>
                    <a:pt x="186" y="666"/>
                  </a:lnTo>
                  <a:lnTo>
                    <a:pt x="186" y="672"/>
                  </a:lnTo>
                  <a:lnTo>
                    <a:pt x="186" y="666"/>
                  </a:lnTo>
                  <a:lnTo>
                    <a:pt x="180" y="666"/>
                  </a:lnTo>
                  <a:lnTo>
                    <a:pt x="174" y="666"/>
                  </a:lnTo>
                  <a:lnTo>
                    <a:pt x="174" y="660"/>
                  </a:lnTo>
                  <a:lnTo>
                    <a:pt x="168" y="660"/>
                  </a:lnTo>
                  <a:lnTo>
                    <a:pt x="174" y="660"/>
                  </a:lnTo>
                  <a:lnTo>
                    <a:pt x="174" y="654"/>
                  </a:lnTo>
                  <a:lnTo>
                    <a:pt x="168" y="654"/>
                  </a:lnTo>
                  <a:lnTo>
                    <a:pt x="162" y="648"/>
                  </a:lnTo>
                  <a:lnTo>
                    <a:pt x="156" y="648"/>
                  </a:lnTo>
                  <a:lnTo>
                    <a:pt x="156" y="642"/>
                  </a:lnTo>
                  <a:lnTo>
                    <a:pt x="150" y="642"/>
                  </a:lnTo>
                  <a:lnTo>
                    <a:pt x="150" y="636"/>
                  </a:lnTo>
                  <a:lnTo>
                    <a:pt x="144" y="636"/>
                  </a:lnTo>
                  <a:lnTo>
                    <a:pt x="138" y="636"/>
                  </a:lnTo>
                  <a:lnTo>
                    <a:pt x="132" y="636"/>
                  </a:lnTo>
                  <a:lnTo>
                    <a:pt x="126" y="636"/>
                  </a:lnTo>
                  <a:lnTo>
                    <a:pt x="120" y="636"/>
                  </a:lnTo>
                  <a:lnTo>
                    <a:pt x="114" y="636"/>
                  </a:lnTo>
                  <a:lnTo>
                    <a:pt x="108" y="636"/>
                  </a:lnTo>
                  <a:lnTo>
                    <a:pt x="108" y="642"/>
                  </a:lnTo>
                  <a:lnTo>
                    <a:pt x="102" y="642"/>
                  </a:lnTo>
                  <a:lnTo>
                    <a:pt x="96" y="642"/>
                  </a:lnTo>
                  <a:lnTo>
                    <a:pt x="90" y="642"/>
                  </a:lnTo>
                  <a:lnTo>
                    <a:pt x="84" y="642"/>
                  </a:lnTo>
                  <a:lnTo>
                    <a:pt x="84" y="648"/>
                  </a:lnTo>
                  <a:lnTo>
                    <a:pt x="84" y="642"/>
                  </a:lnTo>
                  <a:lnTo>
                    <a:pt x="78" y="642"/>
                  </a:lnTo>
                  <a:lnTo>
                    <a:pt x="78" y="648"/>
                  </a:lnTo>
                  <a:lnTo>
                    <a:pt x="72" y="648"/>
                  </a:lnTo>
                  <a:lnTo>
                    <a:pt x="66" y="648"/>
                  </a:lnTo>
                  <a:lnTo>
                    <a:pt x="66" y="642"/>
                  </a:lnTo>
                  <a:lnTo>
                    <a:pt x="60" y="648"/>
                  </a:lnTo>
                  <a:lnTo>
                    <a:pt x="54" y="648"/>
                  </a:lnTo>
                  <a:lnTo>
                    <a:pt x="54" y="642"/>
                  </a:lnTo>
                  <a:lnTo>
                    <a:pt x="48" y="642"/>
                  </a:lnTo>
                  <a:lnTo>
                    <a:pt x="48" y="648"/>
                  </a:lnTo>
                  <a:lnTo>
                    <a:pt x="42" y="642"/>
                  </a:lnTo>
                  <a:lnTo>
                    <a:pt x="42" y="648"/>
                  </a:lnTo>
                  <a:lnTo>
                    <a:pt x="42" y="654"/>
                  </a:lnTo>
                  <a:lnTo>
                    <a:pt x="36" y="654"/>
                  </a:lnTo>
                  <a:lnTo>
                    <a:pt x="36" y="660"/>
                  </a:lnTo>
                  <a:lnTo>
                    <a:pt x="30" y="666"/>
                  </a:lnTo>
                  <a:lnTo>
                    <a:pt x="36" y="666"/>
                  </a:lnTo>
                  <a:lnTo>
                    <a:pt x="36" y="672"/>
                  </a:lnTo>
                  <a:lnTo>
                    <a:pt x="30" y="672"/>
                  </a:lnTo>
                  <a:lnTo>
                    <a:pt x="30" y="666"/>
                  </a:lnTo>
                  <a:lnTo>
                    <a:pt x="30" y="660"/>
                  </a:lnTo>
                  <a:lnTo>
                    <a:pt x="30" y="654"/>
                  </a:lnTo>
                  <a:lnTo>
                    <a:pt x="30" y="648"/>
                  </a:lnTo>
                  <a:lnTo>
                    <a:pt x="30" y="642"/>
                  </a:lnTo>
                  <a:lnTo>
                    <a:pt x="36" y="642"/>
                  </a:lnTo>
                  <a:lnTo>
                    <a:pt x="36" y="636"/>
                  </a:lnTo>
                  <a:lnTo>
                    <a:pt x="36" y="630"/>
                  </a:lnTo>
                  <a:lnTo>
                    <a:pt x="36" y="624"/>
                  </a:lnTo>
                  <a:lnTo>
                    <a:pt x="42" y="624"/>
                  </a:lnTo>
                  <a:lnTo>
                    <a:pt x="42" y="618"/>
                  </a:lnTo>
                  <a:lnTo>
                    <a:pt x="42" y="612"/>
                  </a:lnTo>
                  <a:lnTo>
                    <a:pt x="48" y="612"/>
                  </a:lnTo>
                  <a:lnTo>
                    <a:pt x="48" y="606"/>
                  </a:lnTo>
                  <a:lnTo>
                    <a:pt x="48" y="600"/>
                  </a:lnTo>
                  <a:lnTo>
                    <a:pt x="54" y="594"/>
                  </a:lnTo>
                  <a:lnTo>
                    <a:pt x="54" y="588"/>
                  </a:lnTo>
                  <a:lnTo>
                    <a:pt x="54" y="582"/>
                  </a:lnTo>
                  <a:lnTo>
                    <a:pt x="54" y="576"/>
                  </a:lnTo>
                  <a:lnTo>
                    <a:pt x="54" y="570"/>
                  </a:lnTo>
                  <a:lnTo>
                    <a:pt x="54" y="564"/>
                  </a:lnTo>
                  <a:lnTo>
                    <a:pt x="54" y="558"/>
                  </a:lnTo>
                  <a:lnTo>
                    <a:pt x="54" y="552"/>
                  </a:lnTo>
                  <a:lnTo>
                    <a:pt x="54" y="546"/>
                  </a:lnTo>
                  <a:lnTo>
                    <a:pt x="54" y="540"/>
                  </a:lnTo>
                  <a:lnTo>
                    <a:pt x="54" y="534"/>
                  </a:lnTo>
                  <a:lnTo>
                    <a:pt x="54" y="528"/>
                  </a:lnTo>
                  <a:lnTo>
                    <a:pt x="54" y="522"/>
                  </a:lnTo>
                  <a:lnTo>
                    <a:pt x="48" y="522"/>
                  </a:lnTo>
                  <a:lnTo>
                    <a:pt x="48" y="516"/>
                  </a:lnTo>
                  <a:lnTo>
                    <a:pt x="48" y="510"/>
                  </a:lnTo>
                  <a:lnTo>
                    <a:pt x="48" y="504"/>
                  </a:lnTo>
                  <a:lnTo>
                    <a:pt x="48" y="498"/>
                  </a:lnTo>
                  <a:lnTo>
                    <a:pt x="42" y="498"/>
                  </a:lnTo>
                  <a:lnTo>
                    <a:pt x="42" y="492"/>
                  </a:lnTo>
                  <a:lnTo>
                    <a:pt x="36" y="486"/>
                  </a:lnTo>
                  <a:lnTo>
                    <a:pt x="30" y="486"/>
                  </a:lnTo>
                  <a:lnTo>
                    <a:pt x="30" y="480"/>
                  </a:lnTo>
                  <a:lnTo>
                    <a:pt x="30" y="474"/>
                  </a:lnTo>
                  <a:lnTo>
                    <a:pt x="30" y="480"/>
                  </a:lnTo>
                  <a:lnTo>
                    <a:pt x="36" y="480"/>
                  </a:lnTo>
                  <a:lnTo>
                    <a:pt x="36" y="474"/>
                  </a:lnTo>
                  <a:lnTo>
                    <a:pt x="42" y="474"/>
                  </a:lnTo>
                  <a:lnTo>
                    <a:pt x="42" y="468"/>
                  </a:lnTo>
                  <a:lnTo>
                    <a:pt x="36" y="468"/>
                  </a:lnTo>
                  <a:lnTo>
                    <a:pt x="36" y="474"/>
                  </a:lnTo>
                  <a:lnTo>
                    <a:pt x="36" y="468"/>
                  </a:lnTo>
                  <a:lnTo>
                    <a:pt x="36" y="474"/>
                  </a:lnTo>
                  <a:lnTo>
                    <a:pt x="30" y="474"/>
                  </a:lnTo>
                  <a:lnTo>
                    <a:pt x="36" y="468"/>
                  </a:lnTo>
                  <a:lnTo>
                    <a:pt x="36" y="462"/>
                  </a:lnTo>
                  <a:lnTo>
                    <a:pt x="42" y="462"/>
                  </a:lnTo>
                  <a:lnTo>
                    <a:pt x="42" y="456"/>
                  </a:lnTo>
                  <a:lnTo>
                    <a:pt x="42" y="450"/>
                  </a:lnTo>
                  <a:lnTo>
                    <a:pt x="42" y="444"/>
                  </a:lnTo>
                  <a:lnTo>
                    <a:pt x="42" y="450"/>
                  </a:lnTo>
                  <a:lnTo>
                    <a:pt x="42" y="444"/>
                  </a:lnTo>
                  <a:lnTo>
                    <a:pt x="48" y="444"/>
                  </a:lnTo>
                  <a:lnTo>
                    <a:pt x="42" y="438"/>
                  </a:lnTo>
                  <a:lnTo>
                    <a:pt x="42" y="432"/>
                  </a:lnTo>
                  <a:lnTo>
                    <a:pt x="48" y="432"/>
                  </a:lnTo>
                  <a:lnTo>
                    <a:pt x="48" y="426"/>
                  </a:lnTo>
                  <a:lnTo>
                    <a:pt x="42" y="426"/>
                  </a:lnTo>
                  <a:lnTo>
                    <a:pt x="42" y="420"/>
                  </a:lnTo>
                  <a:lnTo>
                    <a:pt x="36" y="420"/>
                  </a:lnTo>
                  <a:lnTo>
                    <a:pt x="36" y="414"/>
                  </a:lnTo>
                  <a:lnTo>
                    <a:pt x="36" y="408"/>
                  </a:lnTo>
                  <a:lnTo>
                    <a:pt x="36" y="402"/>
                  </a:lnTo>
                  <a:lnTo>
                    <a:pt x="30" y="402"/>
                  </a:lnTo>
                  <a:lnTo>
                    <a:pt x="30" y="396"/>
                  </a:lnTo>
                  <a:lnTo>
                    <a:pt x="30" y="402"/>
                  </a:lnTo>
                  <a:lnTo>
                    <a:pt x="30" y="408"/>
                  </a:lnTo>
                  <a:lnTo>
                    <a:pt x="24" y="408"/>
                  </a:lnTo>
                  <a:lnTo>
                    <a:pt x="24" y="402"/>
                  </a:lnTo>
                  <a:lnTo>
                    <a:pt x="18" y="402"/>
                  </a:lnTo>
                  <a:lnTo>
                    <a:pt x="18" y="396"/>
                  </a:lnTo>
                  <a:lnTo>
                    <a:pt x="18" y="390"/>
                  </a:lnTo>
                  <a:lnTo>
                    <a:pt x="12" y="384"/>
                  </a:lnTo>
                  <a:lnTo>
                    <a:pt x="12" y="378"/>
                  </a:lnTo>
                  <a:lnTo>
                    <a:pt x="12" y="384"/>
                  </a:lnTo>
                  <a:lnTo>
                    <a:pt x="18" y="384"/>
                  </a:lnTo>
                  <a:lnTo>
                    <a:pt x="18" y="378"/>
                  </a:lnTo>
                  <a:lnTo>
                    <a:pt x="12" y="378"/>
                  </a:lnTo>
                  <a:lnTo>
                    <a:pt x="12" y="372"/>
                  </a:lnTo>
                  <a:lnTo>
                    <a:pt x="12" y="366"/>
                  </a:lnTo>
                  <a:lnTo>
                    <a:pt x="6" y="366"/>
                  </a:lnTo>
                  <a:lnTo>
                    <a:pt x="6" y="372"/>
                  </a:lnTo>
                  <a:lnTo>
                    <a:pt x="0" y="378"/>
                  </a:lnTo>
                  <a:lnTo>
                    <a:pt x="0" y="384"/>
                  </a:lnTo>
                  <a:lnTo>
                    <a:pt x="0" y="390"/>
                  </a:lnTo>
                  <a:lnTo>
                    <a:pt x="0" y="396"/>
                  </a:lnTo>
                  <a:lnTo>
                    <a:pt x="0" y="390"/>
                  </a:lnTo>
                  <a:lnTo>
                    <a:pt x="0" y="384"/>
                  </a:lnTo>
                  <a:lnTo>
                    <a:pt x="0" y="378"/>
                  </a:lnTo>
                  <a:lnTo>
                    <a:pt x="0" y="372"/>
                  </a:lnTo>
                  <a:lnTo>
                    <a:pt x="6" y="372"/>
                  </a:lnTo>
                  <a:lnTo>
                    <a:pt x="6" y="366"/>
                  </a:lnTo>
                  <a:lnTo>
                    <a:pt x="6" y="360"/>
                  </a:lnTo>
                  <a:lnTo>
                    <a:pt x="24" y="360"/>
                  </a:lnTo>
                  <a:lnTo>
                    <a:pt x="42" y="360"/>
                  </a:lnTo>
                  <a:lnTo>
                    <a:pt x="54" y="360"/>
                  </a:lnTo>
                  <a:lnTo>
                    <a:pt x="72" y="360"/>
                  </a:lnTo>
                  <a:lnTo>
                    <a:pt x="84" y="360"/>
                  </a:lnTo>
                  <a:lnTo>
                    <a:pt x="102" y="360"/>
                  </a:lnTo>
                  <a:lnTo>
                    <a:pt x="114" y="360"/>
                  </a:lnTo>
                  <a:lnTo>
                    <a:pt x="120" y="360"/>
                  </a:lnTo>
                  <a:lnTo>
                    <a:pt x="126" y="360"/>
                  </a:lnTo>
                  <a:lnTo>
                    <a:pt x="132" y="360"/>
                  </a:lnTo>
                  <a:lnTo>
                    <a:pt x="138" y="360"/>
                  </a:lnTo>
                  <a:lnTo>
                    <a:pt x="144" y="360"/>
                  </a:lnTo>
                  <a:lnTo>
                    <a:pt x="150" y="360"/>
                  </a:lnTo>
                  <a:lnTo>
                    <a:pt x="156" y="360"/>
                  </a:lnTo>
                  <a:lnTo>
                    <a:pt x="162" y="360"/>
                  </a:lnTo>
                  <a:lnTo>
                    <a:pt x="168" y="360"/>
                  </a:lnTo>
                  <a:lnTo>
                    <a:pt x="174" y="360"/>
                  </a:lnTo>
                  <a:lnTo>
                    <a:pt x="186" y="360"/>
                  </a:lnTo>
                  <a:lnTo>
                    <a:pt x="192" y="360"/>
                  </a:lnTo>
                  <a:lnTo>
                    <a:pt x="198" y="360"/>
                  </a:lnTo>
                  <a:lnTo>
                    <a:pt x="204" y="360"/>
                  </a:lnTo>
                  <a:lnTo>
                    <a:pt x="216" y="360"/>
                  </a:lnTo>
                  <a:lnTo>
                    <a:pt x="222" y="360"/>
                  </a:lnTo>
                  <a:lnTo>
                    <a:pt x="222" y="354"/>
                  </a:lnTo>
                  <a:lnTo>
                    <a:pt x="222" y="348"/>
                  </a:lnTo>
                  <a:lnTo>
                    <a:pt x="222" y="342"/>
                  </a:lnTo>
                  <a:lnTo>
                    <a:pt x="222" y="336"/>
                  </a:lnTo>
                  <a:lnTo>
                    <a:pt x="222" y="330"/>
                  </a:lnTo>
                  <a:lnTo>
                    <a:pt x="222" y="324"/>
                  </a:lnTo>
                  <a:lnTo>
                    <a:pt x="222" y="318"/>
                  </a:lnTo>
                  <a:lnTo>
                    <a:pt x="222" y="312"/>
                  </a:lnTo>
                  <a:lnTo>
                    <a:pt x="222" y="306"/>
                  </a:lnTo>
                  <a:lnTo>
                    <a:pt x="216" y="300"/>
                  </a:lnTo>
                  <a:lnTo>
                    <a:pt x="216" y="288"/>
                  </a:lnTo>
                  <a:lnTo>
                    <a:pt x="216" y="282"/>
                  </a:lnTo>
                  <a:lnTo>
                    <a:pt x="216" y="276"/>
                  </a:lnTo>
                  <a:lnTo>
                    <a:pt x="216" y="270"/>
                  </a:lnTo>
                  <a:lnTo>
                    <a:pt x="222" y="264"/>
                  </a:lnTo>
                  <a:lnTo>
                    <a:pt x="222" y="258"/>
                  </a:lnTo>
                  <a:lnTo>
                    <a:pt x="222" y="252"/>
                  </a:lnTo>
                  <a:lnTo>
                    <a:pt x="228" y="246"/>
                  </a:lnTo>
                  <a:lnTo>
                    <a:pt x="234" y="240"/>
                  </a:lnTo>
                  <a:lnTo>
                    <a:pt x="240" y="240"/>
                  </a:lnTo>
                  <a:lnTo>
                    <a:pt x="246" y="234"/>
                  </a:lnTo>
                  <a:lnTo>
                    <a:pt x="252" y="234"/>
                  </a:lnTo>
                  <a:lnTo>
                    <a:pt x="282" y="234"/>
                  </a:lnTo>
                  <a:lnTo>
                    <a:pt x="282" y="174"/>
                  </a:lnTo>
                  <a:lnTo>
                    <a:pt x="282" y="150"/>
                  </a:lnTo>
                  <a:lnTo>
                    <a:pt x="282" y="138"/>
                  </a:lnTo>
                  <a:lnTo>
                    <a:pt x="282" y="84"/>
                  </a:lnTo>
                  <a:lnTo>
                    <a:pt x="282" y="78"/>
                  </a:lnTo>
                  <a:lnTo>
                    <a:pt x="288" y="78"/>
                  </a:lnTo>
                  <a:lnTo>
                    <a:pt x="294" y="78"/>
                  </a:lnTo>
                  <a:lnTo>
                    <a:pt x="306" y="78"/>
                  </a:lnTo>
                  <a:lnTo>
                    <a:pt x="312" y="78"/>
                  </a:lnTo>
                  <a:lnTo>
                    <a:pt x="318" y="78"/>
                  </a:lnTo>
                  <a:lnTo>
                    <a:pt x="330" y="78"/>
                  </a:lnTo>
                  <a:lnTo>
                    <a:pt x="336" y="78"/>
                  </a:lnTo>
                  <a:lnTo>
                    <a:pt x="342" y="78"/>
                  </a:lnTo>
                  <a:lnTo>
                    <a:pt x="354" y="78"/>
                  </a:lnTo>
                  <a:lnTo>
                    <a:pt x="360" y="78"/>
                  </a:lnTo>
                  <a:lnTo>
                    <a:pt x="366" y="78"/>
                  </a:lnTo>
                  <a:lnTo>
                    <a:pt x="372" y="78"/>
                  </a:lnTo>
                  <a:lnTo>
                    <a:pt x="378" y="78"/>
                  </a:lnTo>
                  <a:lnTo>
                    <a:pt x="384" y="78"/>
                  </a:lnTo>
                  <a:lnTo>
                    <a:pt x="390" y="78"/>
                  </a:lnTo>
                  <a:lnTo>
                    <a:pt x="396" y="78"/>
                  </a:lnTo>
                  <a:lnTo>
                    <a:pt x="408" y="78"/>
                  </a:lnTo>
                  <a:lnTo>
                    <a:pt x="414" y="78"/>
                  </a:lnTo>
                  <a:lnTo>
                    <a:pt x="420" y="78"/>
                  </a:lnTo>
                  <a:lnTo>
                    <a:pt x="432" y="78"/>
                  </a:lnTo>
                  <a:lnTo>
                    <a:pt x="438" y="78"/>
                  </a:lnTo>
                  <a:lnTo>
                    <a:pt x="444" y="78"/>
                  </a:lnTo>
                  <a:lnTo>
                    <a:pt x="450" y="78"/>
                  </a:lnTo>
                  <a:lnTo>
                    <a:pt x="462" y="78"/>
                  </a:lnTo>
                  <a:lnTo>
                    <a:pt x="468" y="78"/>
                  </a:lnTo>
                  <a:lnTo>
                    <a:pt x="468" y="24"/>
                  </a:lnTo>
                  <a:lnTo>
                    <a:pt x="468" y="12"/>
                  </a:lnTo>
                  <a:lnTo>
                    <a:pt x="468" y="0"/>
                  </a:lnTo>
                  <a:lnTo>
                    <a:pt x="474" y="0"/>
                  </a:lnTo>
                  <a:lnTo>
                    <a:pt x="480" y="6"/>
                  </a:lnTo>
                  <a:lnTo>
                    <a:pt x="486" y="6"/>
                  </a:lnTo>
                  <a:lnTo>
                    <a:pt x="486" y="12"/>
                  </a:lnTo>
                  <a:lnTo>
                    <a:pt x="492" y="12"/>
                  </a:lnTo>
                  <a:lnTo>
                    <a:pt x="498" y="18"/>
                  </a:lnTo>
                  <a:lnTo>
                    <a:pt x="504" y="24"/>
                  </a:lnTo>
                  <a:lnTo>
                    <a:pt x="510" y="24"/>
                  </a:lnTo>
                  <a:lnTo>
                    <a:pt x="516" y="30"/>
                  </a:lnTo>
                  <a:lnTo>
                    <a:pt x="528" y="36"/>
                  </a:lnTo>
                  <a:lnTo>
                    <a:pt x="534" y="42"/>
                  </a:lnTo>
                  <a:lnTo>
                    <a:pt x="540" y="42"/>
                  </a:lnTo>
                  <a:lnTo>
                    <a:pt x="546" y="48"/>
                  </a:lnTo>
                  <a:lnTo>
                    <a:pt x="552" y="54"/>
                  </a:lnTo>
                  <a:lnTo>
                    <a:pt x="558" y="54"/>
                  </a:lnTo>
                  <a:lnTo>
                    <a:pt x="564" y="60"/>
                  </a:lnTo>
                  <a:lnTo>
                    <a:pt x="576" y="66"/>
                  </a:lnTo>
                  <a:lnTo>
                    <a:pt x="582" y="72"/>
                  </a:lnTo>
                  <a:lnTo>
                    <a:pt x="588" y="78"/>
                  </a:lnTo>
                  <a:lnTo>
                    <a:pt x="594" y="78"/>
                  </a:lnTo>
                  <a:lnTo>
                    <a:pt x="594" y="84"/>
                  </a:lnTo>
                  <a:lnTo>
                    <a:pt x="606" y="90"/>
                  </a:lnTo>
                  <a:lnTo>
                    <a:pt x="612" y="90"/>
                  </a:lnTo>
                  <a:lnTo>
                    <a:pt x="618" y="96"/>
                  </a:lnTo>
                  <a:lnTo>
                    <a:pt x="624" y="102"/>
                  </a:lnTo>
                  <a:lnTo>
                    <a:pt x="630" y="102"/>
                  </a:lnTo>
                  <a:lnTo>
                    <a:pt x="636" y="108"/>
                  </a:lnTo>
                  <a:lnTo>
                    <a:pt x="642" y="114"/>
                  </a:lnTo>
                  <a:lnTo>
                    <a:pt x="648" y="114"/>
                  </a:lnTo>
                  <a:lnTo>
                    <a:pt x="648" y="120"/>
                  </a:lnTo>
                  <a:lnTo>
                    <a:pt x="654" y="120"/>
                  </a:lnTo>
                  <a:lnTo>
                    <a:pt x="660" y="126"/>
                  </a:lnTo>
                  <a:lnTo>
                    <a:pt x="666" y="132"/>
                  </a:lnTo>
                  <a:lnTo>
                    <a:pt x="672" y="132"/>
                  </a:lnTo>
                  <a:lnTo>
                    <a:pt x="672" y="138"/>
                  </a:lnTo>
                  <a:lnTo>
                    <a:pt x="678" y="138"/>
                  </a:lnTo>
                  <a:lnTo>
                    <a:pt x="672" y="138"/>
                  </a:lnTo>
                  <a:lnTo>
                    <a:pt x="666" y="138"/>
                  </a:lnTo>
                  <a:lnTo>
                    <a:pt x="660" y="138"/>
                  </a:lnTo>
                  <a:lnTo>
                    <a:pt x="654" y="138"/>
                  </a:lnTo>
                  <a:lnTo>
                    <a:pt x="648" y="138"/>
                  </a:lnTo>
                  <a:lnTo>
                    <a:pt x="642" y="138"/>
                  </a:lnTo>
                  <a:lnTo>
                    <a:pt x="636" y="138"/>
                  </a:lnTo>
                  <a:lnTo>
                    <a:pt x="630" y="138"/>
                  </a:lnTo>
                  <a:lnTo>
                    <a:pt x="624" y="138"/>
                  </a:lnTo>
                  <a:lnTo>
                    <a:pt x="618" y="138"/>
                  </a:lnTo>
                  <a:lnTo>
                    <a:pt x="612" y="138"/>
                  </a:lnTo>
                  <a:lnTo>
                    <a:pt x="606" y="138"/>
                  </a:lnTo>
                  <a:lnTo>
                    <a:pt x="600" y="138"/>
                  </a:lnTo>
                  <a:lnTo>
                    <a:pt x="594" y="138"/>
                  </a:lnTo>
                  <a:lnTo>
                    <a:pt x="588" y="138"/>
                  </a:lnTo>
                  <a:lnTo>
                    <a:pt x="582" y="138"/>
                  </a:lnTo>
                  <a:lnTo>
                    <a:pt x="582" y="144"/>
                  </a:lnTo>
                  <a:lnTo>
                    <a:pt x="588" y="174"/>
                  </a:lnTo>
                  <a:lnTo>
                    <a:pt x="588" y="180"/>
                  </a:lnTo>
                  <a:lnTo>
                    <a:pt x="588" y="192"/>
                  </a:lnTo>
                  <a:lnTo>
                    <a:pt x="588" y="198"/>
                  </a:lnTo>
                  <a:lnTo>
                    <a:pt x="588" y="204"/>
                  </a:lnTo>
                  <a:lnTo>
                    <a:pt x="588" y="210"/>
                  </a:lnTo>
                  <a:lnTo>
                    <a:pt x="588" y="216"/>
                  </a:lnTo>
                  <a:lnTo>
                    <a:pt x="594" y="222"/>
                  </a:lnTo>
                  <a:lnTo>
                    <a:pt x="594" y="228"/>
                  </a:lnTo>
                  <a:lnTo>
                    <a:pt x="594" y="234"/>
                  </a:lnTo>
                  <a:lnTo>
                    <a:pt x="594" y="240"/>
                  </a:lnTo>
                  <a:lnTo>
                    <a:pt x="594" y="246"/>
                  </a:lnTo>
                  <a:lnTo>
                    <a:pt x="594" y="252"/>
                  </a:lnTo>
                  <a:lnTo>
                    <a:pt x="594" y="258"/>
                  </a:lnTo>
                  <a:lnTo>
                    <a:pt x="594" y="264"/>
                  </a:lnTo>
                  <a:lnTo>
                    <a:pt x="594" y="270"/>
                  </a:lnTo>
                  <a:lnTo>
                    <a:pt x="594" y="276"/>
                  </a:lnTo>
                  <a:lnTo>
                    <a:pt x="600" y="276"/>
                  </a:lnTo>
                  <a:lnTo>
                    <a:pt x="600" y="282"/>
                  </a:lnTo>
                  <a:lnTo>
                    <a:pt x="600" y="288"/>
                  </a:lnTo>
                  <a:lnTo>
                    <a:pt x="600" y="294"/>
                  </a:lnTo>
                  <a:lnTo>
                    <a:pt x="600" y="300"/>
                  </a:lnTo>
                  <a:lnTo>
                    <a:pt x="600" y="306"/>
                  </a:lnTo>
                  <a:lnTo>
                    <a:pt x="600" y="312"/>
                  </a:lnTo>
                  <a:lnTo>
                    <a:pt x="600" y="318"/>
                  </a:lnTo>
                  <a:lnTo>
                    <a:pt x="600" y="324"/>
                  </a:lnTo>
                  <a:lnTo>
                    <a:pt x="600" y="330"/>
                  </a:lnTo>
                  <a:lnTo>
                    <a:pt x="606" y="330"/>
                  </a:lnTo>
                  <a:lnTo>
                    <a:pt x="606" y="336"/>
                  </a:lnTo>
                  <a:lnTo>
                    <a:pt x="606" y="342"/>
                  </a:lnTo>
                  <a:lnTo>
                    <a:pt x="606" y="348"/>
                  </a:lnTo>
                  <a:lnTo>
                    <a:pt x="606" y="354"/>
                  </a:lnTo>
                  <a:lnTo>
                    <a:pt x="606" y="360"/>
                  </a:lnTo>
                  <a:lnTo>
                    <a:pt x="606" y="366"/>
                  </a:lnTo>
                  <a:lnTo>
                    <a:pt x="606" y="372"/>
                  </a:lnTo>
                  <a:lnTo>
                    <a:pt x="606" y="378"/>
                  </a:lnTo>
                  <a:lnTo>
                    <a:pt x="606" y="384"/>
                  </a:lnTo>
                  <a:lnTo>
                    <a:pt x="612" y="390"/>
                  </a:lnTo>
                  <a:lnTo>
                    <a:pt x="612" y="396"/>
                  </a:lnTo>
                  <a:lnTo>
                    <a:pt x="612" y="402"/>
                  </a:lnTo>
                  <a:lnTo>
                    <a:pt x="612" y="408"/>
                  </a:lnTo>
                  <a:lnTo>
                    <a:pt x="612" y="420"/>
                  </a:lnTo>
                  <a:lnTo>
                    <a:pt x="612" y="432"/>
                  </a:lnTo>
                  <a:lnTo>
                    <a:pt x="612" y="438"/>
                  </a:lnTo>
                  <a:lnTo>
                    <a:pt x="612" y="444"/>
                  </a:lnTo>
                  <a:lnTo>
                    <a:pt x="618" y="444"/>
                  </a:lnTo>
                  <a:lnTo>
                    <a:pt x="618" y="450"/>
                  </a:lnTo>
                  <a:lnTo>
                    <a:pt x="618" y="456"/>
                  </a:lnTo>
                  <a:lnTo>
                    <a:pt x="618" y="462"/>
                  </a:lnTo>
                  <a:lnTo>
                    <a:pt x="618" y="468"/>
                  </a:lnTo>
                  <a:lnTo>
                    <a:pt x="618" y="474"/>
                  </a:lnTo>
                  <a:lnTo>
                    <a:pt x="618" y="480"/>
                  </a:lnTo>
                  <a:lnTo>
                    <a:pt x="618" y="486"/>
                  </a:lnTo>
                  <a:lnTo>
                    <a:pt x="618" y="492"/>
                  </a:lnTo>
                  <a:lnTo>
                    <a:pt x="618" y="498"/>
                  </a:lnTo>
                  <a:lnTo>
                    <a:pt x="624" y="498"/>
                  </a:lnTo>
                  <a:lnTo>
                    <a:pt x="624" y="504"/>
                  </a:lnTo>
                  <a:lnTo>
                    <a:pt x="624" y="510"/>
                  </a:lnTo>
                  <a:lnTo>
                    <a:pt x="624" y="516"/>
                  </a:lnTo>
                  <a:lnTo>
                    <a:pt x="624" y="522"/>
                  </a:lnTo>
                  <a:lnTo>
                    <a:pt x="624" y="528"/>
                  </a:lnTo>
                  <a:lnTo>
                    <a:pt x="624" y="534"/>
                  </a:lnTo>
                  <a:lnTo>
                    <a:pt x="624" y="540"/>
                  </a:lnTo>
                  <a:lnTo>
                    <a:pt x="624" y="546"/>
                  </a:lnTo>
                  <a:lnTo>
                    <a:pt x="624" y="552"/>
                  </a:lnTo>
                  <a:lnTo>
                    <a:pt x="630" y="558"/>
                  </a:lnTo>
                  <a:lnTo>
                    <a:pt x="630" y="564"/>
                  </a:lnTo>
                  <a:lnTo>
                    <a:pt x="630" y="570"/>
                  </a:lnTo>
                  <a:lnTo>
                    <a:pt x="630" y="576"/>
                  </a:lnTo>
                  <a:lnTo>
                    <a:pt x="630" y="582"/>
                  </a:lnTo>
                  <a:lnTo>
                    <a:pt x="630" y="588"/>
                  </a:lnTo>
                  <a:lnTo>
                    <a:pt x="630" y="594"/>
                  </a:lnTo>
                  <a:lnTo>
                    <a:pt x="630" y="600"/>
                  </a:lnTo>
                  <a:lnTo>
                    <a:pt x="630" y="606"/>
                  </a:lnTo>
                  <a:lnTo>
                    <a:pt x="630" y="612"/>
                  </a:lnTo>
                  <a:lnTo>
                    <a:pt x="636" y="618"/>
                  </a:lnTo>
                  <a:lnTo>
                    <a:pt x="636" y="624"/>
                  </a:lnTo>
                  <a:lnTo>
                    <a:pt x="636" y="648"/>
                  </a:lnTo>
                  <a:lnTo>
                    <a:pt x="654" y="654"/>
                  </a:lnTo>
                  <a:lnTo>
                    <a:pt x="648" y="672"/>
                  </a:lnTo>
                  <a:lnTo>
                    <a:pt x="648" y="678"/>
                  </a:lnTo>
                  <a:lnTo>
                    <a:pt x="648" y="684"/>
                  </a:lnTo>
                  <a:lnTo>
                    <a:pt x="648" y="690"/>
                  </a:lnTo>
                  <a:lnTo>
                    <a:pt x="642" y="690"/>
                  </a:lnTo>
                  <a:lnTo>
                    <a:pt x="642" y="696"/>
                  </a:lnTo>
                  <a:lnTo>
                    <a:pt x="642" y="702"/>
                  </a:lnTo>
                  <a:lnTo>
                    <a:pt x="636" y="702"/>
                  </a:lnTo>
                  <a:lnTo>
                    <a:pt x="630" y="702"/>
                  </a:lnTo>
                  <a:lnTo>
                    <a:pt x="624" y="702"/>
                  </a:lnTo>
                  <a:lnTo>
                    <a:pt x="618" y="702"/>
                  </a:lnTo>
                  <a:lnTo>
                    <a:pt x="612" y="702"/>
                  </a:lnTo>
                  <a:lnTo>
                    <a:pt x="606" y="702"/>
                  </a:lnTo>
                  <a:lnTo>
                    <a:pt x="600" y="702"/>
                  </a:lnTo>
                  <a:lnTo>
                    <a:pt x="594" y="702"/>
                  </a:lnTo>
                  <a:lnTo>
                    <a:pt x="588" y="702"/>
                  </a:lnTo>
                  <a:lnTo>
                    <a:pt x="582" y="702"/>
                  </a:lnTo>
                  <a:lnTo>
                    <a:pt x="576" y="702"/>
                  </a:lnTo>
                  <a:lnTo>
                    <a:pt x="570" y="702"/>
                  </a:lnTo>
                  <a:lnTo>
                    <a:pt x="564" y="702"/>
                  </a:lnTo>
                  <a:lnTo>
                    <a:pt x="552" y="702"/>
                  </a:lnTo>
                  <a:lnTo>
                    <a:pt x="546" y="702"/>
                  </a:lnTo>
                  <a:lnTo>
                    <a:pt x="540" y="702"/>
                  </a:lnTo>
                  <a:lnTo>
                    <a:pt x="534" y="702"/>
                  </a:lnTo>
                  <a:lnTo>
                    <a:pt x="522" y="702"/>
                  </a:lnTo>
                  <a:lnTo>
                    <a:pt x="516" y="702"/>
                  </a:lnTo>
                  <a:lnTo>
                    <a:pt x="510" y="702"/>
                  </a:lnTo>
                  <a:lnTo>
                    <a:pt x="504" y="702"/>
                  </a:lnTo>
                  <a:lnTo>
                    <a:pt x="498" y="702"/>
                  </a:lnTo>
                  <a:lnTo>
                    <a:pt x="492" y="702"/>
                  </a:lnTo>
                  <a:lnTo>
                    <a:pt x="486" y="702"/>
                  </a:lnTo>
                  <a:lnTo>
                    <a:pt x="480" y="702"/>
                  </a:lnTo>
                  <a:lnTo>
                    <a:pt x="474" y="702"/>
                  </a:lnTo>
                  <a:lnTo>
                    <a:pt x="468" y="702"/>
                  </a:lnTo>
                  <a:lnTo>
                    <a:pt x="462" y="702"/>
                  </a:lnTo>
                  <a:lnTo>
                    <a:pt x="456" y="702"/>
                  </a:lnTo>
                  <a:lnTo>
                    <a:pt x="450" y="702"/>
                  </a:lnTo>
                  <a:lnTo>
                    <a:pt x="444" y="702"/>
                  </a:lnTo>
                  <a:lnTo>
                    <a:pt x="438" y="702"/>
                  </a:lnTo>
                  <a:lnTo>
                    <a:pt x="432" y="702"/>
                  </a:lnTo>
                  <a:lnTo>
                    <a:pt x="426" y="702"/>
                  </a:lnTo>
                  <a:lnTo>
                    <a:pt x="432" y="696"/>
                  </a:lnTo>
                  <a:lnTo>
                    <a:pt x="426" y="690"/>
                  </a:lnTo>
                  <a:lnTo>
                    <a:pt x="426" y="696"/>
                  </a:lnTo>
                  <a:lnTo>
                    <a:pt x="420" y="696"/>
                  </a:lnTo>
                  <a:lnTo>
                    <a:pt x="426" y="702"/>
                  </a:lnTo>
                  <a:lnTo>
                    <a:pt x="426" y="708"/>
                  </a:lnTo>
                  <a:lnTo>
                    <a:pt x="420" y="708"/>
                  </a:lnTo>
                  <a:lnTo>
                    <a:pt x="414" y="708"/>
                  </a:lnTo>
                  <a:lnTo>
                    <a:pt x="408" y="708"/>
                  </a:lnTo>
                  <a:lnTo>
                    <a:pt x="402" y="708"/>
                  </a:lnTo>
                  <a:lnTo>
                    <a:pt x="402" y="714"/>
                  </a:lnTo>
                  <a:lnTo>
                    <a:pt x="396" y="714"/>
                  </a:lnTo>
                  <a:lnTo>
                    <a:pt x="390" y="714"/>
                  </a:lnTo>
                  <a:lnTo>
                    <a:pt x="384" y="714"/>
                  </a:lnTo>
                  <a:lnTo>
                    <a:pt x="384" y="708"/>
                  </a:lnTo>
                  <a:lnTo>
                    <a:pt x="378" y="708"/>
                  </a:lnTo>
                  <a:lnTo>
                    <a:pt x="372" y="708"/>
                  </a:lnTo>
                  <a:lnTo>
                    <a:pt x="366" y="708"/>
                  </a:lnTo>
                  <a:lnTo>
                    <a:pt x="360" y="708"/>
                  </a:lnTo>
                  <a:lnTo>
                    <a:pt x="354" y="708"/>
                  </a:lnTo>
                  <a:lnTo>
                    <a:pt x="354" y="714"/>
                  </a:lnTo>
                  <a:lnTo>
                    <a:pt x="348" y="714"/>
                  </a:lnTo>
                  <a:lnTo>
                    <a:pt x="348" y="720"/>
                  </a:lnTo>
                  <a:lnTo>
                    <a:pt x="342" y="720"/>
                  </a:lnTo>
                  <a:lnTo>
                    <a:pt x="342" y="726"/>
                  </a:lnTo>
                  <a:lnTo>
                    <a:pt x="342" y="720"/>
                  </a:lnTo>
                  <a:lnTo>
                    <a:pt x="336" y="720"/>
                  </a:lnTo>
                  <a:lnTo>
                    <a:pt x="330" y="714"/>
                  </a:lnTo>
                  <a:lnTo>
                    <a:pt x="324" y="714"/>
                  </a:lnTo>
                  <a:lnTo>
                    <a:pt x="324" y="708"/>
                  </a:lnTo>
                  <a:lnTo>
                    <a:pt x="318" y="708"/>
                  </a:lnTo>
                  <a:lnTo>
                    <a:pt x="318" y="702"/>
                  </a:lnTo>
                  <a:lnTo>
                    <a:pt x="312" y="696"/>
                  </a:lnTo>
                  <a:lnTo>
                    <a:pt x="306" y="696"/>
                  </a:lnTo>
                  <a:lnTo>
                    <a:pt x="306" y="702"/>
                  </a:lnTo>
                  <a:lnTo>
                    <a:pt x="300" y="702"/>
                  </a:lnTo>
                  <a:lnTo>
                    <a:pt x="294" y="702"/>
                  </a:lnTo>
                  <a:lnTo>
                    <a:pt x="294" y="708"/>
                  </a:lnTo>
                  <a:lnTo>
                    <a:pt x="294" y="714"/>
                  </a:lnTo>
                  <a:lnTo>
                    <a:pt x="294" y="720"/>
                  </a:lnTo>
                  <a:lnTo>
                    <a:pt x="288" y="720"/>
                  </a:lnTo>
                  <a:lnTo>
                    <a:pt x="288" y="726"/>
                  </a:lnTo>
                  <a:lnTo>
                    <a:pt x="288" y="732"/>
                  </a:lnTo>
                  <a:lnTo>
                    <a:pt x="294" y="732"/>
                  </a:lnTo>
                  <a:lnTo>
                    <a:pt x="288" y="738"/>
                  </a:lnTo>
                  <a:lnTo>
                    <a:pt x="294" y="738"/>
                  </a:lnTo>
                  <a:lnTo>
                    <a:pt x="288" y="738"/>
                  </a:lnTo>
                  <a:lnTo>
                    <a:pt x="288" y="744"/>
                  </a:lnTo>
                  <a:lnTo>
                    <a:pt x="282" y="744"/>
                  </a:lnTo>
                  <a:lnTo>
                    <a:pt x="276" y="744"/>
                  </a:lnTo>
                  <a:lnTo>
                    <a:pt x="276" y="750"/>
                  </a:lnTo>
                  <a:lnTo>
                    <a:pt x="276" y="744"/>
                  </a:lnTo>
                  <a:lnTo>
                    <a:pt x="270" y="744"/>
                  </a:lnTo>
                  <a:lnTo>
                    <a:pt x="264" y="744"/>
                  </a:lnTo>
                  <a:close/>
                  <a:moveTo>
                    <a:pt x="30" y="462"/>
                  </a:moveTo>
                  <a:lnTo>
                    <a:pt x="36" y="456"/>
                  </a:lnTo>
                  <a:lnTo>
                    <a:pt x="36" y="450"/>
                  </a:lnTo>
                  <a:lnTo>
                    <a:pt x="36" y="456"/>
                  </a:lnTo>
                  <a:lnTo>
                    <a:pt x="36" y="462"/>
                  </a:lnTo>
                  <a:lnTo>
                    <a:pt x="30" y="462"/>
                  </a:lnTo>
                  <a:lnTo>
                    <a:pt x="36" y="462"/>
                  </a:lnTo>
                  <a:lnTo>
                    <a:pt x="30" y="462"/>
                  </a:lnTo>
                  <a:close/>
                  <a:moveTo>
                    <a:pt x="36" y="456"/>
                  </a:moveTo>
                  <a:lnTo>
                    <a:pt x="42" y="456"/>
                  </a:lnTo>
                  <a:lnTo>
                    <a:pt x="42" y="468"/>
                  </a:lnTo>
                  <a:lnTo>
                    <a:pt x="36" y="468"/>
                  </a:lnTo>
                  <a:lnTo>
                    <a:pt x="36" y="456"/>
                  </a:lnTo>
                  <a:close/>
                  <a:moveTo>
                    <a:pt x="30" y="402"/>
                  </a:moveTo>
                  <a:lnTo>
                    <a:pt x="30" y="408"/>
                  </a:lnTo>
                  <a:lnTo>
                    <a:pt x="31" y="408"/>
                  </a:lnTo>
                  <a:lnTo>
                    <a:pt x="30" y="402"/>
                  </a:lnTo>
                  <a:close/>
                  <a:moveTo>
                    <a:pt x="30" y="456"/>
                  </a:moveTo>
                  <a:lnTo>
                    <a:pt x="30" y="462"/>
                  </a:lnTo>
                  <a:lnTo>
                    <a:pt x="31" y="462"/>
                  </a:lnTo>
                  <a:lnTo>
                    <a:pt x="30" y="456"/>
                  </a:lnTo>
                  <a:close/>
                  <a:moveTo>
                    <a:pt x="36" y="456"/>
                  </a:moveTo>
                  <a:lnTo>
                    <a:pt x="42" y="456"/>
                  </a:lnTo>
                  <a:lnTo>
                    <a:pt x="42" y="462"/>
                  </a:lnTo>
                  <a:lnTo>
                    <a:pt x="36" y="462"/>
                  </a:lnTo>
                  <a:lnTo>
                    <a:pt x="36" y="456"/>
                  </a:lnTo>
                  <a:close/>
                  <a:moveTo>
                    <a:pt x="30" y="402"/>
                  </a:moveTo>
                  <a:lnTo>
                    <a:pt x="30" y="408"/>
                  </a:lnTo>
                  <a:lnTo>
                    <a:pt x="31" y="408"/>
                  </a:lnTo>
                  <a:lnTo>
                    <a:pt x="30" y="40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96" name="Freeform 12"/>
            <p:cNvSpPr>
              <a:spLocks/>
            </p:cNvSpPr>
            <p:nvPr>
              <p:custDataLst>
                <p:tags r:id="rId65"/>
              </p:custDataLst>
            </p:nvPr>
          </p:nvSpPr>
          <p:spPr bwMode="gray">
            <a:xfrm>
              <a:off x="2339975" y="1812926"/>
              <a:ext cx="1138238" cy="1079500"/>
            </a:xfrm>
            <a:custGeom>
              <a:avLst/>
              <a:gdLst>
                <a:gd name="T0" fmla="*/ 228652 w 918"/>
                <a:gd name="T1" fmla="*/ 209550 h 870"/>
                <a:gd name="T2" fmla="*/ 204430 w 918"/>
                <a:gd name="T3" fmla="*/ 222162 h 870"/>
                <a:gd name="T4" fmla="*/ 189897 w 918"/>
                <a:gd name="T5" fmla="*/ 228953 h 870"/>
                <a:gd name="T6" fmla="*/ 179240 w 918"/>
                <a:gd name="T7" fmla="*/ 239624 h 870"/>
                <a:gd name="T8" fmla="*/ 165675 w 918"/>
                <a:gd name="T9" fmla="*/ 245446 h 870"/>
                <a:gd name="T10" fmla="*/ 157925 w 918"/>
                <a:gd name="T11" fmla="*/ 252236 h 870"/>
                <a:gd name="T12" fmla="*/ 155987 w 918"/>
                <a:gd name="T13" fmla="*/ 266788 h 870"/>
                <a:gd name="T14" fmla="*/ 140485 w 918"/>
                <a:gd name="T15" fmla="*/ 273580 h 870"/>
                <a:gd name="T16" fmla="*/ 140485 w 918"/>
                <a:gd name="T17" fmla="*/ 282311 h 870"/>
                <a:gd name="T18" fmla="*/ 134672 w 918"/>
                <a:gd name="T19" fmla="*/ 296863 h 870"/>
                <a:gd name="T20" fmla="*/ 125952 w 918"/>
                <a:gd name="T21" fmla="*/ 309474 h 870"/>
                <a:gd name="T22" fmla="*/ 120139 w 918"/>
                <a:gd name="T23" fmla="*/ 298803 h 870"/>
                <a:gd name="T24" fmla="*/ 110451 w 918"/>
                <a:gd name="T25" fmla="*/ 305594 h 870"/>
                <a:gd name="T26" fmla="*/ 95917 w 918"/>
                <a:gd name="T27" fmla="*/ 303654 h 870"/>
                <a:gd name="T28" fmla="*/ 81384 w 918"/>
                <a:gd name="T29" fmla="*/ 305594 h 870"/>
                <a:gd name="T30" fmla="*/ 72665 w 918"/>
                <a:gd name="T31" fmla="*/ 292982 h 870"/>
                <a:gd name="T32" fmla="*/ 70727 w 918"/>
                <a:gd name="T33" fmla="*/ 282311 h 870"/>
                <a:gd name="T34" fmla="*/ 67821 w 918"/>
                <a:gd name="T35" fmla="*/ 268729 h 870"/>
                <a:gd name="T36" fmla="*/ 60069 w 918"/>
                <a:gd name="T37" fmla="*/ 264848 h 870"/>
                <a:gd name="T38" fmla="*/ 44568 w 918"/>
                <a:gd name="T39" fmla="*/ 268729 h 870"/>
                <a:gd name="T40" fmla="*/ 31972 w 918"/>
                <a:gd name="T41" fmla="*/ 273580 h 870"/>
                <a:gd name="T42" fmla="*/ 19377 w 918"/>
                <a:gd name="T43" fmla="*/ 273580 h 870"/>
                <a:gd name="T44" fmla="*/ 19377 w 918"/>
                <a:gd name="T45" fmla="*/ 264848 h 870"/>
                <a:gd name="T46" fmla="*/ 17439 w 918"/>
                <a:gd name="T47" fmla="*/ 254177 h 870"/>
                <a:gd name="T48" fmla="*/ 6782 w 918"/>
                <a:gd name="T49" fmla="*/ 241565 h 870"/>
                <a:gd name="T50" fmla="*/ 1938 w 918"/>
                <a:gd name="T51" fmla="*/ 222162 h 870"/>
                <a:gd name="T52" fmla="*/ 10657 w 918"/>
                <a:gd name="T53" fmla="*/ 213431 h 870"/>
                <a:gd name="T54" fmla="*/ 14533 w 918"/>
                <a:gd name="T55" fmla="*/ 198879 h 870"/>
                <a:gd name="T56" fmla="*/ 30035 w 918"/>
                <a:gd name="T57" fmla="*/ 204700 h 870"/>
                <a:gd name="T58" fmla="*/ 49412 w 918"/>
                <a:gd name="T59" fmla="*/ 202759 h 870"/>
                <a:gd name="T60" fmla="*/ 62007 w 918"/>
                <a:gd name="T61" fmla="*/ 200819 h 870"/>
                <a:gd name="T62" fmla="*/ 87198 w 918"/>
                <a:gd name="T63" fmla="*/ 200819 h 870"/>
                <a:gd name="T64" fmla="*/ 117233 w 918"/>
                <a:gd name="T65" fmla="*/ 200819 h 870"/>
                <a:gd name="T66" fmla="*/ 136610 w 918"/>
                <a:gd name="T67" fmla="*/ 194998 h 870"/>
                <a:gd name="T68" fmla="*/ 129828 w 918"/>
                <a:gd name="T69" fmla="*/ 158133 h 870"/>
                <a:gd name="T70" fmla="*/ 127890 w 918"/>
                <a:gd name="T71" fmla="*/ 131939 h 870"/>
                <a:gd name="T72" fmla="*/ 125952 w 918"/>
                <a:gd name="T73" fmla="*/ 108655 h 870"/>
                <a:gd name="T74" fmla="*/ 121108 w 918"/>
                <a:gd name="T75" fmla="*/ 81491 h 870"/>
                <a:gd name="T76" fmla="*/ 120139 w 918"/>
                <a:gd name="T77" fmla="*/ 57238 h 870"/>
                <a:gd name="T78" fmla="*/ 117233 w 918"/>
                <a:gd name="T79" fmla="*/ 33955 h 870"/>
                <a:gd name="T80" fmla="*/ 115295 w 918"/>
                <a:gd name="T81" fmla="*/ 0 h 870"/>
                <a:gd name="T82" fmla="*/ 140485 w 918"/>
                <a:gd name="T83" fmla="*/ 0 h 870"/>
                <a:gd name="T84" fmla="*/ 164707 w 918"/>
                <a:gd name="T85" fmla="*/ 12612 h 870"/>
                <a:gd name="T86" fmla="*/ 184084 w 918"/>
                <a:gd name="T87" fmla="*/ 26194 h 870"/>
                <a:gd name="T88" fmla="*/ 200555 w 918"/>
                <a:gd name="T89" fmla="*/ 36865 h 870"/>
                <a:gd name="T90" fmla="*/ 217995 w 918"/>
                <a:gd name="T91" fmla="*/ 49477 h 870"/>
                <a:gd name="T92" fmla="*/ 234465 w 918"/>
                <a:gd name="T93" fmla="*/ 62089 h 870"/>
                <a:gd name="T94" fmla="*/ 251904 w 918"/>
                <a:gd name="T95" fmla="*/ 74701 h 870"/>
                <a:gd name="T96" fmla="*/ 266437 w 918"/>
                <a:gd name="T97" fmla="*/ 91193 h 870"/>
                <a:gd name="T98" fmla="*/ 279033 w 918"/>
                <a:gd name="T99" fmla="*/ 100895 h 870"/>
                <a:gd name="T100" fmla="*/ 298410 w 918"/>
                <a:gd name="T101" fmla="*/ 106715 h 870"/>
                <a:gd name="T102" fmla="*/ 307130 w 918"/>
                <a:gd name="T103" fmla="*/ 124178 h 870"/>
                <a:gd name="T104" fmla="*/ 322631 w 918"/>
                <a:gd name="T105" fmla="*/ 128058 h 870"/>
                <a:gd name="T106" fmla="*/ 326507 w 918"/>
                <a:gd name="T107" fmla="*/ 145521 h 870"/>
                <a:gd name="T108" fmla="*/ 326507 w 918"/>
                <a:gd name="T109" fmla="*/ 170745 h 870"/>
                <a:gd name="T110" fmla="*/ 319725 w 918"/>
                <a:gd name="T111" fmla="*/ 194998 h 870"/>
                <a:gd name="T112" fmla="*/ 305192 w 918"/>
                <a:gd name="T113" fmla="*/ 204700 h 870"/>
                <a:gd name="T114" fmla="*/ 279033 w 918"/>
                <a:gd name="T115" fmla="*/ 204700 h 870"/>
                <a:gd name="T116" fmla="*/ 259656 w 918"/>
                <a:gd name="T117" fmla="*/ 211490 h 8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18" h="870">
                  <a:moveTo>
                    <a:pt x="696" y="594"/>
                  </a:moveTo>
                  <a:lnTo>
                    <a:pt x="690" y="594"/>
                  </a:lnTo>
                  <a:lnTo>
                    <a:pt x="684" y="594"/>
                  </a:lnTo>
                  <a:lnTo>
                    <a:pt x="678" y="594"/>
                  </a:lnTo>
                  <a:lnTo>
                    <a:pt x="672" y="594"/>
                  </a:lnTo>
                  <a:lnTo>
                    <a:pt x="672" y="588"/>
                  </a:lnTo>
                  <a:lnTo>
                    <a:pt x="666" y="594"/>
                  </a:lnTo>
                  <a:lnTo>
                    <a:pt x="660" y="594"/>
                  </a:lnTo>
                  <a:lnTo>
                    <a:pt x="660" y="588"/>
                  </a:lnTo>
                  <a:lnTo>
                    <a:pt x="654" y="588"/>
                  </a:lnTo>
                  <a:lnTo>
                    <a:pt x="648" y="588"/>
                  </a:lnTo>
                  <a:lnTo>
                    <a:pt x="642" y="588"/>
                  </a:lnTo>
                  <a:lnTo>
                    <a:pt x="642" y="594"/>
                  </a:lnTo>
                  <a:lnTo>
                    <a:pt x="636" y="594"/>
                  </a:lnTo>
                  <a:lnTo>
                    <a:pt x="636" y="600"/>
                  </a:lnTo>
                  <a:lnTo>
                    <a:pt x="630" y="600"/>
                  </a:lnTo>
                  <a:lnTo>
                    <a:pt x="630" y="606"/>
                  </a:lnTo>
                  <a:lnTo>
                    <a:pt x="624" y="606"/>
                  </a:lnTo>
                  <a:lnTo>
                    <a:pt x="618" y="606"/>
                  </a:lnTo>
                  <a:lnTo>
                    <a:pt x="612" y="612"/>
                  </a:lnTo>
                  <a:lnTo>
                    <a:pt x="594" y="618"/>
                  </a:lnTo>
                  <a:lnTo>
                    <a:pt x="594" y="624"/>
                  </a:lnTo>
                  <a:lnTo>
                    <a:pt x="588" y="624"/>
                  </a:lnTo>
                  <a:lnTo>
                    <a:pt x="576" y="624"/>
                  </a:lnTo>
                  <a:lnTo>
                    <a:pt x="576" y="630"/>
                  </a:lnTo>
                  <a:lnTo>
                    <a:pt x="576" y="636"/>
                  </a:lnTo>
                  <a:lnTo>
                    <a:pt x="570" y="636"/>
                  </a:lnTo>
                  <a:lnTo>
                    <a:pt x="570" y="642"/>
                  </a:lnTo>
                  <a:lnTo>
                    <a:pt x="564" y="642"/>
                  </a:lnTo>
                  <a:lnTo>
                    <a:pt x="558" y="642"/>
                  </a:lnTo>
                  <a:lnTo>
                    <a:pt x="558" y="636"/>
                  </a:lnTo>
                  <a:lnTo>
                    <a:pt x="552" y="636"/>
                  </a:lnTo>
                  <a:lnTo>
                    <a:pt x="546" y="636"/>
                  </a:lnTo>
                  <a:lnTo>
                    <a:pt x="540" y="636"/>
                  </a:lnTo>
                  <a:lnTo>
                    <a:pt x="540" y="642"/>
                  </a:lnTo>
                  <a:lnTo>
                    <a:pt x="534" y="642"/>
                  </a:lnTo>
                  <a:lnTo>
                    <a:pt x="534" y="648"/>
                  </a:lnTo>
                  <a:lnTo>
                    <a:pt x="528" y="648"/>
                  </a:lnTo>
                  <a:lnTo>
                    <a:pt x="528" y="654"/>
                  </a:lnTo>
                  <a:lnTo>
                    <a:pt x="522" y="654"/>
                  </a:lnTo>
                  <a:lnTo>
                    <a:pt x="522" y="660"/>
                  </a:lnTo>
                  <a:lnTo>
                    <a:pt x="522" y="666"/>
                  </a:lnTo>
                  <a:lnTo>
                    <a:pt x="522" y="672"/>
                  </a:lnTo>
                  <a:lnTo>
                    <a:pt x="516" y="672"/>
                  </a:lnTo>
                  <a:lnTo>
                    <a:pt x="510" y="672"/>
                  </a:lnTo>
                  <a:lnTo>
                    <a:pt x="504" y="672"/>
                  </a:lnTo>
                  <a:lnTo>
                    <a:pt x="504" y="666"/>
                  </a:lnTo>
                  <a:lnTo>
                    <a:pt x="504" y="672"/>
                  </a:lnTo>
                  <a:lnTo>
                    <a:pt x="504" y="678"/>
                  </a:lnTo>
                  <a:lnTo>
                    <a:pt x="504" y="684"/>
                  </a:lnTo>
                  <a:lnTo>
                    <a:pt x="504" y="690"/>
                  </a:lnTo>
                  <a:lnTo>
                    <a:pt x="504" y="696"/>
                  </a:lnTo>
                  <a:lnTo>
                    <a:pt x="498" y="696"/>
                  </a:lnTo>
                  <a:lnTo>
                    <a:pt x="492" y="696"/>
                  </a:lnTo>
                  <a:lnTo>
                    <a:pt x="492" y="702"/>
                  </a:lnTo>
                  <a:lnTo>
                    <a:pt x="486" y="702"/>
                  </a:lnTo>
                  <a:lnTo>
                    <a:pt x="486" y="696"/>
                  </a:lnTo>
                  <a:lnTo>
                    <a:pt x="480" y="696"/>
                  </a:lnTo>
                  <a:lnTo>
                    <a:pt x="474" y="690"/>
                  </a:lnTo>
                  <a:lnTo>
                    <a:pt x="468" y="690"/>
                  </a:lnTo>
                  <a:lnTo>
                    <a:pt x="462" y="690"/>
                  </a:lnTo>
                  <a:lnTo>
                    <a:pt x="462" y="684"/>
                  </a:lnTo>
                  <a:lnTo>
                    <a:pt x="468" y="684"/>
                  </a:lnTo>
                  <a:lnTo>
                    <a:pt x="462" y="684"/>
                  </a:lnTo>
                  <a:lnTo>
                    <a:pt x="462" y="678"/>
                  </a:lnTo>
                  <a:lnTo>
                    <a:pt x="462" y="684"/>
                  </a:lnTo>
                  <a:lnTo>
                    <a:pt x="456" y="684"/>
                  </a:lnTo>
                  <a:lnTo>
                    <a:pt x="456" y="690"/>
                  </a:lnTo>
                  <a:lnTo>
                    <a:pt x="450" y="696"/>
                  </a:lnTo>
                  <a:lnTo>
                    <a:pt x="450" y="702"/>
                  </a:lnTo>
                  <a:lnTo>
                    <a:pt x="444" y="702"/>
                  </a:lnTo>
                  <a:lnTo>
                    <a:pt x="444" y="708"/>
                  </a:lnTo>
                  <a:lnTo>
                    <a:pt x="450" y="708"/>
                  </a:lnTo>
                  <a:lnTo>
                    <a:pt x="450" y="714"/>
                  </a:lnTo>
                  <a:lnTo>
                    <a:pt x="450" y="720"/>
                  </a:lnTo>
                  <a:lnTo>
                    <a:pt x="450" y="726"/>
                  </a:lnTo>
                  <a:lnTo>
                    <a:pt x="444" y="726"/>
                  </a:lnTo>
                  <a:lnTo>
                    <a:pt x="438" y="726"/>
                  </a:lnTo>
                  <a:lnTo>
                    <a:pt x="432" y="726"/>
                  </a:lnTo>
                  <a:lnTo>
                    <a:pt x="432" y="732"/>
                  </a:lnTo>
                  <a:lnTo>
                    <a:pt x="438" y="732"/>
                  </a:lnTo>
                  <a:lnTo>
                    <a:pt x="438" y="738"/>
                  </a:lnTo>
                  <a:lnTo>
                    <a:pt x="438" y="744"/>
                  </a:lnTo>
                  <a:lnTo>
                    <a:pt x="438" y="750"/>
                  </a:lnTo>
                  <a:lnTo>
                    <a:pt x="432" y="750"/>
                  </a:lnTo>
                  <a:lnTo>
                    <a:pt x="432" y="756"/>
                  </a:lnTo>
                  <a:lnTo>
                    <a:pt x="426" y="756"/>
                  </a:lnTo>
                  <a:lnTo>
                    <a:pt x="432" y="756"/>
                  </a:lnTo>
                  <a:lnTo>
                    <a:pt x="432" y="762"/>
                  </a:lnTo>
                  <a:lnTo>
                    <a:pt x="426" y="762"/>
                  </a:lnTo>
                  <a:lnTo>
                    <a:pt x="420" y="762"/>
                  </a:lnTo>
                  <a:lnTo>
                    <a:pt x="420" y="768"/>
                  </a:lnTo>
                  <a:lnTo>
                    <a:pt x="414" y="768"/>
                  </a:lnTo>
                  <a:lnTo>
                    <a:pt x="408" y="768"/>
                  </a:lnTo>
                  <a:lnTo>
                    <a:pt x="402" y="768"/>
                  </a:lnTo>
                  <a:lnTo>
                    <a:pt x="396" y="768"/>
                  </a:lnTo>
                  <a:lnTo>
                    <a:pt x="396" y="774"/>
                  </a:lnTo>
                  <a:lnTo>
                    <a:pt x="390" y="774"/>
                  </a:lnTo>
                  <a:lnTo>
                    <a:pt x="384" y="774"/>
                  </a:lnTo>
                  <a:lnTo>
                    <a:pt x="384" y="780"/>
                  </a:lnTo>
                  <a:lnTo>
                    <a:pt x="384" y="774"/>
                  </a:lnTo>
                  <a:lnTo>
                    <a:pt x="384" y="780"/>
                  </a:lnTo>
                  <a:lnTo>
                    <a:pt x="390" y="780"/>
                  </a:lnTo>
                  <a:lnTo>
                    <a:pt x="390" y="786"/>
                  </a:lnTo>
                  <a:lnTo>
                    <a:pt x="390" y="792"/>
                  </a:lnTo>
                  <a:lnTo>
                    <a:pt x="390" y="786"/>
                  </a:lnTo>
                  <a:lnTo>
                    <a:pt x="390" y="792"/>
                  </a:lnTo>
                  <a:lnTo>
                    <a:pt x="396" y="792"/>
                  </a:lnTo>
                  <a:lnTo>
                    <a:pt x="396" y="798"/>
                  </a:lnTo>
                  <a:lnTo>
                    <a:pt x="396" y="804"/>
                  </a:lnTo>
                  <a:lnTo>
                    <a:pt x="390" y="804"/>
                  </a:lnTo>
                  <a:lnTo>
                    <a:pt x="390" y="810"/>
                  </a:lnTo>
                  <a:lnTo>
                    <a:pt x="390" y="816"/>
                  </a:lnTo>
                  <a:lnTo>
                    <a:pt x="384" y="816"/>
                  </a:lnTo>
                  <a:lnTo>
                    <a:pt x="378" y="816"/>
                  </a:lnTo>
                  <a:lnTo>
                    <a:pt x="378" y="822"/>
                  </a:lnTo>
                  <a:lnTo>
                    <a:pt x="378" y="828"/>
                  </a:lnTo>
                  <a:lnTo>
                    <a:pt x="384" y="828"/>
                  </a:lnTo>
                  <a:lnTo>
                    <a:pt x="384" y="834"/>
                  </a:lnTo>
                  <a:lnTo>
                    <a:pt x="378" y="834"/>
                  </a:lnTo>
                  <a:lnTo>
                    <a:pt x="378" y="840"/>
                  </a:lnTo>
                  <a:lnTo>
                    <a:pt x="378" y="846"/>
                  </a:lnTo>
                  <a:lnTo>
                    <a:pt x="378" y="852"/>
                  </a:lnTo>
                  <a:lnTo>
                    <a:pt x="378" y="858"/>
                  </a:lnTo>
                  <a:lnTo>
                    <a:pt x="378" y="852"/>
                  </a:lnTo>
                  <a:lnTo>
                    <a:pt x="372" y="852"/>
                  </a:lnTo>
                  <a:lnTo>
                    <a:pt x="366" y="852"/>
                  </a:lnTo>
                  <a:lnTo>
                    <a:pt x="366" y="858"/>
                  </a:lnTo>
                  <a:lnTo>
                    <a:pt x="360" y="858"/>
                  </a:lnTo>
                  <a:lnTo>
                    <a:pt x="354" y="858"/>
                  </a:lnTo>
                  <a:lnTo>
                    <a:pt x="354" y="864"/>
                  </a:lnTo>
                  <a:lnTo>
                    <a:pt x="354" y="870"/>
                  </a:lnTo>
                  <a:lnTo>
                    <a:pt x="348" y="870"/>
                  </a:lnTo>
                  <a:lnTo>
                    <a:pt x="342" y="870"/>
                  </a:lnTo>
                  <a:lnTo>
                    <a:pt x="342" y="864"/>
                  </a:lnTo>
                  <a:lnTo>
                    <a:pt x="336" y="864"/>
                  </a:lnTo>
                  <a:lnTo>
                    <a:pt x="342" y="864"/>
                  </a:lnTo>
                  <a:lnTo>
                    <a:pt x="342" y="858"/>
                  </a:lnTo>
                  <a:lnTo>
                    <a:pt x="342" y="852"/>
                  </a:lnTo>
                  <a:lnTo>
                    <a:pt x="336" y="852"/>
                  </a:lnTo>
                  <a:lnTo>
                    <a:pt x="336" y="846"/>
                  </a:lnTo>
                  <a:lnTo>
                    <a:pt x="342" y="846"/>
                  </a:lnTo>
                  <a:lnTo>
                    <a:pt x="336" y="846"/>
                  </a:lnTo>
                  <a:lnTo>
                    <a:pt x="336" y="840"/>
                  </a:lnTo>
                  <a:lnTo>
                    <a:pt x="330" y="840"/>
                  </a:lnTo>
                  <a:lnTo>
                    <a:pt x="324" y="840"/>
                  </a:lnTo>
                  <a:lnTo>
                    <a:pt x="330" y="846"/>
                  </a:lnTo>
                  <a:lnTo>
                    <a:pt x="324" y="846"/>
                  </a:lnTo>
                  <a:lnTo>
                    <a:pt x="318" y="846"/>
                  </a:lnTo>
                  <a:lnTo>
                    <a:pt x="318" y="840"/>
                  </a:lnTo>
                  <a:lnTo>
                    <a:pt x="312" y="840"/>
                  </a:lnTo>
                  <a:lnTo>
                    <a:pt x="312" y="846"/>
                  </a:lnTo>
                  <a:lnTo>
                    <a:pt x="312" y="852"/>
                  </a:lnTo>
                  <a:lnTo>
                    <a:pt x="318" y="852"/>
                  </a:lnTo>
                  <a:lnTo>
                    <a:pt x="318" y="858"/>
                  </a:lnTo>
                  <a:lnTo>
                    <a:pt x="312" y="858"/>
                  </a:lnTo>
                  <a:lnTo>
                    <a:pt x="306" y="858"/>
                  </a:lnTo>
                  <a:lnTo>
                    <a:pt x="300" y="858"/>
                  </a:lnTo>
                  <a:lnTo>
                    <a:pt x="294" y="858"/>
                  </a:lnTo>
                  <a:lnTo>
                    <a:pt x="294" y="864"/>
                  </a:lnTo>
                  <a:lnTo>
                    <a:pt x="294" y="870"/>
                  </a:lnTo>
                  <a:lnTo>
                    <a:pt x="288" y="870"/>
                  </a:lnTo>
                  <a:lnTo>
                    <a:pt x="288" y="864"/>
                  </a:lnTo>
                  <a:lnTo>
                    <a:pt x="282" y="864"/>
                  </a:lnTo>
                  <a:lnTo>
                    <a:pt x="276" y="864"/>
                  </a:lnTo>
                  <a:lnTo>
                    <a:pt x="276" y="858"/>
                  </a:lnTo>
                  <a:lnTo>
                    <a:pt x="270" y="858"/>
                  </a:lnTo>
                  <a:lnTo>
                    <a:pt x="270" y="852"/>
                  </a:lnTo>
                  <a:lnTo>
                    <a:pt x="264" y="852"/>
                  </a:lnTo>
                  <a:lnTo>
                    <a:pt x="258" y="852"/>
                  </a:lnTo>
                  <a:lnTo>
                    <a:pt x="258" y="858"/>
                  </a:lnTo>
                  <a:lnTo>
                    <a:pt x="252" y="858"/>
                  </a:lnTo>
                  <a:lnTo>
                    <a:pt x="252" y="864"/>
                  </a:lnTo>
                  <a:lnTo>
                    <a:pt x="246" y="864"/>
                  </a:lnTo>
                  <a:lnTo>
                    <a:pt x="246" y="870"/>
                  </a:lnTo>
                  <a:lnTo>
                    <a:pt x="240" y="870"/>
                  </a:lnTo>
                  <a:lnTo>
                    <a:pt x="240" y="864"/>
                  </a:lnTo>
                  <a:lnTo>
                    <a:pt x="240" y="858"/>
                  </a:lnTo>
                  <a:lnTo>
                    <a:pt x="234" y="858"/>
                  </a:lnTo>
                  <a:lnTo>
                    <a:pt x="228" y="858"/>
                  </a:lnTo>
                  <a:lnTo>
                    <a:pt x="228" y="852"/>
                  </a:lnTo>
                  <a:lnTo>
                    <a:pt x="222" y="852"/>
                  </a:lnTo>
                  <a:lnTo>
                    <a:pt x="222" y="846"/>
                  </a:lnTo>
                  <a:lnTo>
                    <a:pt x="222" y="840"/>
                  </a:lnTo>
                  <a:lnTo>
                    <a:pt x="222" y="834"/>
                  </a:lnTo>
                  <a:lnTo>
                    <a:pt x="222" y="828"/>
                  </a:lnTo>
                  <a:lnTo>
                    <a:pt x="222" y="822"/>
                  </a:lnTo>
                  <a:lnTo>
                    <a:pt x="216" y="822"/>
                  </a:lnTo>
                  <a:lnTo>
                    <a:pt x="210" y="822"/>
                  </a:lnTo>
                  <a:lnTo>
                    <a:pt x="210" y="828"/>
                  </a:lnTo>
                  <a:lnTo>
                    <a:pt x="204" y="828"/>
                  </a:lnTo>
                  <a:lnTo>
                    <a:pt x="204" y="822"/>
                  </a:lnTo>
                  <a:lnTo>
                    <a:pt x="204" y="816"/>
                  </a:lnTo>
                  <a:lnTo>
                    <a:pt x="210" y="816"/>
                  </a:lnTo>
                  <a:lnTo>
                    <a:pt x="210" y="810"/>
                  </a:lnTo>
                  <a:lnTo>
                    <a:pt x="210" y="804"/>
                  </a:lnTo>
                  <a:lnTo>
                    <a:pt x="216" y="804"/>
                  </a:lnTo>
                  <a:lnTo>
                    <a:pt x="216" y="810"/>
                  </a:lnTo>
                  <a:lnTo>
                    <a:pt x="216" y="804"/>
                  </a:lnTo>
                  <a:lnTo>
                    <a:pt x="210" y="804"/>
                  </a:lnTo>
                  <a:lnTo>
                    <a:pt x="210" y="798"/>
                  </a:lnTo>
                  <a:lnTo>
                    <a:pt x="204" y="798"/>
                  </a:lnTo>
                  <a:lnTo>
                    <a:pt x="204" y="792"/>
                  </a:lnTo>
                  <a:lnTo>
                    <a:pt x="198" y="792"/>
                  </a:lnTo>
                  <a:lnTo>
                    <a:pt x="198" y="786"/>
                  </a:lnTo>
                  <a:lnTo>
                    <a:pt x="204" y="786"/>
                  </a:lnTo>
                  <a:lnTo>
                    <a:pt x="198" y="786"/>
                  </a:lnTo>
                  <a:lnTo>
                    <a:pt x="192" y="786"/>
                  </a:lnTo>
                  <a:lnTo>
                    <a:pt x="192" y="780"/>
                  </a:lnTo>
                  <a:lnTo>
                    <a:pt x="192" y="774"/>
                  </a:lnTo>
                  <a:lnTo>
                    <a:pt x="192" y="768"/>
                  </a:lnTo>
                  <a:lnTo>
                    <a:pt x="192" y="762"/>
                  </a:lnTo>
                  <a:lnTo>
                    <a:pt x="192" y="768"/>
                  </a:lnTo>
                  <a:lnTo>
                    <a:pt x="192" y="762"/>
                  </a:lnTo>
                  <a:lnTo>
                    <a:pt x="186" y="762"/>
                  </a:lnTo>
                  <a:lnTo>
                    <a:pt x="192" y="756"/>
                  </a:lnTo>
                  <a:lnTo>
                    <a:pt x="186" y="756"/>
                  </a:lnTo>
                  <a:lnTo>
                    <a:pt x="186" y="750"/>
                  </a:lnTo>
                  <a:lnTo>
                    <a:pt x="186" y="744"/>
                  </a:lnTo>
                  <a:lnTo>
                    <a:pt x="180" y="744"/>
                  </a:lnTo>
                  <a:lnTo>
                    <a:pt x="180" y="738"/>
                  </a:lnTo>
                  <a:lnTo>
                    <a:pt x="174" y="738"/>
                  </a:lnTo>
                  <a:lnTo>
                    <a:pt x="168" y="738"/>
                  </a:lnTo>
                  <a:lnTo>
                    <a:pt x="162" y="738"/>
                  </a:lnTo>
                  <a:lnTo>
                    <a:pt x="162" y="744"/>
                  </a:lnTo>
                  <a:lnTo>
                    <a:pt x="162" y="738"/>
                  </a:lnTo>
                  <a:lnTo>
                    <a:pt x="162" y="744"/>
                  </a:lnTo>
                  <a:lnTo>
                    <a:pt x="168" y="744"/>
                  </a:lnTo>
                  <a:lnTo>
                    <a:pt x="168" y="750"/>
                  </a:lnTo>
                  <a:lnTo>
                    <a:pt x="162" y="750"/>
                  </a:lnTo>
                  <a:lnTo>
                    <a:pt x="156" y="750"/>
                  </a:lnTo>
                  <a:lnTo>
                    <a:pt x="156" y="756"/>
                  </a:lnTo>
                  <a:lnTo>
                    <a:pt x="150" y="756"/>
                  </a:lnTo>
                  <a:lnTo>
                    <a:pt x="144" y="756"/>
                  </a:lnTo>
                  <a:lnTo>
                    <a:pt x="144" y="762"/>
                  </a:lnTo>
                  <a:lnTo>
                    <a:pt x="144" y="768"/>
                  </a:lnTo>
                  <a:lnTo>
                    <a:pt x="138" y="762"/>
                  </a:lnTo>
                  <a:lnTo>
                    <a:pt x="132" y="762"/>
                  </a:lnTo>
                  <a:lnTo>
                    <a:pt x="126" y="762"/>
                  </a:lnTo>
                  <a:lnTo>
                    <a:pt x="126" y="756"/>
                  </a:lnTo>
                  <a:lnTo>
                    <a:pt x="120" y="756"/>
                  </a:lnTo>
                  <a:lnTo>
                    <a:pt x="114" y="756"/>
                  </a:lnTo>
                  <a:lnTo>
                    <a:pt x="108" y="756"/>
                  </a:lnTo>
                  <a:lnTo>
                    <a:pt x="102" y="756"/>
                  </a:lnTo>
                  <a:lnTo>
                    <a:pt x="102" y="762"/>
                  </a:lnTo>
                  <a:lnTo>
                    <a:pt x="96" y="762"/>
                  </a:lnTo>
                  <a:lnTo>
                    <a:pt x="102" y="762"/>
                  </a:lnTo>
                  <a:lnTo>
                    <a:pt x="96" y="762"/>
                  </a:lnTo>
                  <a:lnTo>
                    <a:pt x="96" y="768"/>
                  </a:lnTo>
                  <a:lnTo>
                    <a:pt x="96" y="762"/>
                  </a:lnTo>
                  <a:lnTo>
                    <a:pt x="96" y="768"/>
                  </a:lnTo>
                  <a:lnTo>
                    <a:pt x="90" y="768"/>
                  </a:lnTo>
                  <a:lnTo>
                    <a:pt x="90" y="774"/>
                  </a:lnTo>
                  <a:lnTo>
                    <a:pt x="84" y="774"/>
                  </a:lnTo>
                  <a:lnTo>
                    <a:pt x="84" y="768"/>
                  </a:lnTo>
                  <a:lnTo>
                    <a:pt x="84" y="762"/>
                  </a:lnTo>
                  <a:lnTo>
                    <a:pt x="78" y="762"/>
                  </a:lnTo>
                  <a:lnTo>
                    <a:pt x="78" y="756"/>
                  </a:lnTo>
                  <a:lnTo>
                    <a:pt x="72" y="756"/>
                  </a:lnTo>
                  <a:lnTo>
                    <a:pt x="66" y="756"/>
                  </a:lnTo>
                  <a:lnTo>
                    <a:pt x="66" y="762"/>
                  </a:lnTo>
                  <a:lnTo>
                    <a:pt x="60" y="762"/>
                  </a:lnTo>
                  <a:lnTo>
                    <a:pt x="60" y="768"/>
                  </a:lnTo>
                  <a:lnTo>
                    <a:pt x="54" y="768"/>
                  </a:lnTo>
                  <a:lnTo>
                    <a:pt x="54" y="762"/>
                  </a:lnTo>
                  <a:lnTo>
                    <a:pt x="48" y="762"/>
                  </a:lnTo>
                  <a:lnTo>
                    <a:pt x="48" y="756"/>
                  </a:lnTo>
                  <a:lnTo>
                    <a:pt x="42" y="756"/>
                  </a:lnTo>
                  <a:lnTo>
                    <a:pt x="48" y="756"/>
                  </a:lnTo>
                  <a:lnTo>
                    <a:pt x="48" y="750"/>
                  </a:lnTo>
                  <a:lnTo>
                    <a:pt x="48" y="744"/>
                  </a:lnTo>
                  <a:lnTo>
                    <a:pt x="54" y="744"/>
                  </a:lnTo>
                  <a:lnTo>
                    <a:pt x="48" y="744"/>
                  </a:lnTo>
                  <a:lnTo>
                    <a:pt x="54" y="744"/>
                  </a:lnTo>
                  <a:lnTo>
                    <a:pt x="48" y="744"/>
                  </a:lnTo>
                  <a:lnTo>
                    <a:pt x="54" y="744"/>
                  </a:lnTo>
                  <a:lnTo>
                    <a:pt x="54" y="738"/>
                  </a:lnTo>
                  <a:lnTo>
                    <a:pt x="48" y="738"/>
                  </a:lnTo>
                  <a:lnTo>
                    <a:pt x="48" y="732"/>
                  </a:lnTo>
                  <a:lnTo>
                    <a:pt x="48" y="726"/>
                  </a:lnTo>
                  <a:lnTo>
                    <a:pt x="54" y="726"/>
                  </a:lnTo>
                  <a:lnTo>
                    <a:pt x="48" y="726"/>
                  </a:lnTo>
                  <a:lnTo>
                    <a:pt x="48" y="720"/>
                  </a:lnTo>
                  <a:lnTo>
                    <a:pt x="48" y="714"/>
                  </a:lnTo>
                  <a:lnTo>
                    <a:pt x="54" y="714"/>
                  </a:lnTo>
                  <a:lnTo>
                    <a:pt x="54" y="708"/>
                  </a:lnTo>
                  <a:lnTo>
                    <a:pt x="48" y="708"/>
                  </a:lnTo>
                  <a:lnTo>
                    <a:pt x="48" y="714"/>
                  </a:lnTo>
                  <a:lnTo>
                    <a:pt x="48" y="708"/>
                  </a:lnTo>
                  <a:lnTo>
                    <a:pt x="48" y="702"/>
                  </a:lnTo>
                  <a:lnTo>
                    <a:pt x="42" y="702"/>
                  </a:lnTo>
                  <a:lnTo>
                    <a:pt x="42" y="696"/>
                  </a:lnTo>
                  <a:lnTo>
                    <a:pt x="42" y="690"/>
                  </a:lnTo>
                  <a:lnTo>
                    <a:pt x="36" y="690"/>
                  </a:lnTo>
                  <a:lnTo>
                    <a:pt x="30" y="690"/>
                  </a:lnTo>
                  <a:lnTo>
                    <a:pt x="30" y="684"/>
                  </a:lnTo>
                  <a:lnTo>
                    <a:pt x="30" y="690"/>
                  </a:lnTo>
                  <a:lnTo>
                    <a:pt x="24" y="690"/>
                  </a:lnTo>
                  <a:lnTo>
                    <a:pt x="24" y="684"/>
                  </a:lnTo>
                  <a:lnTo>
                    <a:pt x="18" y="678"/>
                  </a:lnTo>
                  <a:lnTo>
                    <a:pt x="12" y="672"/>
                  </a:lnTo>
                  <a:lnTo>
                    <a:pt x="12" y="666"/>
                  </a:lnTo>
                  <a:lnTo>
                    <a:pt x="18" y="666"/>
                  </a:lnTo>
                  <a:lnTo>
                    <a:pt x="18" y="660"/>
                  </a:lnTo>
                  <a:lnTo>
                    <a:pt x="18" y="654"/>
                  </a:lnTo>
                  <a:lnTo>
                    <a:pt x="18" y="648"/>
                  </a:lnTo>
                  <a:lnTo>
                    <a:pt x="18" y="642"/>
                  </a:lnTo>
                  <a:lnTo>
                    <a:pt x="18" y="636"/>
                  </a:lnTo>
                  <a:lnTo>
                    <a:pt x="12" y="636"/>
                  </a:lnTo>
                  <a:lnTo>
                    <a:pt x="12" y="630"/>
                  </a:lnTo>
                  <a:lnTo>
                    <a:pt x="6" y="630"/>
                  </a:lnTo>
                  <a:lnTo>
                    <a:pt x="6" y="624"/>
                  </a:lnTo>
                  <a:lnTo>
                    <a:pt x="6" y="618"/>
                  </a:lnTo>
                  <a:lnTo>
                    <a:pt x="6" y="612"/>
                  </a:lnTo>
                  <a:lnTo>
                    <a:pt x="0" y="612"/>
                  </a:lnTo>
                  <a:lnTo>
                    <a:pt x="0" y="606"/>
                  </a:lnTo>
                  <a:lnTo>
                    <a:pt x="6" y="606"/>
                  </a:lnTo>
                  <a:lnTo>
                    <a:pt x="12" y="606"/>
                  </a:lnTo>
                  <a:lnTo>
                    <a:pt x="12" y="612"/>
                  </a:lnTo>
                  <a:lnTo>
                    <a:pt x="12" y="606"/>
                  </a:lnTo>
                  <a:lnTo>
                    <a:pt x="18" y="606"/>
                  </a:lnTo>
                  <a:lnTo>
                    <a:pt x="24" y="606"/>
                  </a:lnTo>
                  <a:lnTo>
                    <a:pt x="24" y="600"/>
                  </a:lnTo>
                  <a:lnTo>
                    <a:pt x="30" y="600"/>
                  </a:lnTo>
                  <a:lnTo>
                    <a:pt x="24" y="600"/>
                  </a:lnTo>
                  <a:lnTo>
                    <a:pt x="30" y="594"/>
                  </a:lnTo>
                  <a:lnTo>
                    <a:pt x="24" y="594"/>
                  </a:lnTo>
                  <a:lnTo>
                    <a:pt x="24" y="588"/>
                  </a:lnTo>
                  <a:lnTo>
                    <a:pt x="24" y="582"/>
                  </a:lnTo>
                  <a:lnTo>
                    <a:pt x="30" y="582"/>
                  </a:lnTo>
                  <a:lnTo>
                    <a:pt x="30" y="576"/>
                  </a:lnTo>
                  <a:lnTo>
                    <a:pt x="30" y="570"/>
                  </a:lnTo>
                  <a:lnTo>
                    <a:pt x="30" y="564"/>
                  </a:lnTo>
                  <a:lnTo>
                    <a:pt x="36" y="564"/>
                  </a:lnTo>
                  <a:lnTo>
                    <a:pt x="42" y="564"/>
                  </a:lnTo>
                  <a:lnTo>
                    <a:pt x="42" y="558"/>
                  </a:lnTo>
                  <a:lnTo>
                    <a:pt x="48" y="558"/>
                  </a:lnTo>
                  <a:lnTo>
                    <a:pt x="54" y="564"/>
                  </a:lnTo>
                  <a:lnTo>
                    <a:pt x="54" y="570"/>
                  </a:lnTo>
                  <a:lnTo>
                    <a:pt x="60" y="570"/>
                  </a:lnTo>
                  <a:lnTo>
                    <a:pt x="60" y="576"/>
                  </a:lnTo>
                  <a:lnTo>
                    <a:pt x="66" y="576"/>
                  </a:lnTo>
                  <a:lnTo>
                    <a:pt x="72" y="582"/>
                  </a:lnTo>
                  <a:lnTo>
                    <a:pt x="78" y="582"/>
                  </a:lnTo>
                  <a:lnTo>
                    <a:pt x="78" y="588"/>
                  </a:lnTo>
                  <a:lnTo>
                    <a:pt x="78" y="582"/>
                  </a:lnTo>
                  <a:lnTo>
                    <a:pt x="84" y="582"/>
                  </a:lnTo>
                  <a:lnTo>
                    <a:pt x="84" y="576"/>
                  </a:lnTo>
                  <a:lnTo>
                    <a:pt x="90" y="576"/>
                  </a:lnTo>
                  <a:lnTo>
                    <a:pt x="90" y="570"/>
                  </a:lnTo>
                  <a:lnTo>
                    <a:pt x="96" y="570"/>
                  </a:lnTo>
                  <a:lnTo>
                    <a:pt x="102" y="570"/>
                  </a:lnTo>
                  <a:lnTo>
                    <a:pt x="108" y="570"/>
                  </a:lnTo>
                  <a:lnTo>
                    <a:pt x="114" y="570"/>
                  </a:lnTo>
                  <a:lnTo>
                    <a:pt x="120" y="570"/>
                  </a:lnTo>
                  <a:lnTo>
                    <a:pt x="120" y="576"/>
                  </a:lnTo>
                  <a:lnTo>
                    <a:pt x="126" y="576"/>
                  </a:lnTo>
                  <a:lnTo>
                    <a:pt x="132" y="576"/>
                  </a:lnTo>
                  <a:lnTo>
                    <a:pt x="138" y="576"/>
                  </a:lnTo>
                  <a:lnTo>
                    <a:pt x="138" y="570"/>
                  </a:lnTo>
                  <a:lnTo>
                    <a:pt x="144" y="570"/>
                  </a:lnTo>
                  <a:lnTo>
                    <a:pt x="150" y="570"/>
                  </a:lnTo>
                  <a:lnTo>
                    <a:pt x="156" y="570"/>
                  </a:lnTo>
                  <a:lnTo>
                    <a:pt x="162" y="570"/>
                  </a:lnTo>
                  <a:lnTo>
                    <a:pt x="162" y="564"/>
                  </a:lnTo>
                  <a:lnTo>
                    <a:pt x="156" y="558"/>
                  </a:lnTo>
                  <a:lnTo>
                    <a:pt x="162" y="558"/>
                  </a:lnTo>
                  <a:lnTo>
                    <a:pt x="162" y="552"/>
                  </a:lnTo>
                  <a:lnTo>
                    <a:pt x="168" y="558"/>
                  </a:lnTo>
                  <a:lnTo>
                    <a:pt x="162" y="564"/>
                  </a:lnTo>
                  <a:lnTo>
                    <a:pt x="168" y="564"/>
                  </a:lnTo>
                  <a:lnTo>
                    <a:pt x="174" y="564"/>
                  </a:lnTo>
                  <a:lnTo>
                    <a:pt x="180" y="564"/>
                  </a:lnTo>
                  <a:lnTo>
                    <a:pt x="186" y="564"/>
                  </a:lnTo>
                  <a:lnTo>
                    <a:pt x="192" y="564"/>
                  </a:lnTo>
                  <a:lnTo>
                    <a:pt x="198" y="564"/>
                  </a:lnTo>
                  <a:lnTo>
                    <a:pt x="204" y="564"/>
                  </a:lnTo>
                  <a:lnTo>
                    <a:pt x="210" y="564"/>
                  </a:lnTo>
                  <a:lnTo>
                    <a:pt x="216" y="564"/>
                  </a:lnTo>
                  <a:lnTo>
                    <a:pt x="222" y="564"/>
                  </a:lnTo>
                  <a:lnTo>
                    <a:pt x="228" y="564"/>
                  </a:lnTo>
                  <a:lnTo>
                    <a:pt x="234" y="564"/>
                  </a:lnTo>
                  <a:lnTo>
                    <a:pt x="240" y="564"/>
                  </a:lnTo>
                  <a:lnTo>
                    <a:pt x="246" y="564"/>
                  </a:lnTo>
                  <a:lnTo>
                    <a:pt x="252" y="564"/>
                  </a:lnTo>
                  <a:lnTo>
                    <a:pt x="258" y="564"/>
                  </a:lnTo>
                  <a:lnTo>
                    <a:pt x="270" y="564"/>
                  </a:lnTo>
                  <a:lnTo>
                    <a:pt x="276" y="564"/>
                  </a:lnTo>
                  <a:lnTo>
                    <a:pt x="282" y="564"/>
                  </a:lnTo>
                  <a:lnTo>
                    <a:pt x="288" y="564"/>
                  </a:lnTo>
                  <a:lnTo>
                    <a:pt x="300" y="564"/>
                  </a:lnTo>
                  <a:lnTo>
                    <a:pt x="306" y="564"/>
                  </a:lnTo>
                  <a:lnTo>
                    <a:pt x="312" y="564"/>
                  </a:lnTo>
                  <a:lnTo>
                    <a:pt x="318" y="564"/>
                  </a:lnTo>
                  <a:lnTo>
                    <a:pt x="324" y="564"/>
                  </a:lnTo>
                  <a:lnTo>
                    <a:pt x="330" y="564"/>
                  </a:lnTo>
                  <a:lnTo>
                    <a:pt x="336" y="564"/>
                  </a:lnTo>
                  <a:lnTo>
                    <a:pt x="342" y="564"/>
                  </a:lnTo>
                  <a:lnTo>
                    <a:pt x="348" y="564"/>
                  </a:lnTo>
                  <a:lnTo>
                    <a:pt x="354" y="564"/>
                  </a:lnTo>
                  <a:lnTo>
                    <a:pt x="360" y="564"/>
                  </a:lnTo>
                  <a:lnTo>
                    <a:pt x="366" y="564"/>
                  </a:lnTo>
                  <a:lnTo>
                    <a:pt x="372" y="564"/>
                  </a:lnTo>
                  <a:lnTo>
                    <a:pt x="378" y="564"/>
                  </a:lnTo>
                  <a:lnTo>
                    <a:pt x="378" y="558"/>
                  </a:lnTo>
                  <a:lnTo>
                    <a:pt x="378" y="552"/>
                  </a:lnTo>
                  <a:lnTo>
                    <a:pt x="384" y="552"/>
                  </a:lnTo>
                  <a:lnTo>
                    <a:pt x="384" y="546"/>
                  </a:lnTo>
                  <a:lnTo>
                    <a:pt x="384" y="540"/>
                  </a:lnTo>
                  <a:lnTo>
                    <a:pt x="384" y="534"/>
                  </a:lnTo>
                  <a:lnTo>
                    <a:pt x="390" y="516"/>
                  </a:lnTo>
                  <a:lnTo>
                    <a:pt x="372" y="510"/>
                  </a:lnTo>
                  <a:lnTo>
                    <a:pt x="372" y="486"/>
                  </a:lnTo>
                  <a:lnTo>
                    <a:pt x="372" y="480"/>
                  </a:lnTo>
                  <a:lnTo>
                    <a:pt x="366" y="474"/>
                  </a:lnTo>
                  <a:lnTo>
                    <a:pt x="366" y="468"/>
                  </a:lnTo>
                  <a:lnTo>
                    <a:pt x="366" y="462"/>
                  </a:lnTo>
                  <a:lnTo>
                    <a:pt x="366" y="456"/>
                  </a:lnTo>
                  <a:lnTo>
                    <a:pt x="366" y="450"/>
                  </a:lnTo>
                  <a:lnTo>
                    <a:pt x="366" y="444"/>
                  </a:lnTo>
                  <a:lnTo>
                    <a:pt x="366" y="438"/>
                  </a:lnTo>
                  <a:lnTo>
                    <a:pt x="366" y="432"/>
                  </a:lnTo>
                  <a:lnTo>
                    <a:pt x="366" y="426"/>
                  </a:lnTo>
                  <a:lnTo>
                    <a:pt x="366" y="420"/>
                  </a:lnTo>
                  <a:lnTo>
                    <a:pt x="360" y="414"/>
                  </a:lnTo>
                  <a:lnTo>
                    <a:pt x="360" y="408"/>
                  </a:lnTo>
                  <a:lnTo>
                    <a:pt x="360" y="402"/>
                  </a:lnTo>
                  <a:lnTo>
                    <a:pt x="360" y="396"/>
                  </a:lnTo>
                  <a:lnTo>
                    <a:pt x="360" y="390"/>
                  </a:lnTo>
                  <a:lnTo>
                    <a:pt x="360" y="384"/>
                  </a:lnTo>
                  <a:lnTo>
                    <a:pt x="360" y="378"/>
                  </a:lnTo>
                  <a:lnTo>
                    <a:pt x="360" y="372"/>
                  </a:lnTo>
                  <a:lnTo>
                    <a:pt x="360" y="366"/>
                  </a:lnTo>
                  <a:lnTo>
                    <a:pt x="360" y="360"/>
                  </a:lnTo>
                  <a:lnTo>
                    <a:pt x="354" y="360"/>
                  </a:lnTo>
                  <a:lnTo>
                    <a:pt x="354" y="354"/>
                  </a:lnTo>
                  <a:lnTo>
                    <a:pt x="354" y="348"/>
                  </a:lnTo>
                  <a:lnTo>
                    <a:pt x="354" y="342"/>
                  </a:lnTo>
                  <a:lnTo>
                    <a:pt x="354" y="336"/>
                  </a:lnTo>
                  <a:lnTo>
                    <a:pt x="354" y="330"/>
                  </a:lnTo>
                  <a:lnTo>
                    <a:pt x="354" y="324"/>
                  </a:lnTo>
                  <a:lnTo>
                    <a:pt x="354" y="318"/>
                  </a:lnTo>
                  <a:lnTo>
                    <a:pt x="354" y="312"/>
                  </a:lnTo>
                  <a:lnTo>
                    <a:pt x="354" y="306"/>
                  </a:lnTo>
                  <a:lnTo>
                    <a:pt x="348" y="306"/>
                  </a:lnTo>
                  <a:lnTo>
                    <a:pt x="348" y="300"/>
                  </a:lnTo>
                  <a:lnTo>
                    <a:pt x="348" y="294"/>
                  </a:lnTo>
                  <a:lnTo>
                    <a:pt x="348" y="282"/>
                  </a:lnTo>
                  <a:lnTo>
                    <a:pt x="348" y="270"/>
                  </a:lnTo>
                  <a:lnTo>
                    <a:pt x="348" y="264"/>
                  </a:lnTo>
                  <a:lnTo>
                    <a:pt x="348" y="258"/>
                  </a:lnTo>
                  <a:lnTo>
                    <a:pt x="348" y="252"/>
                  </a:lnTo>
                  <a:lnTo>
                    <a:pt x="342" y="246"/>
                  </a:lnTo>
                  <a:lnTo>
                    <a:pt x="342" y="240"/>
                  </a:lnTo>
                  <a:lnTo>
                    <a:pt x="342" y="234"/>
                  </a:lnTo>
                  <a:lnTo>
                    <a:pt x="342" y="228"/>
                  </a:lnTo>
                  <a:lnTo>
                    <a:pt x="342" y="222"/>
                  </a:lnTo>
                  <a:lnTo>
                    <a:pt x="342" y="216"/>
                  </a:lnTo>
                  <a:lnTo>
                    <a:pt x="342" y="210"/>
                  </a:lnTo>
                  <a:lnTo>
                    <a:pt x="342" y="204"/>
                  </a:lnTo>
                  <a:lnTo>
                    <a:pt x="342" y="198"/>
                  </a:lnTo>
                  <a:lnTo>
                    <a:pt x="342" y="192"/>
                  </a:lnTo>
                  <a:lnTo>
                    <a:pt x="336" y="192"/>
                  </a:lnTo>
                  <a:lnTo>
                    <a:pt x="336" y="186"/>
                  </a:lnTo>
                  <a:lnTo>
                    <a:pt x="336" y="180"/>
                  </a:lnTo>
                  <a:lnTo>
                    <a:pt x="336" y="174"/>
                  </a:lnTo>
                  <a:lnTo>
                    <a:pt x="336" y="168"/>
                  </a:lnTo>
                  <a:lnTo>
                    <a:pt x="336" y="162"/>
                  </a:lnTo>
                  <a:lnTo>
                    <a:pt x="336" y="156"/>
                  </a:lnTo>
                  <a:lnTo>
                    <a:pt x="336" y="150"/>
                  </a:lnTo>
                  <a:lnTo>
                    <a:pt x="336" y="144"/>
                  </a:lnTo>
                  <a:lnTo>
                    <a:pt x="336" y="138"/>
                  </a:lnTo>
                  <a:lnTo>
                    <a:pt x="330" y="138"/>
                  </a:lnTo>
                  <a:lnTo>
                    <a:pt x="330" y="132"/>
                  </a:lnTo>
                  <a:lnTo>
                    <a:pt x="330" y="126"/>
                  </a:lnTo>
                  <a:lnTo>
                    <a:pt x="330" y="120"/>
                  </a:lnTo>
                  <a:lnTo>
                    <a:pt x="330" y="114"/>
                  </a:lnTo>
                  <a:lnTo>
                    <a:pt x="330" y="108"/>
                  </a:lnTo>
                  <a:lnTo>
                    <a:pt x="330" y="102"/>
                  </a:lnTo>
                  <a:lnTo>
                    <a:pt x="330" y="96"/>
                  </a:lnTo>
                  <a:lnTo>
                    <a:pt x="330" y="90"/>
                  </a:lnTo>
                  <a:lnTo>
                    <a:pt x="330" y="84"/>
                  </a:lnTo>
                  <a:lnTo>
                    <a:pt x="324" y="78"/>
                  </a:lnTo>
                  <a:lnTo>
                    <a:pt x="324" y="72"/>
                  </a:lnTo>
                  <a:lnTo>
                    <a:pt x="324" y="66"/>
                  </a:lnTo>
                  <a:lnTo>
                    <a:pt x="324" y="60"/>
                  </a:lnTo>
                  <a:lnTo>
                    <a:pt x="324" y="54"/>
                  </a:lnTo>
                  <a:lnTo>
                    <a:pt x="324" y="42"/>
                  </a:lnTo>
                  <a:lnTo>
                    <a:pt x="324" y="36"/>
                  </a:lnTo>
                  <a:lnTo>
                    <a:pt x="318" y="6"/>
                  </a:lnTo>
                  <a:lnTo>
                    <a:pt x="318" y="0"/>
                  </a:lnTo>
                  <a:lnTo>
                    <a:pt x="324" y="0"/>
                  </a:lnTo>
                  <a:lnTo>
                    <a:pt x="330" y="0"/>
                  </a:lnTo>
                  <a:lnTo>
                    <a:pt x="336" y="0"/>
                  </a:lnTo>
                  <a:lnTo>
                    <a:pt x="342" y="0"/>
                  </a:lnTo>
                  <a:lnTo>
                    <a:pt x="348" y="0"/>
                  </a:lnTo>
                  <a:lnTo>
                    <a:pt x="354" y="0"/>
                  </a:lnTo>
                  <a:lnTo>
                    <a:pt x="360" y="0"/>
                  </a:lnTo>
                  <a:lnTo>
                    <a:pt x="366" y="0"/>
                  </a:lnTo>
                  <a:lnTo>
                    <a:pt x="372" y="0"/>
                  </a:lnTo>
                  <a:lnTo>
                    <a:pt x="378" y="0"/>
                  </a:lnTo>
                  <a:lnTo>
                    <a:pt x="384" y="0"/>
                  </a:lnTo>
                  <a:lnTo>
                    <a:pt x="390" y="0"/>
                  </a:lnTo>
                  <a:lnTo>
                    <a:pt x="396" y="0"/>
                  </a:lnTo>
                  <a:lnTo>
                    <a:pt x="402" y="0"/>
                  </a:lnTo>
                  <a:lnTo>
                    <a:pt x="408" y="0"/>
                  </a:lnTo>
                  <a:lnTo>
                    <a:pt x="414" y="0"/>
                  </a:lnTo>
                  <a:lnTo>
                    <a:pt x="420" y="6"/>
                  </a:lnTo>
                  <a:lnTo>
                    <a:pt x="426" y="6"/>
                  </a:lnTo>
                  <a:lnTo>
                    <a:pt x="426" y="12"/>
                  </a:lnTo>
                  <a:lnTo>
                    <a:pt x="432" y="12"/>
                  </a:lnTo>
                  <a:lnTo>
                    <a:pt x="438" y="18"/>
                  </a:lnTo>
                  <a:lnTo>
                    <a:pt x="444" y="24"/>
                  </a:lnTo>
                  <a:lnTo>
                    <a:pt x="450" y="24"/>
                  </a:lnTo>
                  <a:lnTo>
                    <a:pt x="456" y="30"/>
                  </a:lnTo>
                  <a:lnTo>
                    <a:pt x="462" y="36"/>
                  </a:lnTo>
                  <a:lnTo>
                    <a:pt x="468" y="36"/>
                  </a:lnTo>
                  <a:lnTo>
                    <a:pt x="474" y="42"/>
                  </a:lnTo>
                  <a:lnTo>
                    <a:pt x="480" y="42"/>
                  </a:lnTo>
                  <a:lnTo>
                    <a:pt x="480" y="48"/>
                  </a:lnTo>
                  <a:lnTo>
                    <a:pt x="486" y="48"/>
                  </a:lnTo>
                  <a:lnTo>
                    <a:pt x="486" y="54"/>
                  </a:lnTo>
                  <a:lnTo>
                    <a:pt x="492" y="54"/>
                  </a:lnTo>
                  <a:lnTo>
                    <a:pt x="498" y="60"/>
                  </a:lnTo>
                  <a:lnTo>
                    <a:pt x="504" y="60"/>
                  </a:lnTo>
                  <a:lnTo>
                    <a:pt x="504" y="66"/>
                  </a:lnTo>
                  <a:lnTo>
                    <a:pt x="510" y="66"/>
                  </a:lnTo>
                  <a:lnTo>
                    <a:pt x="516" y="72"/>
                  </a:lnTo>
                  <a:lnTo>
                    <a:pt x="522" y="72"/>
                  </a:lnTo>
                  <a:lnTo>
                    <a:pt x="522" y="78"/>
                  </a:lnTo>
                  <a:lnTo>
                    <a:pt x="528" y="78"/>
                  </a:lnTo>
                  <a:lnTo>
                    <a:pt x="534" y="84"/>
                  </a:lnTo>
                  <a:lnTo>
                    <a:pt x="540" y="84"/>
                  </a:lnTo>
                  <a:lnTo>
                    <a:pt x="540" y="90"/>
                  </a:lnTo>
                  <a:lnTo>
                    <a:pt x="546" y="90"/>
                  </a:lnTo>
                  <a:lnTo>
                    <a:pt x="546" y="96"/>
                  </a:lnTo>
                  <a:lnTo>
                    <a:pt x="552" y="96"/>
                  </a:lnTo>
                  <a:lnTo>
                    <a:pt x="558" y="96"/>
                  </a:lnTo>
                  <a:lnTo>
                    <a:pt x="558" y="102"/>
                  </a:lnTo>
                  <a:lnTo>
                    <a:pt x="564" y="102"/>
                  </a:lnTo>
                  <a:lnTo>
                    <a:pt x="564" y="108"/>
                  </a:lnTo>
                  <a:lnTo>
                    <a:pt x="570" y="108"/>
                  </a:lnTo>
                  <a:lnTo>
                    <a:pt x="576" y="114"/>
                  </a:lnTo>
                  <a:lnTo>
                    <a:pt x="582" y="114"/>
                  </a:lnTo>
                  <a:lnTo>
                    <a:pt x="582" y="120"/>
                  </a:lnTo>
                  <a:lnTo>
                    <a:pt x="588" y="120"/>
                  </a:lnTo>
                  <a:lnTo>
                    <a:pt x="588" y="126"/>
                  </a:lnTo>
                  <a:lnTo>
                    <a:pt x="594" y="126"/>
                  </a:lnTo>
                  <a:lnTo>
                    <a:pt x="600" y="132"/>
                  </a:lnTo>
                  <a:lnTo>
                    <a:pt x="606" y="132"/>
                  </a:lnTo>
                  <a:lnTo>
                    <a:pt x="606" y="138"/>
                  </a:lnTo>
                  <a:lnTo>
                    <a:pt x="612" y="138"/>
                  </a:lnTo>
                  <a:lnTo>
                    <a:pt x="618" y="144"/>
                  </a:lnTo>
                  <a:lnTo>
                    <a:pt x="624" y="144"/>
                  </a:lnTo>
                  <a:lnTo>
                    <a:pt x="624" y="150"/>
                  </a:lnTo>
                  <a:lnTo>
                    <a:pt x="630" y="150"/>
                  </a:lnTo>
                  <a:lnTo>
                    <a:pt x="636" y="156"/>
                  </a:lnTo>
                  <a:lnTo>
                    <a:pt x="642" y="156"/>
                  </a:lnTo>
                  <a:lnTo>
                    <a:pt x="642" y="162"/>
                  </a:lnTo>
                  <a:lnTo>
                    <a:pt x="648" y="162"/>
                  </a:lnTo>
                  <a:lnTo>
                    <a:pt x="648" y="168"/>
                  </a:lnTo>
                  <a:lnTo>
                    <a:pt x="654" y="168"/>
                  </a:lnTo>
                  <a:lnTo>
                    <a:pt x="660" y="168"/>
                  </a:lnTo>
                  <a:lnTo>
                    <a:pt x="660" y="174"/>
                  </a:lnTo>
                  <a:lnTo>
                    <a:pt x="666" y="174"/>
                  </a:lnTo>
                  <a:lnTo>
                    <a:pt x="666" y="180"/>
                  </a:lnTo>
                  <a:lnTo>
                    <a:pt x="672" y="180"/>
                  </a:lnTo>
                  <a:lnTo>
                    <a:pt x="678" y="180"/>
                  </a:lnTo>
                  <a:lnTo>
                    <a:pt x="678" y="186"/>
                  </a:lnTo>
                  <a:lnTo>
                    <a:pt x="684" y="186"/>
                  </a:lnTo>
                  <a:lnTo>
                    <a:pt x="684" y="192"/>
                  </a:lnTo>
                  <a:lnTo>
                    <a:pt x="690" y="198"/>
                  </a:lnTo>
                  <a:lnTo>
                    <a:pt x="696" y="198"/>
                  </a:lnTo>
                  <a:lnTo>
                    <a:pt x="696" y="204"/>
                  </a:lnTo>
                  <a:lnTo>
                    <a:pt x="702" y="204"/>
                  </a:lnTo>
                  <a:lnTo>
                    <a:pt x="708" y="210"/>
                  </a:lnTo>
                  <a:lnTo>
                    <a:pt x="714" y="210"/>
                  </a:lnTo>
                  <a:lnTo>
                    <a:pt x="714" y="216"/>
                  </a:lnTo>
                  <a:lnTo>
                    <a:pt x="720" y="216"/>
                  </a:lnTo>
                  <a:lnTo>
                    <a:pt x="726" y="222"/>
                  </a:lnTo>
                  <a:lnTo>
                    <a:pt x="732" y="222"/>
                  </a:lnTo>
                  <a:lnTo>
                    <a:pt x="738" y="228"/>
                  </a:lnTo>
                  <a:lnTo>
                    <a:pt x="744" y="234"/>
                  </a:lnTo>
                  <a:lnTo>
                    <a:pt x="750" y="234"/>
                  </a:lnTo>
                  <a:lnTo>
                    <a:pt x="750" y="240"/>
                  </a:lnTo>
                  <a:lnTo>
                    <a:pt x="750" y="246"/>
                  </a:lnTo>
                  <a:lnTo>
                    <a:pt x="750" y="252"/>
                  </a:lnTo>
                  <a:lnTo>
                    <a:pt x="750" y="258"/>
                  </a:lnTo>
                  <a:lnTo>
                    <a:pt x="756" y="258"/>
                  </a:lnTo>
                  <a:lnTo>
                    <a:pt x="762" y="258"/>
                  </a:lnTo>
                  <a:lnTo>
                    <a:pt x="762" y="264"/>
                  </a:lnTo>
                  <a:lnTo>
                    <a:pt x="768" y="264"/>
                  </a:lnTo>
                  <a:lnTo>
                    <a:pt x="774" y="264"/>
                  </a:lnTo>
                  <a:lnTo>
                    <a:pt x="774" y="270"/>
                  </a:lnTo>
                  <a:lnTo>
                    <a:pt x="774" y="276"/>
                  </a:lnTo>
                  <a:lnTo>
                    <a:pt x="780" y="276"/>
                  </a:lnTo>
                  <a:lnTo>
                    <a:pt x="780" y="282"/>
                  </a:lnTo>
                  <a:lnTo>
                    <a:pt x="786" y="282"/>
                  </a:lnTo>
                  <a:lnTo>
                    <a:pt x="786" y="288"/>
                  </a:lnTo>
                  <a:lnTo>
                    <a:pt x="786" y="282"/>
                  </a:lnTo>
                  <a:lnTo>
                    <a:pt x="786" y="288"/>
                  </a:lnTo>
                  <a:lnTo>
                    <a:pt x="792" y="288"/>
                  </a:lnTo>
                  <a:lnTo>
                    <a:pt x="798" y="288"/>
                  </a:lnTo>
                  <a:lnTo>
                    <a:pt x="804" y="288"/>
                  </a:lnTo>
                  <a:lnTo>
                    <a:pt x="810" y="288"/>
                  </a:lnTo>
                  <a:lnTo>
                    <a:pt x="816" y="288"/>
                  </a:lnTo>
                  <a:lnTo>
                    <a:pt x="816" y="294"/>
                  </a:lnTo>
                  <a:lnTo>
                    <a:pt x="816" y="300"/>
                  </a:lnTo>
                  <a:lnTo>
                    <a:pt x="822" y="300"/>
                  </a:lnTo>
                  <a:lnTo>
                    <a:pt x="828" y="300"/>
                  </a:lnTo>
                  <a:lnTo>
                    <a:pt x="834" y="300"/>
                  </a:lnTo>
                  <a:lnTo>
                    <a:pt x="840" y="300"/>
                  </a:lnTo>
                  <a:lnTo>
                    <a:pt x="840" y="306"/>
                  </a:lnTo>
                  <a:lnTo>
                    <a:pt x="846" y="306"/>
                  </a:lnTo>
                  <a:lnTo>
                    <a:pt x="852" y="306"/>
                  </a:lnTo>
                  <a:lnTo>
                    <a:pt x="858" y="306"/>
                  </a:lnTo>
                  <a:lnTo>
                    <a:pt x="858" y="312"/>
                  </a:lnTo>
                  <a:lnTo>
                    <a:pt x="864" y="312"/>
                  </a:lnTo>
                  <a:lnTo>
                    <a:pt x="864" y="318"/>
                  </a:lnTo>
                  <a:lnTo>
                    <a:pt x="864" y="324"/>
                  </a:lnTo>
                  <a:lnTo>
                    <a:pt x="864" y="330"/>
                  </a:lnTo>
                  <a:lnTo>
                    <a:pt x="864" y="336"/>
                  </a:lnTo>
                  <a:lnTo>
                    <a:pt x="864" y="342"/>
                  </a:lnTo>
                  <a:lnTo>
                    <a:pt x="864" y="348"/>
                  </a:lnTo>
                  <a:lnTo>
                    <a:pt x="858" y="348"/>
                  </a:lnTo>
                  <a:lnTo>
                    <a:pt x="858" y="354"/>
                  </a:lnTo>
                  <a:lnTo>
                    <a:pt x="864" y="360"/>
                  </a:lnTo>
                  <a:lnTo>
                    <a:pt x="870" y="360"/>
                  </a:lnTo>
                  <a:lnTo>
                    <a:pt x="870" y="366"/>
                  </a:lnTo>
                  <a:lnTo>
                    <a:pt x="876" y="366"/>
                  </a:lnTo>
                  <a:lnTo>
                    <a:pt x="876" y="360"/>
                  </a:lnTo>
                  <a:lnTo>
                    <a:pt x="882" y="360"/>
                  </a:lnTo>
                  <a:lnTo>
                    <a:pt x="888" y="360"/>
                  </a:lnTo>
                  <a:lnTo>
                    <a:pt x="894" y="360"/>
                  </a:lnTo>
                  <a:lnTo>
                    <a:pt x="900" y="360"/>
                  </a:lnTo>
                  <a:lnTo>
                    <a:pt x="906" y="360"/>
                  </a:lnTo>
                  <a:lnTo>
                    <a:pt x="906" y="354"/>
                  </a:lnTo>
                  <a:lnTo>
                    <a:pt x="912" y="354"/>
                  </a:lnTo>
                  <a:lnTo>
                    <a:pt x="918" y="354"/>
                  </a:lnTo>
                  <a:lnTo>
                    <a:pt x="918" y="360"/>
                  </a:lnTo>
                  <a:lnTo>
                    <a:pt x="918" y="366"/>
                  </a:lnTo>
                  <a:lnTo>
                    <a:pt x="918" y="372"/>
                  </a:lnTo>
                  <a:lnTo>
                    <a:pt x="918" y="378"/>
                  </a:lnTo>
                  <a:lnTo>
                    <a:pt x="918" y="384"/>
                  </a:lnTo>
                  <a:lnTo>
                    <a:pt x="918" y="390"/>
                  </a:lnTo>
                  <a:lnTo>
                    <a:pt x="918" y="396"/>
                  </a:lnTo>
                  <a:lnTo>
                    <a:pt x="918" y="402"/>
                  </a:lnTo>
                  <a:lnTo>
                    <a:pt x="918" y="408"/>
                  </a:lnTo>
                  <a:lnTo>
                    <a:pt x="918" y="414"/>
                  </a:lnTo>
                  <a:lnTo>
                    <a:pt x="918" y="420"/>
                  </a:lnTo>
                  <a:lnTo>
                    <a:pt x="918" y="426"/>
                  </a:lnTo>
                  <a:lnTo>
                    <a:pt x="918" y="432"/>
                  </a:lnTo>
                  <a:lnTo>
                    <a:pt x="918" y="438"/>
                  </a:lnTo>
                  <a:lnTo>
                    <a:pt x="918" y="444"/>
                  </a:lnTo>
                  <a:lnTo>
                    <a:pt x="918" y="450"/>
                  </a:lnTo>
                  <a:lnTo>
                    <a:pt x="918" y="456"/>
                  </a:lnTo>
                  <a:lnTo>
                    <a:pt x="918" y="462"/>
                  </a:lnTo>
                  <a:lnTo>
                    <a:pt x="918" y="468"/>
                  </a:lnTo>
                  <a:lnTo>
                    <a:pt x="918" y="474"/>
                  </a:lnTo>
                  <a:lnTo>
                    <a:pt x="918" y="480"/>
                  </a:lnTo>
                  <a:lnTo>
                    <a:pt x="912" y="480"/>
                  </a:lnTo>
                  <a:lnTo>
                    <a:pt x="912" y="486"/>
                  </a:lnTo>
                  <a:lnTo>
                    <a:pt x="912" y="492"/>
                  </a:lnTo>
                  <a:lnTo>
                    <a:pt x="912" y="498"/>
                  </a:lnTo>
                  <a:lnTo>
                    <a:pt x="912" y="504"/>
                  </a:lnTo>
                  <a:lnTo>
                    <a:pt x="912" y="510"/>
                  </a:lnTo>
                  <a:lnTo>
                    <a:pt x="912" y="516"/>
                  </a:lnTo>
                  <a:lnTo>
                    <a:pt x="912" y="522"/>
                  </a:lnTo>
                  <a:lnTo>
                    <a:pt x="906" y="528"/>
                  </a:lnTo>
                  <a:lnTo>
                    <a:pt x="906" y="534"/>
                  </a:lnTo>
                  <a:lnTo>
                    <a:pt x="906" y="540"/>
                  </a:lnTo>
                  <a:lnTo>
                    <a:pt x="900" y="546"/>
                  </a:lnTo>
                  <a:lnTo>
                    <a:pt x="900" y="552"/>
                  </a:lnTo>
                  <a:lnTo>
                    <a:pt x="900" y="558"/>
                  </a:lnTo>
                  <a:lnTo>
                    <a:pt x="894" y="558"/>
                  </a:lnTo>
                  <a:lnTo>
                    <a:pt x="888" y="558"/>
                  </a:lnTo>
                  <a:lnTo>
                    <a:pt x="888" y="564"/>
                  </a:lnTo>
                  <a:lnTo>
                    <a:pt x="882" y="564"/>
                  </a:lnTo>
                  <a:lnTo>
                    <a:pt x="882" y="570"/>
                  </a:lnTo>
                  <a:lnTo>
                    <a:pt x="882" y="576"/>
                  </a:lnTo>
                  <a:lnTo>
                    <a:pt x="876" y="576"/>
                  </a:lnTo>
                  <a:lnTo>
                    <a:pt x="870" y="576"/>
                  </a:lnTo>
                  <a:lnTo>
                    <a:pt x="864" y="576"/>
                  </a:lnTo>
                  <a:lnTo>
                    <a:pt x="858" y="576"/>
                  </a:lnTo>
                  <a:lnTo>
                    <a:pt x="852" y="576"/>
                  </a:lnTo>
                  <a:lnTo>
                    <a:pt x="846" y="576"/>
                  </a:lnTo>
                  <a:lnTo>
                    <a:pt x="840" y="576"/>
                  </a:lnTo>
                  <a:lnTo>
                    <a:pt x="834" y="576"/>
                  </a:lnTo>
                  <a:lnTo>
                    <a:pt x="828" y="576"/>
                  </a:lnTo>
                  <a:lnTo>
                    <a:pt x="822" y="576"/>
                  </a:lnTo>
                  <a:lnTo>
                    <a:pt x="816" y="576"/>
                  </a:lnTo>
                  <a:lnTo>
                    <a:pt x="810" y="576"/>
                  </a:lnTo>
                  <a:lnTo>
                    <a:pt x="804" y="576"/>
                  </a:lnTo>
                  <a:lnTo>
                    <a:pt x="798" y="576"/>
                  </a:lnTo>
                  <a:lnTo>
                    <a:pt x="792" y="576"/>
                  </a:lnTo>
                  <a:lnTo>
                    <a:pt x="786" y="576"/>
                  </a:lnTo>
                  <a:lnTo>
                    <a:pt x="780" y="576"/>
                  </a:lnTo>
                  <a:lnTo>
                    <a:pt x="774" y="576"/>
                  </a:lnTo>
                  <a:lnTo>
                    <a:pt x="768" y="576"/>
                  </a:lnTo>
                  <a:lnTo>
                    <a:pt x="762" y="576"/>
                  </a:lnTo>
                  <a:lnTo>
                    <a:pt x="762" y="582"/>
                  </a:lnTo>
                  <a:lnTo>
                    <a:pt x="756" y="582"/>
                  </a:lnTo>
                  <a:lnTo>
                    <a:pt x="750" y="582"/>
                  </a:lnTo>
                  <a:lnTo>
                    <a:pt x="750" y="588"/>
                  </a:lnTo>
                  <a:lnTo>
                    <a:pt x="744" y="588"/>
                  </a:lnTo>
                  <a:lnTo>
                    <a:pt x="744" y="594"/>
                  </a:lnTo>
                  <a:lnTo>
                    <a:pt x="738" y="594"/>
                  </a:lnTo>
                  <a:lnTo>
                    <a:pt x="732" y="594"/>
                  </a:lnTo>
                  <a:lnTo>
                    <a:pt x="726" y="594"/>
                  </a:lnTo>
                  <a:lnTo>
                    <a:pt x="726" y="600"/>
                  </a:lnTo>
                  <a:lnTo>
                    <a:pt x="720" y="600"/>
                  </a:lnTo>
                  <a:lnTo>
                    <a:pt x="720" y="594"/>
                  </a:lnTo>
                  <a:lnTo>
                    <a:pt x="714" y="594"/>
                  </a:lnTo>
                  <a:lnTo>
                    <a:pt x="708" y="594"/>
                  </a:lnTo>
                  <a:lnTo>
                    <a:pt x="702" y="594"/>
                  </a:lnTo>
                  <a:lnTo>
                    <a:pt x="696" y="59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299" name="Freeform 13"/>
            <p:cNvSpPr>
              <a:spLocks/>
            </p:cNvSpPr>
            <p:nvPr>
              <p:custDataLst>
                <p:tags r:id="rId66"/>
              </p:custDataLst>
            </p:nvPr>
          </p:nvSpPr>
          <p:spPr bwMode="gray">
            <a:xfrm>
              <a:off x="2808288" y="2541588"/>
              <a:ext cx="542925" cy="403225"/>
            </a:xfrm>
            <a:custGeom>
              <a:avLst/>
              <a:gdLst>
                <a:gd name="T0" fmla="*/ 119010 w 438"/>
                <a:gd name="T1" fmla="*/ 86927 h 324"/>
                <a:gd name="T2" fmla="*/ 108366 w 438"/>
                <a:gd name="T3" fmla="*/ 83020 h 324"/>
                <a:gd name="T4" fmla="*/ 101594 w 438"/>
                <a:gd name="T5" fmla="*/ 83996 h 324"/>
                <a:gd name="T6" fmla="*/ 95788 w 438"/>
                <a:gd name="T7" fmla="*/ 86927 h 324"/>
                <a:gd name="T8" fmla="*/ 89015 w 438"/>
                <a:gd name="T9" fmla="*/ 83996 h 324"/>
                <a:gd name="T10" fmla="*/ 76437 w 438"/>
                <a:gd name="T11" fmla="*/ 83996 h 324"/>
                <a:gd name="T12" fmla="*/ 63859 w 438"/>
                <a:gd name="T13" fmla="*/ 83996 h 324"/>
                <a:gd name="T14" fmla="*/ 53216 w 438"/>
                <a:gd name="T15" fmla="*/ 86927 h 324"/>
                <a:gd name="T16" fmla="*/ 53216 w 438"/>
                <a:gd name="T17" fmla="*/ 97670 h 324"/>
                <a:gd name="T18" fmla="*/ 53216 w 438"/>
                <a:gd name="T19" fmla="*/ 106460 h 324"/>
                <a:gd name="T20" fmla="*/ 53216 w 438"/>
                <a:gd name="T21" fmla="*/ 113297 h 324"/>
                <a:gd name="T22" fmla="*/ 51280 w 438"/>
                <a:gd name="T23" fmla="*/ 113297 h 324"/>
                <a:gd name="T24" fmla="*/ 44508 w 438"/>
                <a:gd name="T25" fmla="*/ 106460 h 324"/>
                <a:gd name="T26" fmla="*/ 36767 w 438"/>
                <a:gd name="T27" fmla="*/ 106460 h 324"/>
                <a:gd name="T28" fmla="*/ 27091 w 438"/>
                <a:gd name="T29" fmla="*/ 110368 h 324"/>
                <a:gd name="T30" fmla="*/ 23222 w 438"/>
                <a:gd name="T31" fmla="*/ 113297 h 324"/>
                <a:gd name="T32" fmla="*/ 17416 w 438"/>
                <a:gd name="T33" fmla="*/ 110368 h 324"/>
                <a:gd name="T34" fmla="*/ 14513 w 438"/>
                <a:gd name="T35" fmla="*/ 108414 h 324"/>
                <a:gd name="T36" fmla="*/ 10643 w 438"/>
                <a:gd name="T37" fmla="*/ 103531 h 324"/>
                <a:gd name="T38" fmla="*/ 8708 w 438"/>
                <a:gd name="T39" fmla="*/ 101577 h 324"/>
                <a:gd name="T40" fmla="*/ 1935 w 438"/>
                <a:gd name="T41" fmla="*/ 99624 h 324"/>
                <a:gd name="T42" fmla="*/ 0 w 438"/>
                <a:gd name="T43" fmla="*/ 88880 h 324"/>
                <a:gd name="T44" fmla="*/ 1935 w 438"/>
                <a:gd name="T45" fmla="*/ 83020 h 324"/>
                <a:gd name="T46" fmla="*/ 6773 w 438"/>
                <a:gd name="T47" fmla="*/ 73253 h 324"/>
                <a:gd name="T48" fmla="*/ 1935 w 438"/>
                <a:gd name="T49" fmla="*/ 69346 h 324"/>
                <a:gd name="T50" fmla="*/ 6773 w 438"/>
                <a:gd name="T51" fmla="*/ 64463 h 324"/>
                <a:gd name="T52" fmla="*/ 17416 w 438"/>
                <a:gd name="T53" fmla="*/ 62509 h 324"/>
                <a:gd name="T54" fmla="*/ 21286 w 438"/>
                <a:gd name="T55" fmla="*/ 58602 h 324"/>
                <a:gd name="T56" fmla="*/ 21286 w 438"/>
                <a:gd name="T57" fmla="*/ 49812 h 324"/>
                <a:gd name="T58" fmla="*/ 23222 w 438"/>
                <a:gd name="T59" fmla="*/ 42975 h 324"/>
                <a:gd name="T60" fmla="*/ 29994 w 438"/>
                <a:gd name="T61" fmla="*/ 34185 h 324"/>
                <a:gd name="T62" fmla="*/ 31929 w 438"/>
                <a:gd name="T63" fmla="*/ 37115 h 324"/>
                <a:gd name="T64" fmla="*/ 40638 w 438"/>
                <a:gd name="T65" fmla="*/ 39068 h 324"/>
                <a:gd name="T66" fmla="*/ 44508 w 438"/>
                <a:gd name="T67" fmla="*/ 30278 h 324"/>
                <a:gd name="T68" fmla="*/ 51280 w 438"/>
                <a:gd name="T69" fmla="*/ 28324 h 324"/>
                <a:gd name="T70" fmla="*/ 55151 w 438"/>
                <a:gd name="T71" fmla="*/ 19534 h 324"/>
                <a:gd name="T72" fmla="*/ 63859 w 438"/>
                <a:gd name="T73" fmla="*/ 19534 h 324"/>
                <a:gd name="T74" fmla="*/ 70632 w 438"/>
                <a:gd name="T75" fmla="*/ 12697 h 324"/>
                <a:gd name="T76" fmla="*/ 87080 w 438"/>
                <a:gd name="T77" fmla="*/ 6837 h 324"/>
                <a:gd name="T78" fmla="*/ 93853 w 438"/>
                <a:gd name="T79" fmla="*/ 0 h 324"/>
                <a:gd name="T80" fmla="*/ 104497 w 438"/>
                <a:gd name="T81" fmla="*/ 0 h 324"/>
                <a:gd name="T82" fmla="*/ 112237 w 438"/>
                <a:gd name="T83" fmla="*/ 3906 h 324"/>
                <a:gd name="T84" fmla="*/ 115139 w 438"/>
                <a:gd name="T85" fmla="*/ 15627 h 324"/>
                <a:gd name="T86" fmla="*/ 117075 w 438"/>
                <a:gd name="T87" fmla="*/ 21487 h 324"/>
                <a:gd name="T88" fmla="*/ 119010 w 438"/>
                <a:gd name="T89" fmla="*/ 28324 h 324"/>
                <a:gd name="T90" fmla="*/ 127717 w 438"/>
                <a:gd name="T91" fmla="*/ 32231 h 324"/>
                <a:gd name="T92" fmla="*/ 131588 w 438"/>
                <a:gd name="T93" fmla="*/ 37115 h 324"/>
                <a:gd name="T94" fmla="*/ 127717 w 438"/>
                <a:gd name="T95" fmla="*/ 39068 h 324"/>
                <a:gd name="T96" fmla="*/ 134491 w 438"/>
                <a:gd name="T97" fmla="*/ 47859 h 324"/>
                <a:gd name="T98" fmla="*/ 142231 w 438"/>
                <a:gd name="T99" fmla="*/ 52742 h 324"/>
                <a:gd name="T100" fmla="*/ 152875 w 438"/>
                <a:gd name="T101" fmla="*/ 52742 h 324"/>
                <a:gd name="T102" fmla="*/ 150939 w 438"/>
                <a:gd name="T103" fmla="*/ 58602 h 324"/>
                <a:gd name="T104" fmla="*/ 152875 w 438"/>
                <a:gd name="T105" fmla="*/ 69346 h 324"/>
                <a:gd name="T106" fmla="*/ 144166 w 438"/>
                <a:gd name="T107" fmla="*/ 76183 h 324"/>
                <a:gd name="T108" fmla="*/ 135459 w 438"/>
                <a:gd name="T109" fmla="*/ 76183 h 324"/>
                <a:gd name="T110" fmla="*/ 134491 w 438"/>
                <a:gd name="T111" fmla="*/ 78136 h 324"/>
                <a:gd name="T112" fmla="*/ 129653 w 438"/>
                <a:gd name="T113" fmla="*/ 83020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38" h="324">
                  <a:moveTo>
                    <a:pt x="360" y="234"/>
                  </a:moveTo>
                  <a:lnTo>
                    <a:pt x="354" y="234"/>
                  </a:lnTo>
                  <a:lnTo>
                    <a:pt x="348" y="234"/>
                  </a:lnTo>
                  <a:lnTo>
                    <a:pt x="342" y="234"/>
                  </a:lnTo>
                  <a:lnTo>
                    <a:pt x="342" y="240"/>
                  </a:lnTo>
                  <a:lnTo>
                    <a:pt x="336" y="240"/>
                  </a:lnTo>
                  <a:lnTo>
                    <a:pt x="336" y="234"/>
                  </a:lnTo>
                  <a:lnTo>
                    <a:pt x="330" y="234"/>
                  </a:lnTo>
                  <a:lnTo>
                    <a:pt x="324" y="234"/>
                  </a:lnTo>
                  <a:lnTo>
                    <a:pt x="318" y="234"/>
                  </a:lnTo>
                  <a:lnTo>
                    <a:pt x="312" y="228"/>
                  </a:lnTo>
                  <a:lnTo>
                    <a:pt x="306" y="228"/>
                  </a:lnTo>
                  <a:lnTo>
                    <a:pt x="300" y="228"/>
                  </a:lnTo>
                  <a:lnTo>
                    <a:pt x="294" y="228"/>
                  </a:lnTo>
                  <a:lnTo>
                    <a:pt x="288" y="228"/>
                  </a:lnTo>
                  <a:lnTo>
                    <a:pt x="294" y="228"/>
                  </a:lnTo>
                  <a:lnTo>
                    <a:pt x="288" y="228"/>
                  </a:lnTo>
                  <a:lnTo>
                    <a:pt x="288" y="234"/>
                  </a:lnTo>
                  <a:lnTo>
                    <a:pt x="288" y="228"/>
                  </a:lnTo>
                  <a:lnTo>
                    <a:pt x="282" y="228"/>
                  </a:lnTo>
                  <a:lnTo>
                    <a:pt x="282" y="234"/>
                  </a:lnTo>
                  <a:lnTo>
                    <a:pt x="276" y="234"/>
                  </a:lnTo>
                  <a:lnTo>
                    <a:pt x="276" y="240"/>
                  </a:lnTo>
                  <a:lnTo>
                    <a:pt x="270" y="240"/>
                  </a:lnTo>
                  <a:lnTo>
                    <a:pt x="270" y="234"/>
                  </a:lnTo>
                  <a:lnTo>
                    <a:pt x="264" y="234"/>
                  </a:lnTo>
                  <a:lnTo>
                    <a:pt x="258" y="234"/>
                  </a:lnTo>
                  <a:lnTo>
                    <a:pt x="258" y="240"/>
                  </a:lnTo>
                  <a:lnTo>
                    <a:pt x="258" y="234"/>
                  </a:lnTo>
                  <a:lnTo>
                    <a:pt x="252" y="234"/>
                  </a:lnTo>
                  <a:lnTo>
                    <a:pt x="246" y="234"/>
                  </a:lnTo>
                  <a:lnTo>
                    <a:pt x="240" y="234"/>
                  </a:lnTo>
                  <a:lnTo>
                    <a:pt x="234" y="234"/>
                  </a:lnTo>
                  <a:lnTo>
                    <a:pt x="228" y="234"/>
                  </a:lnTo>
                  <a:lnTo>
                    <a:pt x="222" y="234"/>
                  </a:lnTo>
                  <a:lnTo>
                    <a:pt x="216" y="234"/>
                  </a:lnTo>
                  <a:lnTo>
                    <a:pt x="210" y="234"/>
                  </a:lnTo>
                  <a:lnTo>
                    <a:pt x="204" y="234"/>
                  </a:lnTo>
                  <a:lnTo>
                    <a:pt x="198" y="234"/>
                  </a:lnTo>
                  <a:lnTo>
                    <a:pt x="192" y="234"/>
                  </a:lnTo>
                  <a:lnTo>
                    <a:pt x="186" y="234"/>
                  </a:lnTo>
                  <a:lnTo>
                    <a:pt x="180" y="234"/>
                  </a:lnTo>
                  <a:lnTo>
                    <a:pt x="174" y="234"/>
                  </a:lnTo>
                  <a:lnTo>
                    <a:pt x="168" y="234"/>
                  </a:lnTo>
                  <a:lnTo>
                    <a:pt x="162" y="234"/>
                  </a:lnTo>
                  <a:lnTo>
                    <a:pt x="156" y="234"/>
                  </a:lnTo>
                  <a:lnTo>
                    <a:pt x="150" y="234"/>
                  </a:lnTo>
                  <a:lnTo>
                    <a:pt x="150" y="240"/>
                  </a:lnTo>
                  <a:lnTo>
                    <a:pt x="144" y="240"/>
                  </a:lnTo>
                  <a:lnTo>
                    <a:pt x="144" y="246"/>
                  </a:lnTo>
                  <a:lnTo>
                    <a:pt x="144" y="252"/>
                  </a:lnTo>
                  <a:lnTo>
                    <a:pt x="144" y="258"/>
                  </a:lnTo>
                  <a:lnTo>
                    <a:pt x="144" y="264"/>
                  </a:lnTo>
                  <a:lnTo>
                    <a:pt x="150" y="270"/>
                  </a:lnTo>
                  <a:lnTo>
                    <a:pt x="150" y="276"/>
                  </a:lnTo>
                  <a:lnTo>
                    <a:pt x="150" y="282"/>
                  </a:lnTo>
                  <a:lnTo>
                    <a:pt x="150" y="288"/>
                  </a:lnTo>
                  <a:lnTo>
                    <a:pt x="150" y="294"/>
                  </a:lnTo>
                  <a:lnTo>
                    <a:pt x="156" y="294"/>
                  </a:lnTo>
                  <a:lnTo>
                    <a:pt x="150" y="294"/>
                  </a:lnTo>
                  <a:lnTo>
                    <a:pt x="150" y="300"/>
                  </a:lnTo>
                  <a:lnTo>
                    <a:pt x="156" y="300"/>
                  </a:lnTo>
                  <a:lnTo>
                    <a:pt x="150" y="306"/>
                  </a:lnTo>
                  <a:lnTo>
                    <a:pt x="150" y="312"/>
                  </a:lnTo>
                  <a:lnTo>
                    <a:pt x="156" y="312"/>
                  </a:lnTo>
                  <a:lnTo>
                    <a:pt x="150" y="312"/>
                  </a:lnTo>
                  <a:lnTo>
                    <a:pt x="150" y="318"/>
                  </a:lnTo>
                  <a:lnTo>
                    <a:pt x="156" y="318"/>
                  </a:lnTo>
                  <a:lnTo>
                    <a:pt x="156" y="324"/>
                  </a:lnTo>
                  <a:lnTo>
                    <a:pt x="150" y="324"/>
                  </a:lnTo>
                  <a:lnTo>
                    <a:pt x="144" y="318"/>
                  </a:lnTo>
                  <a:lnTo>
                    <a:pt x="144" y="312"/>
                  </a:lnTo>
                  <a:lnTo>
                    <a:pt x="138" y="312"/>
                  </a:lnTo>
                  <a:lnTo>
                    <a:pt x="138" y="306"/>
                  </a:lnTo>
                  <a:lnTo>
                    <a:pt x="132" y="306"/>
                  </a:lnTo>
                  <a:lnTo>
                    <a:pt x="132" y="300"/>
                  </a:lnTo>
                  <a:lnTo>
                    <a:pt x="126" y="300"/>
                  </a:lnTo>
                  <a:lnTo>
                    <a:pt x="126" y="294"/>
                  </a:lnTo>
                  <a:lnTo>
                    <a:pt x="126" y="300"/>
                  </a:lnTo>
                  <a:lnTo>
                    <a:pt x="120" y="300"/>
                  </a:lnTo>
                  <a:lnTo>
                    <a:pt x="120" y="294"/>
                  </a:lnTo>
                  <a:lnTo>
                    <a:pt x="114" y="294"/>
                  </a:lnTo>
                  <a:lnTo>
                    <a:pt x="108" y="294"/>
                  </a:lnTo>
                  <a:lnTo>
                    <a:pt x="102" y="294"/>
                  </a:lnTo>
                  <a:lnTo>
                    <a:pt x="96" y="294"/>
                  </a:lnTo>
                  <a:lnTo>
                    <a:pt x="96" y="300"/>
                  </a:lnTo>
                  <a:lnTo>
                    <a:pt x="90" y="300"/>
                  </a:lnTo>
                  <a:lnTo>
                    <a:pt x="84" y="300"/>
                  </a:lnTo>
                  <a:lnTo>
                    <a:pt x="84" y="306"/>
                  </a:lnTo>
                  <a:lnTo>
                    <a:pt x="78" y="306"/>
                  </a:lnTo>
                  <a:lnTo>
                    <a:pt x="78" y="300"/>
                  </a:lnTo>
                  <a:lnTo>
                    <a:pt x="72" y="306"/>
                  </a:lnTo>
                  <a:lnTo>
                    <a:pt x="66" y="306"/>
                  </a:lnTo>
                  <a:lnTo>
                    <a:pt x="66" y="312"/>
                  </a:lnTo>
                  <a:lnTo>
                    <a:pt x="60" y="312"/>
                  </a:lnTo>
                  <a:lnTo>
                    <a:pt x="66" y="312"/>
                  </a:lnTo>
                  <a:lnTo>
                    <a:pt x="60" y="312"/>
                  </a:lnTo>
                  <a:lnTo>
                    <a:pt x="54" y="312"/>
                  </a:lnTo>
                  <a:lnTo>
                    <a:pt x="54" y="306"/>
                  </a:lnTo>
                  <a:lnTo>
                    <a:pt x="54" y="312"/>
                  </a:lnTo>
                  <a:lnTo>
                    <a:pt x="48" y="312"/>
                  </a:lnTo>
                  <a:lnTo>
                    <a:pt x="48" y="306"/>
                  </a:lnTo>
                  <a:lnTo>
                    <a:pt x="48" y="312"/>
                  </a:lnTo>
                  <a:lnTo>
                    <a:pt x="42" y="312"/>
                  </a:lnTo>
                  <a:lnTo>
                    <a:pt x="42" y="306"/>
                  </a:lnTo>
                  <a:lnTo>
                    <a:pt x="36" y="306"/>
                  </a:lnTo>
                  <a:lnTo>
                    <a:pt x="42" y="306"/>
                  </a:lnTo>
                  <a:lnTo>
                    <a:pt x="42" y="300"/>
                  </a:lnTo>
                  <a:lnTo>
                    <a:pt x="36" y="300"/>
                  </a:lnTo>
                  <a:lnTo>
                    <a:pt x="30" y="300"/>
                  </a:lnTo>
                  <a:lnTo>
                    <a:pt x="30" y="294"/>
                  </a:lnTo>
                  <a:lnTo>
                    <a:pt x="30" y="288"/>
                  </a:lnTo>
                  <a:lnTo>
                    <a:pt x="24" y="288"/>
                  </a:lnTo>
                  <a:lnTo>
                    <a:pt x="30" y="288"/>
                  </a:lnTo>
                  <a:lnTo>
                    <a:pt x="24" y="288"/>
                  </a:lnTo>
                  <a:lnTo>
                    <a:pt x="24" y="282"/>
                  </a:lnTo>
                  <a:lnTo>
                    <a:pt x="24" y="288"/>
                  </a:lnTo>
                  <a:lnTo>
                    <a:pt x="24" y="282"/>
                  </a:lnTo>
                  <a:lnTo>
                    <a:pt x="24" y="288"/>
                  </a:lnTo>
                  <a:lnTo>
                    <a:pt x="24" y="282"/>
                  </a:lnTo>
                  <a:lnTo>
                    <a:pt x="18" y="282"/>
                  </a:lnTo>
                  <a:lnTo>
                    <a:pt x="24" y="282"/>
                  </a:lnTo>
                  <a:lnTo>
                    <a:pt x="18" y="282"/>
                  </a:lnTo>
                  <a:lnTo>
                    <a:pt x="18" y="276"/>
                  </a:lnTo>
                  <a:lnTo>
                    <a:pt x="12" y="276"/>
                  </a:lnTo>
                  <a:lnTo>
                    <a:pt x="6" y="276"/>
                  </a:lnTo>
                  <a:lnTo>
                    <a:pt x="6" y="270"/>
                  </a:lnTo>
                  <a:lnTo>
                    <a:pt x="0" y="270"/>
                  </a:lnTo>
                  <a:lnTo>
                    <a:pt x="0" y="264"/>
                  </a:lnTo>
                  <a:lnTo>
                    <a:pt x="0" y="258"/>
                  </a:lnTo>
                  <a:lnTo>
                    <a:pt x="0" y="252"/>
                  </a:lnTo>
                  <a:lnTo>
                    <a:pt x="0" y="246"/>
                  </a:lnTo>
                  <a:lnTo>
                    <a:pt x="6" y="246"/>
                  </a:lnTo>
                  <a:lnTo>
                    <a:pt x="6" y="240"/>
                  </a:lnTo>
                  <a:lnTo>
                    <a:pt x="0" y="240"/>
                  </a:lnTo>
                  <a:lnTo>
                    <a:pt x="0" y="234"/>
                  </a:lnTo>
                  <a:lnTo>
                    <a:pt x="0" y="228"/>
                  </a:lnTo>
                  <a:lnTo>
                    <a:pt x="6" y="228"/>
                  </a:lnTo>
                  <a:lnTo>
                    <a:pt x="12" y="228"/>
                  </a:lnTo>
                  <a:lnTo>
                    <a:pt x="12" y="222"/>
                  </a:lnTo>
                  <a:lnTo>
                    <a:pt x="12" y="216"/>
                  </a:lnTo>
                  <a:lnTo>
                    <a:pt x="18" y="216"/>
                  </a:lnTo>
                  <a:lnTo>
                    <a:pt x="18" y="210"/>
                  </a:lnTo>
                  <a:lnTo>
                    <a:pt x="18" y="204"/>
                  </a:lnTo>
                  <a:lnTo>
                    <a:pt x="12" y="204"/>
                  </a:lnTo>
                  <a:lnTo>
                    <a:pt x="12" y="198"/>
                  </a:lnTo>
                  <a:lnTo>
                    <a:pt x="12" y="204"/>
                  </a:lnTo>
                  <a:lnTo>
                    <a:pt x="12" y="198"/>
                  </a:lnTo>
                  <a:lnTo>
                    <a:pt x="12" y="192"/>
                  </a:lnTo>
                  <a:lnTo>
                    <a:pt x="6" y="192"/>
                  </a:lnTo>
                  <a:lnTo>
                    <a:pt x="6" y="186"/>
                  </a:lnTo>
                  <a:lnTo>
                    <a:pt x="6" y="192"/>
                  </a:lnTo>
                  <a:lnTo>
                    <a:pt x="6" y="186"/>
                  </a:lnTo>
                  <a:lnTo>
                    <a:pt x="12" y="186"/>
                  </a:lnTo>
                  <a:lnTo>
                    <a:pt x="18" y="186"/>
                  </a:lnTo>
                  <a:lnTo>
                    <a:pt x="18" y="180"/>
                  </a:lnTo>
                  <a:lnTo>
                    <a:pt x="24" y="180"/>
                  </a:lnTo>
                  <a:lnTo>
                    <a:pt x="30" y="180"/>
                  </a:lnTo>
                  <a:lnTo>
                    <a:pt x="36" y="180"/>
                  </a:lnTo>
                  <a:lnTo>
                    <a:pt x="42" y="180"/>
                  </a:lnTo>
                  <a:lnTo>
                    <a:pt x="42" y="174"/>
                  </a:lnTo>
                  <a:lnTo>
                    <a:pt x="48" y="174"/>
                  </a:lnTo>
                  <a:lnTo>
                    <a:pt x="54" y="174"/>
                  </a:lnTo>
                  <a:lnTo>
                    <a:pt x="54" y="168"/>
                  </a:lnTo>
                  <a:lnTo>
                    <a:pt x="48" y="168"/>
                  </a:lnTo>
                  <a:lnTo>
                    <a:pt x="54" y="168"/>
                  </a:lnTo>
                  <a:lnTo>
                    <a:pt x="54" y="162"/>
                  </a:lnTo>
                  <a:lnTo>
                    <a:pt x="60" y="162"/>
                  </a:lnTo>
                  <a:lnTo>
                    <a:pt x="60" y="156"/>
                  </a:lnTo>
                  <a:lnTo>
                    <a:pt x="60" y="150"/>
                  </a:lnTo>
                  <a:lnTo>
                    <a:pt x="60" y="144"/>
                  </a:lnTo>
                  <a:lnTo>
                    <a:pt x="54" y="144"/>
                  </a:lnTo>
                  <a:lnTo>
                    <a:pt x="54" y="138"/>
                  </a:lnTo>
                  <a:lnTo>
                    <a:pt x="60" y="138"/>
                  </a:lnTo>
                  <a:lnTo>
                    <a:pt x="66" y="138"/>
                  </a:lnTo>
                  <a:lnTo>
                    <a:pt x="72" y="138"/>
                  </a:lnTo>
                  <a:lnTo>
                    <a:pt x="72" y="132"/>
                  </a:lnTo>
                  <a:lnTo>
                    <a:pt x="72" y="126"/>
                  </a:lnTo>
                  <a:lnTo>
                    <a:pt x="72" y="120"/>
                  </a:lnTo>
                  <a:lnTo>
                    <a:pt x="66" y="120"/>
                  </a:lnTo>
                  <a:lnTo>
                    <a:pt x="66" y="114"/>
                  </a:lnTo>
                  <a:lnTo>
                    <a:pt x="72" y="114"/>
                  </a:lnTo>
                  <a:lnTo>
                    <a:pt x="72" y="108"/>
                  </a:lnTo>
                  <a:lnTo>
                    <a:pt x="78" y="102"/>
                  </a:lnTo>
                  <a:lnTo>
                    <a:pt x="78" y="96"/>
                  </a:lnTo>
                  <a:lnTo>
                    <a:pt x="84" y="96"/>
                  </a:lnTo>
                  <a:lnTo>
                    <a:pt x="84" y="90"/>
                  </a:lnTo>
                  <a:lnTo>
                    <a:pt x="84" y="96"/>
                  </a:lnTo>
                  <a:lnTo>
                    <a:pt x="90" y="96"/>
                  </a:lnTo>
                  <a:lnTo>
                    <a:pt x="84" y="96"/>
                  </a:lnTo>
                  <a:lnTo>
                    <a:pt x="84" y="102"/>
                  </a:lnTo>
                  <a:lnTo>
                    <a:pt x="90" y="102"/>
                  </a:lnTo>
                  <a:lnTo>
                    <a:pt x="96" y="102"/>
                  </a:lnTo>
                  <a:lnTo>
                    <a:pt x="102" y="108"/>
                  </a:lnTo>
                  <a:lnTo>
                    <a:pt x="108" y="108"/>
                  </a:lnTo>
                  <a:lnTo>
                    <a:pt x="108" y="114"/>
                  </a:lnTo>
                  <a:lnTo>
                    <a:pt x="114" y="114"/>
                  </a:lnTo>
                  <a:lnTo>
                    <a:pt x="114" y="108"/>
                  </a:lnTo>
                  <a:lnTo>
                    <a:pt x="120" y="108"/>
                  </a:lnTo>
                  <a:lnTo>
                    <a:pt x="126" y="108"/>
                  </a:lnTo>
                  <a:lnTo>
                    <a:pt x="126" y="102"/>
                  </a:lnTo>
                  <a:lnTo>
                    <a:pt x="126" y="96"/>
                  </a:lnTo>
                  <a:lnTo>
                    <a:pt x="126" y="90"/>
                  </a:lnTo>
                  <a:lnTo>
                    <a:pt x="126" y="84"/>
                  </a:lnTo>
                  <a:lnTo>
                    <a:pt x="126" y="78"/>
                  </a:lnTo>
                  <a:lnTo>
                    <a:pt x="126" y="84"/>
                  </a:lnTo>
                  <a:lnTo>
                    <a:pt x="132" y="84"/>
                  </a:lnTo>
                  <a:lnTo>
                    <a:pt x="138" y="84"/>
                  </a:lnTo>
                  <a:lnTo>
                    <a:pt x="144" y="84"/>
                  </a:lnTo>
                  <a:lnTo>
                    <a:pt x="144" y="78"/>
                  </a:lnTo>
                  <a:lnTo>
                    <a:pt x="144" y="72"/>
                  </a:lnTo>
                  <a:lnTo>
                    <a:pt x="144" y="66"/>
                  </a:lnTo>
                  <a:lnTo>
                    <a:pt x="150" y="66"/>
                  </a:lnTo>
                  <a:lnTo>
                    <a:pt x="150" y="60"/>
                  </a:lnTo>
                  <a:lnTo>
                    <a:pt x="156" y="60"/>
                  </a:lnTo>
                  <a:lnTo>
                    <a:pt x="156" y="54"/>
                  </a:lnTo>
                  <a:lnTo>
                    <a:pt x="162" y="54"/>
                  </a:lnTo>
                  <a:lnTo>
                    <a:pt x="162" y="48"/>
                  </a:lnTo>
                  <a:lnTo>
                    <a:pt x="168" y="48"/>
                  </a:lnTo>
                  <a:lnTo>
                    <a:pt x="174" y="48"/>
                  </a:lnTo>
                  <a:lnTo>
                    <a:pt x="180" y="48"/>
                  </a:lnTo>
                  <a:lnTo>
                    <a:pt x="180" y="54"/>
                  </a:lnTo>
                  <a:lnTo>
                    <a:pt x="186" y="54"/>
                  </a:lnTo>
                  <a:lnTo>
                    <a:pt x="192" y="54"/>
                  </a:lnTo>
                  <a:lnTo>
                    <a:pt x="192" y="48"/>
                  </a:lnTo>
                  <a:lnTo>
                    <a:pt x="198" y="48"/>
                  </a:lnTo>
                  <a:lnTo>
                    <a:pt x="198" y="42"/>
                  </a:lnTo>
                  <a:lnTo>
                    <a:pt x="198" y="36"/>
                  </a:lnTo>
                  <a:lnTo>
                    <a:pt x="210" y="36"/>
                  </a:lnTo>
                  <a:lnTo>
                    <a:pt x="216" y="36"/>
                  </a:lnTo>
                  <a:lnTo>
                    <a:pt x="216" y="30"/>
                  </a:lnTo>
                  <a:lnTo>
                    <a:pt x="234" y="24"/>
                  </a:lnTo>
                  <a:lnTo>
                    <a:pt x="240" y="18"/>
                  </a:lnTo>
                  <a:lnTo>
                    <a:pt x="246" y="18"/>
                  </a:lnTo>
                  <a:lnTo>
                    <a:pt x="252" y="18"/>
                  </a:lnTo>
                  <a:lnTo>
                    <a:pt x="252" y="12"/>
                  </a:lnTo>
                  <a:lnTo>
                    <a:pt x="258" y="12"/>
                  </a:lnTo>
                  <a:lnTo>
                    <a:pt x="258" y="6"/>
                  </a:lnTo>
                  <a:lnTo>
                    <a:pt x="264" y="6"/>
                  </a:lnTo>
                  <a:lnTo>
                    <a:pt x="264" y="0"/>
                  </a:lnTo>
                  <a:lnTo>
                    <a:pt x="270" y="0"/>
                  </a:lnTo>
                  <a:lnTo>
                    <a:pt x="276" y="0"/>
                  </a:lnTo>
                  <a:lnTo>
                    <a:pt x="282" y="0"/>
                  </a:lnTo>
                  <a:lnTo>
                    <a:pt x="282" y="6"/>
                  </a:lnTo>
                  <a:lnTo>
                    <a:pt x="288" y="6"/>
                  </a:lnTo>
                  <a:lnTo>
                    <a:pt x="294" y="0"/>
                  </a:lnTo>
                  <a:lnTo>
                    <a:pt x="294" y="6"/>
                  </a:lnTo>
                  <a:lnTo>
                    <a:pt x="300" y="6"/>
                  </a:lnTo>
                  <a:lnTo>
                    <a:pt x="306" y="6"/>
                  </a:lnTo>
                  <a:lnTo>
                    <a:pt x="312" y="6"/>
                  </a:lnTo>
                  <a:lnTo>
                    <a:pt x="318" y="6"/>
                  </a:lnTo>
                  <a:lnTo>
                    <a:pt x="318" y="12"/>
                  </a:lnTo>
                  <a:lnTo>
                    <a:pt x="318" y="18"/>
                  </a:lnTo>
                  <a:lnTo>
                    <a:pt x="318" y="24"/>
                  </a:lnTo>
                  <a:lnTo>
                    <a:pt x="318" y="30"/>
                  </a:lnTo>
                  <a:lnTo>
                    <a:pt x="318" y="36"/>
                  </a:lnTo>
                  <a:lnTo>
                    <a:pt x="318" y="42"/>
                  </a:lnTo>
                  <a:lnTo>
                    <a:pt x="324" y="42"/>
                  </a:lnTo>
                  <a:lnTo>
                    <a:pt x="324" y="48"/>
                  </a:lnTo>
                  <a:lnTo>
                    <a:pt x="330" y="48"/>
                  </a:lnTo>
                  <a:lnTo>
                    <a:pt x="330" y="54"/>
                  </a:lnTo>
                  <a:lnTo>
                    <a:pt x="324" y="54"/>
                  </a:lnTo>
                  <a:lnTo>
                    <a:pt x="324" y="60"/>
                  </a:lnTo>
                  <a:lnTo>
                    <a:pt x="330" y="60"/>
                  </a:lnTo>
                  <a:lnTo>
                    <a:pt x="330" y="66"/>
                  </a:lnTo>
                  <a:lnTo>
                    <a:pt x="336" y="66"/>
                  </a:lnTo>
                  <a:lnTo>
                    <a:pt x="330" y="66"/>
                  </a:lnTo>
                  <a:lnTo>
                    <a:pt x="330" y="72"/>
                  </a:lnTo>
                  <a:lnTo>
                    <a:pt x="336" y="72"/>
                  </a:lnTo>
                  <a:lnTo>
                    <a:pt x="336" y="78"/>
                  </a:lnTo>
                  <a:lnTo>
                    <a:pt x="342" y="78"/>
                  </a:lnTo>
                  <a:lnTo>
                    <a:pt x="342" y="84"/>
                  </a:lnTo>
                  <a:lnTo>
                    <a:pt x="348" y="84"/>
                  </a:lnTo>
                  <a:lnTo>
                    <a:pt x="354" y="84"/>
                  </a:lnTo>
                  <a:lnTo>
                    <a:pt x="360" y="84"/>
                  </a:lnTo>
                  <a:lnTo>
                    <a:pt x="360" y="90"/>
                  </a:lnTo>
                  <a:lnTo>
                    <a:pt x="366" y="90"/>
                  </a:lnTo>
                  <a:lnTo>
                    <a:pt x="366" y="96"/>
                  </a:lnTo>
                  <a:lnTo>
                    <a:pt x="372" y="96"/>
                  </a:lnTo>
                  <a:lnTo>
                    <a:pt x="372" y="102"/>
                  </a:lnTo>
                  <a:lnTo>
                    <a:pt x="372" y="96"/>
                  </a:lnTo>
                  <a:lnTo>
                    <a:pt x="372" y="102"/>
                  </a:lnTo>
                  <a:lnTo>
                    <a:pt x="378" y="96"/>
                  </a:lnTo>
                  <a:lnTo>
                    <a:pt x="378" y="102"/>
                  </a:lnTo>
                  <a:lnTo>
                    <a:pt x="372" y="102"/>
                  </a:lnTo>
                  <a:lnTo>
                    <a:pt x="366" y="102"/>
                  </a:lnTo>
                  <a:lnTo>
                    <a:pt x="360" y="102"/>
                  </a:lnTo>
                  <a:lnTo>
                    <a:pt x="360" y="108"/>
                  </a:lnTo>
                  <a:lnTo>
                    <a:pt x="360" y="114"/>
                  </a:lnTo>
                  <a:lnTo>
                    <a:pt x="360" y="120"/>
                  </a:lnTo>
                  <a:lnTo>
                    <a:pt x="366" y="120"/>
                  </a:lnTo>
                  <a:lnTo>
                    <a:pt x="372" y="126"/>
                  </a:lnTo>
                  <a:lnTo>
                    <a:pt x="378" y="126"/>
                  </a:lnTo>
                  <a:lnTo>
                    <a:pt x="378" y="132"/>
                  </a:lnTo>
                  <a:lnTo>
                    <a:pt x="384" y="132"/>
                  </a:lnTo>
                  <a:lnTo>
                    <a:pt x="384" y="138"/>
                  </a:lnTo>
                  <a:lnTo>
                    <a:pt x="390" y="138"/>
                  </a:lnTo>
                  <a:lnTo>
                    <a:pt x="390" y="144"/>
                  </a:lnTo>
                  <a:lnTo>
                    <a:pt x="396" y="144"/>
                  </a:lnTo>
                  <a:lnTo>
                    <a:pt x="402" y="144"/>
                  </a:lnTo>
                  <a:lnTo>
                    <a:pt x="408" y="144"/>
                  </a:lnTo>
                  <a:lnTo>
                    <a:pt x="414" y="138"/>
                  </a:lnTo>
                  <a:lnTo>
                    <a:pt x="420" y="138"/>
                  </a:lnTo>
                  <a:lnTo>
                    <a:pt x="426" y="138"/>
                  </a:lnTo>
                  <a:lnTo>
                    <a:pt x="426" y="144"/>
                  </a:lnTo>
                  <a:lnTo>
                    <a:pt x="432" y="144"/>
                  </a:lnTo>
                  <a:lnTo>
                    <a:pt x="432" y="150"/>
                  </a:lnTo>
                  <a:lnTo>
                    <a:pt x="432" y="156"/>
                  </a:lnTo>
                  <a:lnTo>
                    <a:pt x="426" y="156"/>
                  </a:lnTo>
                  <a:lnTo>
                    <a:pt x="420" y="156"/>
                  </a:lnTo>
                  <a:lnTo>
                    <a:pt x="420" y="162"/>
                  </a:lnTo>
                  <a:lnTo>
                    <a:pt x="426" y="162"/>
                  </a:lnTo>
                  <a:lnTo>
                    <a:pt x="426" y="168"/>
                  </a:lnTo>
                  <a:lnTo>
                    <a:pt x="432" y="174"/>
                  </a:lnTo>
                  <a:lnTo>
                    <a:pt x="438" y="180"/>
                  </a:lnTo>
                  <a:lnTo>
                    <a:pt x="438" y="186"/>
                  </a:lnTo>
                  <a:lnTo>
                    <a:pt x="438" y="192"/>
                  </a:lnTo>
                  <a:lnTo>
                    <a:pt x="432" y="192"/>
                  </a:lnTo>
                  <a:lnTo>
                    <a:pt x="432" y="198"/>
                  </a:lnTo>
                  <a:lnTo>
                    <a:pt x="432" y="204"/>
                  </a:lnTo>
                  <a:lnTo>
                    <a:pt x="426" y="204"/>
                  </a:lnTo>
                  <a:lnTo>
                    <a:pt x="420" y="210"/>
                  </a:lnTo>
                  <a:lnTo>
                    <a:pt x="414" y="210"/>
                  </a:lnTo>
                  <a:lnTo>
                    <a:pt x="408" y="210"/>
                  </a:lnTo>
                  <a:lnTo>
                    <a:pt x="402" y="210"/>
                  </a:lnTo>
                  <a:lnTo>
                    <a:pt x="396" y="210"/>
                  </a:lnTo>
                  <a:lnTo>
                    <a:pt x="396" y="216"/>
                  </a:lnTo>
                  <a:lnTo>
                    <a:pt x="396" y="210"/>
                  </a:lnTo>
                  <a:lnTo>
                    <a:pt x="390" y="210"/>
                  </a:lnTo>
                  <a:lnTo>
                    <a:pt x="384" y="210"/>
                  </a:lnTo>
                  <a:lnTo>
                    <a:pt x="384" y="216"/>
                  </a:lnTo>
                  <a:lnTo>
                    <a:pt x="378" y="216"/>
                  </a:lnTo>
                  <a:lnTo>
                    <a:pt x="384" y="216"/>
                  </a:lnTo>
                  <a:lnTo>
                    <a:pt x="378" y="216"/>
                  </a:lnTo>
                  <a:lnTo>
                    <a:pt x="378" y="222"/>
                  </a:lnTo>
                  <a:lnTo>
                    <a:pt x="378" y="216"/>
                  </a:lnTo>
                  <a:lnTo>
                    <a:pt x="378" y="222"/>
                  </a:lnTo>
                  <a:lnTo>
                    <a:pt x="372" y="222"/>
                  </a:lnTo>
                  <a:lnTo>
                    <a:pt x="372" y="228"/>
                  </a:lnTo>
                  <a:lnTo>
                    <a:pt x="366" y="228"/>
                  </a:lnTo>
                  <a:lnTo>
                    <a:pt x="366" y="234"/>
                  </a:lnTo>
                  <a:lnTo>
                    <a:pt x="366" y="228"/>
                  </a:lnTo>
                  <a:lnTo>
                    <a:pt x="360" y="228"/>
                  </a:lnTo>
                  <a:lnTo>
                    <a:pt x="360" y="23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0" name="Freeform 14"/>
            <p:cNvSpPr>
              <a:spLocks/>
            </p:cNvSpPr>
            <p:nvPr>
              <p:custDataLst>
                <p:tags r:id="rId67"/>
              </p:custDataLst>
            </p:nvPr>
          </p:nvSpPr>
          <p:spPr bwMode="gray">
            <a:xfrm>
              <a:off x="2963863" y="2827338"/>
              <a:ext cx="304800" cy="446088"/>
            </a:xfrm>
            <a:custGeom>
              <a:avLst/>
              <a:gdLst>
                <a:gd name="T0" fmla="*/ 6778 w 246"/>
                <a:gd name="T1" fmla="*/ 121066 h 360"/>
                <a:gd name="T2" fmla="*/ 8714 w 246"/>
                <a:gd name="T3" fmla="*/ 121066 h 360"/>
                <a:gd name="T4" fmla="*/ 10651 w 246"/>
                <a:gd name="T5" fmla="*/ 117192 h 360"/>
                <a:gd name="T6" fmla="*/ 10651 w 246"/>
                <a:gd name="T7" fmla="*/ 115254 h 360"/>
                <a:gd name="T8" fmla="*/ 6778 w 246"/>
                <a:gd name="T9" fmla="*/ 108475 h 360"/>
                <a:gd name="T10" fmla="*/ 3873 w 246"/>
                <a:gd name="T11" fmla="*/ 104601 h 360"/>
                <a:gd name="T12" fmla="*/ 1936 w 246"/>
                <a:gd name="T13" fmla="*/ 95884 h 360"/>
                <a:gd name="T14" fmla="*/ 0 w 246"/>
                <a:gd name="T15" fmla="*/ 87168 h 360"/>
                <a:gd name="T16" fmla="*/ 3873 w 246"/>
                <a:gd name="T17" fmla="*/ 78451 h 360"/>
                <a:gd name="T18" fmla="*/ 6778 w 246"/>
                <a:gd name="T19" fmla="*/ 72639 h 360"/>
                <a:gd name="T20" fmla="*/ 8714 w 246"/>
                <a:gd name="T21" fmla="*/ 63923 h 360"/>
                <a:gd name="T22" fmla="*/ 14523 w 246"/>
                <a:gd name="T23" fmla="*/ 60049 h 360"/>
                <a:gd name="T24" fmla="*/ 12587 w 246"/>
                <a:gd name="T25" fmla="*/ 51332 h 360"/>
                <a:gd name="T26" fmla="*/ 10651 w 246"/>
                <a:gd name="T27" fmla="*/ 42615 h 360"/>
                <a:gd name="T28" fmla="*/ 10651 w 246"/>
                <a:gd name="T29" fmla="*/ 36804 h 360"/>
                <a:gd name="T30" fmla="*/ 10651 w 246"/>
                <a:gd name="T31" fmla="*/ 30024 h 360"/>
                <a:gd name="T32" fmla="*/ 8714 w 246"/>
                <a:gd name="T33" fmla="*/ 23245 h 360"/>
                <a:gd name="T34" fmla="*/ 8714 w 246"/>
                <a:gd name="T35" fmla="*/ 17434 h 360"/>
                <a:gd name="T36" fmla="*/ 6778 w 246"/>
                <a:gd name="T37" fmla="*/ 6780 h 360"/>
                <a:gd name="T38" fmla="*/ 12587 w 246"/>
                <a:gd name="T39" fmla="*/ 1937 h 360"/>
                <a:gd name="T40" fmla="*/ 23237 w 246"/>
                <a:gd name="T41" fmla="*/ 1937 h 360"/>
                <a:gd name="T42" fmla="*/ 33887 w 246"/>
                <a:gd name="T43" fmla="*/ 1937 h 360"/>
                <a:gd name="T44" fmla="*/ 44538 w 246"/>
                <a:gd name="T45" fmla="*/ 1937 h 360"/>
                <a:gd name="T46" fmla="*/ 51316 w 246"/>
                <a:gd name="T47" fmla="*/ 1937 h 360"/>
                <a:gd name="T48" fmla="*/ 55188 w 246"/>
                <a:gd name="T49" fmla="*/ 0 h 360"/>
                <a:gd name="T50" fmla="*/ 57125 w 246"/>
                <a:gd name="T51" fmla="*/ 0 h 360"/>
                <a:gd name="T52" fmla="*/ 63902 w 246"/>
                <a:gd name="T53" fmla="*/ 3874 h 360"/>
                <a:gd name="T54" fmla="*/ 63902 w 246"/>
                <a:gd name="T55" fmla="*/ 10654 h 360"/>
                <a:gd name="T56" fmla="*/ 70679 w 246"/>
                <a:gd name="T57" fmla="*/ 14528 h 360"/>
                <a:gd name="T58" fmla="*/ 70679 w 246"/>
                <a:gd name="T59" fmla="*/ 17434 h 360"/>
                <a:gd name="T60" fmla="*/ 70679 w 246"/>
                <a:gd name="T61" fmla="*/ 23245 h 360"/>
                <a:gd name="T62" fmla="*/ 70679 w 246"/>
                <a:gd name="T63" fmla="*/ 30024 h 360"/>
                <a:gd name="T64" fmla="*/ 70679 w 246"/>
                <a:gd name="T65" fmla="*/ 31961 h 360"/>
                <a:gd name="T66" fmla="*/ 72616 w 246"/>
                <a:gd name="T67" fmla="*/ 31961 h 360"/>
                <a:gd name="T68" fmla="*/ 74552 w 246"/>
                <a:gd name="T69" fmla="*/ 36804 h 360"/>
                <a:gd name="T70" fmla="*/ 74552 w 246"/>
                <a:gd name="T71" fmla="*/ 42615 h 360"/>
                <a:gd name="T72" fmla="*/ 72616 w 246"/>
                <a:gd name="T73" fmla="*/ 51332 h 360"/>
                <a:gd name="T74" fmla="*/ 78425 w 246"/>
                <a:gd name="T75" fmla="*/ 55206 h 360"/>
                <a:gd name="T76" fmla="*/ 76489 w 246"/>
                <a:gd name="T77" fmla="*/ 63923 h 360"/>
                <a:gd name="T78" fmla="*/ 74552 w 246"/>
                <a:gd name="T79" fmla="*/ 72639 h 360"/>
                <a:gd name="T80" fmla="*/ 76489 w 246"/>
                <a:gd name="T81" fmla="*/ 81357 h 360"/>
                <a:gd name="T82" fmla="*/ 76489 w 246"/>
                <a:gd name="T83" fmla="*/ 87168 h 360"/>
                <a:gd name="T84" fmla="*/ 78425 w 246"/>
                <a:gd name="T85" fmla="*/ 91042 h 360"/>
                <a:gd name="T86" fmla="*/ 83266 w 246"/>
                <a:gd name="T87" fmla="*/ 97821 h 360"/>
                <a:gd name="T88" fmla="*/ 83266 w 246"/>
                <a:gd name="T89" fmla="*/ 104601 h 360"/>
                <a:gd name="T90" fmla="*/ 74552 w 246"/>
                <a:gd name="T91" fmla="*/ 106538 h 360"/>
                <a:gd name="T92" fmla="*/ 65839 w 246"/>
                <a:gd name="T93" fmla="*/ 108475 h 360"/>
                <a:gd name="T94" fmla="*/ 60030 w 246"/>
                <a:gd name="T95" fmla="*/ 113318 h 360"/>
                <a:gd name="T96" fmla="*/ 51316 w 246"/>
                <a:gd name="T97" fmla="*/ 115254 h 360"/>
                <a:gd name="T98" fmla="*/ 44538 w 246"/>
                <a:gd name="T99" fmla="*/ 119128 h 360"/>
                <a:gd name="T100" fmla="*/ 36792 w 246"/>
                <a:gd name="T101" fmla="*/ 121066 h 360"/>
                <a:gd name="T102" fmla="*/ 30014 w 246"/>
                <a:gd name="T103" fmla="*/ 125908 h 360"/>
                <a:gd name="T104" fmla="*/ 21301 w 246"/>
                <a:gd name="T105" fmla="*/ 127846 h 360"/>
                <a:gd name="T106" fmla="*/ 19364 w 246"/>
                <a:gd name="T107" fmla="*/ 123972 h 360"/>
                <a:gd name="T108" fmla="*/ 8714 w 246"/>
                <a:gd name="T109" fmla="*/ 121066 h 3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6" h="360">
                  <a:moveTo>
                    <a:pt x="6" y="342"/>
                  </a:moveTo>
                  <a:lnTo>
                    <a:pt x="6" y="336"/>
                  </a:lnTo>
                  <a:lnTo>
                    <a:pt x="12" y="336"/>
                  </a:lnTo>
                  <a:lnTo>
                    <a:pt x="12" y="342"/>
                  </a:lnTo>
                  <a:lnTo>
                    <a:pt x="18" y="342"/>
                  </a:lnTo>
                  <a:lnTo>
                    <a:pt x="18" y="336"/>
                  </a:lnTo>
                  <a:lnTo>
                    <a:pt x="24" y="336"/>
                  </a:lnTo>
                  <a:lnTo>
                    <a:pt x="24" y="342"/>
                  </a:lnTo>
                  <a:lnTo>
                    <a:pt x="24" y="336"/>
                  </a:lnTo>
                  <a:lnTo>
                    <a:pt x="24" y="342"/>
                  </a:lnTo>
                  <a:lnTo>
                    <a:pt x="24" y="336"/>
                  </a:lnTo>
                  <a:lnTo>
                    <a:pt x="30" y="336"/>
                  </a:lnTo>
                  <a:lnTo>
                    <a:pt x="24" y="336"/>
                  </a:lnTo>
                  <a:lnTo>
                    <a:pt x="24" y="330"/>
                  </a:lnTo>
                  <a:lnTo>
                    <a:pt x="30" y="330"/>
                  </a:lnTo>
                  <a:lnTo>
                    <a:pt x="24" y="330"/>
                  </a:lnTo>
                  <a:lnTo>
                    <a:pt x="30" y="330"/>
                  </a:lnTo>
                  <a:lnTo>
                    <a:pt x="24" y="330"/>
                  </a:lnTo>
                  <a:lnTo>
                    <a:pt x="24" y="324"/>
                  </a:lnTo>
                  <a:lnTo>
                    <a:pt x="30" y="324"/>
                  </a:lnTo>
                  <a:lnTo>
                    <a:pt x="30" y="318"/>
                  </a:lnTo>
                  <a:lnTo>
                    <a:pt x="24" y="318"/>
                  </a:lnTo>
                  <a:lnTo>
                    <a:pt x="24" y="312"/>
                  </a:lnTo>
                  <a:lnTo>
                    <a:pt x="24" y="306"/>
                  </a:lnTo>
                  <a:lnTo>
                    <a:pt x="18" y="306"/>
                  </a:lnTo>
                  <a:lnTo>
                    <a:pt x="18" y="312"/>
                  </a:lnTo>
                  <a:lnTo>
                    <a:pt x="18" y="306"/>
                  </a:lnTo>
                  <a:lnTo>
                    <a:pt x="12" y="306"/>
                  </a:lnTo>
                  <a:lnTo>
                    <a:pt x="12" y="300"/>
                  </a:lnTo>
                  <a:lnTo>
                    <a:pt x="12" y="294"/>
                  </a:lnTo>
                  <a:lnTo>
                    <a:pt x="12" y="288"/>
                  </a:lnTo>
                  <a:lnTo>
                    <a:pt x="6" y="288"/>
                  </a:lnTo>
                  <a:lnTo>
                    <a:pt x="6" y="282"/>
                  </a:lnTo>
                  <a:lnTo>
                    <a:pt x="6" y="276"/>
                  </a:lnTo>
                  <a:lnTo>
                    <a:pt x="6" y="270"/>
                  </a:lnTo>
                  <a:lnTo>
                    <a:pt x="0" y="270"/>
                  </a:lnTo>
                  <a:lnTo>
                    <a:pt x="0" y="264"/>
                  </a:lnTo>
                  <a:lnTo>
                    <a:pt x="0" y="258"/>
                  </a:lnTo>
                  <a:lnTo>
                    <a:pt x="0" y="252"/>
                  </a:lnTo>
                  <a:lnTo>
                    <a:pt x="0" y="246"/>
                  </a:lnTo>
                  <a:lnTo>
                    <a:pt x="0" y="240"/>
                  </a:lnTo>
                  <a:lnTo>
                    <a:pt x="6" y="234"/>
                  </a:lnTo>
                  <a:lnTo>
                    <a:pt x="6" y="228"/>
                  </a:lnTo>
                  <a:lnTo>
                    <a:pt x="12" y="228"/>
                  </a:lnTo>
                  <a:lnTo>
                    <a:pt x="12" y="222"/>
                  </a:lnTo>
                  <a:lnTo>
                    <a:pt x="18" y="222"/>
                  </a:lnTo>
                  <a:lnTo>
                    <a:pt x="12" y="216"/>
                  </a:lnTo>
                  <a:lnTo>
                    <a:pt x="18" y="216"/>
                  </a:lnTo>
                  <a:lnTo>
                    <a:pt x="18" y="210"/>
                  </a:lnTo>
                  <a:lnTo>
                    <a:pt x="18" y="204"/>
                  </a:lnTo>
                  <a:lnTo>
                    <a:pt x="18" y="198"/>
                  </a:lnTo>
                  <a:lnTo>
                    <a:pt x="18" y="192"/>
                  </a:lnTo>
                  <a:lnTo>
                    <a:pt x="24" y="192"/>
                  </a:lnTo>
                  <a:lnTo>
                    <a:pt x="24" y="186"/>
                  </a:lnTo>
                  <a:lnTo>
                    <a:pt x="24" y="180"/>
                  </a:lnTo>
                  <a:lnTo>
                    <a:pt x="30" y="180"/>
                  </a:lnTo>
                  <a:lnTo>
                    <a:pt x="30" y="174"/>
                  </a:lnTo>
                  <a:lnTo>
                    <a:pt x="36" y="174"/>
                  </a:lnTo>
                  <a:lnTo>
                    <a:pt x="36" y="168"/>
                  </a:lnTo>
                  <a:lnTo>
                    <a:pt x="42" y="168"/>
                  </a:lnTo>
                  <a:lnTo>
                    <a:pt x="42" y="162"/>
                  </a:lnTo>
                  <a:lnTo>
                    <a:pt x="42" y="156"/>
                  </a:lnTo>
                  <a:lnTo>
                    <a:pt x="42" y="150"/>
                  </a:lnTo>
                  <a:lnTo>
                    <a:pt x="36" y="150"/>
                  </a:lnTo>
                  <a:lnTo>
                    <a:pt x="36" y="144"/>
                  </a:lnTo>
                  <a:lnTo>
                    <a:pt x="36" y="138"/>
                  </a:lnTo>
                  <a:lnTo>
                    <a:pt x="36" y="132"/>
                  </a:lnTo>
                  <a:lnTo>
                    <a:pt x="36" y="126"/>
                  </a:lnTo>
                  <a:lnTo>
                    <a:pt x="30" y="126"/>
                  </a:lnTo>
                  <a:lnTo>
                    <a:pt x="30" y="120"/>
                  </a:lnTo>
                  <a:lnTo>
                    <a:pt x="24" y="120"/>
                  </a:lnTo>
                  <a:lnTo>
                    <a:pt x="24" y="114"/>
                  </a:lnTo>
                  <a:lnTo>
                    <a:pt x="30" y="114"/>
                  </a:lnTo>
                  <a:lnTo>
                    <a:pt x="30" y="108"/>
                  </a:lnTo>
                  <a:lnTo>
                    <a:pt x="30" y="102"/>
                  </a:lnTo>
                  <a:lnTo>
                    <a:pt x="30" y="96"/>
                  </a:lnTo>
                  <a:lnTo>
                    <a:pt x="30" y="90"/>
                  </a:lnTo>
                  <a:lnTo>
                    <a:pt x="24" y="90"/>
                  </a:lnTo>
                  <a:lnTo>
                    <a:pt x="24" y="84"/>
                  </a:lnTo>
                  <a:lnTo>
                    <a:pt x="30" y="84"/>
                  </a:lnTo>
                  <a:lnTo>
                    <a:pt x="24" y="84"/>
                  </a:lnTo>
                  <a:lnTo>
                    <a:pt x="24" y="78"/>
                  </a:lnTo>
                  <a:lnTo>
                    <a:pt x="30" y="72"/>
                  </a:lnTo>
                  <a:lnTo>
                    <a:pt x="24" y="72"/>
                  </a:lnTo>
                  <a:lnTo>
                    <a:pt x="24" y="66"/>
                  </a:lnTo>
                  <a:lnTo>
                    <a:pt x="30" y="66"/>
                  </a:lnTo>
                  <a:lnTo>
                    <a:pt x="24" y="66"/>
                  </a:lnTo>
                  <a:lnTo>
                    <a:pt x="24" y="60"/>
                  </a:lnTo>
                  <a:lnTo>
                    <a:pt x="24" y="54"/>
                  </a:lnTo>
                  <a:lnTo>
                    <a:pt x="24" y="48"/>
                  </a:lnTo>
                  <a:lnTo>
                    <a:pt x="24" y="42"/>
                  </a:lnTo>
                  <a:lnTo>
                    <a:pt x="18" y="36"/>
                  </a:lnTo>
                  <a:lnTo>
                    <a:pt x="18" y="30"/>
                  </a:lnTo>
                  <a:lnTo>
                    <a:pt x="18" y="24"/>
                  </a:lnTo>
                  <a:lnTo>
                    <a:pt x="18" y="18"/>
                  </a:lnTo>
                  <a:lnTo>
                    <a:pt x="18" y="12"/>
                  </a:lnTo>
                  <a:lnTo>
                    <a:pt x="24" y="12"/>
                  </a:lnTo>
                  <a:lnTo>
                    <a:pt x="24" y="6"/>
                  </a:lnTo>
                  <a:lnTo>
                    <a:pt x="30" y="6"/>
                  </a:lnTo>
                  <a:lnTo>
                    <a:pt x="36" y="6"/>
                  </a:lnTo>
                  <a:lnTo>
                    <a:pt x="42" y="6"/>
                  </a:lnTo>
                  <a:lnTo>
                    <a:pt x="48" y="6"/>
                  </a:lnTo>
                  <a:lnTo>
                    <a:pt x="54" y="6"/>
                  </a:lnTo>
                  <a:lnTo>
                    <a:pt x="60" y="6"/>
                  </a:lnTo>
                  <a:lnTo>
                    <a:pt x="66" y="6"/>
                  </a:lnTo>
                  <a:lnTo>
                    <a:pt x="72" y="6"/>
                  </a:lnTo>
                  <a:lnTo>
                    <a:pt x="78" y="6"/>
                  </a:lnTo>
                  <a:lnTo>
                    <a:pt x="84" y="6"/>
                  </a:lnTo>
                  <a:lnTo>
                    <a:pt x="90" y="6"/>
                  </a:lnTo>
                  <a:lnTo>
                    <a:pt x="96" y="6"/>
                  </a:lnTo>
                  <a:lnTo>
                    <a:pt x="102" y="6"/>
                  </a:lnTo>
                  <a:lnTo>
                    <a:pt x="108" y="6"/>
                  </a:lnTo>
                  <a:lnTo>
                    <a:pt x="114" y="6"/>
                  </a:lnTo>
                  <a:lnTo>
                    <a:pt x="120" y="6"/>
                  </a:lnTo>
                  <a:lnTo>
                    <a:pt x="126" y="6"/>
                  </a:lnTo>
                  <a:lnTo>
                    <a:pt x="132" y="6"/>
                  </a:lnTo>
                  <a:lnTo>
                    <a:pt x="132" y="12"/>
                  </a:lnTo>
                  <a:lnTo>
                    <a:pt x="132" y="6"/>
                  </a:lnTo>
                  <a:lnTo>
                    <a:pt x="138" y="6"/>
                  </a:lnTo>
                  <a:lnTo>
                    <a:pt x="144" y="6"/>
                  </a:lnTo>
                  <a:lnTo>
                    <a:pt x="144" y="12"/>
                  </a:lnTo>
                  <a:lnTo>
                    <a:pt x="150" y="12"/>
                  </a:lnTo>
                  <a:lnTo>
                    <a:pt x="150" y="6"/>
                  </a:lnTo>
                  <a:lnTo>
                    <a:pt x="156" y="6"/>
                  </a:lnTo>
                  <a:lnTo>
                    <a:pt x="156" y="0"/>
                  </a:lnTo>
                  <a:lnTo>
                    <a:pt x="162" y="0"/>
                  </a:lnTo>
                  <a:lnTo>
                    <a:pt x="162" y="6"/>
                  </a:lnTo>
                  <a:lnTo>
                    <a:pt x="162" y="0"/>
                  </a:lnTo>
                  <a:lnTo>
                    <a:pt x="168" y="0"/>
                  </a:lnTo>
                  <a:lnTo>
                    <a:pt x="162" y="0"/>
                  </a:lnTo>
                  <a:lnTo>
                    <a:pt x="168" y="0"/>
                  </a:lnTo>
                  <a:lnTo>
                    <a:pt x="174" y="0"/>
                  </a:lnTo>
                  <a:lnTo>
                    <a:pt x="180" y="0"/>
                  </a:lnTo>
                  <a:lnTo>
                    <a:pt x="180" y="6"/>
                  </a:lnTo>
                  <a:lnTo>
                    <a:pt x="180" y="12"/>
                  </a:lnTo>
                  <a:lnTo>
                    <a:pt x="180" y="18"/>
                  </a:lnTo>
                  <a:lnTo>
                    <a:pt x="174" y="18"/>
                  </a:lnTo>
                  <a:lnTo>
                    <a:pt x="174" y="24"/>
                  </a:lnTo>
                  <a:lnTo>
                    <a:pt x="174" y="30"/>
                  </a:lnTo>
                  <a:lnTo>
                    <a:pt x="180" y="30"/>
                  </a:lnTo>
                  <a:lnTo>
                    <a:pt x="186" y="30"/>
                  </a:lnTo>
                  <a:lnTo>
                    <a:pt x="186" y="36"/>
                  </a:lnTo>
                  <a:lnTo>
                    <a:pt x="192" y="36"/>
                  </a:lnTo>
                  <a:lnTo>
                    <a:pt x="192" y="42"/>
                  </a:lnTo>
                  <a:lnTo>
                    <a:pt x="198" y="42"/>
                  </a:lnTo>
                  <a:lnTo>
                    <a:pt x="198" y="48"/>
                  </a:lnTo>
                  <a:lnTo>
                    <a:pt x="198" y="42"/>
                  </a:lnTo>
                  <a:lnTo>
                    <a:pt x="198" y="48"/>
                  </a:lnTo>
                  <a:lnTo>
                    <a:pt x="204" y="48"/>
                  </a:lnTo>
                  <a:lnTo>
                    <a:pt x="198" y="48"/>
                  </a:lnTo>
                  <a:lnTo>
                    <a:pt x="198" y="54"/>
                  </a:lnTo>
                  <a:lnTo>
                    <a:pt x="198" y="60"/>
                  </a:lnTo>
                  <a:lnTo>
                    <a:pt x="204" y="60"/>
                  </a:lnTo>
                  <a:lnTo>
                    <a:pt x="198" y="60"/>
                  </a:lnTo>
                  <a:lnTo>
                    <a:pt x="198" y="66"/>
                  </a:lnTo>
                  <a:lnTo>
                    <a:pt x="204" y="66"/>
                  </a:lnTo>
                  <a:lnTo>
                    <a:pt x="198" y="66"/>
                  </a:lnTo>
                  <a:lnTo>
                    <a:pt x="198" y="72"/>
                  </a:lnTo>
                  <a:lnTo>
                    <a:pt x="198" y="78"/>
                  </a:lnTo>
                  <a:lnTo>
                    <a:pt x="198" y="84"/>
                  </a:lnTo>
                  <a:lnTo>
                    <a:pt x="204" y="84"/>
                  </a:lnTo>
                  <a:lnTo>
                    <a:pt x="204" y="90"/>
                  </a:lnTo>
                  <a:lnTo>
                    <a:pt x="198" y="90"/>
                  </a:lnTo>
                  <a:lnTo>
                    <a:pt x="192" y="90"/>
                  </a:lnTo>
                  <a:lnTo>
                    <a:pt x="198" y="90"/>
                  </a:lnTo>
                  <a:lnTo>
                    <a:pt x="198" y="96"/>
                  </a:lnTo>
                  <a:lnTo>
                    <a:pt x="192" y="96"/>
                  </a:lnTo>
                  <a:lnTo>
                    <a:pt x="198" y="96"/>
                  </a:lnTo>
                  <a:lnTo>
                    <a:pt x="198" y="90"/>
                  </a:lnTo>
                  <a:lnTo>
                    <a:pt x="204" y="90"/>
                  </a:lnTo>
                  <a:lnTo>
                    <a:pt x="204" y="96"/>
                  </a:lnTo>
                  <a:lnTo>
                    <a:pt x="204" y="90"/>
                  </a:lnTo>
                  <a:lnTo>
                    <a:pt x="204" y="96"/>
                  </a:lnTo>
                  <a:lnTo>
                    <a:pt x="210" y="96"/>
                  </a:lnTo>
                  <a:lnTo>
                    <a:pt x="210" y="102"/>
                  </a:lnTo>
                  <a:lnTo>
                    <a:pt x="210" y="108"/>
                  </a:lnTo>
                  <a:lnTo>
                    <a:pt x="210" y="114"/>
                  </a:lnTo>
                  <a:lnTo>
                    <a:pt x="204" y="114"/>
                  </a:lnTo>
                  <a:lnTo>
                    <a:pt x="204" y="120"/>
                  </a:lnTo>
                  <a:lnTo>
                    <a:pt x="210" y="120"/>
                  </a:lnTo>
                  <a:lnTo>
                    <a:pt x="210" y="126"/>
                  </a:lnTo>
                  <a:lnTo>
                    <a:pt x="210" y="132"/>
                  </a:lnTo>
                  <a:lnTo>
                    <a:pt x="204" y="132"/>
                  </a:lnTo>
                  <a:lnTo>
                    <a:pt x="204" y="138"/>
                  </a:lnTo>
                  <a:lnTo>
                    <a:pt x="204" y="144"/>
                  </a:lnTo>
                  <a:lnTo>
                    <a:pt x="210" y="144"/>
                  </a:lnTo>
                  <a:lnTo>
                    <a:pt x="210" y="150"/>
                  </a:lnTo>
                  <a:lnTo>
                    <a:pt x="216" y="150"/>
                  </a:lnTo>
                  <a:lnTo>
                    <a:pt x="216" y="156"/>
                  </a:lnTo>
                  <a:lnTo>
                    <a:pt x="222" y="156"/>
                  </a:lnTo>
                  <a:lnTo>
                    <a:pt x="222" y="162"/>
                  </a:lnTo>
                  <a:lnTo>
                    <a:pt x="216" y="162"/>
                  </a:lnTo>
                  <a:lnTo>
                    <a:pt x="216" y="168"/>
                  </a:lnTo>
                  <a:lnTo>
                    <a:pt x="216" y="174"/>
                  </a:lnTo>
                  <a:lnTo>
                    <a:pt x="216" y="180"/>
                  </a:lnTo>
                  <a:lnTo>
                    <a:pt x="216" y="186"/>
                  </a:lnTo>
                  <a:lnTo>
                    <a:pt x="216" y="192"/>
                  </a:lnTo>
                  <a:lnTo>
                    <a:pt x="210" y="192"/>
                  </a:lnTo>
                  <a:lnTo>
                    <a:pt x="210" y="198"/>
                  </a:lnTo>
                  <a:lnTo>
                    <a:pt x="210" y="204"/>
                  </a:lnTo>
                  <a:lnTo>
                    <a:pt x="210" y="210"/>
                  </a:lnTo>
                  <a:lnTo>
                    <a:pt x="216" y="210"/>
                  </a:lnTo>
                  <a:lnTo>
                    <a:pt x="216" y="216"/>
                  </a:lnTo>
                  <a:lnTo>
                    <a:pt x="216" y="222"/>
                  </a:lnTo>
                  <a:lnTo>
                    <a:pt x="216" y="228"/>
                  </a:lnTo>
                  <a:lnTo>
                    <a:pt x="216" y="234"/>
                  </a:lnTo>
                  <a:lnTo>
                    <a:pt x="210" y="234"/>
                  </a:lnTo>
                  <a:lnTo>
                    <a:pt x="210" y="240"/>
                  </a:lnTo>
                  <a:lnTo>
                    <a:pt x="210" y="246"/>
                  </a:lnTo>
                  <a:lnTo>
                    <a:pt x="216" y="246"/>
                  </a:lnTo>
                  <a:lnTo>
                    <a:pt x="210" y="246"/>
                  </a:lnTo>
                  <a:lnTo>
                    <a:pt x="216" y="246"/>
                  </a:lnTo>
                  <a:lnTo>
                    <a:pt x="216" y="252"/>
                  </a:lnTo>
                  <a:lnTo>
                    <a:pt x="216" y="258"/>
                  </a:lnTo>
                  <a:lnTo>
                    <a:pt x="222" y="258"/>
                  </a:lnTo>
                  <a:lnTo>
                    <a:pt x="222" y="264"/>
                  </a:lnTo>
                  <a:lnTo>
                    <a:pt x="228" y="264"/>
                  </a:lnTo>
                  <a:lnTo>
                    <a:pt x="228" y="270"/>
                  </a:lnTo>
                  <a:lnTo>
                    <a:pt x="234" y="270"/>
                  </a:lnTo>
                  <a:lnTo>
                    <a:pt x="234" y="276"/>
                  </a:lnTo>
                  <a:lnTo>
                    <a:pt x="240" y="276"/>
                  </a:lnTo>
                  <a:lnTo>
                    <a:pt x="240" y="282"/>
                  </a:lnTo>
                  <a:lnTo>
                    <a:pt x="246" y="282"/>
                  </a:lnTo>
                  <a:lnTo>
                    <a:pt x="240" y="288"/>
                  </a:lnTo>
                  <a:lnTo>
                    <a:pt x="234" y="294"/>
                  </a:lnTo>
                  <a:lnTo>
                    <a:pt x="234" y="300"/>
                  </a:lnTo>
                  <a:lnTo>
                    <a:pt x="228" y="300"/>
                  </a:lnTo>
                  <a:lnTo>
                    <a:pt x="222" y="300"/>
                  </a:lnTo>
                  <a:lnTo>
                    <a:pt x="216" y="300"/>
                  </a:lnTo>
                  <a:lnTo>
                    <a:pt x="210" y="300"/>
                  </a:lnTo>
                  <a:lnTo>
                    <a:pt x="204" y="300"/>
                  </a:lnTo>
                  <a:lnTo>
                    <a:pt x="198" y="300"/>
                  </a:lnTo>
                  <a:lnTo>
                    <a:pt x="192" y="300"/>
                  </a:lnTo>
                  <a:lnTo>
                    <a:pt x="192" y="306"/>
                  </a:lnTo>
                  <a:lnTo>
                    <a:pt x="186" y="306"/>
                  </a:lnTo>
                  <a:lnTo>
                    <a:pt x="180" y="306"/>
                  </a:lnTo>
                  <a:lnTo>
                    <a:pt x="180" y="312"/>
                  </a:lnTo>
                  <a:lnTo>
                    <a:pt x="174" y="312"/>
                  </a:lnTo>
                  <a:lnTo>
                    <a:pt x="168" y="312"/>
                  </a:lnTo>
                  <a:lnTo>
                    <a:pt x="168" y="318"/>
                  </a:lnTo>
                  <a:lnTo>
                    <a:pt x="162" y="318"/>
                  </a:lnTo>
                  <a:lnTo>
                    <a:pt x="156" y="318"/>
                  </a:lnTo>
                  <a:lnTo>
                    <a:pt x="156" y="324"/>
                  </a:lnTo>
                  <a:lnTo>
                    <a:pt x="150" y="324"/>
                  </a:lnTo>
                  <a:lnTo>
                    <a:pt x="144" y="324"/>
                  </a:lnTo>
                  <a:lnTo>
                    <a:pt x="144" y="330"/>
                  </a:lnTo>
                  <a:lnTo>
                    <a:pt x="138" y="330"/>
                  </a:lnTo>
                  <a:lnTo>
                    <a:pt x="132" y="330"/>
                  </a:lnTo>
                  <a:lnTo>
                    <a:pt x="132" y="336"/>
                  </a:lnTo>
                  <a:lnTo>
                    <a:pt x="126" y="336"/>
                  </a:lnTo>
                  <a:lnTo>
                    <a:pt x="120" y="336"/>
                  </a:lnTo>
                  <a:lnTo>
                    <a:pt x="114" y="336"/>
                  </a:lnTo>
                  <a:lnTo>
                    <a:pt x="114" y="342"/>
                  </a:lnTo>
                  <a:lnTo>
                    <a:pt x="108" y="342"/>
                  </a:lnTo>
                  <a:lnTo>
                    <a:pt x="102" y="342"/>
                  </a:lnTo>
                  <a:lnTo>
                    <a:pt x="96" y="342"/>
                  </a:lnTo>
                  <a:lnTo>
                    <a:pt x="90" y="342"/>
                  </a:lnTo>
                  <a:lnTo>
                    <a:pt x="90" y="348"/>
                  </a:lnTo>
                  <a:lnTo>
                    <a:pt x="84" y="348"/>
                  </a:lnTo>
                  <a:lnTo>
                    <a:pt x="84" y="354"/>
                  </a:lnTo>
                  <a:lnTo>
                    <a:pt x="78" y="354"/>
                  </a:lnTo>
                  <a:lnTo>
                    <a:pt x="72" y="354"/>
                  </a:lnTo>
                  <a:lnTo>
                    <a:pt x="72" y="360"/>
                  </a:lnTo>
                  <a:lnTo>
                    <a:pt x="66" y="360"/>
                  </a:lnTo>
                  <a:lnTo>
                    <a:pt x="60" y="360"/>
                  </a:lnTo>
                  <a:lnTo>
                    <a:pt x="66" y="360"/>
                  </a:lnTo>
                  <a:lnTo>
                    <a:pt x="60" y="360"/>
                  </a:lnTo>
                  <a:lnTo>
                    <a:pt x="60" y="354"/>
                  </a:lnTo>
                  <a:lnTo>
                    <a:pt x="54" y="354"/>
                  </a:lnTo>
                  <a:lnTo>
                    <a:pt x="54" y="348"/>
                  </a:lnTo>
                  <a:lnTo>
                    <a:pt x="48" y="348"/>
                  </a:lnTo>
                  <a:lnTo>
                    <a:pt x="42" y="348"/>
                  </a:lnTo>
                  <a:lnTo>
                    <a:pt x="36" y="348"/>
                  </a:lnTo>
                  <a:lnTo>
                    <a:pt x="30" y="342"/>
                  </a:lnTo>
                  <a:lnTo>
                    <a:pt x="24" y="342"/>
                  </a:lnTo>
                  <a:lnTo>
                    <a:pt x="18" y="342"/>
                  </a:lnTo>
                  <a:lnTo>
                    <a:pt x="12" y="342"/>
                  </a:lnTo>
                  <a:lnTo>
                    <a:pt x="6" y="34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1" name="Freeform 15"/>
            <p:cNvSpPr>
              <a:spLocks noEditPoints="1"/>
            </p:cNvSpPr>
            <p:nvPr>
              <p:custDataLst>
                <p:tags r:id="rId68"/>
              </p:custDataLst>
            </p:nvPr>
          </p:nvSpPr>
          <p:spPr bwMode="gray">
            <a:xfrm>
              <a:off x="2590800" y="2855913"/>
              <a:ext cx="427038" cy="439738"/>
            </a:xfrm>
            <a:custGeom>
              <a:avLst/>
              <a:gdLst>
                <a:gd name="T0" fmla="*/ 99935 w 342"/>
                <a:gd name="T1" fmla="*/ 111985 h 354"/>
                <a:gd name="T2" fmla="*/ 87198 w 342"/>
                <a:gd name="T3" fmla="*/ 111985 h 354"/>
                <a:gd name="T4" fmla="*/ 71523 w 342"/>
                <a:gd name="T5" fmla="*/ 111985 h 354"/>
                <a:gd name="T6" fmla="*/ 58785 w 342"/>
                <a:gd name="T7" fmla="*/ 113933 h 354"/>
                <a:gd name="T8" fmla="*/ 49968 w 342"/>
                <a:gd name="T9" fmla="*/ 113933 h 354"/>
                <a:gd name="T10" fmla="*/ 43109 w 342"/>
                <a:gd name="T11" fmla="*/ 117828 h 354"/>
                <a:gd name="T12" fmla="*/ 34291 w 342"/>
                <a:gd name="T13" fmla="*/ 120750 h 354"/>
                <a:gd name="T14" fmla="*/ 23514 w 342"/>
                <a:gd name="T15" fmla="*/ 127566 h 354"/>
                <a:gd name="T16" fmla="*/ 21555 w 342"/>
                <a:gd name="T17" fmla="*/ 113933 h 354"/>
                <a:gd name="T18" fmla="*/ 23514 w 342"/>
                <a:gd name="T19" fmla="*/ 108090 h 354"/>
                <a:gd name="T20" fmla="*/ 23514 w 342"/>
                <a:gd name="T21" fmla="*/ 103222 h 354"/>
                <a:gd name="T22" fmla="*/ 21555 w 342"/>
                <a:gd name="T23" fmla="*/ 99326 h 354"/>
                <a:gd name="T24" fmla="*/ 17635 w 342"/>
                <a:gd name="T25" fmla="*/ 92510 h 354"/>
                <a:gd name="T26" fmla="*/ 12737 w 342"/>
                <a:gd name="T27" fmla="*/ 90563 h 354"/>
                <a:gd name="T28" fmla="*/ 8818 w 342"/>
                <a:gd name="T29" fmla="*/ 87641 h 354"/>
                <a:gd name="T30" fmla="*/ 0 w 342"/>
                <a:gd name="T31" fmla="*/ 83746 h 354"/>
                <a:gd name="T32" fmla="*/ 6858 w 342"/>
                <a:gd name="T33" fmla="*/ 79850 h 354"/>
                <a:gd name="T34" fmla="*/ 3919 w 342"/>
                <a:gd name="T35" fmla="*/ 69139 h 354"/>
                <a:gd name="T36" fmla="*/ 8818 w 342"/>
                <a:gd name="T37" fmla="*/ 62323 h 354"/>
                <a:gd name="T38" fmla="*/ 12737 w 342"/>
                <a:gd name="T39" fmla="*/ 51610 h 354"/>
                <a:gd name="T40" fmla="*/ 12737 w 342"/>
                <a:gd name="T41" fmla="*/ 45768 h 354"/>
                <a:gd name="T42" fmla="*/ 17635 w 342"/>
                <a:gd name="T43" fmla="*/ 47716 h 354"/>
                <a:gd name="T44" fmla="*/ 12737 w 342"/>
                <a:gd name="T45" fmla="*/ 38951 h 354"/>
                <a:gd name="T46" fmla="*/ 15676 w 342"/>
                <a:gd name="T47" fmla="*/ 32135 h 354"/>
                <a:gd name="T48" fmla="*/ 8818 w 342"/>
                <a:gd name="T49" fmla="*/ 23371 h 354"/>
                <a:gd name="T50" fmla="*/ 10777 w 342"/>
                <a:gd name="T51" fmla="*/ 19476 h 354"/>
                <a:gd name="T52" fmla="*/ 8818 w 342"/>
                <a:gd name="T53" fmla="*/ 15581 h 354"/>
                <a:gd name="T54" fmla="*/ 17635 w 342"/>
                <a:gd name="T55" fmla="*/ 8764 h 354"/>
                <a:gd name="T56" fmla="*/ 26453 w 342"/>
                <a:gd name="T57" fmla="*/ 6816 h 354"/>
                <a:gd name="T58" fmla="*/ 32332 w 342"/>
                <a:gd name="T59" fmla="*/ 6816 h 354"/>
                <a:gd name="T60" fmla="*/ 39190 w 342"/>
                <a:gd name="T61" fmla="*/ 1948 h 354"/>
                <a:gd name="T62" fmla="*/ 46049 w 342"/>
                <a:gd name="T63" fmla="*/ 0 h 354"/>
                <a:gd name="T64" fmla="*/ 49968 w 342"/>
                <a:gd name="T65" fmla="*/ 6816 h 354"/>
                <a:gd name="T66" fmla="*/ 53887 w 342"/>
                <a:gd name="T67" fmla="*/ 8764 h 354"/>
                <a:gd name="T68" fmla="*/ 62705 w 342"/>
                <a:gd name="T69" fmla="*/ 6816 h 354"/>
                <a:gd name="T70" fmla="*/ 69562 w 342"/>
                <a:gd name="T71" fmla="*/ 10711 h 354"/>
                <a:gd name="T72" fmla="*/ 73482 w 342"/>
                <a:gd name="T73" fmla="*/ 12659 h 354"/>
                <a:gd name="T74" fmla="*/ 78380 w 342"/>
                <a:gd name="T75" fmla="*/ 19476 h 354"/>
                <a:gd name="T76" fmla="*/ 83279 w 342"/>
                <a:gd name="T77" fmla="*/ 21424 h 354"/>
                <a:gd name="T78" fmla="*/ 87198 w 342"/>
                <a:gd name="T79" fmla="*/ 19476 h 354"/>
                <a:gd name="T80" fmla="*/ 97976 w 342"/>
                <a:gd name="T81" fmla="*/ 17528 h 354"/>
                <a:gd name="T82" fmla="*/ 108753 w 342"/>
                <a:gd name="T83" fmla="*/ 17528 h 354"/>
                <a:gd name="T84" fmla="*/ 114632 w 342"/>
                <a:gd name="T85" fmla="*/ 21424 h 354"/>
                <a:gd name="T86" fmla="*/ 119530 w 342"/>
                <a:gd name="T87" fmla="*/ 30188 h 354"/>
                <a:gd name="T88" fmla="*/ 121490 w 342"/>
                <a:gd name="T89" fmla="*/ 38951 h 354"/>
                <a:gd name="T90" fmla="*/ 124429 w 342"/>
                <a:gd name="T91" fmla="*/ 51610 h 354"/>
                <a:gd name="T92" fmla="*/ 117570 w 342"/>
                <a:gd name="T93" fmla="*/ 60375 h 354"/>
                <a:gd name="T94" fmla="*/ 114632 w 342"/>
                <a:gd name="T95" fmla="*/ 71086 h 354"/>
                <a:gd name="T96" fmla="*/ 108753 w 342"/>
                <a:gd name="T97" fmla="*/ 81798 h 354"/>
                <a:gd name="T98" fmla="*/ 110712 w 342"/>
                <a:gd name="T99" fmla="*/ 94458 h 354"/>
                <a:gd name="T100" fmla="*/ 114632 w 342"/>
                <a:gd name="T101" fmla="*/ 101274 h 354"/>
                <a:gd name="T102" fmla="*/ 117570 w 342"/>
                <a:gd name="T103" fmla="*/ 110038 h 354"/>
                <a:gd name="T104" fmla="*/ 117570 w 342"/>
                <a:gd name="T105" fmla="*/ 111985 h 354"/>
                <a:gd name="T106" fmla="*/ 113652 w 342"/>
                <a:gd name="T107" fmla="*/ 113933 h 3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2" h="354">
                  <a:moveTo>
                    <a:pt x="306" y="318"/>
                  </a:moveTo>
                  <a:lnTo>
                    <a:pt x="306" y="312"/>
                  </a:lnTo>
                  <a:lnTo>
                    <a:pt x="300" y="312"/>
                  </a:lnTo>
                  <a:lnTo>
                    <a:pt x="294" y="312"/>
                  </a:lnTo>
                  <a:lnTo>
                    <a:pt x="288" y="312"/>
                  </a:lnTo>
                  <a:lnTo>
                    <a:pt x="282" y="312"/>
                  </a:lnTo>
                  <a:lnTo>
                    <a:pt x="276" y="312"/>
                  </a:lnTo>
                  <a:lnTo>
                    <a:pt x="270" y="312"/>
                  </a:lnTo>
                  <a:lnTo>
                    <a:pt x="264" y="306"/>
                  </a:lnTo>
                  <a:lnTo>
                    <a:pt x="258" y="306"/>
                  </a:lnTo>
                  <a:lnTo>
                    <a:pt x="252" y="306"/>
                  </a:lnTo>
                  <a:lnTo>
                    <a:pt x="246" y="306"/>
                  </a:lnTo>
                  <a:lnTo>
                    <a:pt x="246" y="312"/>
                  </a:lnTo>
                  <a:lnTo>
                    <a:pt x="240" y="312"/>
                  </a:lnTo>
                  <a:lnTo>
                    <a:pt x="234" y="312"/>
                  </a:lnTo>
                  <a:lnTo>
                    <a:pt x="228" y="312"/>
                  </a:lnTo>
                  <a:lnTo>
                    <a:pt x="222" y="312"/>
                  </a:lnTo>
                  <a:lnTo>
                    <a:pt x="216" y="312"/>
                  </a:lnTo>
                  <a:lnTo>
                    <a:pt x="210" y="312"/>
                  </a:lnTo>
                  <a:lnTo>
                    <a:pt x="204" y="312"/>
                  </a:lnTo>
                  <a:lnTo>
                    <a:pt x="198" y="312"/>
                  </a:lnTo>
                  <a:lnTo>
                    <a:pt x="192" y="312"/>
                  </a:lnTo>
                  <a:lnTo>
                    <a:pt x="186" y="312"/>
                  </a:lnTo>
                  <a:lnTo>
                    <a:pt x="180" y="312"/>
                  </a:lnTo>
                  <a:lnTo>
                    <a:pt x="180" y="318"/>
                  </a:lnTo>
                  <a:lnTo>
                    <a:pt x="174" y="318"/>
                  </a:lnTo>
                  <a:lnTo>
                    <a:pt x="168" y="318"/>
                  </a:lnTo>
                  <a:lnTo>
                    <a:pt x="162" y="318"/>
                  </a:lnTo>
                  <a:lnTo>
                    <a:pt x="156" y="318"/>
                  </a:lnTo>
                  <a:lnTo>
                    <a:pt x="150" y="318"/>
                  </a:lnTo>
                  <a:lnTo>
                    <a:pt x="150" y="324"/>
                  </a:lnTo>
                  <a:lnTo>
                    <a:pt x="144" y="324"/>
                  </a:lnTo>
                  <a:lnTo>
                    <a:pt x="144" y="318"/>
                  </a:lnTo>
                  <a:lnTo>
                    <a:pt x="138" y="324"/>
                  </a:lnTo>
                  <a:lnTo>
                    <a:pt x="138" y="318"/>
                  </a:lnTo>
                  <a:lnTo>
                    <a:pt x="138" y="324"/>
                  </a:lnTo>
                  <a:lnTo>
                    <a:pt x="144" y="324"/>
                  </a:lnTo>
                  <a:lnTo>
                    <a:pt x="138" y="324"/>
                  </a:lnTo>
                  <a:lnTo>
                    <a:pt x="138" y="330"/>
                  </a:lnTo>
                  <a:lnTo>
                    <a:pt x="132" y="330"/>
                  </a:lnTo>
                  <a:lnTo>
                    <a:pt x="126" y="330"/>
                  </a:lnTo>
                  <a:lnTo>
                    <a:pt x="120" y="330"/>
                  </a:lnTo>
                  <a:lnTo>
                    <a:pt x="120" y="336"/>
                  </a:lnTo>
                  <a:lnTo>
                    <a:pt x="120" y="330"/>
                  </a:lnTo>
                  <a:lnTo>
                    <a:pt x="120" y="336"/>
                  </a:lnTo>
                  <a:lnTo>
                    <a:pt x="114" y="336"/>
                  </a:lnTo>
                  <a:lnTo>
                    <a:pt x="108" y="336"/>
                  </a:lnTo>
                  <a:lnTo>
                    <a:pt x="102" y="336"/>
                  </a:lnTo>
                  <a:lnTo>
                    <a:pt x="96" y="336"/>
                  </a:lnTo>
                  <a:lnTo>
                    <a:pt x="96" y="342"/>
                  </a:lnTo>
                  <a:lnTo>
                    <a:pt x="90" y="342"/>
                  </a:lnTo>
                  <a:lnTo>
                    <a:pt x="90" y="348"/>
                  </a:lnTo>
                  <a:lnTo>
                    <a:pt x="84" y="348"/>
                  </a:lnTo>
                  <a:lnTo>
                    <a:pt x="78" y="348"/>
                  </a:lnTo>
                  <a:lnTo>
                    <a:pt x="72" y="354"/>
                  </a:lnTo>
                  <a:lnTo>
                    <a:pt x="66" y="354"/>
                  </a:lnTo>
                  <a:lnTo>
                    <a:pt x="60" y="354"/>
                  </a:lnTo>
                  <a:lnTo>
                    <a:pt x="60" y="348"/>
                  </a:lnTo>
                  <a:lnTo>
                    <a:pt x="60" y="342"/>
                  </a:lnTo>
                  <a:lnTo>
                    <a:pt x="60" y="336"/>
                  </a:lnTo>
                  <a:lnTo>
                    <a:pt x="60" y="330"/>
                  </a:lnTo>
                  <a:lnTo>
                    <a:pt x="60" y="324"/>
                  </a:lnTo>
                  <a:lnTo>
                    <a:pt x="60" y="318"/>
                  </a:lnTo>
                  <a:lnTo>
                    <a:pt x="60" y="312"/>
                  </a:lnTo>
                  <a:lnTo>
                    <a:pt x="60" y="318"/>
                  </a:lnTo>
                  <a:lnTo>
                    <a:pt x="66" y="312"/>
                  </a:lnTo>
                  <a:lnTo>
                    <a:pt x="66" y="306"/>
                  </a:lnTo>
                  <a:lnTo>
                    <a:pt x="72" y="306"/>
                  </a:lnTo>
                  <a:lnTo>
                    <a:pt x="72" y="300"/>
                  </a:lnTo>
                  <a:lnTo>
                    <a:pt x="66" y="300"/>
                  </a:lnTo>
                  <a:lnTo>
                    <a:pt x="66" y="294"/>
                  </a:lnTo>
                  <a:lnTo>
                    <a:pt x="66" y="300"/>
                  </a:lnTo>
                  <a:lnTo>
                    <a:pt x="66" y="294"/>
                  </a:lnTo>
                  <a:lnTo>
                    <a:pt x="72" y="294"/>
                  </a:lnTo>
                  <a:lnTo>
                    <a:pt x="66" y="294"/>
                  </a:lnTo>
                  <a:lnTo>
                    <a:pt x="72" y="294"/>
                  </a:lnTo>
                  <a:lnTo>
                    <a:pt x="66" y="288"/>
                  </a:lnTo>
                  <a:lnTo>
                    <a:pt x="72" y="288"/>
                  </a:lnTo>
                  <a:lnTo>
                    <a:pt x="66" y="288"/>
                  </a:lnTo>
                  <a:lnTo>
                    <a:pt x="66" y="282"/>
                  </a:lnTo>
                  <a:lnTo>
                    <a:pt x="66" y="276"/>
                  </a:lnTo>
                  <a:lnTo>
                    <a:pt x="66" y="270"/>
                  </a:lnTo>
                  <a:lnTo>
                    <a:pt x="66" y="276"/>
                  </a:lnTo>
                  <a:lnTo>
                    <a:pt x="60" y="276"/>
                  </a:lnTo>
                  <a:lnTo>
                    <a:pt x="60" y="270"/>
                  </a:lnTo>
                  <a:lnTo>
                    <a:pt x="60" y="276"/>
                  </a:lnTo>
                  <a:lnTo>
                    <a:pt x="60" y="270"/>
                  </a:lnTo>
                  <a:lnTo>
                    <a:pt x="54" y="270"/>
                  </a:lnTo>
                  <a:lnTo>
                    <a:pt x="48" y="270"/>
                  </a:lnTo>
                  <a:lnTo>
                    <a:pt x="48" y="264"/>
                  </a:lnTo>
                  <a:lnTo>
                    <a:pt x="48" y="258"/>
                  </a:lnTo>
                  <a:lnTo>
                    <a:pt x="42" y="258"/>
                  </a:lnTo>
                  <a:lnTo>
                    <a:pt x="42" y="252"/>
                  </a:lnTo>
                  <a:lnTo>
                    <a:pt x="48" y="252"/>
                  </a:lnTo>
                  <a:lnTo>
                    <a:pt x="42" y="252"/>
                  </a:lnTo>
                  <a:lnTo>
                    <a:pt x="42" y="246"/>
                  </a:lnTo>
                  <a:lnTo>
                    <a:pt x="42" y="252"/>
                  </a:lnTo>
                  <a:lnTo>
                    <a:pt x="36" y="252"/>
                  </a:lnTo>
                  <a:lnTo>
                    <a:pt x="36" y="246"/>
                  </a:lnTo>
                  <a:lnTo>
                    <a:pt x="36" y="252"/>
                  </a:lnTo>
                  <a:lnTo>
                    <a:pt x="36" y="246"/>
                  </a:lnTo>
                  <a:lnTo>
                    <a:pt x="30" y="246"/>
                  </a:lnTo>
                  <a:lnTo>
                    <a:pt x="30" y="252"/>
                  </a:lnTo>
                  <a:lnTo>
                    <a:pt x="24" y="252"/>
                  </a:lnTo>
                  <a:lnTo>
                    <a:pt x="24" y="246"/>
                  </a:lnTo>
                  <a:lnTo>
                    <a:pt x="18" y="246"/>
                  </a:lnTo>
                  <a:lnTo>
                    <a:pt x="12" y="246"/>
                  </a:lnTo>
                  <a:lnTo>
                    <a:pt x="12" y="240"/>
                  </a:lnTo>
                  <a:lnTo>
                    <a:pt x="6" y="240"/>
                  </a:lnTo>
                  <a:lnTo>
                    <a:pt x="6" y="234"/>
                  </a:lnTo>
                  <a:lnTo>
                    <a:pt x="0" y="240"/>
                  </a:lnTo>
                  <a:lnTo>
                    <a:pt x="0" y="234"/>
                  </a:lnTo>
                  <a:lnTo>
                    <a:pt x="6" y="234"/>
                  </a:lnTo>
                  <a:lnTo>
                    <a:pt x="6" y="228"/>
                  </a:lnTo>
                  <a:lnTo>
                    <a:pt x="6" y="234"/>
                  </a:lnTo>
                  <a:lnTo>
                    <a:pt x="6" y="228"/>
                  </a:lnTo>
                  <a:lnTo>
                    <a:pt x="12" y="228"/>
                  </a:lnTo>
                  <a:lnTo>
                    <a:pt x="12" y="222"/>
                  </a:lnTo>
                  <a:lnTo>
                    <a:pt x="18" y="222"/>
                  </a:lnTo>
                  <a:lnTo>
                    <a:pt x="18" y="216"/>
                  </a:lnTo>
                  <a:lnTo>
                    <a:pt x="18" y="210"/>
                  </a:lnTo>
                  <a:lnTo>
                    <a:pt x="18" y="204"/>
                  </a:lnTo>
                  <a:lnTo>
                    <a:pt x="18" y="198"/>
                  </a:lnTo>
                  <a:lnTo>
                    <a:pt x="12" y="198"/>
                  </a:lnTo>
                  <a:lnTo>
                    <a:pt x="18" y="192"/>
                  </a:lnTo>
                  <a:lnTo>
                    <a:pt x="12" y="192"/>
                  </a:lnTo>
                  <a:lnTo>
                    <a:pt x="12" y="186"/>
                  </a:lnTo>
                  <a:lnTo>
                    <a:pt x="12" y="180"/>
                  </a:lnTo>
                  <a:lnTo>
                    <a:pt x="6" y="180"/>
                  </a:lnTo>
                  <a:lnTo>
                    <a:pt x="12" y="174"/>
                  </a:lnTo>
                  <a:lnTo>
                    <a:pt x="18" y="174"/>
                  </a:lnTo>
                  <a:lnTo>
                    <a:pt x="24" y="180"/>
                  </a:lnTo>
                  <a:lnTo>
                    <a:pt x="24" y="174"/>
                  </a:lnTo>
                  <a:lnTo>
                    <a:pt x="30" y="174"/>
                  </a:lnTo>
                  <a:lnTo>
                    <a:pt x="30" y="168"/>
                  </a:lnTo>
                  <a:lnTo>
                    <a:pt x="30" y="162"/>
                  </a:lnTo>
                  <a:lnTo>
                    <a:pt x="30" y="156"/>
                  </a:lnTo>
                  <a:lnTo>
                    <a:pt x="30" y="150"/>
                  </a:lnTo>
                  <a:lnTo>
                    <a:pt x="36" y="150"/>
                  </a:lnTo>
                  <a:lnTo>
                    <a:pt x="36" y="144"/>
                  </a:lnTo>
                  <a:lnTo>
                    <a:pt x="30" y="144"/>
                  </a:lnTo>
                  <a:lnTo>
                    <a:pt x="24" y="144"/>
                  </a:lnTo>
                  <a:lnTo>
                    <a:pt x="24" y="138"/>
                  </a:lnTo>
                  <a:lnTo>
                    <a:pt x="24" y="132"/>
                  </a:lnTo>
                  <a:lnTo>
                    <a:pt x="24" y="126"/>
                  </a:lnTo>
                  <a:lnTo>
                    <a:pt x="30" y="126"/>
                  </a:lnTo>
                  <a:lnTo>
                    <a:pt x="36" y="126"/>
                  </a:lnTo>
                  <a:lnTo>
                    <a:pt x="42" y="126"/>
                  </a:lnTo>
                  <a:lnTo>
                    <a:pt x="42" y="132"/>
                  </a:lnTo>
                  <a:lnTo>
                    <a:pt x="42" y="126"/>
                  </a:lnTo>
                  <a:lnTo>
                    <a:pt x="42" y="132"/>
                  </a:lnTo>
                  <a:lnTo>
                    <a:pt x="42" y="126"/>
                  </a:lnTo>
                  <a:lnTo>
                    <a:pt x="48" y="126"/>
                  </a:lnTo>
                  <a:lnTo>
                    <a:pt x="48" y="132"/>
                  </a:lnTo>
                  <a:lnTo>
                    <a:pt x="54" y="132"/>
                  </a:lnTo>
                  <a:lnTo>
                    <a:pt x="54" y="126"/>
                  </a:lnTo>
                  <a:lnTo>
                    <a:pt x="54" y="120"/>
                  </a:lnTo>
                  <a:lnTo>
                    <a:pt x="48" y="114"/>
                  </a:lnTo>
                  <a:lnTo>
                    <a:pt x="48" y="108"/>
                  </a:lnTo>
                  <a:lnTo>
                    <a:pt x="42" y="108"/>
                  </a:lnTo>
                  <a:lnTo>
                    <a:pt x="36" y="108"/>
                  </a:lnTo>
                  <a:lnTo>
                    <a:pt x="36" y="102"/>
                  </a:lnTo>
                  <a:lnTo>
                    <a:pt x="42" y="96"/>
                  </a:lnTo>
                  <a:lnTo>
                    <a:pt x="42" y="90"/>
                  </a:lnTo>
                  <a:lnTo>
                    <a:pt x="48" y="90"/>
                  </a:lnTo>
                  <a:lnTo>
                    <a:pt x="42" y="90"/>
                  </a:lnTo>
                  <a:lnTo>
                    <a:pt x="42" y="84"/>
                  </a:lnTo>
                  <a:lnTo>
                    <a:pt x="42" y="90"/>
                  </a:lnTo>
                  <a:lnTo>
                    <a:pt x="42" y="84"/>
                  </a:lnTo>
                  <a:lnTo>
                    <a:pt x="42" y="78"/>
                  </a:lnTo>
                  <a:lnTo>
                    <a:pt x="42" y="72"/>
                  </a:lnTo>
                  <a:lnTo>
                    <a:pt x="36" y="72"/>
                  </a:lnTo>
                  <a:lnTo>
                    <a:pt x="30" y="72"/>
                  </a:lnTo>
                  <a:lnTo>
                    <a:pt x="30" y="66"/>
                  </a:lnTo>
                  <a:lnTo>
                    <a:pt x="24" y="66"/>
                  </a:lnTo>
                  <a:lnTo>
                    <a:pt x="30" y="66"/>
                  </a:lnTo>
                  <a:lnTo>
                    <a:pt x="24" y="66"/>
                  </a:lnTo>
                  <a:lnTo>
                    <a:pt x="24" y="60"/>
                  </a:lnTo>
                  <a:lnTo>
                    <a:pt x="30" y="60"/>
                  </a:lnTo>
                  <a:lnTo>
                    <a:pt x="24" y="60"/>
                  </a:lnTo>
                  <a:lnTo>
                    <a:pt x="30" y="60"/>
                  </a:lnTo>
                  <a:lnTo>
                    <a:pt x="30" y="54"/>
                  </a:lnTo>
                  <a:lnTo>
                    <a:pt x="30" y="48"/>
                  </a:lnTo>
                  <a:lnTo>
                    <a:pt x="30" y="42"/>
                  </a:lnTo>
                  <a:lnTo>
                    <a:pt x="24" y="42"/>
                  </a:lnTo>
                  <a:lnTo>
                    <a:pt x="24" y="48"/>
                  </a:lnTo>
                  <a:lnTo>
                    <a:pt x="24" y="42"/>
                  </a:lnTo>
                  <a:lnTo>
                    <a:pt x="30" y="42"/>
                  </a:lnTo>
                  <a:lnTo>
                    <a:pt x="24" y="42"/>
                  </a:lnTo>
                  <a:lnTo>
                    <a:pt x="30" y="42"/>
                  </a:lnTo>
                  <a:lnTo>
                    <a:pt x="30" y="36"/>
                  </a:lnTo>
                  <a:lnTo>
                    <a:pt x="36" y="36"/>
                  </a:lnTo>
                  <a:lnTo>
                    <a:pt x="36" y="30"/>
                  </a:lnTo>
                  <a:lnTo>
                    <a:pt x="42" y="30"/>
                  </a:lnTo>
                  <a:lnTo>
                    <a:pt x="42" y="24"/>
                  </a:lnTo>
                  <a:lnTo>
                    <a:pt x="48" y="24"/>
                  </a:lnTo>
                  <a:lnTo>
                    <a:pt x="48" y="18"/>
                  </a:lnTo>
                  <a:lnTo>
                    <a:pt x="54" y="18"/>
                  </a:lnTo>
                  <a:lnTo>
                    <a:pt x="54" y="12"/>
                  </a:lnTo>
                  <a:lnTo>
                    <a:pt x="60" y="12"/>
                  </a:lnTo>
                  <a:lnTo>
                    <a:pt x="66" y="12"/>
                  </a:lnTo>
                  <a:lnTo>
                    <a:pt x="66" y="18"/>
                  </a:lnTo>
                  <a:lnTo>
                    <a:pt x="72" y="18"/>
                  </a:lnTo>
                  <a:lnTo>
                    <a:pt x="72" y="24"/>
                  </a:lnTo>
                  <a:lnTo>
                    <a:pt x="78" y="24"/>
                  </a:lnTo>
                  <a:lnTo>
                    <a:pt x="84" y="24"/>
                  </a:lnTo>
                  <a:lnTo>
                    <a:pt x="84" y="30"/>
                  </a:lnTo>
                  <a:lnTo>
                    <a:pt x="90" y="30"/>
                  </a:lnTo>
                  <a:lnTo>
                    <a:pt x="90" y="24"/>
                  </a:lnTo>
                  <a:lnTo>
                    <a:pt x="90" y="18"/>
                  </a:lnTo>
                  <a:lnTo>
                    <a:pt x="96" y="18"/>
                  </a:lnTo>
                  <a:lnTo>
                    <a:pt x="102" y="18"/>
                  </a:lnTo>
                  <a:lnTo>
                    <a:pt x="108" y="18"/>
                  </a:lnTo>
                  <a:lnTo>
                    <a:pt x="114" y="18"/>
                  </a:lnTo>
                  <a:lnTo>
                    <a:pt x="114" y="12"/>
                  </a:lnTo>
                  <a:lnTo>
                    <a:pt x="108" y="12"/>
                  </a:lnTo>
                  <a:lnTo>
                    <a:pt x="108" y="6"/>
                  </a:lnTo>
                  <a:lnTo>
                    <a:pt x="108" y="0"/>
                  </a:lnTo>
                  <a:lnTo>
                    <a:pt x="114" y="0"/>
                  </a:lnTo>
                  <a:lnTo>
                    <a:pt x="114" y="6"/>
                  </a:lnTo>
                  <a:lnTo>
                    <a:pt x="120" y="6"/>
                  </a:lnTo>
                  <a:lnTo>
                    <a:pt x="126" y="6"/>
                  </a:lnTo>
                  <a:lnTo>
                    <a:pt x="120" y="0"/>
                  </a:lnTo>
                  <a:lnTo>
                    <a:pt x="126" y="0"/>
                  </a:lnTo>
                  <a:lnTo>
                    <a:pt x="132" y="0"/>
                  </a:lnTo>
                  <a:lnTo>
                    <a:pt x="132" y="6"/>
                  </a:lnTo>
                  <a:lnTo>
                    <a:pt x="138" y="6"/>
                  </a:lnTo>
                  <a:lnTo>
                    <a:pt x="132" y="6"/>
                  </a:lnTo>
                  <a:lnTo>
                    <a:pt x="132" y="12"/>
                  </a:lnTo>
                  <a:lnTo>
                    <a:pt x="138" y="12"/>
                  </a:lnTo>
                  <a:lnTo>
                    <a:pt x="138" y="18"/>
                  </a:lnTo>
                  <a:lnTo>
                    <a:pt x="138" y="24"/>
                  </a:lnTo>
                  <a:lnTo>
                    <a:pt x="132" y="24"/>
                  </a:lnTo>
                  <a:lnTo>
                    <a:pt x="138" y="24"/>
                  </a:lnTo>
                  <a:lnTo>
                    <a:pt x="138" y="30"/>
                  </a:lnTo>
                  <a:lnTo>
                    <a:pt x="144" y="30"/>
                  </a:lnTo>
                  <a:lnTo>
                    <a:pt x="150" y="30"/>
                  </a:lnTo>
                  <a:lnTo>
                    <a:pt x="150" y="24"/>
                  </a:lnTo>
                  <a:lnTo>
                    <a:pt x="150" y="18"/>
                  </a:lnTo>
                  <a:lnTo>
                    <a:pt x="156" y="18"/>
                  </a:lnTo>
                  <a:lnTo>
                    <a:pt x="162" y="18"/>
                  </a:lnTo>
                  <a:lnTo>
                    <a:pt x="162" y="12"/>
                  </a:lnTo>
                  <a:lnTo>
                    <a:pt x="168" y="12"/>
                  </a:lnTo>
                  <a:lnTo>
                    <a:pt x="174" y="12"/>
                  </a:lnTo>
                  <a:lnTo>
                    <a:pt x="174" y="18"/>
                  </a:lnTo>
                  <a:lnTo>
                    <a:pt x="180" y="18"/>
                  </a:lnTo>
                  <a:lnTo>
                    <a:pt x="180" y="24"/>
                  </a:lnTo>
                  <a:lnTo>
                    <a:pt x="186" y="24"/>
                  </a:lnTo>
                  <a:lnTo>
                    <a:pt x="192" y="24"/>
                  </a:lnTo>
                  <a:lnTo>
                    <a:pt x="192" y="30"/>
                  </a:lnTo>
                  <a:lnTo>
                    <a:pt x="198" y="30"/>
                  </a:lnTo>
                  <a:lnTo>
                    <a:pt x="192" y="30"/>
                  </a:lnTo>
                  <a:lnTo>
                    <a:pt x="198" y="30"/>
                  </a:lnTo>
                  <a:lnTo>
                    <a:pt x="198" y="36"/>
                  </a:lnTo>
                  <a:lnTo>
                    <a:pt x="198" y="30"/>
                  </a:lnTo>
                  <a:lnTo>
                    <a:pt x="198" y="36"/>
                  </a:lnTo>
                  <a:lnTo>
                    <a:pt x="198" y="30"/>
                  </a:lnTo>
                  <a:lnTo>
                    <a:pt x="198" y="36"/>
                  </a:lnTo>
                  <a:lnTo>
                    <a:pt x="204" y="36"/>
                  </a:lnTo>
                  <a:lnTo>
                    <a:pt x="198" y="36"/>
                  </a:lnTo>
                  <a:lnTo>
                    <a:pt x="204" y="36"/>
                  </a:lnTo>
                  <a:lnTo>
                    <a:pt x="204" y="42"/>
                  </a:lnTo>
                  <a:lnTo>
                    <a:pt x="204" y="48"/>
                  </a:lnTo>
                  <a:lnTo>
                    <a:pt x="210" y="48"/>
                  </a:lnTo>
                  <a:lnTo>
                    <a:pt x="216" y="48"/>
                  </a:lnTo>
                  <a:lnTo>
                    <a:pt x="216" y="54"/>
                  </a:lnTo>
                  <a:lnTo>
                    <a:pt x="210" y="54"/>
                  </a:lnTo>
                  <a:lnTo>
                    <a:pt x="216" y="54"/>
                  </a:lnTo>
                  <a:lnTo>
                    <a:pt x="216" y="60"/>
                  </a:lnTo>
                  <a:lnTo>
                    <a:pt x="222" y="60"/>
                  </a:lnTo>
                  <a:lnTo>
                    <a:pt x="222" y="54"/>
                  </a:lnTo>
                  <a:lnTo>
                    <a:pt x="222" y="60"/>
                  </a:lnTo>
                  <a:lnTo>
                    <a:pt x="228" y="60"/>
                  </a:lnTo>
                  <a:lnTo>
                    <a:pt x="228" y="54"/>
                  </a:lnTo>
                  <a:lnTo>
                    <a:pt x="228" y="60"/>
                  </a:lnTo>
                  <a:lnTo>
                    <a:pt x="234" y="60"/>
                  </a:lnTo>
                  <a:lnTo>
                    <a:pt x="240" y="60"/>
                  </a:lnTo>
                  <a:lnTo>
                    <a:pt x="234" y="60"/>
                  </a:lnTo>
                  <a:lnTo>
                    <a:pt x="240" y="60"/>
                  </a:lnTo>
                  <a:lnTo>
                    <a:pt x="240" y="54"/>
                  </a:lnTo>
                  <a:lnTo>
                    <a:pt x="246" y="54"/>
                  </a:lnTo>
                  <a:lnTo>
                    <a:pt x="252" y="48"/>
                  </a:lnTo>
                  <a:lnTo>
                    <a:pt x="252" y="54"/>
                  </a:lnTo>
                  <a:lnTo>
                    <a:pt x="258" y="54"/>
                  </a:lnTo>
                  <a:lnTo>
                    <a:pt x="258" y="48"/>
                  </a:lnTo>
                  <a:lnTo>
                    <a:pt x="264" y="48"/>
                  </a:lnTo>
                  <a:lnTo>
                    <a:pt x="270" y="48"/>
                  </a:lnTo>
                  <a:lnTo>
                    <a:pt x="270" y="42"/>
                  </a:lnTo>
                  <a:lnTo>
                    <a:pt x="276" y="42"/>
                  </a:lnTo>
                  <a:lnTo>
                    <a:pt x="282" y="42"/>
                  </a:lnTo>
                  <a:lnTo>
                    <a:pt x="288" y="42"/>
                  </a:lnTo>
                  <a:lnTo>
                    <a:pt x="294" y="42"/>
                  </a:lnTo>
                  <a:lnTo>
                    <a:pt x="294" y="48"/>
                  </a:lnTo>
                  <a:lnTo>
                    <a:pt x="300" y="48"/>
                  </a:lnTo>
                  <a:lnTo>
                    <a:pt x="300" y="42"/>
                  </a:lnTo>
                  <a:lnTo>
                    <a:pt x="300" y="48"/>
                  </a:lnTo>
                  <a:lnTo>
                    <a:pt x="306" y="48"/>
                  </a:lnTo>
                  <a:lnTo>
                    <a:pt x="306" y="54"/>
                  </a:lnTo>
                  <a:lnTo>
                    <a:pt x="312" y="54"/>
                  </a:lnTo>
                  <a:lnTo>
                    <a:pt x="312" y="60"/>
                  </a:lnTo>
                  <a:lnTo>
                    <a:pt x="318" y="60"/>
                  </a:lnTo>
                  <a:lnTo>
                    <a:pt x="318" y="66"/>
                  </a:lnTo>
                  <a:lnTo>
                    <a:pt x="324" y="72"/>
                  </a:lnTo>
                  <a:lnTo>
                    <a:pt x="330" y="72"/>
                  </a:lnTo>
                  <a:lnTo>
                    <a:pt x="330" y="66"/>
                  </a:lnTo>
                  <a:lnTo>
                    <a:pt x="330" y="72"/>
                  </a:lnTo>
                  <a:lnTo>
                    <a:pt x="330" y="78"/>
                  </a:lnTo>
                  <a:lnTo>
                    <a:pt x="330" y="84"/>
                  </a:lnTo>
                  <a:lnTo>
                    <a:pt x="330" y="90"/>
                  </a:lnTo>
                  <a:lnTo>
                    <a:pt x="324" y="90"/>
                  </a:lnTo>
                  <a:lnTo>
                    <a:pt x="324" y="96"/>
                  </a:lnTo>
                  <a:lnTo>
                    <a:pt x="330" y="96"/>
                  </a:lnTo>
                  <a:lnTo>
                    <a:pt x="330" y="102"/>
                  </a:lnTo>
                  <a:lnTo>
                    <a:pt x="336" y="102"/>
                  </a:lnTo>
                  <a:lnTo>
                    <a:pt x="336" y="108"/>
                  </a:lnTo>
                  <a:lnTo>
                    <a:pt x="336" y="114"/>
                  </a:lnTo>
                  <a:lnTo>
                    <a:pt x="336" y="120"/>
                  </a:lnTo>
                  <a:lnTo>
                    <a:pt x="336" y="126"/>
                  </a:lnTo>
                  <a:lnTo>
                    <a:pt x="342" y="126"/>
                  </a:lnTo>
                  <a:lnTo>
                    <a:pt x="342" y="132"/>
                  </a:lnTo>
                  <a:lnTo>
                    <a:pt x="342" y="138"/>
                  </a:lnTo>
                  <a:lnTo>
                    <a:pt x="342" y="144"/>
                  </a:lnTo>
                  <a:lnTo>
                    <a:pt x="336" y="144"/>
                  </a:lnTo>
                  <a:lnTo>
                    <a:pt x="336" y="150"/>
                  </a:lnTo>
                  <a:lnTo>
                    <a:pt x="330" y="150"/>
                  </a:lnTo>
                  <a:lnTo>
                    <a:pt x="330" y="156"/>
                  </a:lnTo>
                  <a:lnTo>
                    <a:pt x="324" y="156"/>
                  </a:lnTo>
                  <a:lnTo>
                    <a:pt x="324" y="162"/>
                  </a:lnTo>
                  <a:lnTo>
                    <a:pt x="324" y="168"/>
                  </a:lnTo>
                  <a:lnTo>
                    <a:pt x="318" y="168"/>
                  </a:lnTo>
                  <a:lnTo>
                    <a:pt x="318" y="174"/>
                  </a:lnTo>
                  <a:lnTo>
                    <a:pt x="318" y="180"/>
                  </a:lnTo>
                  <a:lnTo>
                    <a:pt x="318" y="186"/>
                  </a:lnTo>
                  <a:lnTo>
                    <a:pt x="318" y="192"/>
                  </a:lnTo>
                  <a:lnTo>
                    <a:pt x="312" y="192"/>
                  </a:lnTo>
                  <a:lnTo>
                    <a:pt x="318" y="198"/>
                  </a:lnTo>
                  <a:lnTo>
                    <a:pt x="312" y="198"/>
                  </a:lnTo>
                  <a:lnTo>
                    <a:pt x="312" y="204"/>
                  </a:lnTo>
                  <a:lnTo>
                    <a:pt x="306" y="204"/>
                  </a:lnTo>
                  <a:lnTo>
                    <a:pt x="306" y="210"/>
                  </a:lnTo>
                  <a:lnTo>
                    <a:pt x="300" y="216"/>
                  </a:lnTo>
                  <a:lnTo>
                    <a:pt x="300" y="222"/>
                  </a:lnTo>
                  <a:lnTo>
                    <a:pt x="300" y="228"/>
                  </a:lnTo>
                  <a:lnTo>
                    <a:pt x="300" y="234"/>
                  </a:lnTo>
                  <a:lnTo>
                    <a:pt x="300" y="240"/>
                  </a:lnTo>
                  <a:lnTo>
                    <a:pt x="300" y="246"/>
                  </a:lnTo>
                  <a:lnTo>
                    <a:pt x="306" y="246"/>
                  </a:lnTo>
                  <a:lnTo>
                    <a:pt x="306" y="252"/>
                  </a:lnTo>
                  <a:lnTo>
                    <a:pt x="306" y="258"/>
                  </a:lnTo>
                  <a:lnTo>
                    <a:pt x="306" y="264"/>
                  </a:lnTo>
                  <a:lnTo>
                    <a:pt x="312" y="264"/>
                  </a:lnTo>
                  <a:lnTo>
                    <a:pt x="312" y="270"/>
                  </a:lnTo>
                  <a:lnTo>
                    <a:pt x="312" y="276"/>
                  </a:lnTo>
                  <a:lnTo>
                    <a:pt x="312" y="282"/>
                  </a:lnTo>
                  <a:lnTo>
                    <a:pt x="318" y="282"/>
                  </a:lnTo>
                  <a:lnTo>
                    <a:pt x="318" y="288"/>
                  </a:lnTo>
                  <a:lnTo>
                    <a:pt x="318" y="282"/>
                  </a:lnTo>
                  <a:lnTo>
                    <a:pt x="324" y="282"/>
                  </a:lnTo>
                  <a:lnTo>
                    <a:pt x="324" y="288"/>
                  </a:lnTo>
                  <a:lnTo>
                    <a:pt x="324" y="294"/>
                  </a:lnTo>
                  <a:lnTo>
                    <a:pt x="330" y="294"/>
                  </a:lnTo>
                  <a:lnTo>
                    <a:pt x="330" y="300"/>
                  </a:lnTo>
                  <a:lnTo>
                    <a:pt x="324" y="300"/>
                  </a:lnTo>
                  <a:lnTo>
                    <a:pt x="324" y="306"/>
                  </a:lnTo>
                  <a:lnTo>
                    <a:pt x="330" y="306"/>
                  </a:lnTo>
                  <a:lnTo>
                    <a:pt x="324" y="306"/>
                  </a:lnTo>
                  <a:lnTo>
                    <a:pt x="330" y="306"/>
                  </a:lnTo>
                  <a:lnTo>
                    <a:pt x="324" y="306"/>
                  </a:lnTo>
                  <a:lnTo>
                    <a:pt x="324" y="312"/>
                  </a:lnTo>
                  <a:lnTo>
                    <a:pt x="330" y="312"/>
                  </a:lnTo>
                  <a:lnTo>
                    <a:pt x="324" y="312"/>
                  </a:lnTo>
                  <a:lnTo>
                    <a:pt x="324" y="318"/>
                  </a:lnTo>
                  <a:lnTo>
                    <a:pt x="324" y="312"/>
                  </a:lnTo>
                  <a:lnTo>
                    <a:pt x="324" y="318"/>
                  </a:lnTo>
                  <a:lnTo>
                    <a:pt x="324" y="312"/>
                  </a:lnTo>
                  <a:lnTo>
                    <a:pt x="318" y="312"/>
                  </a:lnTo>
                  <a:lnTo>
                    <a:pt x="318" y="318"/>
                  </a:lnTo>
                  <a:lnTo>
                    <a:pt x="312" y="318"/>
                  </a:lnTo>
                  <a:lnTo>
                    <a:pt x="312" y="312"/>
                  </a:lnTo>
                  <a:lnTo>
                    <a:pt x="306" y="312"/>
                  </a:lnTo>
                  <a:lnTo>
                    <a:pt x="306" y="318"/>
                  </a:lnTo>
                  <a:close/>
                  <a:moveTo>
                    <a:pt x="138" y="324"/>
                  </a:moveTo>
                  <a:lnTo>
                    <a:pt x="144" y="324"/>
                  </a:lnTo>
                  <a:lnTo>
                    <a:pt x="138" y="32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2" name="Freeform 16"/>
            <p:cNvSpPr>
              <a:spLocks/>
            </p:cNvSpPr>
            <p:nvPr>
              <p:custDataLst>
                <p:tags r:id="rId69"/>
              </p:custDataLst>
            </p:nvPr>
          </p:nvSpPr>
          <p:spPr bwMode="gray">
            <a:xfrm>
              <a:off x="2390775" y="3005138"/>
              <a:ext cx="290513" cy="290513"/>
            </a:xfrm>
            <a:custGeom>
              <a:avLst/>
              <a:gdLst>
                <a:gd name="T0" fmla="*/ 3888 w 234"/>
                <a:gd name="T1" fmla="*/ 28201 h 234"/>
                <a:gd name="T2" fmla="*/ 8748 w 234"/>
                <a:gd name="T3" fmla="*/ 23339 h 234"/>
                <a:gd name="T4" fmla="*/ 14580 w 234"/>
                <a:gd name="T5" fmla="*/ 21394 h 234"/>
                <a:gd name="T6" fmla="*/ 19439 w 234"/>
                <a:gd name="T7" fmla="*/ 17504 h 234"/>
                <a:gd name="T8" fmla="*/ 21384 w 234"/>
                <a:gd name="T9" fmla="*/ 8752 h 234"/>
                <a:gd name="T10" fmla="*/ 26244 w 234"/>
                <a:gd name="T11" fmla="*/ 3890 h 234"/>
                <a:gd name="T12" fmla="*/ 32076 w 234"/>
                <a:gd name="T13" fmla="*/ 1945 h 234"/>
                <a:gd name="T14" fmla="*/ 36936 w 234"/>
                <a:gd name="T15" fmla="*/ 1945 h 234"/>
                <a:gd name="T16" fmla="*/ 38880 w 234"/>
                <a:gd name="T17" fmla="*/ 1945 h 234"/>
                <a:gd name="T18" fmla="*/ 40824 w 234"/>
                <a:gd name="T19" fmla="*/ 8752 h 234"/>
                <a:gd name="T20" fmla="*/ 42767 w 234"/>
                <a:gd name="T21" fmla="*/ 14587 h 234"/>
                <a:gd name="T22" fmla="*/ 42767 w 234"/>
                <a:gd name="T23" fmla="*/ 23339 h 234"/>
                <a:gd name="T24" fmla="*/ 47628 w 234"/>
                <a:gd name="T25" fmla="*/ 23339 h 234"/>
                <a:gd name="T26" fmla="*/ 51515 w 234"/>
                <a:gd name="T27" fmla="*/ 28201 h 234"/>
                <a:gd name="T28" fmla="*/ 56376 w 234"/>
                <a:gd name="T29" fmla="*/ 23339 h 234"/>
                <a:gd name="T30" fmla="*/ 57347 w 234"/>
                <a:gd name="T31" fmla="*/ 17504 h 234"/>
                <a:gd name="T32" fmla="*/ 62207 w 234"/>
                <a:gd name="T33" fmla="*/ 21394 h 234"/>
                <a:gd name="T34" fmla="*/ 62207 w 234"/>
                <a:gd name="T35" fmla="*/ 28201 h 234"/>
                <a:gd name="T36" fmla="*/ 64152 w 234"/>
                <a:gd name="T37" fmla="*/ 34036 h 234"/>
                <a:gd name="T38" fmla="*/ 60263 w 234"/>
                <a:gd name="T39" fmla="*/ 38898 h 234"/>
                <a:gd name="T40" fmla="*/ 57347 w 234"/>
                <a:gd name="T41" fmla="*/ 40843 h 234"/>
                <a:gd name="T42" fmla="*/ 62207 w 234"/>
                <a:gd name="T43" fmla="*/ 42788 h 234"/>
                <a:gd name="T44" fmla="*/ 67067 w 234"/>
                <a:gd name="T45" fmla="*/ 47650 h 234"/>
                <a:gd name="T46" fmla="*/ 70956 w 234"/>
                <a:gd name="T47" fmla="*/ 47650 h 234"/>
                <a:gd name="T48" fmla="*/ 72899 w 234"/>
                <a:gd name="T49" fmla="*/ 44732 h 234"/>
                <a:gd name="T50" fmla="*/ 72899 w 234"/>
                <a:gd name="T51" fmla="*/ 49595 h 234"/>
                <a:gd name="T52" fmla="*/ 76787 w 234"/>
                <a:gd name="T53" fmla="*/ 53484 h 234"/>
                <a:gd name="T54" fmla="*/ 79703 w 234"/>
                <a:gd name="T55" fmla="*/ 56402 h 234"/>
                <a:gd name="T56" fmla="*/ 81647 w 234"/>
                <a:gd name="T57" fmla="*/ 57374 h 234"/>
                <a:gd name="T58" fmla="*/ 83591 w 234"/>
                <a:gd name="T59" fmla="*/ 62236 h 234"/>
                <a:gd name="T60" fmla="*/ 81647 w 234"/>
                <a:gd name="T61" fmla="*/ 64181 h 234"/>
                <a:gd name="T62" fmla="*/ 83591 w 234"/>
                <a:gd name="T63" fmla="*/ 67098 h 234"/>
                <a:gd name="T64" fmla="*/ 79703 w 234"/>
                <a:gd name="T65" fmla="*/ 69043 h 234"/>
                <a:gd name="T66" fmla="*/ 79703 w 234"/>
                <a:gd name="T67" fmla="*/ 76822 h 234"/>
                <a:gd name="T68" fmla="*/ 76787 w 234"/>
                <a:gd name="T69" fmla="*/ 83629 h 234"/>
                <a:gd name="T70" fmla="*/ 72899 w 234"/>
                <a:gd name="T71" fmla="*/ 83629 h 234"/>
                <a:gd name="T72" fmla="*/ 67067 w 234"/>
                <a:gd name="T73" fmla="*/ 81684 h 234"/>
                <a:gd name="T74" fmla="*/ 62207 w 234"/>
                <a:gd name="T75" fmla="*/ 76822 h 234"/>
                <a:gd name="T76" fmla="*/ 56376 w 234"/>
                <a:gd name="T77" fmla="*/ 74878 h 234"/>
                <a:gd name="T78" fmla="*/ 49571 w 234"/>
                <a:gd name="T79" fmla="*/ 72933 h 234"/>
                <a:gd name="T80" fmla="*/ 44711 w 234"/>
                <a:gd name="T81" fmla="*/ 69043 h 234"/>
                <a:gd name="T82" fmla="*/ 44711 w 234"/>
                <a:gd name="T83" fmla="*/ 69043 h 234"/>
                <a:gd name="T84" fmla="*/ 42767 w 234"/>
                <a:gd name="T85" fmla="*/ 67098 h 234"/>
                <a:gd name="T86" fmla="*/ 40824 w 234"/>
                <a:gd name="T87" fmla="*/ 64181 h 234"/>
                <a:gd name="T88" fmla="*/ 38880 w 234"/>
                <a:gd name="T89" fmla="*/ 62236 h 234"/>
                <a:gd name="T90" fmla="*/ 34020 w 234"/>
                <a:gd name="T91" fmla="*/ 57374 h 234"/>
                <a:gd name="T92" fmla="*/ 30132 w 234"/>
                <a:gd name="T93" fmla="*/ 53484 h 234"/>
                <a:gd name="T94" fmla="*/ 28187 w 234"/>
                <a:gd name="T95" fmla="*/ 53484 h 234"/>
                <a:gd name="T96" fmla="*/ 26244 w 234"/>
                <a:gd name="T97" fmla="*/ 51540 h 234"/>
                <a:gd name="T98" fmla="*/ 21384 w 234"/>
                <a:gd name="T99" fmla="*/ 47650 h 234"/>
                <a:gd name="T100" fmla="*/ 14580 w 234"/>
                <a:gd name="T101" fmla="*/ 44732 h 234"/>
                <a:gd name="T102" fmla="*/ 14580 w 234"/>
                <a:gd name="T103" fmla="*/ 44732 h 234"/>
                <a:gd name="T104" fmla="*/ 10692 w 234"/>
                <a:gd name="T105" fmla="*/ 40843 h 234"/>
                <a:gd name="T106" fmla="*/ 8748 w 234"/>
                <a:gd name="T107" fmla="*/ 38898 h 234"/>
                <a:gd name="T108" fmla="*/ 1944 w 234"/>
                <a:gd name="T109" fmla="*/ 36953 h 234"/>
                <a:gd name="T110" fmla="*/ 1944 w 234"/>
                <a:gd name="T111" fmla="*/ 34036 h 2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4" h="234">
                  <a:moveTo>
                    <a:pt x="6" y="90"/>
                  </a:moveTo>
                  <a:lnTo>
                    <a:pt x="12" y="90"/>
                  </a:lnTo>
                  <a:lnTo>
                    <a:pt x="12" y="84"/>
                  </a:lnTo>
                  <a:lnTo>
                    <a:pt x="12" y="78"/>
                  </a:lnTo>
                  <a:lnTo>
                    <a:pt x="18" y="78"/>
                  </a:lnTo>
                  <a:lnTo>
                    <a:pt x="18" y="72"/>
                  </a:lnTo>
                  <a:lnTo>
                    <a:pt x="24" y="72"/>
                  </a:lnTo>
                  <a:lnTo>
                    <a:pt x="24" y="66"/>
                  </a:lnTo>
                  <a:lnTo>
                    <a:pt x="30" y="66"/>
                  </a:lnTo>
                  <a:lnTo>
                    <a:pt x="30" y="60"/>
                  </a:lnTo>
                  <a:lnTo>
                    <a:pt x="36" y="60"/>
                  </a:lnTo>
                  <a:lnTo>
                    <a:pt x="42" y="60"/>
                  </a:lnTo>
                  <a:lnTo>
                    <a:pt x="42" y="54"/>
                  </a:lnTo>
                  <a:lnTo>
                    <a:pt x="42" y="48"/>
                  </a:lnTo>
                  <a:lnTo>
                    <a:pt x="48" y="48"/>
                  </a:lnTo>
                  <a:lnTo>
                    <a:pt x="54" y="48"/>
                  </a:lnTo>
                  <a:lnTo>
                    <a:pt x="54" y="36"/>
                  </a:lnTo>
                  <a:lnTo>
                    <a:pt x="54" y="30"/>
                  </a:lnTo>
                  <a:lnTo>
                    <a:pt x="54" y="24"/>
                  </a:lnTo>
                  <a:lnTo>
                    <a:pt x="60" y="24"/>
                  </a:lnTo>
                  <a:lnTo>
                    <a:pt x="66" y="24"/>
                  </a:lnTo>
                  <a:lnTo>
                    <a:pt x="66" y="18"/>
                  </a:lnTo>
                  <a:lnTo>
                    <a:pt x="66" y="12"/>
                  </a:lnTo>
                  <a:lnTo>
                    <a:pt x="72" y="12"/>
                  </a:lnTo>
                  <a:lnTo>
                    <a:pt x="72" y="6"/>
                  </a:lnTo>
                  <a:lnTo>
                    <a:pt x="78" y="6"/>
                  </a:lnTo>
                  <a:lnTo>
                    <a:pt x="84" y="6"/>
                  </a:lnTo>
                  <a:lnTo>
                    <a:pt x="90" y="6"/>
                  </a:lnTo>
                  <a:lnTo>
                    <a:pt x="96" y="6"/>
                  </a:lnTo>
                  <a:lnTo>
                    <a:pt x="96" y="0"/>
                  </a:lnTo>
                  <a:lnTo>
                    <a:pt x="102" y="0"/>
                  </a:lnTo>
                  <a:lnTo>
                    <a:pt x="102" y="6"/>
                  </a:lnTo>
                  <a:lnTo>
                    <a:pt x="108" y="6"/>
                  </a:lnTo>
                  <a:lnTo>
                    <a:pt x="102" y="12"/>
                  </a:lnTo>
                  <a:lnTo>
                    <a:pt x="108" y="12"/>
                  </a:lnTo>
                  <a:lnTo>
                    <a:pt x="108" y="6"/>
                  </a:lnTo>
                  <a:lnTo>
                    <a:pt x="108" y="12"/>
                  </a:lnTo>
                  <a:lnTo>
                    <a:pt x="114" y="12"/>
                  </a:lnTo>
                  <a:lnTo>
                    <a:pt x="114" y="18"/>
                  </a:lnTo>
                  <a:lnTo>
                    <a:pt x="114" y="24"/>
                  </a:lnTo>
                  <a:lnTo>
                    <a:pt x="114" y="30"/>
                  </a:lnTo>
                  <a:lnTo>
                    <a:pt x="120" y="30"/>
                  </a:lnTo>
                  <a:lnTo>
                    <a:pt x="120" y="36"/>
                  </a:lnTo>
                  <a:lnTo>
                    <a:pt x="120" y="42"/>
                  </a:lnTo>
                  <a:lnTo>
                    <a:pt x="120" y="48"/>
                  </a:lnTo>
                  <a:lnTo>
                    <a:pt x="120" y="54"/>
                  </a:lnTo>
                  <a:lnTo>
                    <a:pt x="120" y="60"/>
                  </a:lnTo>
                  <a:lnTo>
                    <a:pt x="120" y="66"/>
                  </a:lnTo>
                  <a:lnTo>
                    <a:pt x="114" y="66"/>
                  </a:lnTo>
                  <a:lnTo>
                    <a:pt x="120" y="66"/>
                  </a:lnTo>
                  <a:lnTo>
                    <a:pt x="126" y="66"/>
                  </a:lnTo>
                  <a:lnTo>
                    <a:pt x="132" y="66"/>
                  </a:lnTo>
                  <a:lnTo>
                    <a:pt x="132" y="72"/>
                  </a:lnTo>
                  <a:lnTo>
                    <a:pt x="138" y="72"/>
                  </a:lnTo>
                  <a:lnTo>
                    <a:pt x="138" y="78"/>
                  </a:lnTo>
                  <a:lnTo>
                    <a:pt x="144" y="78"/>
                  </a:lnTo>
                  <a:lnTo>
                    <a:pt x="144" y="72"/>
                  </a:lnTo>
                  <a:lnTo>
                    <a:pt x="150" y="72"/>
                  </a:lnTo>
                  <a:lnTo>
                    <a:pt x="150" y="66"/>
                  </a:lnTo>
                  <a:lnTo>
                    <a:pt x="156" y="66"/>
                  </a:lnTo>
                  <a:lnTo>
                    <a:pt x="156" y="60"/>
                  </a:lnTo>
                  <a:lnTo>
                    <a:pt x="156" y="54"/>
                  </a:lnTo>
                  <a:lnTo>
                    <a:pt x="162" y="54"/>
                  </a:lnTo>
                  <a:lnTo>
                    <a:pt x="162" y="48"/>
                  </a:lnTo>
                  <a:lnTo>
                    <a:pt x="168" y="48"/>
                  </a:lnTo>
                  <a:lnTo>
                    <a:pt x="168" y="54"/>
                  </a:lnTo>
                  <a:lnTo>
                    <a:pt x="168" y="60"/>
                  </a:lnTo>
                  <a:lnTo>
                    <a:pt x="174" y="60"/>
                  </a:lnTo>
                  <a:lnTo>
                    <a:pt x="174" y="66"/>
                  </a:lnTo>
                  <a:lnTo>
                    <a:pt x="174" y="72"/>
                  </a:lnTo>
                  <a:lnTo>
                    <a:pt x="180" y="72"/>
                  </a:lnTo>
                  <a:lnTo>
                    <a:pt x="174" y="78"/>
                  </a:lnTo>
                  <a:lnTo>
                    <a:pt x="180" y="78"/>
                  </a:lnTo>
                  <a:lnTo>
                    <a:pt x="180" y="84"/>
                  </a:lnTo>
                  <a:lnTo>
                    <a:pt x="180" y="90"/>
                  </a:lnTo>
                  <a:lnTo>
                    <a:pt x="180" y="96"/>
                  </a:lnTo>
                  <a:lnTo>
                    <a:pt x="180" y="102"/>
                  </a:lnTo>
                  <a:lnTo>
                    <a:pt x="174" y="102"/>
                  </a:lnTo>
                  <a:lnTo>
                    <a:pt x="174" y="108"/>
                  </a:lnTo>
                  <a:lnTo>
                    <a:pt x="168" y="108"/>
                  </a:lnTo>
                  <a:lnTo>
                    <a:pt x="168" y="114"/>
                  </a:lnTo>
                  <a:lnTo>
                    <a:pt x="168" y="108"/>
                  </a:lnTo>
                  <a:lnTo>
                    <a:pt x="168" y="114"/>
                  </a:lnTo>
                  <a:lnTo>
                    <a:pt x="162" y="114"/>
                  </a:lnTo>
                  <a:lnTo>
                    <a:pt x="162" y="120"/>
                  </a:lnTo>
                  <a:lnTo>
                    <a:pt x="168" y="114"/>
                  </a:lnTo>
                  <a:lnTo>
                    <a:pt x="168" y="120"/>
                  </a:lnTo>
                  <a:lnTo>
                    <a:pt x="174" y="120"/>
                  </a:lnTo>
                  <a:lnTo>
                    <a:pt x="174" y="126"/>
                  </a:lnTo>
                  <a:lnTo>
                    <a:pt x="180" y="126"/>
                  </a:lnTo>
                  <a:lnTo>
                    <a:pt x="186" y="126"/>
                  </a:lnTo>
                  <a:lnTo>
                    <a:pt x="186" y="132"/>
                  </a:lnTo>
                  <a:lnTo>
                    <a:pt x="192" y="132"/>
                  </a:lnTo>
                  <a:lnTo>
                    <a:pt x="192" y="126"/>
                  </a:lnTo>
                  <a:lnTo>
                    <a:pt x="198" y="126"/>
                  </a:lnTo>
                  <a:lnTo>
                    <a:pt x="198" y="132"/>
                  </a:lnTo>
                  <a:lnTo>
                    <a:pt x="198" y="126"/>
                  </a:lnTo>
                  <a:lnTo>
                    <a:pt x="198" y="132"/>
                  </a:lnTo>
                  <a:lnTo>
                    <a:pt x="204" y="132"/>
                  </a:lnTo>
                  <a:lnTo>
                    <a:pt x="204" y="126"/>
                  </a:lnTo>
                  <a:lnTo>
                    <a:pt x="204" y="132"/>
                  </a:lnTo>
                  <a:lnTo>
                    <a:pt x="210" y="132"/>
                  </a:lnTo>
                  <a:lnTo>
                    <a:pt x="204" y="132"/>
                  </a:lnTo>
                  <a:lnTo>
                    <a:pt x="204" y="138"/>
                  </a:lnTo>
                  <a:lnTo>
                    <a:pt x="210" y="138"/>
                  </a:lnTo>
                  <a:lnTo>
                    <a:pt x="210" y="144"/>
                  </a:lnTo>
                  <a:lnTo>
                    <a:pt x="210" y="150"/>
                  </a:lnTo>
                  <a:lnTo>
                    <a:pt x="216" y="150"/>
                  </a:lnTo>
                  <a:lnTo>
                    <a:pt x="222" y="150"/>
                  </a:lnTo>
                  <a:lnTo>
                    <a:pt x="222" y="156"/>
                  </a:lnTo>
                  <a:lnTo>
                    <a:pt x="222" y="150"/>
                  </a:lnTo>
                  <a:lnTo>
                    <a:pt x="222" y="156"/>
                  </a:lnTo>
                  <a:lnTo>
                    <a:pt x="228" y="156"/>
                  </a:lnTo>
                  <a:lnTo>
                    <a:pt x="228" y="150"/>
                  </a:lnTo>
                  <a:lnTo>
                    <a:pt x="228" y="156"/>
                  </a:lnTo>
                  <a:lnTo>
                    <a:pt x="228" y="162"/>
                  </a:lnTo>
                  <a:lnTo>
                    <a:pt x="228" y="168"/>
                  </a:lnTo>
                  <a:lnTo>
                    <a:pt x="234" y="168"/>
                  </a:lnTo>
                  <a:lnTo>
                    <a:pt x="228" y="168"/>
                  </a:lnTo>
                  <a:lnTo>
                    <a:pt x="234" y="174"/>
                  </a:lnTo>
                  <a:lnTo>
                    <a:pt x="228" y="174"/>
                  </a:lnTo>
                  <a:lnTo>
                    <a:pt x="234" y="174"/>
                  </a:lnTo>
                  <a:lnTo>
                    <a:pt x="228" y="174"/>
                  </a:lnTo>
                  <a:lnTo>
                    <a:pt x="228" y="180"/>
                  </a:lnTo>
                  <a:lnTo>
                    <a:pt x="228" y="174"/>
                  </a:lnTo>
                  <a:lnTo>
                    <a:pt x="228" y="180"/>
                  </a:lnTo>
                  <a:lnTo>
                    <a:pt x="234" y="180"/>
                  </a:lnTo>
                  <a:lnTo>
                    <a:pt x="234" y="186"/>
                  </a:lnTo>
                  <a:lnTo>
                    <a:pt x="228" y="186"/>
                  </a:lnTo>
                  <a:lnTo>
                    <a:pt x="228" y="192"/>
                  </a:lnTo>
                  <a:lnTo>
                    <a:pt x="222" y="198"/>
                  </a:lnTo>
                  <a:lnTo>
                    <a:pt x="222" y="192"/>
                  </a:lnTo>
                  <a:lnTo>
                    <a:pt x="222" y="198"/>
                  </a:lnTo>
                  <a:lnTo>
                    <a:pt x="222" y="204"/>
                  </a:lnTo>
                  <a:lnTo>
                    <a:pt x="222" y="210"/>
                  </a:lnTo>
                  <a:lnTo>
                    <a:pt x="222" y="216"/>
                  </a:lnTo>
                  <a:lnTo>
                    <a:pt x="222" y="222"/>
                  </a:lnTo>
                  <a:lnTo>
                    <a:pt x="222" y="228"/>
                  </a:lnTo>
                  <a:lnTo>
                    <a:pt x="222" y="234"/>
                  </a:lnTo>
                  <a:lnTo>
                    <a:pt x="216" y="234"/>
                  </a:lnTo>
                  <a:lnTo>
                    <a:pt x="210" y="234"/>
                  </a:lnTo>
                  <a:lnTo>
                    <a:pt x="204" y="234"/>
                  </a:lnTo>
                  <a:lnTo>
                    <a:pt x="210" y="234"/>
                  </a:lnTo>
                  <a:lnTo>
                    <a:pt x="204" y="234"/>
                  </a:lnTo>
                  <a:lnTo>
                    <a:pt x="204" y="228"/>
                  </a:lnTo>
                  <a:lnTo>
                    <a:pt x="198" y="228"/>
                  </a:lnTo>
                  <a:lnTo>
                    <a:pt x="192" y="228"/>
                  </a:lnTo>
                  <a:lnTo>
                    <a:pt x="186" y="228"/>
                  </a:lnTo>
                  <a:lnTo>
                    <a:pt x="186" y="222"/>
                  </a:lnTo>
                  <a:lnTo>
                    <a:pt x="180" y="222"/>
                  </a:lnTo>
                  <a:lnTo>
                    <a:pt x="174" y="222"/>
                  </a:lnTo>
                  <a:lnTo>
                    <a:pt x="174" y="216"/>
                  </a:lnTo>
                  <a:lnTo>
                    <a:pt x="168" y="216"/>
                  </a:lnTo>
                  <a:lnTo>
                    <a:pt x="162" y="216"/>
                  </a:lnTo>
                  <a:lnTo>
                    <a:pt x="162" y="210"/>
                  </a:lnTo>
                  <a:lnTo>
                    <a:pt x="156" y="210"/>
                  </a:lnTo>
                  <a:lnTo>
                    <a:pt x="150" y="210"/>
                  </a:lnTo>
                  <a:lnTo>
                    <a:pt x="150" y="204"/>
                  </a:lnTo>
                  <a:lnTo>
                    <a:pt x="144" y="204"/>
                  </a:lnTo>
                  <a:lnTo>
                    <a:pt x="138" y="204"/>
                  </a:lnTo>
                  <a:lnTo>
                    <a:pt x="138" y="198"/>
                  </a:lnTo>
                  <a:lnTo>
                    <a:pt x="132" y="198"/>
                  </a:lnTo>
                  <a:lnTo>
                    <a:pt x="132" y="192"/>
                  </a:lnTo>
                  <a:lnTo>
                    <a:pt x="126" y="192"/>
                  </a:lnTo>
                  <a:lnTo>
                    <a:pt x="120" y="192"/>
                  </a:lnTo>
                  <a:lnTo>
                    <a:pt x="120" y="186"/>
                  </a:lnTo>
                  <a:lnTo>
                    <a:pt x="126" y="186"/>
                  </a:lnTo>
                  <a:lnTo>
                    <a:pt x="126" y="192"/>
                  </a:lnTo>
                  <a:lnTo>
                    <a:pt x="126" y="186"/>
                  </a:lnTo>
                  <a:lnTo>
                    <a:pt x="120" y="186"/>
                  </a:lnTo>
                  <a:lnTo>
                    <a:pt x="126" y="186"/>
                  </a:lnTo>
                  <a:lnTo>
                    <a:pt x="120" y="186"/>
                  </a:lnTo>
                  <a:lnTo>
                    <a:pt x="126" y="186"/>
                  </a:lnTo>
                  <a:lnTo>
                    <a:pt x="120" y="186"/>
                  </a:lnTo>
                  <a:lnTo>
                    <a:pt x="114" y="186"/>
                  </a:lnTo>
                  <a:lnTo>
                    <a:pt x="114" y="180"/>
                  </a:lnTo>
                  <a:lnTo>
                    <a:pt x="108" y="180"/>
                  </a:lnTo>
                  <a:lnTo>
                    <a:pt x="108" y="174"/>
                  </a:lnTo>
                  <a:lnTo>
                    <a:pt x="114" y="174"/>
                  </a:lnTo>
                  <a:lnTo>
                    <a:pt x="108" y="174"/>
                  </a:lnTo>
                  <a:lnTo>
                    <a:pt x="102" y="174"/>
                  </a:lnTo>
                  <a:lnTo>
                    <a:pt x="102" y="168"/>
                  </a:lnTo>
                  <a:lnTo>
                    <a:pt x="96" y="168"/>
                  </a:lnTo>
                  <a:lnTo>
                    <a:pt x="96" y="162"/>
                  </a:lnTo>
                  <a:lnTo>
                    <a:pt x="90" y="162"/>
                  </a:lnTo>
                  <a:lnTo>
                    <a:pt x="90" y="156"/>
                  </a:lnTo>
                  <a:lnTo>
                    <a:pt x="84" y="156"/>
                  </a:lnTo>
                  <a:lnTo>
                    <a:pt x="84" y="150"/>
                  </a:lnTo>
                  <a:lnTo>
                    <a:pt x="78" y="144"/>
                  </a:lnTo>
                  <a:lnTo>
                    <a:pt x="84" y="144"/>
                  </a:lnTo>
                  <a:lnTo>
                    <a:pt x="78" y="144"/>
                  </a:lnTo>
                  <a:lnTo>
                    <a:pt x="78" y="150"/>
                  </a:lnTo>
                  <a:lnTo>
                    <a:pt x="84" y="150"/>
                  </a:lnTo>
                  <a:lnTo>
                    <a:pt x="78" y="150"/>
                  </a:lnTo>
                  <a:lnTo>
                    <a:pt x="78" y="144"/>
                  </a:lnTo>
                  <a:lnTo>
                    <a:pt x="72" y="144"/>
                  </a:lnTo>
                  <a:lnTo>
                    <a:pt x="72" y="138"/>
                  </a:lnTo>
                  <a:lnTo>
                    <a:pt x="66" y="138"/>
                  </a:lnTo>
                  <a:lnTo>
                    <a:pt x="60" y="138"/>
                  </a:lnTo>
                  <a:lnTo>
                    <a:pt x="60" y="132"/>
                  </a:lnTo>
                  <a:lnTo>
                    <a:pt x="54" y="132"/>
                  </a:lnTo>
                  <a:lnTo>
                    <a:pt x="48" y="132"/>
                  </a:lnTo>
                  <a:lnTo>
                    <a:pt x="42" y="132"/>
                  </a:lnTo>
                  <a:lnTo>
                    <a:pt x="42" y="126"/>
                  </a:lnTo>
                  <a:lnTo>
                    <a:pt x="42" y="120"/>
                  </a:lnTo>
                  <a:lnTo>
                    <a:pt x="48" y="120"/>
                  </a:lnTo>
                  <a:lnTo>
                    <a:pt x="42" y="120"/>
                  </a:lnTo>
                  <a:lnTo>
                    <a:pt x="42" y="126"/>
                  </a:lnTo>
                  <a:lnTo>
                    <a:pt x="42" y="120"/>
                  </a:lnTo>
                  <a:lnTo>
                    <a:pt x="36" y="120"/>
                  </a:lnTo>
                  <a:lnTo>
                    <a:pt x="36" y="114"/>
                  </a:lnTo>
                  <a:lnTo>
                    <a:pt x="30" y="114"/>
                  </a:lnTo>
                  <a:lnTo>
                    <a:pt x="24" y="114"/>
                  </a:lnTo>
                  <a:lnTo>
                    <a:pt x="24" y="108"/>
                  </a:lnTo>
                  <a:lnTo>
                    <a:pt x="24" y="114"/>
                  </a:lnTo>
                  <a:lnTo>
                    <a:pt x="24" y="108"/>
                  </a:lnTo>
                  <a:lnTo>
                    <a:pt x="18" y="108"/>
                  </a:lnTo>
                  <a:lnTo>
                    <a:pt x="12" y="108"/>
                  </a:lnTo>
                  <a:lnTo>
                    <a:pt x="12" y="102"/>
                  </a:lnTo>
                  <a:lnTo>
                    <a:pt x="6" y="102"/>
                  </a:lnTo>
                  <a:lnTo>
                    <a:pt x="12" y="102"/>
                  </a:lnTo>
                  <a:lnTo>
                    <a:pt x="6" y="96"/>
                  </a:lnTo>
                  <a:lnTo>
                    <a:pt x="12" y="102"/>
                  </a:lnTo>
                  <a:lnTo>
                    <a:pt x="6" y="96"/>
                  </a:lnTo>
                  <a:lnTo>
                    <a:pt x="0" y="90"/>
                  </a:lnTo>
                  <a:lnTo>
                    <a:pt x="6" y="9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4" name="Freeform 17"/>
            <p:cNvSpPr>
              <a:spLocks noEditPoints="1"/>
            </p:cNvSpPr>
            <p:nvPr>
              <p:custDataLst>
                <p:tags r:id="rId70"/>
              </p:custDataLst>
            </p:nvPr>
          </p:nvSpPr>
          <p:spPr bwMode="gray">
            <a:xfrm>
              <a:off x="2144713" y="2714626"/>
              <a:ext cx="514350" cy="385763"/>
            </a:xfrm>
            <a:custGeom>
              <a:avLst/>
              <a:gdLst>
                <a:gd name="T0" fmla="*/ 36928 w 414"/>
                <a:gd name="T1" fmla="*/ 72506 h 312"/>
                <a:gd name="T2" fmla="*/ 34013 w 414"/>
                <a:gd name="T3" fmla="*/ 67672 h 312"/>
                <a:gd name="T4" fmla="*/ 27210 w 414"/>
                <a:gd name="T5" fmla="*/ 63805 h 312"/>
                <a:gd name="T6" fmla="*/ 27210 w 414"/>
                <a:gd name="T7" fmla="*/ 59938 h 312"/>
                <a:gd name="T8" fmla="*/ 23323 w 414"/>
                <a:gd name="T9" fmla="*/ 57038 h 312"/>
                <a:gd name="T10" fmla="*/ 19436 w 414"/>
                <a:gd name="T11" fmla="*/ 53171 h 312"/>
                <a:gd name="T12" fmla="*/ 12633 w 414"/>
                <a:gd name="T13" fmla="*/ 49304 h 312"/>
                <a:gd name="T14" fmla="*/ 8746 w 414"/>
                <a:gd name="T15" fmla="*/ 40604 h 312"/>
                <a:gd name="T16" fmla="*/ 8746 w 414"/>
                <a:gd name="T17" fmla="*/ 40604 h 312"/>
                <a:gd name="T18" fmla="*/ 6802 w 414"/>
                <a:gd name="T19" fmla="*/ 36737 h 312"/>
                <a:gd name="T20" fmla="*/ 6802 w 414"/>
                <a:gd name="T21" fmla="*/ 26102 h 312"/>
                <a:gd name="T22" fmla="*/ 17492 w 414"/>
                <a:gd name="T23" fmla="*/ 21269 h 312"/>
                <a:gd name="T24" fmla="*/ 26239 w 414"/>
                <a:gd name="T25" fmla="*/ 21269 h 312"/>
                <a:gd name="T26" fmla="*/ 26239 w 414"/>
                <a:gd name="T27" fmla="*/ 12567 h 312"/>
                <a:gd name="T28" fmla="*/ 27210 w 414"/>
                <a:gd name="T29" fmla="*/ 6767 h 312"/>
                <a:gd name="T30" fmla="*/ 34013 w 414"/>
                <a:gd name="T31" fmla="*/ 0 h 312"/>
                <a:gd name="T32" fmla="*/ 47618 w 414"/>
                <a:gd name="T33" fmla="*/ 3867 h 312"/>
                <a:gd name="T34" fmla="*/ 60251 w 414"/>
                <a:gd name="T35" fmla="*/ 6767 h 312"/>
                <a:gd name="T36" fmla="*/ 72884 w 414"/>
                <a:gd name="T37" fmla="*/ 6767 h 312"/>
                <a:gd name="T38" fmla="*/ 76772 w 414"/>
                <a:gd name="T39" fmla="*/ 14501 h 312"/>
                <a:gd name="T40" fmla="*/ 86489 w 414"/>
                <a:gd name="T41" fmla="*/ 14501 h 312"/>
                <a:gd name="T42" fmla="*/ 92320 w 414"/>
                <a:gd name="T43" fmla="*/ 12567 h 312"/>
                <a:gd name="T44" fmla="*/ 101066 w 414"/>
                <a:gd name="T45" fmla="*/ 12567 h 312"/>
                <a:gd name="T46" fmla="*/ 111756 w 414"/>
                <a:gd name="T47" fmla="*/ 8700 h 312"/>
                <a:gd name="T48" fmla="*/ 115643 w 414"/>
                <a:gd name="T49" fmla="*/ 3867 h 312"/>
                <a:gd name="T50" fmla="*/ 122445 w 414"/>
                <a:gd name="T51" fmla="*/ 12567 h 312"/>
                <a:gd name="T52" fmla="*/ 126333 w 414"/>
                <a:gd name="T53" fmla="*/ 21269 h 312"/>
                <a:gd name="T54" fmla="*/ 133135 w 414"/>
                <a:gd name="T55" fmla="*/ 27069 h 312"/>
                <a:gd name="T56" fmla="*/ 128276 w 414"/>
                <a:gd name="T57" fmla="*/ 36737 h 312"/>
                <a:gd name="T58" fmla="*/ 135078 w 414"/>
                <a:gd name="T59" fmla="*/ 42537 h 312"/>
                <a:gd name="T60" fmla="*/ 141881 w 414"/>
                <a:gd name="T61" fmla="*/ 53171 h 312"/>
                <a:gd name="T62" fmla="*/ 138965 w 414"/>
                <a:gd name="T63" fmla="*/ 56071 h 312"/>
                <a:gd name="T64" fmla="*/ 138965 w 414"/>
                <a:gd name="T65" fmla="*/ 63805 h 312"/>
                <a:gd name="T66" fmla="*/ 143825 w 414"/>
                <a:gd name="T67" fmla="*/ 72506 h 312"/>
                <a:gd name="T68" fmla="*/ 143825 w 414"/>
                <a:gd name="T69" fmla="*/ 78307 h 312"/>
                <a:gd name="T70" fmla="*/ 143825 w 414"/>
                <a:gd name="T71" fmla="*/ 85073 h 312"/>
                <a:gd name="T72" fmla="*/ 137022 w 414"/>
                <a:gd name="T73" fmla="*/ 87007 h 312"/>
                <a:gd name="T74" fmla="*/ 138965 w 414"/>
                <a:gd name="T75" fmla="*/ 97642 h 312"/>
                <a:gd name="T76" fmla="*/ 131191 w 414"/>
                <a:gd name="T77" fmla="*/ 101509 h 312"/>
                <a:gd name="T78" fmla="*/ 124389 w 414"/>
                <a:gd name="T79" fmla="*/ 108275 h 312"/>
                <a:gd name="T80" fmla="*/ 113699 w 414"/>
                <a:gd name="T81" fmla="*/ 106342 h 312"/>
                <a:gd name="T82" fmla="*/ 113699 w 414"/>
                <a:gd name="T83" fmla="*/ 93775 h 312"/>
                <a:gd name="T84" fmla="*/ 106897 w 414"/>
                <a:gd name="T85" fmla="*/ 87007 h 312"/>
                <a:gd name="T86" fmla="*/ 98151 w 414"/>
                <a:gd name="T87" fmla="*/ 85073 h 312"/>
                <a:gd name="T88" fmla="*/ 87461 w 414"/>
                <a:gd name="T89" fmla="*/ 87007 h 312"/>
                <a:gd name="T90" fmla="*/ 92320 w 414"/>
                <a:gd name="T91" fmla="*/ 81206 h 312"/>
                <a:gd name="T92" fmla="*/ 87461 w 414"/>
                <a:gd name="T93" fmla="*/ 72506 h 312"/>
                <a:gd name="T94" fmla="*/ 86489 w 414"/>
                <a:gd name="T95" fmla="*/ 63805 h 312"/>
                <a:gd name="T96" fmla="*/ 74828 w 414"/>
                <a:gd name="T97" fmla="*/ 56071 h 312"/>
                <a:gd name="T98" fmla="*/ 57335 w 414"/>
                <a:gd name="T99" fmla="*/ 57038 h 312"/>
                <a:gd name="T100" fmla="*/ 49561 w 414"/>
                <a:gd name="T101" fmla="*/ 61872 h 312"/>
                <a:gd name="T102" fmla="*/ 42759 w 414"/>
                <a:gd name="T103" fmla="*/ 70572 h 312"/>
                <a:gd name="T104" fmla="*/ 0 w 414"/>
                <a:gd name="T105" fmla="*/ 33836 h 312"/>
                <a:gd name="T106" fmla="*/ 1943 w 414"/>
                <a:gd name="T107" fmla="*/ 36737 h 312"/>
                <a:gd name="T108" fmla="*/ 26239 w 414"/>
                <a:gd name="T109" fmla="*/ 65739 h 312"/>
                <a:gd name="T110" fmla="*/ 26239 w 414"/>
                <a:gd name="T111" fmla="*/ 63805 h 312"/>
                <a:gd name="T112" fmla="*/ 3887 w 414"/>
                <a:gd name="T113" fmla="*/ 36737 h 312"/>
                <a:gd name="T114" fmla="*/ 27210 w 414"/>
                <a:gd name="T115" fmla="*/ 56071 h 312"/>
                <a:gd name="T116" fmla="*/ 34013 w 414"/>
                <a:gd name="T117" fmla="*/ 72506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4" h="312">
                  <a:moveTo>
                    <a:pt x="102" y="210"/>
                  </a:moveTo>
                  <a:lnTo>
                    <a:pt x="96" y="210"/>
                  </a:lnTo>
                  <a:lnTo>
                    <a:pt x="96" y="204"/>
                  </a:lnTo>
                  <a:lnTo>
                    <a:pt x="102" y="204"/>
                  </a:lnTo>
                  <a:lnTo>
                    <a:pt x="102" y="198"/>
                  </a:lnTo>
                  <a:lnTo>
                    <a:pt x="102" y="204"/>
                  </a:lnTo>
                  <a:lnTo>
                    <a:pt x="102" y="198"/>
                  </a:lnTo>
                  <a:lnTo>
                    <a:pt x="102" y="204"/>
                  </a:lnTo>
                  <a:lnTo>
                    <a:pt x="96" y="198"/>
                  </a:lnTo>
                  <a:lnTo>
                    <a:pt x="102" y="198"/>
                  </a:lnTo>
                  <a:lnTo>
                    <a:pt x="96" y="198"/>
                  </a:lnTo>
                  <a:lnTo>
                    <a:pt x="102" y="198"/>
                  </a:lnTo>
                  <a:lnTo>
                    <a:pt x="96" y="198"/>
                  </a:lnTo>
                  <a:lnTo>
                    <a:pt x="96" y="192"/>
                  </a:lnTo>
                  <a:lnTo>
                    <a:pt x="96" y="198"/>
                  </a:lnTo>
                  <a:lnTo>
                    <a:pt x="96" y="192"/>
                  </a:lnTo>
                  <a:lnTo>
                    <a:pt x="96" y="198"/>
                  </a:lnTo>
                  <a:lnTo>
                    <a:pt x="96" y="192"/>
                  </a:lnTo>
                  <a:lnTo>
                    <a:pt x="90" y="192"/>
                  </a:lnTo>
                  <a:lnTo>
                    <a:pt x="96" y="186"/>
                  </a:lnTo>
                  <a:lnTo>
                    <a:pt x="90" y="186"/>
                  </a:lnTo>
                  <a:lnTo>
                    <a:pt x="90" y="180"/>
                  </a:lnTo>
                  <a:lnTo>
                    <a:pt x="84" y="180"/>
                  </a:lnTo>
                  <a:lnTo>
                    <a:pt x="78" y="180"/>
                  </a:lnTo>
                  <a:lnTo>
                    <a:pt x="78" y="174"/>
                  </a:lnTo>
                  <a:lnTo>
                    <a:pt x="84" y="174"/>
                  </a:lnTo>
                  <a:lnTo>
                    <a:pt x="84" y="168"/>
                  </a:lnTo>
                  <a:lnTo>
                    <a:pt x="84" y="162"/>
                  </a:lnTo>
                  <a:lnTo>
                    <a:pt x="78" y="162"/>
                  </a:lnTo>
                  <a:lnTo>
                    <a:pt x="78" y="168"/>
                  </a:lnTo>
                  <a:lnTo>
                    <a:pt x="84" y="168"/>
                  </a:lnTo>
                  <a:lnTo>
                    <a:pt x="78" y="168"/>
                  </a:lnTo>
                  <a:lnTo>
                    <a:pt x="72" y="168"/>
                  </a:lnTo>
                  <a:lnTo>
                    <a:pt x="78" y="162"/>
                  </a:lnTo>
                  <a:lnTo>
                    <a:pt x="72" y="162"/>
                  </a:lnTo>
                  <a:lnTo>
                    <a:pt x="78" y="162"/>
                  </a:lnTo>
                  <a:lnTo>
                    <a:pt x="78" y="156"/>
                  </a:lnTo>
                  <a:lnTo>
                    <a:pt x="78" y="162"/>
                  </a:lnTo>
                  <a:lnTo>
                    <a:pt x="72" y="162"/>
                  </a:lnTo>
                  <a:lnTo>
                    <a:pt x="66" y="162"/>
                  </a:lnTo>
                  <a:lnTo>
                    <a:pt x="66" y="156"/>
                  </a:lnTo>
                  <a:lnTo>
                    <a:pt x="60" y="156"/>
                  </a:lnTo>
                  <a:lnTo>
                    <a:pt x="60" y="150"/>
                  </a:lnTo>
                  <a:lnTo>
                    <a:pt x="60" y="144"/>
                  </a:lnTo>
                  <a:lnTo>
                    <a:pt x="54" y="144"/>
                  </a:lnTo>
                  <a:lnTo>
                    <a:pt x="54" y="150"/>
                  </a:lnTo>
                  <a:lnTo>
                    <a:pt x="48" y="150"/>
                  </a:lnTo>
                  <a:lnTo>
                    <a:pt x="54" y="150"/>
                  </a:lnTo>
                  <a:lnTo>
                    <a:pt x="48" y="144"/>
                  </a:lnTo>
                  <a:lnTo>
                    <a:pt x="48" y="150"/>
                  </a:lnTo>
                  <a:lnTo>
                    <a:pt x="48" y="144"/>
                  </a:lnTo>
                  <a:lnTo>
                    <a:pt x="42" y="144"/>
                  </a:lnTo>
                  <a:lnTo>
                    <a:pt x="42" y="138"/>
                  </a:lnTo>
                  <a:lnTo>
                    <a:pt x="36" y="138"/>
                  </a:lnTo>
                  <a:lnTo>
                    <a:pt x="36" y="144"/>
                  </a:lnTo>
                  <a:lnTo>
                    <a:pt x="36" y="138"/>
                  </a:lnTo>
                  <a:lnTo>
                    <a:pt x="36" y="132"/>
                  </a:lnTo>
                  <a:lnTo>
                    <a:pt x="30" y="132"/>
                  </a:lnTo>
                  <a:lnTo>
                    <a:pt x="30" y="126"/>
                  </a:lnTo>
                  <a:lnTo>
                    <a:pt x="24" y="126"/>
                  </a:lnTo>
                  <a:lnTo>
                    <a:pt x="24" y="120"/>
                  </a:lnTo>
                  <a:lnTo>
                    <a:pt x="30" y="120"/>
                  </a:lnTo>
                  <a:lnTo>
                    <a:pt x="24" y="120"/>
                  </a:lnTo>
                  <a:lnTo>
                    <a:pt x="24" y="114"/>
                  </a:lnTo>
                  <a:lnTo>
                    <a:pt x="30" y="114"/>
                  </a:lnTo>
                  <a:lnTo>
                    <a:pt x="30" y="108"/>
                  </a:lnTo>
                  <a:lnTo>
                    <a:pt x="30" y="114"/>
                  </a:lnTo>
                  <a:lnTo>
                    <a:pt x="24" y="114"/>
                  </a:lnTo>
                  <a:lnTo>
                    <a:pt x="24" y="120"/>
                  </a:lnTo>
                  <a:lnTo>
                    <a:pt x="24" y="114"/>
                  </a:lnTo>
                  <a:lnTo>
                    <a:pt x="18" y="114"/>
                  </a:lnTo>
                  <a:lnTo>
                    <a:pt x="24" y="114"/>
                  </a:lnTo>
                  <a:lnTo>
                    <a:pt x="24" y="108"/>
                  </a:lnTo>
                  <a:lnTo>
                    <a:pt x="18" y="114"/>
                  </a:lnTo>
                  <a:lnTo>
                    <a:pt x="18" y="108"/>
                  </a:lnTo>
                  <a:lnTo>
                    <a:pt x="18" y="102"/>
                  </a:lnTo>
                  <a:lnTo>
                    <a:pt x="18" y="96"/>
                  </a:lnTo>
                  <a:lnTo>
                    <a:pt x="24" y="96"/>
                  </a:lnTo>
                  <a:lnTo>
                    <a:pt x="18" y="96"/>
                  </a:lnTo>
                  <a:lnTo>
                    <a:pt x="18" y="102"/>
                  </a:lnTo>
                  <a:lnTo>
                    <a:pt x="18" y="96"/>
                  </a:lnTo>
                  <a:lnTo>
                    <a:pt x="12" y="96"/>
                  </a:lnTo>
                  <a:lnTo>
                    <a:pt x="12" y="102"/>
                  </a:lnTo>
                  <a:lnTo>
                    <a:pt x="12" y="96"/>
                  </a:lnTo>
                  <a:lnTo>
                    <a:pt x="12" y="90"/>
                  </a:lnTo>
                  <a:lnTo>
                    <a:pt x="18" y="84"/>
                  </a:lnTo>
                  <a:lnTo>
                    <a:pt x="18" y="78"/>
                  </a:lnTo>
                  <a:lnTo>
                    <a:pt x="18" y="72"/>
                  </a:lnTo>
                  <a:lnTo>
                    <a:pt x="24" y="72"/>
                  </a:lnTo>
                  <a:lnTo>
                    <a:pt x="24" y="66"/>
                  </a:lnTo>
                  <a:lnTo>
                    <a:pt x="30" y="66"/>
                  </a:lnTo>
                  <a:lnTo>
                    <a:pt x="30" y="72"/>
                  </a:lnTo>
                  <a:lnTo>
                    <a:pt x="36" y="66"/>
                  </a:lnTo>
                  <a:lnTo>
                    <a:pt x="42" y="66"/>
                  </a:lnTo>
                  <a:lnTo>
                    <a:pt x="42" y="60"/>
                  </a:lnTo>
                  <a:lnTo>
                    <a:pt x="48" y="60"/>
                  </a:lnTo>
                  <a:lnTo>
                    <a:pt x="54" y="60"/>
                  </a:lnTo>
                  <a:lnTo>
                    <a:pt x="60" y="60"/>
                  </a:lnTo>
                  <a:lnTo>
                    <a:pt x="66" y="60"/>
                  </a:lnTo>
                  <a:lnTo>
                    <a:pt x="66" y="54"/>
                  </a:lnTo>
                  <a:lnTo>
                    <a:pt x="72" y="54"/>
                  </a:lnTo>
                  <a:lnTo>
                    <a:pt x="66" y="54"/>
                  </a:lnTo>
                  <a:lnTo>
                    <a:pt x="72" y="54"/>
                  </a:lnTo>
                  <a:lnTo>
                    <a:pt x="72" y="60"/>
                  </a:lnTo>
                  <a:lnTo>
                    <a:pt x="72" y="54"/>
                  </a:lnTo>
                  <a:lnTo>
                    <a:pt x="72" y="60"/>
                  </a:lnTo>
                  <a:lnTo>
                    <a:pt x="78" y="60"/>
                  </a:lnTo>
                  <a:lnTo>
                    <a:pt x="78" y="54"/>
                  </a:lnTo>
                  <a:lnTo>
                    <a:pt x="78" y="48"/>
                  </a:lnTo>
                  <a:lnTo>
                    <a:pt x="78" y="42"/>
                  </a:lnTo>
                  <a:lnTo>
                    <a:pt x="72" y="42"/>
                  </a:lnTo>
                  <a:lnTo>
                    <a:pt x="72" y="36"/>
                  </a:lnTo>
                  <a:lnTo>
                    <a:pt x="66" y="36"/>
                  </a:lnTo>
                  <a:lnTo>
                    <a:pt x="66" y="30"/>
                  </a:lnTo>
                  <a:lnTo>
                    <a:pt x="66" y="24"/>
                  </a:lnTo>
                  <a:lnTo>
                    <a:pt x="72" y="24"/>
                  </a:lnTo>
                  <a:lnTo>
                    <a:pt x="66" y="24"/>
                  </a:lnTo>
                  <a:lnTo>
                    <a:pt x="72" y="24"/>
                  </a:lnTo>
                  <a:lnTo>
                    <a:pt x="78" y="24"/>
                  </a:lnTo>
                  <a:lnTo>
                    <a:pt x="78" y="18"/>
                  </a:lnTo>
                  <a:lnTo>
                    <a:pt x="84" y="18"/>
                  </a:lnTo>
                  <a:lnTo>
                    <a:pt x="84" y="12"/>
                  </a:lnTo>
                  <a:lnTo>
                    <a:pt x="78" y="12"/>
                  </a:lnTo>
                  <a:lnTo>
                    <a:pt x="78" y="6"/>
                  </a:lnTo>
                  <a:lnTo>
                    <a:pt x="78" y="0"/>
                  </a:lnTo>
                  <a:lnTo>
                    <a:pt x="84" y="0"/>
                  </a:lnTo>
                  <a:lnTo>
                    <a:pt x="90" y="0"/>
                  </a:lnTo>
                  <a:lnTo>
                    <a:pt x="96" y="0"/>
                  </a:lnTo>
                  <a:lnTo>
                    <a:pt x="96" y="6"/>
                  </a:lnTo>
                  <a:lnTo>
                    <a:pt x="102" y="6"/>
                  </a:lnTo>
                  <a:lnTo>
                    <a:pt x="108" y="6"/>
                  </a:lnTo>
                  <a:lnTo>
                    <a:pt x="114" y="6"/>
                  </a:lnTo>
                  <a:lnTo>
                    <a:pt x="114" y="12"/>
                  </a:lnTo>
                  <a:lnTo>
                    <a:pt x="120" y="12"/>
                  </a:lnTo>
                  <a:lnTo>
                    <a:pt x="126" y="12"/>
                  </a:lnTo>
                  <a:lnTo>
                    <a:pt x="132" y="12"/>
                  </a:lnTo>
                  <a:lnTo>
                    <a:pt x="132" y="18"/>
                  </a:lnTo>
                  <a:lnTo>
                    <a:pt x="138" y="18"/>
                  </a:lnTo>
                  <a:lnTo>
                    <a:pt x="144" y="18"/>
                  </a:lnTo>
                  <a:lnTo>
                    <a:pt x="150" y="18"/>
                  </a:lnTo>
                  <a:lnTo>
                    <a:pt x="150" y="24"/>
                  </a:lnTo>
                  <a:lnTo>
                    <a:pt x="156" y="24"/>
                  </a:lnTo>
                  <a:lnTo>
                    <a:pt x="162" y="18"/>
                  </a:lnTo>
                  <a:lnTo>
                    <a:pt x="168" y="18"/>
                  </a:lnTo>
                  <a:lnTo>
                    <a:pt x="174" y="18"/>
                  </a:lnTo>
                  <a:lnTo>
                    <a:pt x="180" y="18"/>
                  </a:lnTo>
                  <a:lnTo>
                    <a:pt x="186" y="18"/>
                  </a:lnTo>
                  <a:lnTo>
                    <a:pt x="192" y="18"/>
                  </a:lnTo>
                  <a:lnTo>
                    <a:pt x="198" y="18"/>
                  </a:lnTo>
                  <a:lnTo>
                    <a:pt x="204" y="18"/>
                  </a:lnTo>
                  <a:lnTo>
                    <a:pt x="210" y="18"/>
                  </a:lnTo>
                  <a:lnTo>
                    <a:pt x="204" y="18"/>
                  </a:lnTo>
                  <a:lnTo>
                    <a:pt x="204" y="24"/>
                  </a:lnTo>
                  <a:lnTo>
                    <a:pt x="204" y="30"/>
                  </a:lnTo>
                  <a:lnTo>
                    <a:pt x="198" y="30"/>
                  </a:lnTo>
                  <a:lnTo>
                    <a:pt x="204" y="30"/>
                  </a:lnTo>
                  <a:lnTo>
                    <a:pt x="204" y="36"/>
                  </a:lnTo>
                  <a:lnTo>
                    <a:pt x="210" y="36"/>
                  </a:lnTo>
                  <a:lnTo>
                    <a:pt x="210" y="42"/>
                  </a:lnTo>
                  <a:lnTo>
                    <a:pt x="216" y="42"/>
                  </a:lnTo>
                  <a:lnTo>
                    <a:pt x="216" y="36"/>
                  </a:lnTo>
                  <a:lnTo>
                    <a:pt x="222" y="36"/>
                  </a:lnTo>
                  <a:lnTo>
                    <a:pt x="222" y="30"/>
                  </a:lnTo>
                  <a:lnTo>
                    <a:pt x="228" y="30"/>
                  </a:lnTo>
                  <a:lnTo>
                    <a:pt x="234" y="30"/>
                  </a:lnTo>
                  <a:lnTo>
                    <a:pt x="234" y="36"/>
                  </a:lnTo>
                  <a:lnTo>
                    <a:pt x="240" y="36"/>
                  </a:lnTo>
                  <a:lnTo>
                    <a:pt x="240" y="42"/>
                  </a:lnTo>
                  <a:lnTo>
                    <a:pt x="240" y="48"/>
                  </a:lnTo>
                  <a:lnTo>
                    <a:pt x="246" y="48"/>
                  </a:lnTo>
                  <a:lnTo>
                    <a:pt x="246" y="42"/>
                  </a:lnTo>
                  <a:lnTo>
                    <a:pt x="252" y="42"/>
                  </a:lnTo>
                  <a:lnTo>
                    <a:pt x="252" y="36"/>
                  </a:lnTo>
                  <a:lnTo>
                    <a:pt x="252" y="42"/>
                  </a:lnTo>
                  <a:lnTo>
                    <a:pt x="252" y="36"/>
                  </a:lnTo>
                  <a:lnTo>
                    <a:pt x="258" y="36"/>
                  </a:lnTo>
                  <a:lnTo>
                    <a:pt x="252" y="36"/>
                  </a:lnTo>
                  <a:lnTo>
                    <a:pt x="258" y="36"/>
                  </a:lnTo>
                  <a:lnTo>
                    <a:pt x="258" y="30"/>
                  </a:lnTo>
                  <a:lnTo>
                    <a:pt x="264" y="30"/>
                  </a:lnTo>
                  <a:lnTo>
                    <a:pt x="270" y="30"/>
                  </a:lnTo>
                  <a:lnTo>
                    <a:pt x="276" y="30"/>
                  </a:lnTo>
                  <a:lnTo>
                    <a:pt x="282" y="30"/>
                  </a:lnTo>
                  <a:lnTo>
                    <a:pt x="282" y="36"/>
                  </a:lnTo>
                  <a:lnTo>
                    <a:pt x="288" y="36"/>
                  </a:lnTo>
                  <a:lnTo>
                    <a:pt x="294" y="36"/>
                  </a:lnTo>
                  <a:lnTo>
                    <a:pt x="300" y="42"/>
                  </a:lnTo>
                  <a:lnTo>
                    <a:pt x="300" y="36"/>
                  </a:lnTo>
                  <a:lnTo>
                    <a:pt x="300" y="30"/>
                  </a:lnTo>
                  <a:lnTo>
                    <a:pt x="306" y="30"/>
                  </a:lnTo>
                  <a:lnTo>
                    <a:pt x="312" y="30"/>
                  </a:lnTo>
                  <a:lnTo>
                    <a:pt x="312" y="24"/>
                  </a:lnTo>
                  <a:lnTo>
                    <a:pt x="318" y="24"/>
                  </a:lnTo>
                  <a:lnTo>
                    <a:pt x="324" y="24"/>
                  </a:lnTo>
                  <a:lnTo>
                    <a:pt x="324" y="18"/>
                  </a:lnTo>
                  <a:lnTo>
                    <a:pt x="318" y="18"/>
                  </a:lnTo>
                  <a:lnTo>
                    <a:pt x="318" y="12"/>
                  </a:lnTo>
                  <a:lnTo>
                    <a:pt x="318" y="18"/>
                  </a:lnTo>
                  <a:lnTo>
                    <a:pt x="318" y="12"/>
                  </a:lnTo>
                  <a:lnTo>
                    <a:pt x="324" y="12"/>
                  </a:lnTo>
                  <a:lnTo>
                    <a:pt x="330" y="12"/>
                  </a:lnTo>
                  <a:lnTo>
                    <a:pt x="336" y="12"/>
                  </a:lnTo>
                  <a:lnTo>
                    <a:pt x="336" y="18"/>
                  </a:lnTo>
                  <a:lnTo>
                    <a:pt x="342" y="18"/>
                  </a:lnTo>
                  <a:lnTo>
                    <a:pt x="342" y="24"/>
                  </a:lnTo>
                  <a:lnTo>
                    <a:pt x="342" y="30"/>
                  </a:lnTo>
                  <a:lnTo>
                    <a:pt x="348" y="30"/>
                  </a:lnTo>
                  <a:lnTo>
                    <a:pt x="342" y="36"/>
                  </a:lnTo>
                  <a:lnTo>
                    <a:pt x="348" y="36"/>
                  </a:lnTo>
                  <a:lnTo>
                    <a:pt x="348" y="42"/>
                  </a:lnTo>
                  <a:lnTo>
                    <a:pt x="348" y="36"/>
                  </a:lnTo>
                  <a:lnTo>
                    <a:pt x="348" y="42"/>
                  </a:lnTo>
                  <a:lnTo>
                    <a:pt x="348" y="48"/>
                  </a:lnTo>
                  <a:lnTo>
                    <a:pt x="348" y="54"/>
                  </a:lnTo>
                  <a:lnTo>
                    <a:pt x="348" y="60"/>
                  </a:lnTo>
                  <a:lnTo>
                    <a:pt x="354" y="60"/>
                  </a:lnTo>
                  <a:lnTo>
                    <a:pt x="360" y="60"/>
                  </a:lnTo>
                  <a:lnTo>
                    <a:pt x="354" y="60"/>
                  </a:lnTo>
                  <a:lnTo>
                    <a:pt x="354" y="66"/>
                  </a:lnTo>
                  <a:lnTo>
                    <a:pt x="360" y="66"/>
                  </a:lnTo>
                  <a:lnTo>
                    <a:pt x="360" y="72"/>
                  </a:lnTo>
                  <a:lnTo>
                    <a:pt x="366" y="72"/>
                  </a:lnTo>
                  <a:lnTo>
                    <a:pt x="366" y="78"/>
                  </a:lnTo>
                  <a:lnTo>
                    <a:pt x="372" y="78"/>
                  </a:lnTo>
                  <a:lnTo>
                    <a:pt x="372" y="84"/>
                  </a:lnTo>
                  <a:lnTo>
                    <a:pt x="372" y="78"/>
                  </a:lnTo>
                  <a:lnTo>
                    <a:pt x="366" y="78"/>
                  </a:lnTo>
                  <a:lnTo>
                    <a:pt x="366" y="84"/>
                  </a:lnTo>
                  <a:lnTo>
                    <a:pt x="366" y="90"/>
                  </a:lnTo>
                  <a:lnTo>
                    <a:pt x="360" y="90"/>
                  </a:lnTo>
                  <a:lnTo>
                    <a:pt x="360" y="96"/>
                  </a:lnTo>
                  <a:lnTo>
                    <a:pt x="360" y="102"/>
                  </a:lnTo>
                  <a:lnTo>
                    <a:pt x="366" y="102"/>
                  </a:lnTo>
                  <a:lnTo>
                    <a:pt x="366" y="96"/>
                  </a:lnTo>
                  <a:lnTo>
                    <a:pt x="372" y="96"/>
                  </a:lnTo>
                  <a:lnTo>
                    <a:pt x="378" y="96"/>
                  </a:lnTo>
                  <a:lnTo>
                    <a:pt x="378" y="102"/>
                  </a:lnTo>
                  <a:lnTo>
                    <a:pt x="378" y="108"/>
                  </a:lnTo>
                  <a:lnTo>
                    <a:pt x="378" y="114"/>
                  </a:lnTo>
                  <a:lnTo>
                    <a:pt x="378" y="120"/>
                  </a:lnTo>
                  <a:lnTo>
                    <a:pt x="378" y="126"/>
                  </a:lnTo>
                  <a:lnTo>
                    <a:pt x="384" y="126"/>
                  </a:lnTo>
                  <a:lnTo>
                    <a:pt x="384" y="132"/>
                  </a:lnTo>
                  <a:lnTo>
                    <a:pt x="390" y="132"/>
                  </a:lnTo>
                  <a:lnTo>
                    <a:pt x="396" y="132"/>
                  </a:lnTo>
                  <a:lnTo>
                    <a:pt x="396" y="138"/>
                  </a:lnTo>
                  <a:lnTo>
                    <a:pt x="396" y="144"/>
                  </a:lnTo>
                  <a:lnTo>
                    <a:pt x="396" y="150"/>
                  </a:lnTo>
                  <a:lnTo>
                    <a:pt x="390" y="150"/>
                  </a:lnTo>
                  <a:lnTo>
                    <a:pt x="390" y="156"/>
                  </a:lnTo>
                  <a:lnTo>
                    <a:pt x="384" y="156"/>
                  </a:lnTo>
                  <a:lnTo>
                    <a:pt x="390" y="156"/>
                  </a:lnTo>
                  <a:lnTo>
                    <a:pt x="384" y="156"/>
                  </a:lnTo>
                  <a:lnTo>
                    <a:pt x="384" y="162"/>
                  </a:lnTo>
                  <a:lnTo>
                    <a:pt x="384" y="156"/>
                  </a:lnTo>
                  <a:lnTo>
                    <a:pt x="390" y="156"/>
                  </a:lnTo>
                  <a:lnTo>
                    <a:pt x="390" y="162"/>
                  </a:lnTo>
                  <a:lnTo>
                    <a:pt x="390" y="168"/>
                  </a:lnTo>
                  <a:lnTo>
                    <a:pt x="390" y="174"/>
                  </a:lnTo>
                  <a:lnTo>
                    <a:pt x="384" y="174"/>
                  </a:lnTo>
                  <a:lnTo>
                    <a:pt x="390" y="174"/>
                  </a:lnTo>
                  <a:lnTo>
                    <a:pt x="384" y="174"/>
                  </a:lnTo>
                  <a:lnTo>
                    <a:pt x="384" y="180"/>
                  </a:lnTo>
                  <a:lnTo>
                    <a:pt x="390" y="180"/>
                  </a:lnTo>
                  <a:lnTo>
                    <a:pt x="384" y="180"/>
                  </a:lnTo>
                  <a:lnTo>
                    <a:pt x="390" y="180"/>
                  </a:lnTo>
                  <a:lnTo>
                    <a:pt x="390" y="186"/>
                  </a:lnTo>
                  <a:lnTo>
                    <a:pt x="396" y="186"/>
                  </a:lnTo>
                  <a:lnTo>
                    <a:pt x="402" y="186"/>
                  </a:lnTo>
                  <a:lnTo>
                    <a:pt x="402" y="192"/>
                  </a:lnTo>
                  <a:lnTo>
                    <a:pt x="402" y="198"/>
                  </a:lnTo>
                  <a:lnTo>
                    <a:pt x="402" y="204"/>
                  </a:lnTo>
                  <a:lnTo>
                    <a:pt x="402" y="198"/>
                  </a:lnTo>
                  <a:lnTo>
                    <a:pt x="402" y="204"/>
                  </a:lnTo>
                  <a:lnTo>
                    <a:pt x="408" y="204"/>
                  </a:lnTo>
                  <a:lnTo>
                    <a:pt x="402" y="204"/>
                  </a:lnTo>
                  <a:lnTo>
                    <a:pt x="402" y="210"/>
                  </a:lnTo>
                  <a:lnTo>
                    <a:pt x="396" y="216"/>
                  </a:lnTo>
                  <a:lnTo>
                    <a:pt x="396" y="222"/>
                  </a:lnTo>
                  <a:lnTo>
                    <a:pt x="402" y="222"/>
                  </a:lnTo>
                  <a:lnTo>
                    <a:pt x="408" y="222"/>
                  </a:lnTo>
                  <a:lnTo>
                    <a:pt x="408" y="228"/>
                  </a:lnTo>
                  <a:lnTo>
                    <a:pt x="414" y="234"/>
                  </a:lnTo>
                  <a:lnTo>
                    <a:pt x="414" y="240"/>
                  </a:lnTo>
                  <a:lnTo>
                    <a:pt x="414" y="246"/>
                  </a:lnTo>
                  <a:lnTo>
                    <a:pt x="408" y="246"/>
                  </a:lnTo>
                  <a:lnTo>
                    <a:pt x="408" y="240"/>
                  </a:lnTo>
                  <a:lnTo>
                    <a:pt x="402" y="240"/>
                  </a:lnTo>
                  <a:lnTo>
                    <a:pt x="402" y="246"/>
                  </a:lnTo>
                  <a:lnTo>
                    <a:pt x="402" y="240"/>
                  </a:lnTo>
                  <a:lnTo>
                    <a:pt x="402" y="246"/>
                  </a:lnTo>
                  <a:lnTo>
                    <a:pt x="402" y="240"/>
                  </a:lnTo>
                  <a:lnTo>
                    <a:pt x="396" y="240"/>
                  </a:lnTo>
                  <a:lnTo>
                    <a:pt x="390" y="240"/>
                  </a:lnTo>
                  <a:lnTo>
                    <a:pt x="384" y="240"/>
                  </a:lnTo>
                  <a:lnTo>
                    <a:pt x="384" y="246"/>
                  </a:lnTo>
                  <a:lnTo>
                    <a:pt x="384" y="252"/>
                  </a:lnTo>
                  <a:lnTo>
                    <a:pt x="384" y="258"/>
                  </a:lnTo>
                  <a:lnTo>
                    <a:pt x="390" y="258"/>
                  </a:lnTo>
                  <a:lnTo>
                    <a:pt x="396" y="258"/>
                  </a:lnTo>
                  <a:lnTo>
                    <a:pt x="396" y="264"/>
                  </a:lnTo>
                  <a:lnTo>
                    <a:pt x="390" y="264"/>
                  </a:lnTo>
                  <a:lnTo>
                    <a:pt x="390" y="270"/>
                  </a:lnTo>
                  <a:lnTo>
                    <a:pt x="390" y="276"/>
                  </a:lnTo>
                  <a:lnTo>
                    <a:pt x="390" y="282"/>
                  </a:lnTo>
                  <a:lnTo>
                    <a:pt x="390" y="288"/>
                  </a:lnTo>
                  <a:lnTo>
                    <a:pt x="384" y="288"/>
                  </a:lnTo>
                  <a:lnTo>
                    <a:pt x="384" y="294"/>
                  </a:lnTo>
                  <a:lnTo>
                    <a:pt x="378" y="288"/>
                  </a:lnTo>
                  <a:lnTo>
                    <a:pt x="372" y="288"/>
                  </a:lnTo>
                  <a:lnTo>
                    <a:pt x="366" y="294"/>
                  </a:lnTo>
                  <a:lnTo>
                    <a:pt x="366" y="288"/>
                  </a:lnTo>
                  <a:lnTo>
                    <a:pt x="366" y="282"/>
                  </a:lnTo>
                  <a:lnTo>
                    <a:pt x="360" y="282"/>
                  </a:lnTo>
                  <a:lnTo>
                    <a:pt x="360" y="288"/>
                  </a:lnTo>
                  <a:lnTo>
                    <a:pt x="354" y="288"/>
                  </a:lnTo>
                  <a:lnTo>
                    <a:pt x="354" y="294"/>
                  </a:lnTo>
                  <a:lnTo>
                    <a:pt x="354" y="300"/>
                  </a:lnTo>
                  <a:lnTo>
                    <a:pt x="348" y="300"/>
                  </a:lnTo>
                  <a:lnTo>
                    <a:pt x="348" y="306"/>
                  </a:lnTo>
                  <a:lnTo>
                    <a:pt x="342" y="306"/>
                  </a:lnTo>
                  <a:lnTo>
                    <a:pt x="342" y="312"/>
                  </a:lnTo>
                  <a:lnTo>
                    <a:pt x="336" y="312"/>
                  </a:lnTo>
                  <a:lnTo>
                    <a:pt x="336" y="306"/>
                  </a:lnTo>
                  <a:lnTo>
                    <a:pt x="330" y="306"/>
                  </a:lnTo>
                  <a:lnTo>
                    <a:pt x="330" y="300"/>
                  </a:lnTo>
                  <a:lnTo>
                    <a:pt x="324" y="300"/>
                  </a:lnTo>
                  <a:lnTo>
                    <a:pt x="318" y="300"/>
                  </a:lnTo>
                  <a:lnTo>
                    <a:pt x="312" y="300"/>
                  </a:lnTo>
                  <a:lnTo>
                    <a:pt x="318" y="300"/>
                  </a:lnTo>
                  <a:lnTo>
                    <a:pt x="318" y="294"/>
                  </a:lnTo>
                  <a:lnTo>
                    <a:pt x="318" y="288"/>
                  </a:lnTo>
                  <a:lnTo>
                    <a:pt x="318" y="282"/>
                  </a:lnTo>
                  <a:lnTo>
                    <a:pt x="318" y="276"/>
                  </a:lnTo>
                  <a:lnTo>
                    <a:pt x="318" y="270"/>
                  </a:lnTo>
                  <a:lnTo>
                    <a:pt x="318" y="264"/>
                  </a:lnTo>
                  <a:lnTo>
                    <a:pt x="312" y="264"/>
                  </a:lnTo>
                  <a:lnTo>
                    <a:pt x="312" y="258"/>
                  </a:lnTo>
                  <a:lnTo>
                    <a:pt x="312" y="252"/>
                  </a:lnTo>
                  <a:lnTo>
                    <a:pt x="312" y="246"/>
                  </a:lnTo>
                  <a:lnTo>
                    <a:pt x="306" y="246"/>
                  </a:lnTo>
                  <a:lnTo>
                    <a:pt x="306" y="240"/>
                  </a:lnTo>
                  <a:lnTo>
                    <a:pt x="306" y="246"/>
                  </a:lnTo>
                  <a:lnTo>
                    <a:pt x="300" y="246"/>
                  </a:lnTo>
                  <a:lnTo>
                    <a:pt x="306" y="240"/>
                  </a:lnTo>
                  <a:lnTo>
                    <a:pt x="300" y="240"/>
                  </a:lnTo>
                  <a:lnTo>
                    <a:pt x="300" y="234"/>
                  </a:lnTo>
                  <a:lnTo>
                    <a:pt x="294" y="234"/>
                  </a:lnTo>
                  <a:lnTo>
                    <a:pt x="294" y="240"/>
                  </a:lnTo>
                  <a:lnTo>
                    <a:pt x="288" y="240"/>
                  </a:lnTo>
                  <a:lnTo>
                    <a:pt x="282" y="240"/>
                  </a:lnTo>
                  <a:lnTo>
                    <a:pt x="276" y="240"/>
                  </a:lnTo>
                  <a:lnTo>
                    <a:pt x="270" y="240"/>
                  </a:lnTo>
                  <a:lnTo>
                    <a:pt x="264" y="240"/>
                  </a:lnTo>
                  <a:lnTo>
                    <a:pt x="258" y="240"/>
                  </a:lnTo>
                  <a:lnTo>
                    <a:pt x="258" y="246"/>
                  </a:lnTo>
                  <a:lnTo>
                    <a:pt x="252" y="246"/>
                  </a:lnTo>
                  <a:lnTo>
                    <a:pt x="252" y="252"/>
                  </a:lnTo>
                  <a:lnTo>
                    <a:pt x="252" y="246"/>
                  </a:lnTo>
                  <a:lnTo>
                    <a:pt x="246" y="246"/>
                  </a:lnTo>
                  <a:lnTo>
                    <a:pt x="246" y="252"/>
                  </a:lnTo>
                  <a:lnTo>
                    <a:pt x="246" y="246"/>
                  </a:lnTo>
                  <a:lnTo>
                    <a:pt x="246" y="240"/>
                  </a:lnTo>
                  <a:lnTo>
                    <a:pt x="252" y="234"/>
                  </a:lnTo>
                  <a:lnTo>
                    <a:pt x="258" y="234"/>
                  </a:lnTo>
                  <a:lnTo>
                    <a:pt x="258" y="228"/>
                  </a:lnTo>
                  <a:lnTo>
                    <a:pt x="252" y="228"/>
                  </a:lnTo>
                  <a:lnTo>
                    <a:pt x="258" y="228"/>
                  </a:lnTo>
                  <a:lnTo>
                    <a:pt x="252" y="228"/>
                  </a:lnTo>
                  <a:lnTo>
                    <a:pt x="252" y="222"/>
                  </a:lnTo>
                  <a:lnTo>
                    <a:pt x="252" y="216"/>
                  </a:lnTo>
                  <a:lnTo>
                    <a:pt x="252" y="210"/>
                  </a:lnTo>
                  <a:lnTo>
                    <a:pt x="252" y="204"/>
                  </a:lnTo>
                  <a:lnTo>
                    <a:pt x="246" y="204"/>
                  </a:lnTo>
                  <a:lnTo>
                    <a:pt x="240" y="204"/>
                  </a:lnTo>
                  <a:lnTo>
                    <a:pt x="246" y="204"/>
                  </a:lnTo>
                  <a:lnTo>
                    <a:pt x="246" y="198"/>
                  </a:lnTo>
                  <a:lnTo>
                    <a:pt x="246" y="192"/>
                  </a:lnTo>
                  <a:lnTo>
                    <a:pt x="246" y="186"/>
                  </a:lnTo>
                  <a:lnTo>
                    <a:pt x="240" y="192"/>
                  </a:lnTo>
                  <a:lnTo>
                    <a:pt x="240" y="186"/>
                  </a:lnTo>
                  <a:lnTo>
                    <a:pt x="234" y="186"/>
                  </a:lnTo>
                  <a:lnTo>
                    <a:pt x="234" y="180"/>
                  </a:lnTo>
                  <a:lnTo>
                    <a:pt x="240" y="180"/>
                  </a:lnTo>
                  <a:lnTo>
                    <a:pt x="234" y="180"/>
                  </a:lnTo>
                  <a:lnTo>
                    <a:pt x="234" y="174"/>
                  </a:lnTo>
                  <a:lnTo>
                    <a:pt x="228" y="174"/>
                  </a:lnTo>
                  <a:lnTo>
                    <a:pt x="228" y="168"/>
                  </a:lnTo>
                  <a:lnTo>
                    <a:pt x="228" y="162"/>
                  </a:lnTo>
                  <a:lnTo>
                    <a:pt x="222" y="162"/>
                  </a:lnTo>
                  <a:lnTo>
                    <a:pt x="216" y="156"/>
                  </a:lnTo>
                  <a:lnTo>
                    <a:pt x="210" y="156"/>
                  </a:lnTo>
                  <a:lnTo>
                    <a:pt x="204" y="156"/>
                  </a:lnTo>
                  <a:lnTo>
                    <a:pt x="198" y="156"/>
                  </a:lnTo>
                  <a:lnTo>
                    <a:pt x="192" y="156"/>
                  </a:lnTo>
                  <a:lnTo>
                    <a:pt x="186" y="156"/>
                  </a:lnTo>
                  <a:lnTo>
                    <a:pt x="180" y="156"/>
                  </a:lnTo>
                  <a:lnTo>
                    <a:pt x="174" y="156"/>
                  </a:lnTo>
                  <a:lnTo>
                    <a:pt x="168" y="162"/>
                  </a:lnTo>
                  <a:lnTo>
                    <a:pt x="162" y="162"/>
                  </a:lnTo>
                  <a:lnTo>
                    <a:pt x="162" y="156"/>
                  </a:lnTo>
                  <a:lnTo>
                    <a:pt x="156" y="156"/>
                  </a:lnTo>
                  <a:lnTo>
                    <a:pt x="156" y="162"/>
                  </a:lnTo>
                  <a:lnTo>
                    <a:pt x="150" y="162"/>
                  </a:lnTo>
                  <a:lnTo>
                    <a:pt x="144" y="162"/>
                  </a:lnTo>
                  <a:lnTo>
                    <a:pt x="144" y="168"/>
                  </a:lnTo>
                  <a:lnTo>
                    <a:pt x="138" y="168"/>
                  </a:lnTo>
                  <a:lnTo>
                    <a:pt x="138" y="174"/>
                  </a:lnTo>
                  <a:lnTo>
                    <a:pt x="138" y="180"/>
                  </a:lnTo>
                  <a:lnTo>
                    <a:pt x="138" y="186"/>
                  </a:lnTo>
                  <a:lnTo>
                    <a:pt x="132" y="186"/>
                  </a:lnTo>
                  <a:lnTo>
                    <a:pt x="132" y="192"/>
                  </a:lnTo>
                  <a:lnTo>
                    <a:pt x="126" y="192"/>
                  </a:lnTo>
                  <a:lnTo>
                    <a:pt x="120" y="198"/>
                  </a:lnTo>
                  <a:lnTo>
                    <a:pt x="120" y="192"/>
                  </a:lnTo>
                  <a:lnTo>
                    <a:pt x="120" y="198"/>
                  </a:lnTo>
                  <a:lnTo>
                    <a:pt x="120" y="204"/>
                  </a:lnTo>
                  <a:lnTo>
                    <a:pt x="114" y="204"/>
                  </a:lnTo>
                  <a:lnTo>
                    <a:pt x="114" y="210"/>
                  </a:lnTo>
                  <a:lnTo>
                    <a:pt x="108" y="210"/>
                  </a:lnTo>
                  <a:lnTo>
                    <a:pt x="108" y="204"/>
                  </a:lnTo>
                  <a:lnTo>
                    <a:pt x="102" y="204"/>
                  </a:lnTo>
                  <a:lnTo>
                    <a:pt x="102" y="210"/>
                  </a:lnTo>
                  <a:close/>
                  <a:moveTo>
                    <a:pt x="0" y="96"/>
                  </a:moveTo>
                  <a:lnTo>
                    <a:pt x="12" y="96"/>
                  </a:lnTo>
                  <a:lnTo>
                    <a:pt x="12" y="108"/>
                  </a:lnTo>
                  <a:lnTo>
                    <a:pt x="0" y="108"/>
                  </a:lnTo>
                  <a:lnTo>
                    <a:pt x="0" y="96"/>
                  </a:lnTo>
                  <a:close/>
                  <a:moveTo>
                    <a:pt x="6" y="96"/>
                  </a:moveTo>
                  <a:lnTo>
                    <a:pt x="12" y="96"/>
                  </a:lnTo>
                  <a:lnTo>
                    <a:pt x="12" y="102"/>
                  </a:lnTo>
                  <a:lnTo>
                    <a:pt x="6" y="102"/>
                  </a:lnTo>
                  <a:lnTo>
                    <a:pt x="6" y="96"/>
                  </a:lnTo>
                  <a:close/>
                  <a:moveTo>
                    <a:pt x="6" y="102"/>
                  </a:moveTo>
                  <a:lnTo>
                    <a:pt x="12" y="102"/>
                  </a:lnTo>
                  <a:lnTo>
                    <a:pt x="12" y="108"/>
                  </a:lnTo>
                  <a:lnTo>
                    <a:pt x="6" y="108"/>
                  </a:lnTo>
                  <a:lnTo>
                    <a:pt x="6" y="102"/>
                  </a:lnTo>
                  <a:close/>
                  <a:moveTo>
                    <a:pt x="72" y="180"/>
                  </a:moveTo>
                  <a:lnTo>
                    <a:pt x="72" y="186"/>
                  </a:lnTo>
                  <a:lnTo>
                    <a:pt x="73" y="186"/>
                  </a:lnTo>
                  <a:lnTo>
                    <a:pt x="72" y="180"/>
                  </a:lnTo>
                  <a:close/>
                  <a:moveTo>
                    <a:pt x="72" y="162"/>
                  </a:moveTo>
                  <a:lnTo>
                    <a:pt x="78" y="162"/>
                  </a:lnTo>
                  <a:lnTo>
                    <a:pt x="78" y="168"/>
                  </a:lnTo>
                  <a:lnTo>
                    <a:pt x="72" y="168"/>
                  </a:lnTo>
                  <a:lnTo>
                    <a:pt x="72" y="162"/>
                  </a:lnTo>
                  <a:close/>
                  <a:moveTo>
                    <a:pt x="72" y="180"/>
                  </a:moveTo>
                  <a:lnTo>
                    <a:pt x="78" y="180"/>
                  </a:lnTo>
                  <a:lnTo>
                    <a:pt x="78" y="186"/>
                  </a:lnTo>
                  <a:lnTo>
                    <a:pt x="72" y="186"/>
                  </a:lnTo>
                  <a:lnTo>
                    <a:pt x="72" y="180"/>
                  </a:lnTo>
                  <a:close/>
                  <a:moveTo>
                    <a:pt x="12" y="102"/>
                  </a:moveTo>
                  <a:lnTo>
                    <a:pt x="12" y="108"/>
                  </a:lnTo>
                  <a:lnTo>
                    <a:pt x="13" y="108"/>
                  </a:lnTo>
                  <a:lnTo>
                    <a:pt x="12" y="102"/>
                  </a:lnTo>
                  <a:close/>
                  <a:moveTo>
                    <a:pt x="60" y="144"/>
                  </a:moveTo>
                  <a:lnTo>
                    <a:pt x="60" y="150"/>
                  </a:lnTo>
                  <a:lnTo>
                    <a:pt x="61" y="150"/>
                  </a:lnTo>
                  <a:lnTo>
                    <a:pt x="60" y="144"/>
                  </a:lnTo>
                  <a:close/>
                  <a:moveTo>
                    <a:pt x="78" y="156"/>
                  </a:moveTo>
                  <a:lnTo>
                    <a:pt x="78" y="162"/>
                  </a:lnTo>
                  <a:lnTo>
                    <a:pt x="79" y="162"/>
                  </a:lnTo>
                  <a:lnTo>
                    <a:pt x="78" y="156"/>
                  </a:lnTo>
                  <a:close/>
                  <a:moveTo>
                    <a:pt x="90" y="192"/>
                  </a:moveTo>
                  <a:lnTo>
                    <a:pt x="96" y="192"/>
                  </a:lnTo>
                  <a:lnTo>
                    <a:pt x="96" y="198"/>
                  </a:lnTo>
                  <a:lnTo>
                    <a:pt x="90" y="198"/>
                  </a:lnTo>
                  <a:lnTo>
                    <a:pt x="90" y="192"/>
                  </a:lnTo>
                  <a:close/>
                  <a:moveTo>
                    <a:pt x="96" y="204"/>
                  </a:moveTo>
                  <a:lnTo>
                    <a:pt x="102" y="204"/>
                  </a:lnTo>
                  <a:lnTo>
                    <a:pt x="96" y="20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6" name="Freeform 18"/>
            <p:cNvSpPr>
              <a:spLocks noEditPoints="1"/>
            </p:cNvSpPr>
            <p:nvPr>
              <p:custDataLst>
                <p:tags r:id="rId71"/>
              </p:custDataLst>
            </p:nvPr>
          </p:nvSpPr>
          <p:spPr bwMode="gray">
            <a:xfrm>
              <a:off x="2271713" y="2908301"/>
              <a:ext cx="209550" cy="207963"/>
            </a:xfrm>
            <a:custGeom>
              <a:avLst/>
              <a:gdLst>
                <a:gd name="T0" fmla="*/ 58622 w 168"/>
                <a:gd name="T1" fmla="*/ 33619 h 168"/>
                <a:gd name="T2" fmla="*/ 53737 w 168"/>
                <a:gd name="T3" fmla="*/ 37462 h 168"/>
                <a:gd name="T4" fmla="*/ 49829 w 168"/>
                <a:gd name="T5" fmla="*/ 44186 h 168"/>
                <a:gd name="T6" fmla="*/ 45921 w 168"/>
                <a:gd name="T7" fmla="*/ 48028 h 168"/>
                <a:gd name="T8" fmla="*/ 41036 w 168"/>
                <a:gd name="T9" fmla="*/ 51871 h 168"/>
                <a:gd name="T10" fmla="*/ 39081 w 168"/>
                <a:gd name="T11" fmla="*/ 58594 h 168"/>
                <a:gd name="T12" fmla="*/ 32243 w 168"/>
                <a:gd name="T13" fmla="*/ 55712 h 168"/>
                <a:gd name="T14" fmla="*/ 23449 w 168"/>
                <a:gd name="T15" fmla="*/ 54753 h 168"/>
                <a:gd name="T16" fmla="*/ 17587 w 168"/>
                <a:gd name="T17" fmla="*/ 51871 h 168"/>
                <a:gd name="T18" fmla="*/ 19541 w 168"/>
                <a:gd name="T19" fmla="*/ 49949 h 168"/>
                <a:gd name="T20" fmla="*/ 17587 w 168"/>
                <a:gd name="T21" fmla="*/ 48028 h 168"/>
                <a:gd name="T22" fmla="*/ 15633 w 168"/>
                <a:gd name="T23" fmla="*/ 45147 h 168"/>
                <a:gd name="T24" fmla="*/ 15633 w 168"/>
                <a:gd name="T25" fmla="*/ 45147 h 168"/>
                <a:gd name="T26" fmla="*/ 12702 w 168"/>
                <a:gd name="T27" fmla="*/ 44186 h 168"/>
                <a:gd name="T28" fmla="*/ 10748 w 168"/>
                <a:gd name="T29" fmla="*/ 41304 h 168"/>
                <a:gd name="T30" fmla="*/ 8794 w 168"/>
                <a:gd name="T31" fmla="*/ 39383 h 168"/>
                <a:gd name="T32" fmla="*/ 3908 w 168"/>
                <a:gd name="T33" fmla="*/ 35541 h 168"/>
                <a:gd name="T34" fmla="*/ 1954 w 168"/>
                <a:gd name="T35" fmla="*/ 35541 h 168"/>
                <a:gd name="T36" fmla="*/ 0 w 168"/>
                <a:gd name="T37" fmla="*/ 29778 h 168"/>
                <a:gd name="T38" fmla="*/ 1954 w 168"/>
                <a:gd name="T39" fmla="*/ 29778 h 168"/>
                <a:gd name="T40" fmla="*/ 3908 w 168"/>
                <a:gd name="T41" fmla="*/ 26896 h 168"/>
                <a:gd name="T42" fmla="*/ 0 w 168"/>
                <a:gd name="T43" fmla="*/ 26896 h 168"/>
                <a:gd name="T44" fmla="*/ 1954 w 168"/>
                <a:gd name="T45" fmla="*/ 23054 h 168"/>
                <a:gd name="T46" fmla="*/ 0 w 168"/>
                <a:gd name="T47" fmla="*/ 21132 h 168"/>
                <a:gd name="T48" fmla="*/ 1954 w 168"/>
                <a:gd name="T49" fmla="*/ 18251 h 168"/>
                <a:gd name="T50" fmla="*/ 6840 w 168"/>
                <a:gd name="T51" fmla="*/ 14408 h 168"/>
                <a:gd name="T52" fmla="*/ 10748 w 168"/>
                <a:gd name="T53" fmla="*/ 12487 h 168"/>
                <a:gd name="T54" fmla="*/ 12702 w 168"/>
                <a:gd name="T55" fmla="*/ 6724 h 168"/>
                <a:gd name="T56" fmla="*/ 17587 w 168"/>
                <a:gd name="T57" fmla="*/ 1921 h 168"/>
                <a:gd name="T58" fmla="*/ 21495 w 168"/>
                <a:gd name="T59" fmla="*/ 1921 h 168"/>
                <a:gd name="T60" fmla="*/ 30289 w 168"/>
                <a:gd name="T61" fmla="*/ 0 h 168"/>
                <a:gd name="T62" fmla="*/ 39081 w 168"/>
                <a:gd name="T63" fmla="*/ 0 h 168"/>
                <a:gd name="T64" fmla="*/ 45921 w 168"/>
                <a:gd name="T65" fmla="*/ 3842 h 168"/>
                <a:gd name="T66" fmla="*/ 49829 w 168"/>
                <a:gd name="T67" fmla="*/ 7685 h 168"/>
                <a:gd name="T68" fmla="*/ 49829 w 168"/>
                <a:gd name="T69" fmla="*/ 12487 h 168"/>
                <a:gd name="T70" fmla="*/ 51783 w 168"/>
                <a:gd name="T71" fmla="*/ 16330 h 168"/>
                <a:gd name="T72" fmla="*/ 53737 w 168"/>
                <a:gd name="T73" fmla="*/ 18251 h 168"/>
                <a:gd name="T74" fmla="*/ 56668 w 168"/>
                <a:gd name="T75" fmla="*/ 24975 h 168"/>
                <a:gd name="T76" fmla="*/ 53737 w 168"/>
                <a:gd name="T77" fmla="*/ 26896 h 168"/>
                <a:gd name="T78" fmla="*/ 51783 w 168"/>
                <a:gd name="T79" fmla="*/ 30738 h 168"/>
                <a:gd name="T80" fmla="*/ 56668 w 168"/>
                <a:gd name="T81" fmla="*/ 30738 h 168"/>
                <a:gd name="T82" fmla="*/ 6840 w 168"/>
                <a:gd name="T83" fmla="*/ 45147 h 168"/>
                <a:gd name="T84" fmla="*/ 15633 w 168"/>
                <a:gd name="T85" fmla="*/ 45147 h 168"/>
                <a:gd name="T86" fmla="*/ 15633 w 168"/>
                <a:gd name="T87" fmla="*/ 49949 h 168"/>
                <a:gd name="T88" fmla="*/ 8794 w 168"/>
                <a:gd name="T89" fmla="*/ 48028 h 168"/>
                <a:gd name="T90" fmla="*/ 1954 w 168"/>
                <a:gd name="T91" fmla="*/ 21132 h 168"/>
                <a:gd name="T92" fmla="*/ 3908 w 168"/>
                <a:gd name="T93" fmla="*/ 45147 h 168"/>
                <a:gd name="T94" fmla="*/ 0 w 168"/>
                <a:gd name="T95" fmla="*/ 37462 h 168"/>
                <a:gd name="T96" fmla="*/ 3908 w 168"/>
                <a:gd name="T97" fmla="*/ 26896 h 168"/>
                <a:gd name="T98" fmla="*/ 3908 w 168"/>
                <a:gd name="T99" fmla="*/ 45147 h 168"/>
                <a:gd name="T100" fmla="*/ 3908 w 168"/>
                <a:gd name="T101" fmla="*/ 45147 h 1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8" h="168">
                  <a:moveTo>
                    <a:pt x="168" y="84"/>
                  </a:moveTo>
                  <a:lnTo>
                    <a:pt x="168" y="90"/>
                  </a:lnTo>
                  <a:lnTo>
                    <a:pt x="162" y="90"/>
                  </a:lnTo>
                  <a:lnTo>
                    <a:pt x="162" y="96"/>
                  </a:lnTo>
                  <a:lnTo>
                    <a:pt x="162" y="102"/>
                  </a:lnTo>
                  <a:lnTo>
                    <a:pt x="156" y="102"/>
                  </a:lnTo>
                  <a:lnTo>
                    <a:pt x="150" y="102"/>
                  </a:lnTo>
                  <a:lnTo>
                    <a:pt x="150" y="108"/>
                  </a:lnTo>
                  <a:lnTo>
                    <a:pt x="150" y="114"/>
                  </a:lnTo>
                  <a:lnTo>
                    <a:pt x="150" y="126"/>
                  </a:lnTo>
                  <a:lnTo>
                    <a:pt x="144" y="126"/>
                  </a:lnTo>
                  <a:lnTo>
                    <a:pt x="138" y="126"/>
                  </a:lnTo>
                  <a:lnTo>
                    <a:pt x="138" y="132"/>
                  </a:lnTo>
                  <a:lnTo>
                    <a:pt x="138" y="138"/>
                  </a:lnTo>
                  <a:lnTo>
                    <a:pt x="132" y="138"/>
                  </a:lnTo>
                  <a:lnTo>
                    <a:pt x="126" y="138"/>
                  </a:lnTo>
                  <a:lnTo>
                    <a:pt x="126" y="144"/>
                  </a:lnTo>
                  <a:lnTo>
                    <a:pt x="120" y="144"/>
                  </a:lnTo>
                  <a:lnTo>
                    <a:pt x="120" y="150"/>
                  </a:lnTo>
                  <a:lnTo>
                    <a:pt x="114" y="150"/>
                  </a:lnTo>
                  <a:lnTo>
                    <a:pt x="114" y="156"/>
                  </a:lnTo>
                  <a:lnTo>
                    <a:pt x="108" y="156"/>
                  </a:lnTo>
                  <a:lnTo>
                    <a:pt x="108" y="162"/>
                  </a:lnTo>
                  <a:lnTo>
                    <a:pt x="108" y="168"/>
                  </a:lnTo>
                  <a:lnTo>
                    <a:pt x="102" y="168"/>
                  </a:lnTo>
                  <a:lnTo>
                    <a:pt x="96" y="168"/>
                  </a:lnTo>
                  <a:lnTo>
                    <a:pt x="90" y="168"/>
                  </a:lnTo>
                  <a:lnTo>
                    <a:pt x="90" y="162"/>
                  </a:lnTo>
                  <a:lnTo>
                    <a:pt x="84" y="162"/>
                  </a:lnTo>
                  <a:lnTo>
                    <a:pt x="78" y="156"/>
                  </a:lnTo>
                  <a:lnTo>
                    <a:pt x="72" y="156"/>
                  </a:lnTo>
                  <a:lnTo>
                    <a:pt x="66" y="156"/>
                  </a:lnTo>
                  <a:lnTo>
                    <a:pt x="66" y="150"/>
                  </a:lnTo>
                  <a:lnTo>
                    <a:pt x="60" y="150"/>
                  </a:lnTo>
                  <a:lnTo>
                    <a:pt x="54" y="150"/>
                  </a:lnTo>
                  <a:lnTo>
                    <a:pt x="48" y="150"/>
                  </a:lnTo>
                  <a:lnTo>
                    <a:pt x="48" y="144"/>
                  </a:lnTo>
                  <a:lnTo>
                    <a:pt x="42" y="144"/>
                  </a:lnTo>
                  <a:lnTo>
                    <a:pt x="48" y="144"/>
                  </a:lnTo>
                  <a:lnTo>
                    <a:pt x="54" y="144"/>
                  </a:lnTo>
                  <a:lnTo>
                    <a:pt x="48" y="144"/>
                  </a:lnTo>
                  <a:lnTo>
                    <a:pt x="42" y="144"/>
                  </a:lnTo>
                  <a:lnTo>
                    <a:pt x="42" y="138"/>
                  </a:lnTo>
                  <a:lnTo>
                    <a:pt x="48" y="138"/>
                  </a:lnTo>
                  <a:lnTo>
                    <a:pt x="54" y="138"/>
                  </a:lnTo>
                  <a:lnTo>
                    <a:pt x="48" y="138"/>
                  </a:lnTo>
                  <a:lnTo>
                    <a:pt x="42" y="138"/>
                  </a:lnTo>
                  <a:lnTo>
                    <a:pt x="42" y="132"/>
                  </a:lnTo>
                  <a:lnTo>
                    <a:pt x="48" y="132"/>
                  </a:lnTo>
                  <a:lnTo>
                    <a:pt x="48" y="126"/>
                  </a:lnTo>
                  <a:lnTo>
                    <a:pt x="48" y="132"/>
                  </a:lnTo>
                  <a:lnTo>
                    <a:pt x="42" y="132"/>
                  </a:lnTo>
                  <a:lnTo>
                    <a:pt x="42" y="126"/>
                  </a:lnTo>
                  <a:lnTo>
                    <a:pt x="42" y="120"/>
                  </a:lnTo>
                  <a:lnTo>
                    <a:pt x="42" y="126"/>
                  </a:lnTo>
                  <a:lnTo>
                    <a:pt x="36" y="126"/>
                  </a:lnTo>
                  <a:lnTo>
                    <a:pt x="30" y="126"/>
                  </a:lnTo>
                  <a:lnTo>
                    <a:pt x="24" y="126"/>
                  </a:lnTo>
                  <a:lnTo>
                    <a:pt x="24" y="120"/>
                  </a:lnTo>
                  <a:lnTo>
                    <a:pt x="30" y="120"/>
                  </a:lnTo>
                  <a:lnTo>
                    <a:pt x="24" y="120"/>
                  </a:lnTo>
                  <a:lnTo>
                    <a:pt x="18" y="120"/>
                  </a:lnTo>
                  <a:lnTo>
                    <a:pt x="18" y="114"/>
                  </a:lnTo>
                  <a:lnTo>
                    <a:pt x="24" y="114"/>
                  </a:lnTo>
                  <a:lnTo>
                    <a:pt x="24" y="108"/>
                  </a:lnTo>
                  <a:lnTo>
                    <a:pt x="18" y="108"/>
                  </a:lnTo>
                  <a:lnTo>
                    <a:pt x="18" y="102"/>
                  </a:lnTo>
                  <a:lnTo>
                    <a:pt x="12" y="102"/>
                  </a:lnTo>
                  <a:lnTo>
                    <a:pt x="12" y="96"/>
                  </a:lnTo>
                  <a:lnTo>
                    <a:pt x="18" y="96"/>
                  </a:lnTo>
                  <a:lnTo>
                    <a:pt x="12" y="96"/>
                  </a:lnTo>
                  <a:lnTo>
                    <a:pt x="6" y="102"/>
                  </a:lnTo>
                  <a:lnTo>
                    <a:pt x="6" y="96"/>
                  </a:lnTo>
                  <a:lnTo>
                    <a:pt x="6" y="90"/>
                  </a:lnTo>
                  <a:lnTo>
                    <a:pt x="0" y="90"/>
                  </a:lnTo>
                  <a:lnTo>
                    <a:pt x="0" y="84"/>
                  </a:lnTo>
                  <a:lnTo>
                    <a:pt x="6" y="84"/>
                  </a:lnTo>
                  <a:lnTo>
                    <a:pt x="6" y="90"/>
                  </a:lnTo>
                  <a:lnTo>
                    <a:pt x="12" y="90"/>
                  </a:lnTo>
                  <a:lnTo>
                    <a:pt x="6" y="84"/>
                  </a:lnTo>
                  <a:lnTo>
                    <a:pt x="12" y="84"/>
                  </a:lnTo>
                  <a:lnTo>
                    <a:pt x="12" y="78"/>
                  </a:lnTo>
                  <a:lnTo>
                    <a:pt x="18" y="78"/>
                  </a:lnTo>
                  <a:lnTo>
                    <a:pt x="12" y="78"/>
                  </a:lnTo>
                  <a:lnTo>
                    <a:pt x="6" y="78"/>
                  </a:lnTo>
                  <a:lnTo>
                    <a:pt x="6" y="84"/>
                  </a:lnTo>
                  <a:lnTo>
                    <a:pt x="6" y="78"/>
                  </a:lnTo>
                  <a:lnTo>
                    <a:pt x="0" y="78"/>
                  </a:lnTo>
                  <a:lnTo>
                    <a:pt x="0" y="72"/>
                  </a:lnTo>
                  <a:lnTo>
                    <a:pt x="0" y="66"/>
                  </a:lnTo>
                  <a:lnTo>
                    <a:pt x="6" y="60"/>
                  </a:lnTo>
                  <a:lnTo>
                    <a:pt x="6" y="66"/>
                  </a:lnTo>
                  <a:lnTo>
                    <a:pt x="6" y="60"/>
                  </a:lnTo>
                  <a:lnTo>
                    <a:pt x="0" y="60"/>
                  </a:lnTo>
                  <a:lnTo>
                    <a:pt x="0" y="54"/>
                  </a:lnTo>
                  <a:lnTo>
                    <a:pt x="0" y="60"/>
                  </a:lnTo>
                  <a:lnTo>
                    <a:pt x="0" y="54"/>
                  </a:lnTo>
                  <a:lnTo>
                    <a:pt x="0" y="48"/>
                  </a:lnTo>
                  <a:lnTo>
                    <a:pt x="6" y="48"/>
                  </a:lnTo>
                  <a:lnTo>
                    <a:pt x="6" y="54"/>
                  </a:lnTo>
                  <a:lnTo>
                    <a:pt x="12" y="54"/>
                  </a:lnTo>
                  <a:lnTo>
                    <a:pt x="12" y="48"/>
                  </a:lnTo>
                  <a:lnTo>
                    <a:pt x="18" y="48"/>
                  </a:lnTo>
                  <a:lnTo>
                    <a:pt x="18" y="42"/>
                  </a:lnTo>
                  <a:lnTo>
                    <a:pt x="18" y="36"/>
                  </a:lnTo>
                  <a:lnTo>
                    <a:pt x="18" y="42"/>
                  </a:lnTo>
                  <a:lnTo>
                    <a:pt x="24" y="36"/>
                  </a:lnTo>
                  <a:lnTo>
                    <a:pt x="30" y="36"/>
                  </a:lnTo>
                  <a:lnTo>
                    <a:pt x="30" y="30"/>
                  </a:lnTo>
                  <a:lnTo>
                    <a:pt x="36" y="30"/>
                  </a:lnTo>
                  <a:lnTo>
                    <a:pt x="36" y="24"/>
                  </a:lnTo>
                  <a:lnTo>
                    <a:pt x="36" y="18"/>
                  </a:lnTo>
                  <a:lnTo>
                    <a:pt x="36" y="12"/>
                  </a:lnTo>
                  <a:lnTo>
                    <a:pt x="42" y="12"/>
                  </a:lnTo>
                  <a:lnTo>
                    <a:pt x="42" y="6"/>
                  </a:lnTo>
                  <a:lnTo>
                    <a:pt x="48" y="6"/>
                  </a:lnTo>
                  <a:lnTo>
                    <a:pt x="54" y="6"/>
                  </a:lnTo>
                  <a:lnTo>
                    <a:pt x="54" y="0"/>
                  </a:lnTo>
                  <a:lnTo>
                    <a:pt x="60" y="0"/>
                  </a:lnTo>
                  <a:lnTo>
                    <a:pt x="60" y="6"/>
                  </a:lnTo>
                  <a:lnTo>
                    <a:pt x="66" y="6"/>
                  </a:lnTo>
                  <a:lnTo>
                    <a:pt x="72" y="0"/>
                  </a:lnTo>
                  <a:lnTo>
                    <a:pt x="78" y="0"/>
                  </a:lnTo>
                  <a:lnTo>
                    <a:pt x="84" y="0"/>
                  </a:lnTo>
                  <a:lnTo>
                    <a:pt x="90" y="0"/>
                  </a:lnTo>
                  <a:lnTo>
                    <a:pt x="96" y="0"/>
                  </a:lnTo>
                  <a:lnTo>
                    <a:pt x="102" y="0"/>
                  </a:lnTo>
                  <a:lnTo>
                    <a:pt x="108" y="0"/>
                  </a:lnTo>
                  <a:lnTo>
                    <a:pt x="114" y="0"/>
                  </a:lnTo>
                  <a:lnTo>
                    <a:pt x="120" y="6"/>
                  </a:lnTo>
                  <a:lnTo>
                    <a:pt x="126" y="6"/>
                  </a:lnTo>
                  <a:lnTo>
                    <a:pt x="126" y="12"/>
                  </a:lnTo>
                  <a:lnTo>
                    <a:pt x="126" y="18"/>
                  </a:lnTo>
                  <a:lnTo>
                    <a:pt x="132" y="18"/>
                  </a:lnTo>
                  <a:lnTo>
                    <a:pt x="132" y="24"/>
                  </a:lnTo>
                  <a:lnTo>
                    <a:pt x="138" y="24"/>
                  </a:lnTo>
                  <a:lnTo>
                    <a:pt x="132" y="24"/>
                  </a:lnTo>
                  <a:lnTo>
                    <a:pt x="132" y="30"/>
                  </a:lnTo>
                  <a:lnTo>
                    <a:pt x="138" y="30"/>
                  </a:lnTo>
                  <a:lnTo>
                    <a:pt x="138" y="36"/>
                  </a:lnTo>
                  <a:lnTo>
                    <a:pt x="144" y="30"/>
                  </a:lnTo>
                  <a:lnTo>
                    <a:pt x="144" y="36"/>
                  </a:lnTo>
                  <a:lnTo>
                    <a:pt x="144" y="42"/>
                  </a:lnTo>
                  <a:lnTo>
                    <a:pt x="144" y="48"/>
                  </a:lnTo>
                  <a:lnTo>
                    <a:pt x="138" y="48"/>
                  </a:lnTo>
                  <a:lnTo>
                    <a:pt x="144" y="48"/>
                  </a:lnTo>
                  <a:lnTo>
                    <a:pt x="150" y="48"/>
                  </a:lnTo>
                  <a:lnTo>
                    <a:pt x="150" y="54"/>
                  </a:lnTo>
                  <a:lnTo>
                    <a:pt x="150" y="60"/>
                  </a:lnTo>
                  <a:lnTo>
                    <a:pt x="150" y="66"/>
                  </a:lnTo>
                  <a:lnTo>
                    <a:pt x="150" y="72"/>
                  </a:lnTo>
                  <a:lnTo>
                    <a:pt x="156" y="72"/>
                  </a:lnTo>
                  <a:lnTo>
                    <a:pt x="150" y="72"/>
                  </a:lnTo>
                  <a:lnTo>
                    <a:pt x="156" y="72"/>
                  </a:lnTo>
                  <a:lnTo>
                    <a:pt x="156" y="78"/>
                  </a:lnTo>
                  <a:lnTo>
                    <a:pt x="150" y="78"/>
                  </a:lnTo>
                  <a:lnTo>
                    <a:pt x="144" y="84"/>
                  </a:lnTo>
                  <a:lnTo>
                    <a:pt x="144" y="90"/>
                  </a:lnTo>
                  <a:lnTo>
                    <a:pt x="144" y="96"/>
                  </a:lnTo>
                  <a:lnTo>
                    <a:pt x="144" y="90"/>
                  </a:lnTo>
                  <a:lnTo>
                    <a:pt x="150" y="90"/>
                  </a:lnTo>
                  <a:lnTo>
                    <a:pt x="150" y="96"/>
                  </a:lnTo>
                  <a:lnTo>
                    <a:pt x="150" y="90"/>
                  </a:lnTo>
                  <a:lnTo>
                    <a:pt x="156" y="90"/>
                  </a:lnTo>
                  <a:lnTo>
                    <a:pt x="156" y="84"/>
                  </a:lnTo>
                  <a:lnTo>
                    <a:pt x="162" y="84"/>
                  </a:lnTo>
                  <a:lnTo>
                    <a:pt x="168" y="84"/>
                  </a:lnTo>
                  <a:close/>
                  <a:moveTo>
                    <a:pt x="18" y="132"/>
                  </a:moveTo>
                  <a:lnTo>
                    <a:pt x="24" y="132"/>
                  </a:lnTo>
                  <a:lnTo>
                    <a:pt x="30" y="132"/>
                  </a:lnTo>
                  <a:lnTo>
                    <a:pt x="36" y="132"/>
                  </a:lnTo>
                  <a:lnTo>
                    <a:pt x="42" y="132"/>
                  </a:lnTo>
                  <a:lnTo>
                    <a:pt x="42" y="138"/>
                  </a:lnTo>
                  <a:lnTo>
                    <a:pt x="42" y="144"/>
                  </a:lnTo>
                  <a:lnTo>
                    <a:pt x="36" y="144"/>
                  </a:lnTo>
                  <a:lnTo>
                    <a:pt x="42" y="144"/>
                  </a:lnTo>
                  <a:lnTo>
                    <a:pt x="36" y="144"/>
                  </a:lnTo>
                  <a:lnTo>
                    <a:pt x="36" y="138"/>
                  </a:lnTo>
                  <a:lnTo>
                    <a:pt x="30" y="138"/>
                  </a:lnTo>
                  <a:lnTo>
                    <a:pt x="24" y="138"/>
                  </a:lnTo>
                  <a:lnTo>
                    <a:pt x="18" y="138"/>
                  </a:lnTo>
                  <a:lnTo>
                    <a:pt x="18" y="132"/>
                  </a:lnTo>
                  <a:close/>
                  <a:moveTo>
                    <a:pt x="0" y="60"/>
                  </a:moveTo>
                  <a:lnTo>
                    <a:pt x="6" y="60"/>
                  </a:lnTo>
                  <a:lnTo>
                    <a:pt x="0" y="60"/>
                  </a:lnTo>
                  <a:close/>
                  <a:moveTo>
                    <a:pt x="12" y="132"/>
                  </a:moveTo>
                  <a:lnTo>
                    <a:pt x="18" y="132"/>
                  </a:lnTo>
                  <a:lnTo>
                    <a:pt x="12" y="132"/>
                  </a:lnTo>
                  <a:close/>
                  <a:moveTo>
                    <a:pt x="0" y="102"/>
                  </a:moveTo>
                  <a:lnTo>
                    <a:pt x="6" y="102"/>
                  </a:lnTo>
                  <a:lnTo>
                    <a:pt x="6" y="108"/>
                  </a:lnTo>
                  <a:lnTo>
                    <a:pt x="0" y="108"/>
                  </a:lnTo>
                  <a:lnTo>
                    <a:pt x="0" y="102"/>
                  </a:lnTo>
                  <a:close/>
                  <a:moveTo>
                    <a:pt x="12" y="78"/>
                  </a:moveTo>
                  <a:lnTo>
                    <a:pt x="18" y="78"/>
                  </a:lnTo>
                  <a:lnTo>
                    <a:pt x="12" y="78"/>
                  </a:lnTo>
                  <a:close/>
                  <a:moveTo>
                    <a:pt x="42" y="138"/>
                  </a:moveTo>
                  <a:lnTo>
                    <a:pt x="48" y="138"/>
                  </a:lnTo>
                  <a:lnTo>
                    <a:pt x="42" y="138"/>
                  </a:lnTo>
                  <a:close/>
                  <a:moveTo>
                    <a:pt x="12" y="132"/>
                  </a:moveTo>
                  <a:lnTo>
                    <a:pt x="18" y="132"/>
                  </a:lnTo>
                  <a:lnTo>
                    <a:pt x="12" y="132"/>
                  </a:lnTo>
                  <a:close/>
                  <a:moveTo>
                    <a:pt x="12" y="126"/>
                  </a:moveTo>
                  <a:lnTo>
                    <a:pt x="12" y="132"/>
                  </a:lnTo>
                  <a:lnTo>
                    <a:pt x="13" y="132"/>
                  </a:lnTo>
                  <a:lnTo>
                    <a:pt x="12" y="126"/>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7" name="Freeform 19"/>
            <p:cNvSpPr>
              <a:spLocks noEditPoints="1"/>
            </p:cNvSpPr>
            <p:nvPr>
              <p:custDataLst>
                <p:tags r:id="rId72"/>
              </p:custDataLst>
            </p:nvPr>
          </p:nvSpPr>
          <p:spPr bwMode="gray">
            <a:xfrm>
              <a:off x="3775075" y="3265488"/>
              <a:ext cx="15875" cy="22225"/>
            </a:xfrm>
            <a:custGeom>
              <a:avLst/>
              <a:gdLst>
                <a:gd name="T0" fmla="*/ 3413 w 12"/>
                <a:gd name="T1" fmla="*/ 0 h 18"/>
                <a:gd name="T2" fmla="*/ 3413 w 12"/>
                <a:gd name="T3" fmla="*/ 1948 h 18"/>
                <a:gd name="T4" fmla="*/ 3413 w 12"/>
                <a:gd name="T5" fmla="*/ 3896 h 18"/>
                <a:gd name="T6" fmla="*/ 3413 w 12"/>
                <a:gd name="T7" fmla="*/ 6818 h 18"/>
                <a:gd name="T8" fmla="*/ 5689 w 12"/>
                <a:gd name="T9" fmla="*/ 6818 h 18"/>
                <a:gd name="T10" fmla="*/ 3413 w 12"/>
                <a:gd name="T11" fmla="*/ 6818 h 18"/>
                <a:gd name="T12" fmla="*/ 3413 w 12"/>
                <a:gd name="T13" fmla="*/ 3896 h 18"/>
                <a:gd name="T14" fmla="*/ 3413 w 12"/>
                <a:gd name="T15" fmla="*/ 6818 h 18"/>
                <a:gd name="T16" fmla="*/ 5689 w 12"/>
                <a:gd name="T17" fmla="*/ 6818 h 18"/>
                <a:gd name="T18" fmla="*/ 3413 w 12"/>
                <a:gd name="T19" fmla="*/ 6818 h 18"/>
                <a:gd name="T20" fmla="*/ 0 w 12"/>
                <a:gd name="T21" fmla="*/ 6818 h 18"/>
                <a:gd name="T22" fmla="*/ 3413 w 12"/>
                <a:gd name="T23" fmla="*/ 6818 h 18"/>
                <a:gd name="T24" fmla="*/ 0 w 12"/>
                <a:gd name="T25" fmla="*/ 6818 h 18"/>
                <a:gd name="T26" fmla="*/ 3413 w 12"/>
                <a:gd name="T27" fmla="*/ 6818 h 18"/>
                <a:gd name="T28" fmla="*/ 0 w 12"/>
                <a:gd name="T29" fmla="*/ 6818 h 18"/>
                <a:gd name="T30" fmla="*/ 0 w 12"/>
                <a:gd name="T31" fmla="*/ 3896 h 18"/>
                <a:gd name="T32" fmla="*/ 3413 w 12"/>
                <a:gd name="T33" fmla="*/ 3896 h 18"/>
                <a:gd name="T34" fmla="*/ 3413 w 12"/>
                <a:gd name="T35" fmla="*/ 1948 h 18"/>
                <a:gd name="T36" fmla="*/ 0 w 12"/>
                <a:gd name="T37" fmla="*/ 1948 h 18"/>
                <a:gd name="T38" fmla="*/ 3413 w 12"/>
                <a:gd name="T39" fmla="*/ 1948 h 18"/>
                <a:gd name="T40" fmla="*/ 0 w 12"/>
                <a:gd name="T41" fmla="*/ 1948 h 18"/>
                <a:gd name="T42" fmla="*/ 3413 w 12"/>
                <a:gd name="T43" fmla="*/ 1948 h 18"/>
                <a:gd name="T44" fmla="*/ 0 w 12"/>
                <a:gd name="T45" fmla="*/ 1948 h 18"/>
                <a:gd name="T46" fmla="*/ 0 w 12"/>
                <a:gd name="T47" fmla="*/ 0 h 18"/>
                <a:gd name="T48" fmla="*/ 3413 w 12"/>
                <a:gd name="T49" fmla="*/ 0 h 18"/>
                <a:gd name="T50" fmla="*/ 0 w 12"/>
                <a:gd name="T51" fmla="*/ 1948 h 18"/>
                <a:gd name="T52" fmla="*/ 3413 w 12"/>
                <a:gd name="T53" fmla="*/ 1948 h 18"/>
                <a:gd name="T54" fmla="*/ 3413 w 12"/>
                <a:gd name="T55" fmla="*/ 3896 h 18"/>
                <a:gd name="T56" fmla="*/ 0 w 12"/>
                <a:gd name="T57" fmla="*/ 3896 h 18"/>
                <a:gd name="T58" fmla="*/ 0 w 12"/>
                <a:gd name="T59" fmla="*/ 1948 h 18"/>
                <a:gd name="T60" fmla="*/ 0 w 12"/>
                <a:gd name="T61" fmla="*/ 1948 h 18"/>
                <a:gd name="T62" fmla="*/ 3413 w 12"/>
                <a:gd name="T63" fmla="*/ 1948 h 18"/>
                <a:gd name="T64" fmla="*/ 0 w 12"/>
                <a:gd name="T65" fmla="*/ 1948 h 18"/>
                <a:gd name="T66" fmla="*/ 0 w 12"/>
                <a:gd name="T67" fmla="*/ 1948 h 18"/>
                <a:gd name="T68" fmla="*/ 0 w 12"/>
                <a:gd name="T69" fmla="*/ 3896 h 18"/>
                <a:gd name="T70" fmla="*/ 1138 w 12"/>
                <a:gd name="T71" fmla="*/ 3896 h 18"/>
                <a:gd name="T72" fmla="*/ 0 w 12"/>
                <a:gd name="T73" fmla="*/ 1948 h 18"/>
                <a:gd name="T74" fmla="*/ 0 w 12"/>
                <a:gd name="T75" fmla="*/ 0 h 18"/>
                <a:gd name="T76" fmla="*/ 3413 w 12"/>
                <a:gd name="T77" fmla="*/ 0 h 18"/>
                <a:gd name="T78" fmla="*/ 3413 w 12"/>
                <a:gd name="T79" fmla="*/ 1948 h 18"/>
                <a:gd name="T80" fmla="*/ 0 w 12"/>
                <a:gd name="T81" fmla="*/ 1948 h 18"/>
                <a:gd name="T82" fmla="*/ 0 w 12"/>
                <a:gd name="T83" fmla="*/ 0 h 18"/>
                <a:gd name="T84" fmla="*/ 0 w 12"/>
                <a:gd name="T85" fmla="*/ 0 h 18"/>
                <a:gd name="T86" fmla="*/ 3413 w 12"/>
                <a:gd name="T87" fmla="*/ 0 h 18"/>
                <a:gd name="T88" fmla="*/ 0 w 12"/>
                <a:gd name="T89" fmla="*/ 0 h 18"/>
                <a:gd name="T90" fmla="*/ 0 w 12"/>
                <a:gd name="T91" fmla="*/ 1948 h 18"/>
                <a:gd name="T92" fmla="*/ 3413 w 12"/>
                <a:gd name="T93" fmla="*/ 1948 h 18"/>
                <a:gd name="T94" fmla="*/ 0 w 12"/>
                <a:gd name="T95" fmla="*/ 1948 h 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 h="18">
                  <a:moveTo>
                    <a:pt x="6" y="0"/>
                  </a:moveTo>
                  <a:lnTo>
                    <a:pt x="6" y="6"/>
                  </a:lnTo>
                  <a:lnTo>
                    <a:pt x="6" y="12"/>
                  </a:lnTo>
                  <a:lnTo>
                    <a:pt x="6" y="18"/>
                  </a:lnTo>
                  <a:lnTo>
                    <a:pt x="12" y="18"/>
                  </a:lnTo>
                  <a:lnTo>
                    <a:pt x="6" y="18"/>
                  </a:lnTo>
                  <a:lnTo>
                    <a:pt x="6" y="12"/>
                  </a:lnTo>
                  <a:lnTo>
                    <a:pt x="6" y="18"/>
                  </a:lnTo>
                  <a:lnTo>
                    <a:pt x="12" y="18"/>
                  </a:lnTo>
                  <a:lnTo>
                    <a:pt x="6" y="18"/>
                  </a:lnTo>
                  <a:lnTo>
                    <a:pt x="0" y="18"/>
                  </a:lnTo>
                  <a:lnTo>
                    <a:pt x="6" y="18"/>
                  </a:lnTo>
                  <a:lnTo>
                    <a:pt x="0" y="18"/>
                  </a:lnTo>
                  <a:lnTo>
                    <a:pt x="6" y="18"/>
                  </a:lnTo>
                  <a:lnTo>
                    <a:pt x="0" y="18"/>
                  </a:lnTo>
                  <a:lnTo>
                    <a:pt x="0" y="12"/>
                  </a:lnTo>
                  <a:lnTo>
                    <a:pt x="6" y="12"/>
                  </a:lnTo>
                  <a:lnTo>
                    <a:pt x="6" y="6"/>
                  </a:lnTo>
                  <a:lnTo>
                    <a:pt x="0" y="6"/>
                  </a:lnTo>
                  <a:lnTo>
                    <a:pt x="6" y="6"/>
                  </a:lnTo>
                  <a:lnTo>
                    <a:pt x="0" y="6"/>
                  </a:lnTo>
                  <a:lnTo>
                    <a:pt x="6" y="6"/>
                  </a:lnTo>
                  <a:lnTo>
                    <a:pt x="0" y="6"/>
                  </a:lnTo>
                  <a:lnTo>
                    <a:pt x="0" y="0"/>
                  </a:lnTo>
                  <a:lnTo>
                    <a:pt x="6" y="0"/>
                  </a:lnTo>
                  <a:close/>
                  <a:moveTo>
                    <a:pt x="0" y="6"/>
                  </a:moveTo>
                  <a:lnTo>
                    <a:pt x="6" y="6"/>
                  </a:lnTo>
                  <a:lnTo>
                    <a:pt x="6" y="12"/>
                  </a:lnTo>
                  <a:lnTo>
                    <a:pt x="0" y="12"/>
                  </a:lnTo>
                  <a:lnTo>
                    <a:pt x="0" y="6"/>
                  </a:lnTo>
                  <a:close/>
                  <a:moveTo>
                    <a:pt x="0" y="6"/>
                  </a:moveTo>
                  <a:lnTo>
                    <a:pt x="6" y="6"/>
                  </a:lnTo>
                  <a:lnTo>
                    <a:pt x="0" y="6"/>
                  </a:lnTo>
                  <a:close/>
                  <a:moveTo>
                    <a:pt x="0" y="6"/>
                  </a:moveTo>
                  <a:lnTo>
                    <a:pt x="0" y="12"/>
                  </a:lnTo>
                  <a:lnTo>
                    <a:pt x="1" y="12"/>
                  </a:lnTo>
                  <a:lnTo>
                    <a:pt x="0" y="6"/>
                  </a:lnTo>
                  <a:close/>
                  <a:moveTo>
                    <a:pt x="0" y="0"/>
                  </a:moveTo>
                  <a:lnTo>
                    <a:pt x="6" y="0"/>
                  </a:lnTo>
                  <a:lnTo>
                    <a:pt x="6" y="6"/>
                  </a:lnTo>
                  <a:lnTo>
                    <a:pt x="0" y="6"/>
                  </a:lnTo>
                  <a:lnTo>
                    <a:pt x="0" y="0"/>
                  </a:lnTo>
                  <a:close/>
                  <a:moveTo>
                    <a:pt x="0" y="0"/>
                  </a:moveTo>
                  <a:lnTo>
                    <a:pt x="6" y="0"/>
                  </a:lnTo>
                  <a:lnTo>
                    <a:pt x="0" y="0"/>
                  </a:lnTo>
                  <a:close/>
                  <a:moveTo>
                    <a:pt x="0" y="6"/>
                  </a:moveTo>
                  <a:lnTo>
                    <a:pt x="6" y="6"/>
                  </a:lnTo>
                  <a:lnTo>
                    <a:pt x="0" y="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8" name="Freeform 20"/>
            <p:cNvSpPr>
              <a:spLocks noEditPoints="1"/>
            </p:cNvSpPr>
            <p:nvPr>
              <p:custDataLst>
                <p:tags r:id="rId73"/>
              </p:custDataLst>
            </p:nvPr>
          </p:nvSpPr>
          <p:spPr bwMode="gray">
            <a:xfrm>
              <a:off x="3768725" y="3338513"/>
              <a:ext cx="201613" cy="203200"/>
            </a:xfrm>
            <a:custGeom>
              <a:avLst/>
              <a:gdLst>
                <a:gd name="T0" fmla="*/ 23312 w 162"/>
                <a:gd name="T1" fmla="*/ 55406 h 162"/>
                <a:gd name="T2" fmla="*/ 21369 w 162"/>
                <a:gd name="T3" fmla="*/ 53427 h 162"/>
                <a:gd name="T4" fmla="*/ 19426 w 162"/>
                <a:gd name="T5" fmla="*/ 55406 h 162"/>
                <a:gd name="T6" fmla="*/ 19426 w 162"/>
                <a:gd name="T7" fmla="*/ 50459 h 162"/>
                <a:gd name="T8" fmla="*/ 21369 w 162"/>
                <a:gd name="T9" fmla="*/ 49470 h 162"/>
                <a:gd name="T10" fmla="*/ 23312 w 162"/>
                <a:gd name="T11" fmla="*/ 46501 h 162"/>
                <a:gd name="T12" fmla="*/ 23312 w 162"/>
                <a:gd name="T13" fmla="*/ 46501 h 162"/>
                <a:gd name="T14" fmla="*/ 23312 w 162"/>
                <a:gd name="T15" fmla="*/ 42543 h 162"/>
                <a:gd name="T16" fmla="*/ 26226 w 162"/>
                <a:gd name="T17" fmla="*/ 39576 h 162"/>
                <a:gd name="T18" fmla="*/ 27196 w 162"/>
                <a:gd name="T19" fmla="*/ 37597 h 162"/>
                <a:gd name="T20" fmla="*/ 27196 w 162"/>
                <a:gd name="T21" fmla="*/ 33640 h 162"/>
                <a:gd name="T22" fmla="*/ 27196 w 162"/>
                <a:gd name="T23" fmla="*/ 28693 h 162"/>
                <a:gd name="T24" fmla="*/ 30110 w 162"/>
                <a:gd name="T25" fmla="*/ 30671 h 162"/>
                <a:gd name="T26" fmla="*/ 30110 w 162"/>
                <a:gd name="T27" fmla="*/ 30671 h 162"/>
                <a:gd name="T28" fmla="*/ 32053 w 162"/>
                <a:gd name="T29" fmla="*/ 33640 h 162"/>
                <a:gd name="T30" fmla="*/ 36909 w 162"/>
                <a:gd name="T31" fmla="*/ 33640 h 162"/>
                <a:gd name="T32" fmla="*/ 40794 w 162"/>
                <a:gd name="T33" fmla="*/ 33640 h 162"/>
                <a:gd name="T34" fmla="*/ 44680 w 162"/>
                <a:gd name="T35" fmla="*/ 33640 h 162"/>
                <a:gd name="T36" fmla="*/ 48565 w 162"/>
                <a:gd name="T37" fmla="*/ 33640 h 162"/>
                <a:gd name="T38" fmla="*/ 53422 w 162"/>
                <a:gd name="T39" fmla="*/ 33640 h 162"/>
                <a:gd name="T40" fmla="*/ 57307 w 162"/>
                <a:gd name="T41" fmla="*/ 33640 h 162"/>
                <a:gd name="T42" fmla="*/ 57307 w 162"/>
                <a:gd name="T43" fmla="*/ 37597 h 162"/>
                <a:gd name="T44" fmla="*/ 57307 w 162"/>
                <a:gd name="T45" fmla="*/ 42543 h 162"/>
                <a:gd name="T46" fmla="*/ 57307 w 162"/>
                <a:gd name="T47" fmla="*/ 46501 h 162"/>
                <a:gd name="T48" fmla="*/ 57307 w 162"/>
                <a:gd name="T49" fmla="*/ 50459 h 162"/>
                <a:gd name="T50" fmla="*/ 57307 w 162"/>
                <a:gd name="T51" fmla="*/ 55406 h 162"/>
                <a:gd name="T52" fmla="*/ 55364 w 162"/>
                <a:gd name="T53" fmla="*/ 57384 h 162"/>
                <a:gd name="T54" fmla="*/ 51479 w 162"/>
                <a:gd name="T55" fmla="*/ 57384 h 162"/>
                <a:gd name="T56" fmla="*/ 46622 w 162"/>
                <a:gd name="T57" fmla="*/ 57384 h 162"/>
                <a:gd name="T58" fmla="*/ 42737 w 162"/>
                <a:gd name="T59" fmla="*/ 57384 h 162"/>
                <a:gd name="T60" fmla="*/ 37880 w 162"/>
                <a:gd name="T61" fmla="*/ 57384 h 162"/>
                <a:gd name="T62" fmla="*/ 33995 w 162"/>
                <a:gd name="T63" fmla="*/ 57384 h 162"/>
                <a:gd name="T64" fmla="*/ 30110 w 162"/>
                <a:gd name="T65" fmla="*/ 57384 h 162"/>
                <a:gd name="T66" fmla="*/ 27196 w 162"/>
                <a:gd name="T67" fmla="*/ 55406 h 162"/>
                <a:gd name="T68" fmla="*/ 3885 w 162"/>
                <a:gd name="T69" fmla="*/ 1978 h 162"/>
                <a:gd name="T70" fmla="*/ 8742 w 162"/>
                <a:gd name="T71" fmla="*/ 0 h 162"/>
                <a:gd name="T72" fmla="*/ 10684 w 162"/>
                <a:gd name="T73" fmla="*/ 1978 h 162"/>
                <a:gd name="T74" fmla="*/ 8742 w 162"/>
                <a:gd name="T75" fmla="*/ 3958 h 162"/>
                <a:gd name="T76" fmla="*/ 6799 w 162"/>
                <a:gd name="T77" fmla="*/ 6925 h 162"/>
                <a:gd name="T78" fmla="*/ 6799 w 162"/>
                <a:gd name="T79" fmla="*/ 10883 h 162"/>
                <a:gd name="T80" fmla="*/ 1943 w 162"/>
                <a:gd name="T81" fmla="*/ 10883 h 162"/>
                <a:gd name="T82" fmla="*/ 0 w 162"/>
                <a:gd name="T83" fmla="*/ 6925 h 162"/>
                <a:gd name="T84" fmla="*/ 3885 w 162"/>
                <a:gd name="T85" fmla="*/ 6925 h 162"/>
                <a:gd name="T86" fmla="*/ 3885 w 162"/>
                <a:gd name="T87" fmla="*/ 1978 h 162"/>
                <a:gd name="T88" fmla="*/ 19426 w 162"/>
                <a:gd name="T89" fmla="*/ 57384 h 162"/>
                <a:gd name="T90" fmla="*/ 17484 w 162"/>
                <a:gd name="T91" fmla="*/ 60353 h 1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2" h="162">
                  <a:moveTo>
                    <a:pt x="72" y="150"/>
                  </a:moveTo>
                  <a:lnTo>
                    <a:pt x="66" y="150"/>
                  </a:lnTo>
                  <a:lnTo>
                    <a:pt x="66" y="144"/>
                  </a:lnTo>
                  <a:lnTo>
                    <a:pt x="60" y="144"/>
                  </a:lnTo>
                  <a:lnTo>
                    <a:pt x="60" y="150"/>
                  </a:lnTo>
                  <a:lnTo>
                    <a:pt x="54" y="150"/>
                  </a:lnTo>
                  <a:lnTo>
                    <a:pt x="54" y="144"/>
                  </a:lnTo>
                  <a:lnTo>
                    <a:pt x="54" y="138"/>
                  </a:lnTo>
                  <a:lnTo>
                    <a:pt x="60" y="138"/>
                  </a:lnTo>
                  <a:lnTo>
                    <a:pt x="60" y="132"/>
                  </a:lnTo>
                  <a:lnTo>
                    <a:pt x="60" y="126"/>
                  </a:lnTo>
                  <a:lnTo>
                    <a:pt x="66" y="126"/>
                  </a:lnTo>
                  <a:lnTo>
                    <a:pt x="66" y="132"/>
                  </a:lnTo>
                  <a:lnTo>
                    <a:pt x="66" y="126"/>
                  </a:lnTo>
                  <a:lnTo>
                    <a:pt x="66" y="120"/>
                  </a:lnTo>
                  <a:lnTo>
                    <a:pt x="66" y="114"/>
                  </a:lnTo>
                  <a:lnTo>
                    <a:pt x="72" y="114"/>
                  </a:lnTo>
                  <a:lnTo>
                    <a:pt x="72" y="108"/>
                  </a:lnTo>
                  <a:lnTo>
                    <a:pt x="78" y="108"/>
                  </a:lnTo>
                  <a:lnTo>
                    <a:pt x="78" y="102"/>
                  </a:lnTo>
                  <a:lnTo>
                    <a:pt x="78" y="96"/>
                  </a:lnTo>
                  <a:lnTo>
                    <a:pt x="78" y="90"/>
                  </a:lnTo>
                  <a:lnTo>
                    <a:pt x="78" y="84"/>
                  </a:lnTo>
                  <a:lnTo>
                    <a:pt x="78" y="78"/>
                  </a:lnTo>
                  <a:lnTo>
                    <a:pt x="78" y="84"/>
                  </a:lnTo>
                  <a:lnTo>
                    <a:pt x="84" y="84"/>
                  </a:lnTo>
                  <a:lnTo>
                    <a:pt x="84" y="90"/>
                  </a:lnTo>
                  <a:lnTo>
                    <a:pt x="84" y="84"/>
                  </a:lnTo>
                  <a:lnTo>
                    <a:pt x="84" y="90"/>
                  </a:lnTo>
                  <a:lnTo>
                    <a:pt x="90" y="90"/>
                  </a:lnTo>
                  <a:lnTo>
                    <a:pt x="96" y="90"/>
                  </a:lnTo>
                  <a:lnTo>
                    <a:pt x="102" y="90"/>
                  </a:lnTo>
                  <a:lnTo>
                    <a:pt x="108" y="90"/>
                  </a:lnTo>
                  <a:lnTo>
                    <a:pt x="114" y="90"/>
                  </a:lnTo>
                  <a:lnTo>
                    <a:pt x="120" y="90"/>
                  </a:lnTo>
                  <a:lnTo>
                    <a:pt x="126" y="90"/>
                  </a:lnTo>
                  <a:lnTo>
                    <a:pt x="132" y="90"/>
                  </a:lnTo>
                  <a:lnTo>
                    <a:pt x="138" y="90"/>
                  </a:lnTo>
                  <a:lnTo>
                    <a:pt x="144" y="90"/>
                  </a:lnTo>
                  <a:lnTo>
                    <a:pt x="150" y="90"/>
                  </a:lnTo>
                  <a:lnTo>
                    <a:pt x="156" y="90"/>
                  </a:lnTo>
                  <a:lnTo>
                    <a:pt x="162" y="90"/>
                  </a:lnTo>
                  <a:lnTo>
                    <a:pt x="162" y="96"/>
                  </a:lnTo>
                  <a:lnTo>
                    <a:pt x="162" y="102"/>
                  </a:lnTo>
                  <a:lnTo>
                    <a:pt x="162" y="108"/>
                  </a:lnTo>
                  <a:lnTo>
                    <a:pt x="162" y="114"/>
                  </a:lnTo>
                  <a:lnTo>
                    <a:pt x="162" y="120"/>
                  </a:lnTo>
                  <a:lnTo>
                    <a:pt x="162" y="126"/>
                  </a:lnTo>
                  <a:lnTo>
                    <a:pt x="162" y="132"/>
                  </a:lnTo>
                  <a:lnTo>
                    <a:pt x="162" y="138"/>
                  </a:lnTo>
                  <a:lnTo>
                    <a:pt x="162" y="144"/>
                  </a:lnTo>
                  <a:lnTo>
                    <a:pt x="162" y="150"/>
                  </a:lnTo>
                  <a:lnTo>
                    <a:pt x="162" y="156"/>
                  </a:lnTo>
                  <a:lnTo>
                    <a:pt x="156" y="156"/>
                  </a:lnTo>
                  <a:lnTo>
                    <a:pt x="150" y="156"/>
                  </a:lnTo>
                  <a:lnTo>
                    <a:pt x="144" y="156"/>
                  </a:lnTo>
                  <a:lnTo>
                    <a:pt x="138" y="156"/>
                  </a:lnTo>
                  <a:lnTo>
                    <a:pt x="132" y="156"/>
                  </a:lnTo>
                  <a:lnTo>
                    <a:pt x="126" y="156"/>
                  </a:lnTo>
                  <a:lnTo>
                    <a:pt x="120" y="156"/>
                  </a:lnTo>
                  <a:lnTo>
                    <a:pt x="114" y="156"/>
                  </a:lnTo>
                  <a:lnTo>
                    <a:pt x="108" y="156"/>
                  </a:lnTo>
                  <a:lnTo>
                    <a:pt x="102" y="156"/>
                  </a:lnTo>
                  <a:lnTo>
                    <a:pt x="96" y="156"/>
                  </a:lnTo>
                  <a:lnTo>
                    <a:pt x="90" y="156"/>
                  </a:lnTo>
                  <a:lnTo>
                    <a:pt x="84" y="156"/>
                  </a:lnTo>
                  <a:lnTo>
                    <a:pt x="78" y="156"/>
                  </a:lnTo>
                  <a:lnTo>
                    <a:pt x="78" y="150"/>
                  </a:lnTo>
                  <a:lnTo>
                    <a:pt x="72" y="150"/>
                  </a:lnTo>
                  <a:close/>
                  <a:moveTo>
                    <a:pt x="12" y="6"/>
                  </a:moveTo>
                  <a:lnTo>
                    <a:pt x="18" y="0"/>
                  </a:lnTo>
                  <a:lnTo>
                    <a:pt x="24" y="0"/>
                  </a:lnTo>
                  <a:lnTo>
                    <a:pt x="30" y="0"/>
                  </a:lnTo>
                  <a:lnTo>
                    <a:pt x="30" y="6"/>
                  </a:lnTo>
                  <a:lnTo>
                    <a:pt x="30" y="12"/>
                  </a:lnTo>
                  <a:lnTo>
                    <a:pt x="24" y="12"/>
                  </a:lnTo>
                  <a:lnTo>
                    <a:pt x="24" y="18"/>
                  </a:lnTo>
                  <a:lnTo>
                    <a:pt x="18" y="18"/>
                  </a:lnTo>
                  <a:lnTo>
                    <a:pt x="18" y="24"/>
                  </a:lnTo>
                  <a:lnTo>
                    <a:pt x="18" y="30"/>
                  </a:lnTo>
                  <a:lnTo>
                    <a:pt x="12" y="30"/>
                  </a:lnTo>
                  <a:lnTo>
                    <a:pt x="6" y="30"/>
                  </a:lnTo>
                  <a:lnTo>
                    <a:pt x="0" y="24"/>
                  </a:lnTo>
                  <a:lnTo>
                    <a:pt x="0" y="18"/>
                  </a:lnTo>
                  <a:lnTo>
                    <a:pt x="6" y="18"/>
                  </a:lnTo>
                  <a:lnTo>
                    <a:pt x="12" y="18"/>
                  </a:lnTo>
                  <a:lnTo>
                    <a:pt x="12" y="12"/>
                  </a:lnTo>
                  <a:lnTo>
                    <a:pt x="12" y="6"/>
                  </a:lnTo>
                  <a:close/>
                  <a:moveTo>
                    <a:pt x="48" y="156"/>
                  </a:moveTo>
                  <a:lnTo>
                    <a:pt x="54" y="156"/>
                  </a:lnTo>
                  <a:lnTo>
                    <a:pt x="54" y="162"/>
                  </a:lnTo>
                  <a:lnTo>
                    <a:pt x="48" y="162"/>
                  </a:lnTo>
                  <a:lnTo>
                    <a:pt x="48" y="156"/>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09" name="Freeform 22"/>
            <p:cNvSpPr>
              <a:spLocks noEditPoints="1"/>
            </p:cNvSpPr>
            <p:nvPr>
              <p:custDataLst>
                <p:tags r:id="rId74"/>
              </p:custDataLst>
            </p:nvPr>
          </p:nvSpPr>
          <p:spPr bwMode="gray">
            <a:xfrm>
              <a:off x="3783013" y="2690813"/>
              <a:ext cx="520700" cy="796925"/>
            </a:xfrm>
            <a:custGeom>
              <a:avLst/>
              <a:gdLst>
                <a:gd name="T0" fmla="*/ 146063 w 420"/>
                <a:gd name="T1" fmla="*/ 226200 h 642"/>
                <a:gd name="T2" fmla="*/ 135423 w 420"/>
                <a:gd name="T3" fmla="*/ 222316 h 642"/>
                <a:gd name="T4" fmla="*/ 127684 w 420"/>
                <a:gd name="T5" fmla="*/ 220375 h 642"/>
                <a:gd name="T6" fmla="*/ 120913 w 420"/>
                <a:gd name="T7" fmla="*/ 220375 h 642"/>
                <a:gd name="T8" fmla="*/ 105436 w 420"/>
                <a:gd name="T9" fmla="*/ 218433 h 642"/>
                <a:gd name="T10" fmla="*/ 93828 w 420"/>
                <a:gd name="T11" fmla="*/ 215521 h 642"/>
                <a:gd name="T12" fmla="*/ 78351 w 420"/>
                <a:gd name="T13" fmla="*/ 215521 h 642"/>
                <a:gd name="T14" fmla="*/ 61908 w 420"/>
                <a:gd name="T15" fmla="*/ 214550 h 642"/>
                <a:gd name="T16" fmla="*/ 53202 w 420"/>
                <a:gd name="T17" fmla="*/ 215521 h 642"/>
                <a:gd name="T18" fmla="*/ 35790 w 420"/>
                <a:gd name="T19" fmla="*/ 218433 h 642"/>
                <a:gd name="T20" fmla="*/ 23215 w 420"/>
                <a:gd name="T21" fmla="*/ 215521 h 642"/>
                <a:gd name="T22" fmla="*/ 27084 w 420"/>
                <a:gd name="T23" fmla="*/ 200959 h 642"/>
                <a:gd name="T24" fmla="*/ 19346 w 420"/>
                <a:gd name="T25" fmla="*/ 190280 h 642"/>
                <a:gd name="T26" fmla="*/ 19346 w 420"/>
                <a:gd name="T27" fmla="*/ 184455 h 642"/>
                <a:gd name="T28" fmla="*/ 17411 w 420"/>
                <a:gd name="T29" fmla="*/ 181543 h 642"/>
                <a:gd name="T30" fmla="*/ 8706 w 420"/>
                <a:gd name="T31" fmla="*/ 179601 h 642"/>
                <a:gd name="T32" fmla="*/ 3869 w 420"/>
                <a:gd name="T33" fmla="*/ 172805 h 642"/>
                <a:gd name="T34" fmla="*/ 0 w 420"/>
                <a:gd name="T35" fmla="*/ 162126 h 642"/>
                <a:gd name="T36" fmla="*/ 3869 w 420"/>
                <a:gd name="T37" fmla="*/ 151447 h 642"/>
                <a:gd name="T38" fmla="*/ 10640 w 420"/>
                <a:gd name="T39" fmla="*/ 138826 h 642"/>
                <a:gd name="T40" fmla="*/ 21281 w 420"/>
                <a:gd name="T41" fmla="*/ 131060 h 642"/>
                <a:gd name="T42" fmla="*/ 29986 w 420"/>
                <a:gd name="T43" fmla="*/ 120381 h 642"/>
                <a:gd name="T44" fmla="*/ 37725 w 420"/>
                <a:gd name="T45" fmla="*/ 124265 h 642"/>
                <a:gd name="T46" fmla="*/ 42561 w 420"/>
                <a:gd name="T47" fmla="*/ 121352 h 642"/>
                <a:gd name="T48" fmla="*/ 46431 w 420"/>
                <a:gd name="T49" fmla="*/ 126206 h 642"/>
                <a:gd name="T50" fmla="*/ 57071 w 420"/>
                <a:gd name="T51" fmla="*/ 128148 h 642"/>
                <a:gd name="T52" fmla="*/ 61908 w 420"/>
                <a:gd name="T53" fmla="*/ 121352 h 642"/>
                <a:gd name="T54" fmla="*/ 67712 w 420"/>
                <a:gd name="T55" fmla="*/ 108731 h 642"/>
                <a:gd name="T56" fmla="*/ 71581 w 420"/>
                <a:gd name="T57" fmla="*/ 94169 h 642"/>
                <a:gd name="T58" fmla="*/ 80287 w 420"/>
                <a:gd name="T59" fmla="*/ 87373 h 642"/>
                <a:gd name="T60" fmla="*/ 83188 w 420"/>
                <a:gd name="T61" fmla="*/ 74753 h 642"/>
                <a:gd name="T62" fmla="*/ 90926 w 420"/>
                <a:gd name="T63" fmla="*/ 64074 h 642"/>
                <a:gd name="T64" fmla="*/ 97698 w 420"/>
                <a:gd name="T65" fmla="*/ 51453 h 642"/>
                <a:gd name="T66" fmla="*/ 104469 w 420"/>
                <a:gd name="T67" fmla="*/ 37862 h 642"/>
                <a:gd name="T68" fmla="*/ 117044 w 420"/>
                <a:gd name="T69" fmla="*/ 32037 h 642"/>
                <a:gd name="T70" fmla="*/ 118978 w 420"/>
                <a:gd name="T71" fmla="*/ 19416 h 642"/>
                <a:gd name="T72" fmla="*/ 110273 w 420"/>
                <a:gd name="T73" fmla="*/ 12620 h 642"/>
                <a:gd name="T74" fmla="*/ 115109 w 420"/>
                <a:gd name="T75" fmla="*/ 0 h 642"/>
                <a:gd name="T76" fmla="*/ 120913 w 420"/>
                <a:gd name="T77" fmla="*/ 8737 h 642"/>
                <a:gd name="T78" fmla="*/ 122848 w 420"/>
                <a:gd name="T79" fmla="*/ 17475 h 642"/>
                <a:gd name="T80" fmla="*/ 127684 w 420"/>
                <a:gd name="T81" fmla="*/ 30095 h 642"/>
                <a:gd name="T82" fmla="*/ 124782 w 420"/>
                <a:gd name="T83" fmla="*/ 37862 h 642"/>
                <a:gd name="T84" fmla="*/ 131554 w 420"/>
                <a:gd name="T85" fmla="*/ 51453 h 642"/>
                <a:gd name="T86" fmla="*/ 138325 w 420"/>
                <a:gd name="T87" fmla="*/ 62132 h 642"/>
                <a:gd name="T88" fmla="*/ 118978 w 420"/>
                <a:gd name="T89" fmla="*/ 62132 h 642"/>
                <a:gd name="T90" fmla="*/ 105436 w 420"/>
                <a:gd name="T91" fmla="*/ 67957 h 642"/>
                <a:gd name="T92" fmla="*/ 117044 w 420"/>
                <a:gd name="T93" fmla="*/ 79607 h 642"/>
                <a:gd name="T94" fmla="*/ 124782 w 420"/>
                <a:gd name="T95" fmla="*/ 85431 h 642"/>
                <a:gd name="T96" fmla="*/ 133488 w 420"/>
                <a:gd name="T97" fmla="*/ 98053 h 642"/>
                <a:gd name="T98" fmla="*/ 133488 w 420"/>
                <a:gd name="T99" fmla="*/ 113586 h 642"/>
                <a:gd name="T100" fmla="*/ 124782 w 420"/>
                <a:gd name="T101" fmla="*/ 126206 h 642"/>
                <a:gd name="T102" fmla="*/ 118978 w 420"/>
                <a:gd name="T103" fmla="*/ 136885 h 642"/>
                <a:gd name="T104" fmla="*/ 118978 w 420"/>
                <a:gd name="T105" fmla="*/ 147564 h 642"/>
                <a:gd name="T106" fmla="*/ 118978 w 420"/>
                <a:gd name="T107" fmla="*/ 158243 h 642"/>
                <a:gd name="T108" fmla="*/ 122848 w 420"/>
                <a:gd name="T109" fmla="*/ 170864 h 642"/>
                <a:gd name="T110" fmla="*/ 127684 w 420"/>
                <a:gd name="T111" fmla="*/ 184455 h 642"/>
                <a:gd name="T112" fmla="*/ 138325 w 420"/>
                <a:gd name="T113" fmla="*/ 196105 h 642"/>
                <a:gd name="T114" fmla="*/ 146063 w 420"/>
                <a:gd name="T115" fmla="*/ 207754 h 6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20" h="642">
                  <a:moveTo>
                    <a:pt x="420" y="606"/>
                  </a:moveTo>
                  <a:lnTo>
                    <a:pt x="420" y="612"/>
                  </a:lnTo>
                  <a:lnTo>
                    <a:pt x="414" y="612"/>
                  </a:lnTo>
                  <a:lnTo>
                    <a:pt x="414" y="618"/>
                  </a:lnTo>
                  <a:lnTo>
                    <a:pt x="414" y="624"/>
                  </a:lnTo>
                  <a:lnTo>
                    <a:pt x="420" y="624"/>
                  </a:lnTo>
                  <a:lnTo>
                    <a:pt x="420" y="630"/>
                  </a:lnTo>
                  <a:lnTo>
                    <a:pt x="420" y="636"/>
                  </a:lnTo>
                  <a:lnTo>
                    <a:pt x="414" y="636"/>
                  </a:lnTo>
                  <a:lnTo>
                    <a:pt x="414" y="642"/>
                  </a:lnTo>
                  <a:lnTo>
                    <a:pt x="414" y="636"/>
                  </a:lnTo>
                  <a:lnTo>
                    <a:pt x="408" y="636"/>
                  </a:lnTo>
                  <a:lnTo>
                    <a:pt x="408" y="630"/>
                  </a:lnTo>
                  <a:lnTo>
                    <a:pt x="402" y="630"/>
                  </a:lnTo>
                  <a:lnTo>
                    <a:pt x="402" y="624"/>
                  </a:lnTo>
                  <a:lnTo>
                    <a:pt x="396" y="624"/>
                  </a:lnTo>
                  <a:lnTo>
                    <a:pt x="390" y="624"/>
                  </a:lnTo>
                  <a:lnTo>
                    <a:pt x="384" y="624"/>
                  </a:lnTo>
                  <a:lnTo>
                    <a:pt x="378" y="624"/>
                  </a:lnTo>
                  <a:lnTo>
                    <a:pt x="372" y="624"/>
                  </a:lnTo>
                  <a:lnTo>
                    <a:pt x="372" y="618"/>
                  </a:lnTo>
                  <a:lnTo>
                    <a:pt x="366" y="618"/>
                  </a:lnTo>
                  <a:lnTo>
                    <a:pt x="372" y="618"/>
                  </a:lnTo>
                  <a:lnTo>
                    <a:pt x="366" y="618"/>
                  </a:lnTo>
                  <a:lnTo>
                    <a:pt x="360" y="618"/>
                  </a:lnTo>
                  <a:lnTo>
                    <a:pt x="360" y="624"/>
                  </a:lnTo>
                  <a:lnTo>
                    <a:pt x="360" y="618"/>
                  </a:lnTo>
                  <a:lnTo>
                    <a:pt x="360" y="624"/>
                  </a:lnTo>
                  <a:lnTo>
                    <a:pt x="360" y="618"/>
                  </a:lnTo>
                  <a:lnTo>
                    <a:pt x="354" y="618"/>
                  </a:lnTo>
                  <a:lnTo>
                    <a:pt x="348" y="618"/>
                  </a:lnTo>
                  <a:lnTo>
                    <a:pt x="348" y="612"/>
                  </a:lnTo>
                  <a:lnTo>
                    <a:pt x="348" y="618"/>
                  </a:lnTo>
                  <a:lnTo>
                    <a:pt x="342" y="618"/>
                  </a:lnTo>
                  <a:lnTo>
                    <a:pt x="342" y="612"/>
                  </a:lnTo>
                  <a:lnTo>
                    <a:pt x="342" y="618"/>
                  </a:lnTo>
                  <a:lnTo>
                    <a:pt x="342" y="612"/>
                  </a:lnTo>
                  <a:lnTo>
                    <a:pt x="336" y="612"/>
                  </a:lnTo>
                  <a:lnTo>
                    <a:pt x="330" y="606"/>
                  </a:lnTo>
                  <a:lnTo>
                    <a:pt x="330" y="612"/>
                  </a:lnTo>
                  <a:lnTo>
                    <a:pt x="324" y="612"/>
                  </a:lnTo>
                  <a:lnTo>
                    <a:pt x="318" y="612"/>
                  </a:lnTo>
                  <a:lnTo>
                    <a:pt x="312" y="612"/>
                  </a:lnTo>
                  <a:lnTo>
                    <a:pt x="306" y="612"/>
                  </a:lnTo>
                  <a:lnTo>
                    <a:pt x="300" y="612"/>
                  </a:lnTo>
                  <a:lnTo>
                    <a:pt x="294" y="612"/>
                  </a:lnTo>
                  <a:lnTo>
                    <a:pt x="288" y="612"/>
                  </a:lnTo>
                  <a:lnTo>
                    <a:pt x="282" y="612"/>
                  </a:lnTo>
                  <a:lnTo>
                    <a:pt x="276" y="612"/>
                  </a:lnTo>
                  <a:lnTo>
                    <a:pt x="270" y="612"/>
                  </a:lnTo>
                  <a:lnTo>
                    <a:pt x="264" y="612"/>
                  </a:lnTo>
                  <a:lnTo>
                    <a:pt x="258" y="612"/>
                  </a:lnTo>
                  <a:lnTo>
                    <a:pt x="258" y="606"/>
                  </a:lnTo>
                  <a:lnTo>
                    <a:pt x="264" y="606"/>
                  </a:lnTo>
                  <a:lnTo>
                    <a:pt x="258" y="606"/>
                  </a:lnTo>
                  <a:lnTo>
                    <a:pt x="252" y="606"/>
                  </a:lnTo>
                  <a:lnTo>
                    <a:pt x="258" y="606"/>
                  </a:lnTo>
                  <a:lnTo>
                    <a:pt x="252" y="606"/>
                  </a:lnTo>
                  <a:lnTo>
                    <a:pt x="246" y="606"/>
                  </a:lnTo>
                  <a:lnTo>
                    <a:pt x="240" y="606"/>
                  </a:lnTo>
                  <a:lnTo>
                    <a:pt x="234" y="606"/>
                  </a:lnTo>
                  <a:lnTo>
                    <a:pt x="228" y="606"/>
                  </a:lnTo>
                  <a:lnTo>
                    <a:pt x="222" y="606"/>
                  </a:lnTo>
                  <a:lnTo>
                    <a:pt x="216" y="606"/>
                  </a:lnTo>
                  <a:lnTo>
                    <a:pt x="210" y="606"/>
                  </a:lnTo>
                  <a:lnTo>
                    <a:pt x="204" y="606"/>
                  </a:lnTo>
                  <a:lnTo>
                    <a:pt x="198" y="606"/>
                  </a:lnTo>
                  <a:lnTo>
                    <a:pt x="192" y="606"/>
                  </a:lnTo>
                  <a:lnTo>
                    <a:pt x="186" y="606"/>
                  </a:lnTo>
                  <a:lnTo>
                    <a:pt x="180" y="606"/>
                  </a:lnTo>
                  <a:lnTo>
                    <a:pt x="174" y="606"/>
                  </a:lnTo>
                  <a:lnTo>
                    <a:pt x="174" y="600"/>
                  </a:lnTo>
                  <a:lnTo>
                    <a:pt x="168" y="600"/>
                  </a:lnTo>
                  <a:lnTo>
                    <a:pt x="168" y="606"/>
                  </a:lnTo>
                  <a:lnTo>
                    <a:pt x="168" y="600"/>
                  </a:lnTo>
                  <a:lnTo>
                    <a:pt x="168" y="606"/>
                  </a:lnTo>
                  <a:lnTo>
                    <a:pt x="168" y="600"/>
                  </a:lnTo>
                  <a:lnTo>
                    <a:pt x="162" y="600"/>
                  </a:lnTo>
                  <a:lnTo>
                    <a:pt x="162" y="606"/>
                  </a:lnTo>
                  <a:lnTo>
                    <a:pt x="156" y="606"/>
                  </a:lnTo>
                  <a:lnTo>
                    <a:pt x="150" y="606"/>
                  </a:lnTo>
                  <a:lnTo>
                    <a:pt x="150" y="612"/>
                  </a:lnTo>
                  <a:lnTo>
                    <a:pt x="144" y="612"/>
                  </a:lnTo>
                  <a:lnTo>
                    <a:pt x="138" y="612"/>
                  </a:lnTo>
                  <a:lnTo>
                    <a:pt x="132" y="612"/>
                  </a:lnTo>
                  <a:lnTo>
                    <a:pt x="126" y="612"/>
                  </a:lnTo>
                  <a:lnTo>
                    <a:pt x="120" y="612"/>
                  </a:lnTo>
                  <a:lnTo>
                    <a:pt x="114" y="612"/>
                  </a:lnTo>
                  <a:lnTo>
                    <a:pt x="108" y="612"/>
                  </a:lnTo>
                  <a:lnTo>
                    <a:pt x="102" y="612"/>
                  </a:lnTo>
                  <a:lnTo>
                    <a:pt x="96" y="612"/>
                  </a:lnTo>
                  <a:lnTo>
                    <a:pt x="90" y="612"/>
                  </a:lnTo>
                  <a:lnTo>
                    <a:pt x="84" y="612"/>
                  </a:lnTo>
                  <a:lnTo>
                    <a:pt x="78" y="612"/>
                  </a:lnTo>
                  <a:lnTo>
                    <a:pt x="72" y="612"/>
                  </a:lnTo>
                  <a:lnTo>
                    <a:pt x="72" y="606"/>
                  </a:lnTo>
                  <a:lnTo>
                    <a:pt x="72" y="612"/>
                  </a:lnTo>
                  <a:lnTo>
                    <a:pt x="72" y="606"/>
                  </a:lnTo>
                  <a:lnTo>
                    <a:pt x="66" y="606"/>
                  </a:lnTo>
                  <a:lnTo>
                    <a:pt x="66" y="600"/>
                  </a:lnTo>
                  <a:lnTo>
                    <a:pt x="66" y="594"/>
                  </a:lnTo>
                  <a:lnTo>
                    <a:pt x="66" y="588"/>
                  </a:lnTo>
                  <a:lnTo>
                    <a:pt x="66" y="582"/>
                  </a:lnTo>
                  <a:lnTo>
                    <a:pt x="72" y="582"/>
                  </a:lnTo>
                  <a:lnTo>
                    <a:pt x="72" y="576"/>
                  </a:lnTo>
                  <a:lnTo>
                    <a:pt x="72" y="570"/>
                  </a:lnTo>
                  <a:lnTo>
                    <a:pt x="72" y="564"/>
                  </a:lnTo>
                  <a:lnTo>
                    <a:pt x="78" y="564"/>
                  </a:lnTo>
                  <a:lnTo>
                    <a:pt x="78" y="558"/>
                  </a:lnTo>
                  <a:lnTo>
                    <a:pt x="72" y="558"/>
                  </a:lnTo>
                  <a:lnTo>
                    <a:pt x="72" y="552"/>
                  </a:lnTo>
                  <a:lnTo>
                    <a:pt x="72" y="546"/>
                  </a:lnTo>
                  <a:lnTo>
                    <a:pt x="66" y="546"/>
                  </a:lnTo>
                  <a:lnTo>
                    <a:pt x="66" y="540"/>
                  </a:lnTo>
                  <a:lnTo>
                    <a:pt x="60" y="540"/>
                  </a:lnTo>
                  <a:lnTo>
                    <a:pt x="60" y="534"/>
                  </a:lnTo>
                  <a:lnTo>
                    <a:pt x="54" y="534"/>
                  </a:lnTo>
                  <a:lnTo>
                    <a:pt x="60" y="534"/>
                  </a:lnTo>
                  <a:lnTo>
                    <a:pt x="54" y="534"/>
                  </a:lnTo>
                  <a:lnTo>
                    <a:pt x="54" y="528"/>
                  </a:lnTo>
                  <a:lnTo>
                    <a:pt x="60" y="528"/>
                  </a:lnTo>
                  <a:lnTo>
                    <a:pt x="54" y="528"/>
                  </a:lnTo>
                  <a:lnTo>
                    <a:pt x="54" y="522"/>
                  </a:lnTo>
                  <a:lnTo>
                    <a:pt x="54" y="516"/>
                  </a:lnTo>
                  <a:lnTo>
                    <a:pt x="54" y="522"/>
                  </a:lnTo>
                  <a:lnTo>
                    <a:pt x="54" y="516"/>
                  </a:lnTo>
                  <a:lnTo>
                    <a:pt x="60" y="516"/>
                  </a:lnTo>
                  <a:lnTo>
                    <a:pt x="60" y="510"/>
                  </a:lnTo>
                  <a:lnTo>
                    <a:pt x="54" y="510"/>
                  </a:lnTo>
                  <a:lnTo>
                    <a:pt x="60" y="510"/>
                  </a:lnTo>
                  <a:lnTo>
                    <a:pt x="60" y="504"/>
                  </a:lnTo>
                  <a:lnTo>
                    <a:pt x="54" y="510"/>
                  </a:lnTo>
                  <a:lnTo>
                    <a:pt x="54" y="504"/>
                  </a:lnTo>
                  <a:lnTo>
                    <a:pt x="54" y="510"/>
                  </a:lnTo>
                  <a:lnTo>
                    <a:pt x="48" y="510"/>
                  </a:lnTo>
                  <a:lnTo>
                    <a:pt x="54" y="510"/>
                  </a:lnTo>
                  <a:lnTo>
                    <a:pt x="48" y="510"/>
                  </a:lnTo>
                  <a:lnTo>
                    <a:pt x="48" y="516"/>
                  </a:lnTo>
                  <a:lnTo>
                    <a:pt x="42" y="516"/>
                  </a:lnTo>
                  <a:lnTo>
                    <a:pt x="36" y="510"/>
                  </a:lnTo>
                  <a:lnTo>
                    <a:pt x="30" y="510"/>
                  </a:lnTo>
                  <a:lnTo>
                    <a:pt x="24" y="504"/>
                  </a:lnTo>
                  <a:lnTo>
                    <a:pt x="18" y="504"/>
                  </a:lnTo>
                  <a:lnTo>
                    <a:pt x="24" y="504"/>
                  </a:lnTo>
                  <a:lnTo>
                    <a:pt x="18" y="504"/>
                  </a:lnTo>
                  <a:lnTo>
                    <a:pt x="18" y="498"/>
                  </a:lnTo>
                  <a:lnTo>
                    <a:pt x="24" y="498"/>
                  </a:lnTo>
                  <a:lnTo>
                    <a:pt x="18" y="498"/>
                  </a:lnTo>
                  <a:lnTo>
                    <a:pt x="18" y="492"/>
                  </a:lnTo>
                  <a:lnTo>
                    <a:pt x="18" y="486"/>
                  </a:lnTo>
                  <a:lnTo>
                    <a:pt x="12" y="486"/>
                  </a:lnTo>
                  <a:lnTo>
                    <a:pt x="18" y="486"/>
                  </a:lnTo>
                  <a:lnTo>
                    <a:pt x="12" y="486"/>
                  </a:lnTo>
                  <a:lnTo>
                    <a:pt x="18" y="486"/>
                  </a:lnTo>
                  <a:lnTo>
                    <a:pt x="18" y="480"/>
                  </a:lnTo>
                  <a:lnTo>
                    <a:pt x="12" y="480"/>
                  </a:lnTo>
                  <a:lnTo>
                    <a:pt x="6" y="480"/>
                  </a:lnTo>
                  <a:lnTo>
                    <a:pt x="6" y="474"/>
                  </a:lnTo>
                  <a:lnTo>
                    <a:pt x="0" y="474"/>
                  </a:lnTo>
                  <a:lnTo>
                    <a:pt x="0" y="468"/>
                  </a:lnTo>
                  <a:lnTo>
                    <a:pt x="0" y="462"/>
                  </a:lnTo>
                  <a:lnTo>
                    <a:pt x="0" y="456"/>
                  </a:lnTo>
                  <a:lnTo>
                    <a:pt x="6" y="456"/>
                  </a:lnTo>
                  <a:lnTo>
                    <a:pt x="0" y="456"/>
                  </a:lnTo>
                  <a:lnTo>
                    <a:pt x="6" y="456"/>
                  </a:lnTo>
                  <a:lnTo>
                    <a:pt x="6" y="450"/>
                  </a:lnTo>
                  <a:lnTo>
                    <a:pt x="6" y="444"/>
                  </a:lnTo>
                  <a:lnTo>
                    <a:pt x="12" y="444"/>
                  </a:lnTo>
                  <a:lnTo>
                    <a:pt x="12" y="438"/>
                  </a:lnTo>
                  <a:lnTo>
                    <a:pt x="12" y="432"/>
                  </a:lnTo>
                  <a:lnTo>
                    <a:pt x="12" y="426"/>
                  </a:lnTo>
                  <a:lnTo>
                    <a:pt x="18" y="420"/>
                  </a:lnTo>
                  <a:lnTo>
                    <a:pt x="12" y="420"/>
                  </a:lnTo>
                  <a:lnTo>
                    <a:pt x="12" y="414"/>
                  </a:lnTo>
                  <a:lnTo>
                    <a:pt x="12" y="408"/>
                  </a:lnTo>
                  <a:lnTo>
                    <a:pt x="18" y="402"/>
                  </a:lnTo>
                  <a:lnTo>
                    <a:pt x="24" y="402"/>
                  </a:lnTo>
                  <a:lnTo>
                    <a:pt x="24" y="396"/>
                  </a:lnTo>
                  <a:lnTo>
                    <a:pt x="30" y="396"/>
                  </a:lnTo>
                  <a:lnTo>
                    <a:pt x="30" y="390"/>
                  </a:lnTo>
                  <a:lnTo>
                    <a:pt x="36" y="390"/>
                  </a:lnTo>
                  <a:lnTo>
                    <a:pt x="36" y="384"/>
                  </a:lnTo>
                  <a:lnTo>
                    <a:pt x="42" y="384"/>
                  </a:lnTo>
                  <a:lnTo>
                    <a:pt x="42" y="378"/>
                  </a:lnTo>
                  <a:lnTo>
                    <a:pt x="48" y="378"/>
                  </a:lnTo>
                  <a:lnTo>
                    <a:pt x="48" y="372"/>
                  </a:lnTo>
                  <a:lnTo>
                    <a:pt x="54" y="372"/>
                  </a:lnTo>
                  <a:lnTo>
                    <a:pt x="54" y="366"/>
                  </a:lnTo>
                  <a:lnTo>
                    <a:pt x="60" y="366"/>
                  </a:lnTo>
                  <a:lnTo>
                    <a:pt x="60" y="360"/>
                  </a:lnTo>
                  <a:lnTo>
                    <a:pt x="66" y="360"/>
                  </a:lnTo>
                  <a:lnTo>
                    <a:pt x="66" y="354"/>
                  </a:lnTo>
                  <a:lnTo>
                    <a:pt x="72" y="354"/>
                  </a:lnTo>
                  <a:lnTo>
                    <a:pt x="72" y="348"/>
                  </a:lnTo>
                  <a:lnTo>
                    <a:pt x="78" y="348"/>
                  </a:lnTo>
                  <a:lnTo>
                    <a:pt x="78" y="342"/>
                  </a:lnTo>
                  <a:lnTo>
                    <a:pt x="84" y="342"/>
                  </a:lnTo>
                  <a:lnTo>
                    <a:pt x="84" y="336"/>
                  </a:lnTo>
                  <a:lnTo>
                    <a:pt x="84" y="342"/>
                  </a:lnTo>
                  <a:lnTo>
                    <a:pt x="90" y="342"/>
                  </a:lnTo>
                  <a:lnTo>
                    <a:pt x="84" y="342"/>
                  </a:lnTo>
                  <a:lnTo>
                    <a:pt x="90" y="342"/>
                  </a:lnTo>
                  <a:lnTo>
                    <a:pt x="84" y="342"/>
                  </a:lnTo>
                  <a:lnTo>
                    <a:pt x="90" y="348"/>
                  </a:lnTo>
                  <a:lnTo>
                    <a:pt x="96" y="348"/>
                  </a:lnTo>
                  <a:lnTo>
                    <a:pt x="102" y="348"/>
                  </a:lnTo>
                  <a:lnTo>
                    <a:pt x="108" y="348"/>
                  </a:lnTo>
                  <a:lnTo>
                    <a:pt x="108" y="342"/>
                  </a:lnTo>
                  <a:lnTo>
                    <a:pt x="108" y="336"/>
                  </a:lnTo>
                  <a:lnTo>
                    <a:pt x="108" y="330"/>
                  </a:lnTo>
                  <a:lnTo>
                    <a:pt x="108" y="336"/>
                  </a:lnTo>
                  <a:lnTo>
                    <a:pt x="114" y="336"/>
                  </a:lnTo>
                  <a:lnTo>
                    <a:pt x="108" y="336"/>
                  </a:lnTo>
                  <a:lnTo>
                    <a:pt x="114" y="336"/>
                  </a:lnTo>
                  <a:lnTo>
                    <a:pt x="114" y="342"/>
                  </a:lnTo>
                  <a:lnTo>
                    <a:pt x="120" y="342"/>
                  </a:lnTo>
                  <a:lnTo>
                    <a:pt x="126" y="342"/>
                  </a:lnTo>
                  <a:lnTo>
                    <a:pt x="120" y="348"/>
                  </a:lnTo>
                  <a:lnTo>
                    <a:pt x="126" y="348"/>
                  </a:lnTo>
                  <a:lnTo>
                    <a:pt x="120" y="348"/>
                  </a:lnTo>
                  <a:lnTo>
                    <a:pt x="126" y="348"/>
                  </a:lnTo>
                  <a:lnTo>
                    <a:pt x="126" y="354"/>
                  </a:lnTo>
                  <a:lnTo>
                    <a:pt x="126" y="360"/>
                  </a:lnTo>
                  <a:lnTo>
                    <a:pt x="132" y="360"/>
                  </a:lnTo>
                  <a:lnTo>
                    <a:pt x="132" y="354"/>
                  </a:lnTo>
                  <a:lnTo>
                    <a:pt x="138" y="354"/>
                  </a:lnTo>
                  <a:lnTo>
                    <a:pt x="138" y="360"/>
                  </a:lnTo>
                  <a:lnTo>
                    <a:pt x="138" y="366"/>
                  </a:lnTo>
                  <a:lnTo>
                    <a:pt x="144" y="366"/>
                  </a:lnTo>
                  <a:lnTo>
                    <a:pt x="150" y="366"/>
                  </a:lnTo>
                  <a:lnTo>
                    <a:pt x="156" y="366"/>
                  </a:lnTo>
                  <a:lnTo>
                    <a:pt x="156" y="360"/>
                  </a:lnTo>
                  <a:lnTo>
                    <a:pt x="162" y="366"/>
                  </a:lnTo>
                  <a:lnTo>
                    <a:pt x="162" y="360"/>
                  </a:lnTo>
                  <a:lnTo>
                    <a:pt x="162" y="354"/>
                  </a:lnTo>
                  <a:lnTo>
                    <a:pt x="168" y="354"/>
                  </a:lnTo>
                  <a:lnTo>
                    <a:pt x="162" y="354"/>
                  </a:lnTo>
                  <a:lnTo>
                    <a:pt x="168" y="354"/>
                  </a:lnTo>
                  <a:lnTo>
                    <a:pt x="168" y="348"/>
                  </a:lnTo>
                  <a:lnTo>
                    <a:pt x="162" y="348"/>
                  </a:lnTo>
                  <a:lnTo>
                    <a:pt x="168" y="348"/>
                  </a:lnTo>
                  <a:lnTo>
                    <a:pt x="168" y="342"/>
                  </a:lnTo>
                  <a:lnTo>
                    <a:pt x="174" y="342"/>
                  </a:lnTo>
                  <a:lnTo>
                    <a:pt x="174" y="336"/>
                  </a:lnTo>
                  <a:lnTo>
                    <a:pt x="180" y="336"/>
                  </a:lnTo>
                  <a:lnTo>
                    <a:pt x="180" y="330"/>
                  </a:lnTo>
                  <a:lnTo>
                    <a:pt x="180" y="324"/>
                  </a:lnTo>
                  <a:lnTo>
                    <a:pt x="180" y="318"/>
                  </a:lnTo>
                  <a:lnTo>
                    <a:pt x="186" y="318"/>
                  </a:lnTo>
                  <a:lnTo>
                    <a:pt x="186" y="312"/>
                  </a:lnTo>
                  <a:lnTo>
                    <a:pt x="192" y="312"/>
                  </a:lnTo>
                  <a:lnTo>
                    <a:pt x="192" y="306"/>
                  </a:lnTo>
                  <a:lnTo>
                    <a:pt x="192" y="300"/>
                  </a:lnTo>
                  <a:lnTo>
                    <a:pt x="192" y="294"/>
                  </a:lnTo>
                  <a:lnTo>
                    <a:pt x="198" y="294"/>
                  </a:lnTo>
                  <a:lnTo>
                    <a:pt x="198" y="288"/>
                  </a:lnTo>
                  <a:lnTo>
                    <a:pt x="198" y="282"/>
                  </a:lnTo>
                  <a:lnTo>
                    <a:pt x="198" y="276"/>
                  </a:lnTo>
                  <a:lnTo>
                    <a:pt x="204" y="276"/>
                  </a:lnTo>
                  <a:lnTo>
                    <a:pt x="204" y="270"/>
                  </a:lnTo>
                  <a:lnTo>
                    <a:pt x="204" y="264"/>
                  </a:lnTo>
                  <a:lnTo>
                    <a:pt x="198" y="264"/>
                  </a:lnTo>
                  <a:lnTo>
                    <a:pt x="204" y="264"/>
                  </a:lnTo>
                  <a:lnTo>
                    <a:pt x="204" y="258"/>
                  </a:lnTo>
                  <a:lnTo>
                    <a:pt x="210" y="258"/>
                  </a:lnTo>
                  <a:lnTo>
                    <a:pt x="210" y="252"/>
                  </a:lnTo>
                  <a:lnTo>
                    <a:pt x="216" y="252"/>
                  </a:lnTo>
                  <a:lnTo>
                    <a:pt x="222" y="252"/>
                  </a:lnTo>
                  <a:lnTo>
                    <a:pt x="222" y="246"/>
                  </a:lnTo>
                  <a:lnTo>
                    <a:pt x="228" y="246"/>
                  </a:lnTo>
                  <a:lnTo>
                    <a:pt x="228" y="240"/>
                  </a:lnTo>
                  <a:lnTo>
                    <a:pt x="234" y="240"/>
                  </a:lnTo>
                  <a:lnTo>
                    <a:pt x="234" y="234"/>
                  </a:lnTo>
                  <a:lnTo>
                    <a:pt x="234" y="228"/>
                  </a:lnTo>
                  <a:lnTo>
                    <a:pt x="240" y="228"/>
                  </a:lnTo>
                  <a:lnTo>
                    <a:pt x="240" y="222"/>
                  </a:lnTo>
                  <a:lnTo>
                    <a:pt x="240" y="216"/>
                  </a:lnTo>
                  <a:lnTo>
                    <a:pt x="240" y="210"/>
                  </a:lnTo>
                  <a:lnTo>
                    <a:pt x="234" y="210"/>
                  </a:lnTo>
                  <a:lnTo>
                    <a:pt x="234" y="204"/>
                  </a:lnTo>
                  <a:lnTo>
                    <a:pt x="240" y="204"/>
                  </a:lnTo>
                  <a:lnTo>
                    <a:pt x="246" y="204"/>
                  </a:lnTo>
                  <a:lnTo>
                    <a:pt x="246" y="198"/>
                  </a:lnTo>
                  <a:lnTo>
                    <a:pt x="252" y="198"/>
                  </a:lnTo>
                  <a:lnTo>
                    <a:pt x="258" y="198"/>
                  </a:lnTo>
                  <a:lnTo>
                    <a:pt x="258" y="192"/>
                  </a:lnTo>
                  <a:lnTo>
                    <a:pt x="258" y="186"/>
                  </a:lnTo>
                  <a:lnTo>
                    <a:pt x="258" y="180"/>
                  </a:lnTo>
                  <a:lnTo>
                    <a:pt x="258" y="174"/>
                  </a:lnTo>
                  <a:lnTo>
                    <a:pt x="258" y="168"/>
                  </a:lnTo>
                  <a:lnTo>
                    <a:pt x="264" y="168"/>
                  </a:lnTo>
                  <a:lnTo>
                    <a:pt x="264" y="162"/>
                  </a:lnTo>
                  <a:lnTo>
                    <a:pt x="270" y="162"/>
                  </a:lnTo>
                  <a:lnTo>
                    <a:pt x="270" y="156"/>
                  </a:lnTo>
                  <a:lnTo>
                    <a:pt x="270" y="150"/>
                  </a:lnTo>
                  <a:lnTo>
                    <a:pt x="276" y="150"/>
                  </a:lnTo>
                  <a:lnTo>
                    <a:pt x="276" y="144"/>
                  </a:lnTo>
                  <a:lnTo>
                    <a:pt x="276" y="138"/>
                  </a:lnTo>
                  <a:lnTo>
                    <a:pt x="276" y="132"/>
                  </a:lnTo>
                  <a:lnTo>
                    <a:pt x="276" y="126"/>
                  </a:lnTo>
                  <a:lnTo>
                    <a:pt x="282" y="126"/>
                  </a:lnTo>
                  <a:lnTo>
                    <a:pt x="282" y="120"/>
                  </a:lnTo>
                  <a:lnTo>
                    <a:pt x="282" y="114"/>
                  </a:lnTo>
                  <a:lnTo>
                    <a:pt x="288" y="114"/>
                  </a:lnTo>
                  <a:lnTo>
                    <a:pt x="288" y="108"/>
                  </a:lnTo>
                  <a:lnTo>
                    <a:pt x="294" y="108"/>
                  </a:lnTo>
                  <a:lnTo>
                    <a:pt x="294" y="102"/>
                  </a:lnTo>
                  <a:lnTo>
                    <a:pt x="300" y="102"/>
                  </a:lnTo>
                  <a:lnTo>
                    <a:pt x="300" y="96"/>
                  </a:lnTo>
                  <a:lnTo>
                    <a:pt x="306" y="102"/>
                  </a:lnTo>
                  <a:lnTo>
                    <a:pt x="312" y="102"/>
                  </a:lnTo>
                  <a:lnTo>
                    <a:pt x="312" y="96"/>
                  </a:lnTo>
                  <a:lnTo>
                    <a:pt x="318" y="96"/>
                  </a:lnTo>
                  <a:lnTo>
                    <a:pt x="324" y="90"/>
                  </a:lnTo>
                  <a:lnTo>
                    <a:pt x="330" y="90"/>
                  </a:lnTo>
                  <a:lnTo>
                    <a:pt x="330" y="84"/>
                  </a:lnTo>
                  <a:lnTo>
                    <a:pt x="336" y="84"/>
                  </a:lnTo>
                  <a:lnTo>
                    <a:pt x="336" y="78"/>
                  </a:lnTo>
                  <a:lnTo>
                    <a:pt x="330" y="78"/>
                  </a:lnTo>
                  <a:lnTo>
                    <a:pt x="330" y="72"/>
                  </a:lnTo>
                  <a:lnTo>
                    <a:pt x="336" y="72"/>
                  </a:lnTo>
                  <a:lnTo>
                    <a:pt x="336" y="66"/>
                  </a:lnTo>
                  <a:lnTo>
                    <a:pt x="336" y="60"/>
                  </a:lnTo>
                  <a:lnTo>
                    <a:pt x="336" y="54"/>
                  </a:lnTo>
                  <a:lnTo>
                    <a:pt x="336" y="48"/>
                  </a:lnTo>
                  <a:lnTo>
                    <a:pt x="330" y="48"/>
                  </a:lnTo>
                  <a:lnTo>
                    <a:pt x="336" y="48"/>
                  </a:lnTo>
                  <a:lnTo>
                    <a:pt x="330" y="48"/>
                  </a:lnTo>
                  <a:lnTo>
                    <a:pt x="330" y="42"/>
                  </a:lnTo>
                  <a:lnTo>
                    <a:pt x="324" y="42"/>
                  </a:lnTo>
                  <a:lnTo>
                    <a:pt x="324" y="36"/>
                  </a:lnTo>
                  <a:lnTo>
                    <a:pt x="318" y="36"/>
                  </a:lnTo>
                  <a:lnTo>
                    <a:pt x="312" y="36"/>
                  </a:lnTo>
                  <a:lnTo>
                    <a:pt x="312" y="30"/>
                  </a:lnTo>
                  <a:lnTo>
                    <a:pt x="312" y="24"/>
                  </a:lnTo>
                  <a:lnTo>
                    <a:pt x="306" y="18"/>
                  </a:lnTo>
                  <a:lnTo>
                    <a:pt x="306" y="12"/>
                  </a:lnTo>
                  <a:lnTo>
                    <a:pt x="306" y="6"/>
                  </a:lnTo>
                  <a:lnTo>
                    <a:pt x="306" y="0"/>
                  </a:lnTo>
                  <a:lnTo>
                    <a:pt x="312" y="0"/>
                  </a:lnTo>
                  <a:lnTo>
                    <a:pt x="318" y="0"/>
                  </a:lnTo>
                  <a:lnTo>
                    <a:pt x="324" y="0"/>
                  </a:lnTo>
                  <a:lnTo>
                    <a:pt x="330" y="0"/>
                  </a:lnTo>
                  <a:lnTo>
                    <a:pt x="330" y="6"/>
                  </a:lnTo>
                  <a:lnTo>
                    <a:pt x="330" y="12"/>
                  </a:lnTo>
                  <a:lnTo>
                    <a:pt x="330" y="18"/>
                  </a:lnTo>
                  <a:lnTo>
                    <a:pt x="336" y="18"/>
                  </a:lnTo>
                  <a:lnTo>
                    <a:pt x="336" y="12"/>
                  </a:lnTo>
                  <a:lnTo>
                    <a:pt x="336" y="18"/>
                  </a:lnTo>
                  <a:lnTo>
                    <a:pt x="342" y="18"/>
                  </a:lnTo>
                  <a:lnTo>
                    <a:pt x="342" y="24"/>
                  </a:lnTo>
                  <a:lnTo>
                    <a:pt x="342" y="18"/>
                  </a:lnTo>
                  <a:lnTo>
                    <a:pt x="342" y="24"/>
                  </a:lnTo>
                  <a:lnTo>
                    <a:pt x="348" y="24"/>
                  </a:lnTo>
                  <a:lnTo>
                    <a:pt x="348" y="30"/>
                  </a:lnTo>
                  <a:lnTo>
                    <a:pt x="348" y="36"/>
                  </a:lnTo>
                  <a:lnTo>
                    <a:pt x="348" y="30"/>
                  </a:lnTo>
                  <a:lnTo>
                    <a:pt x="348" y="36"/>
                  </a:lnTo>
                  <a:lnTo>
                    <a:pt x="348" y="42"/>
                  </a:lnTo>
                  <a:lnTo>
                    <a:pt x="348" y="48"/>
                  </a:lnTo>
                  <a:lnTo>
                    <a:pt x="354" y="54"/>
                  </a:lnTo>
                  <a:lnTo>
                    <a:pt x="360" y="54"/>
                  </a:lnTo>
                  <a:lnTo>
                    <a:pt x="360" y="60"/>
                  </a:lnTo>
                  <a:lnTo>
                    <a:pt x="360" y="66"/>
                  </a:lnTo>
                  <a:lnTo>
                    <a:pt x="360" y="72"/>
                  </a:lnTo>
                  <a:lnTo>
                    <a:pt x="360" y="78"/>
                  </a:lnTo>
                  <a:lnTo>
                    <a:pt x="360" y="84"/>
                  </a:lnTo>
                  <a:lnTo>
                    <a:pt x="366" y="84"/>
                  </a:lnTo>
                  <a:lnTo>
                    <a:pt x="360" y="84"/>
                  </a:lnTo>
                  <a:lnTo>
                    <a:pt x="360" y="90"/>
                  </a:lnTo>
                  <a:lnTo>
                    <a:pt x="360" y="96"/>
                  </a:lnTo>
                  <a:lnTo>
                    <a:pt x="360" y="102"/>
                  </a:lnTo>
                  <a:lnTo>
                    <a:pt x="354" y="102"/>
                  </a:lnTo>
                  <a:lnTo>
                    <a:pt x="360" y="102"/>
                  </a:lnTo>
                  <a:lnTo>
                    <a:pt x="354" y="102"/>
                  </a:lnTo>
                  <a:lnTo>
                    <a:pt x="360" y="102"/>
                  </a:lnTo>
                  <a:lnTo>
                    <a:pt x="360" y="108"/>
                  </a:lnTo>
                  <a:lnTo>
                    <a:pt x="354" y="108"/>
                  </a:lnTo>
                  <a:lnTo>
                    <a:pt x="360" y="108"/>
                  </a:lnTo>
                  <a:lnTo>
                    <a:pt x="360" y="114"/>
                  </a:lnTo>
                  <a:lnTo>
                    <a:pt x="360" y="120"/>
                  </a:lnTo>
                  <a:lnTo>
                    <a:pt x="360" y="126"/>
                  </a:lnTo>
                  <a:lnTo>
                    <a:pt x="360" y="132"/>
                  </a:lnTo>
                  <a:lnTo>
                    <a:pt x="366" y="132"/>
                  </a:lnTo>
                  <a:lnTo>
                    <a:pt x="366" y="138"/>
                  </a:lnTo>
                  <a:lnTo>
                    <a:pt x="366" y="144"/>
                  </a:lnTo>
                  <a:lnTo>
                    <a:pt x="372" y="144"/>
                  </a:lnTo>
                  <a:lnTo>
                    <a:pt x="372" y="150"/>
                  </a:lnTo>
                  <a:lnTo>
                    <a:pt x="372" y="156"/>
                  </a:lnTo>
                  <a:lnTo>
                    <a:pt x="378" y="156"/>
                  </a:lnTo>
                  <a:lnTo>
                    <a:pt x="378" y="162"/>
                  </a:lnTo>
                  <a:lnTo>
                    <a:pt x="384" y="162"/>
                  </a:lnTo>
                  <a:lnTo>
                    <a:pt x="384" y="168"/>
                  </a:lnTo>
                  <a:lnTo>
                    <a:pt x="390" y="168"/>
                  </a:lnTo>
                  <a:lnTo>
                    <a:pt x="396" y="174"/>
                  </a:lnTo>
                  <a:lnTo>
                    <a:pt x="390" y="174"/>
                  </a:lnTo>
                  <a:lnTo>
                    <a:pt x="384" y="174"/>
                  </a:lnTo>
                  <a:lnTo>
                    <a:pt x="378" y="174"/>
                  </a:lnTo>
                  <a:lnTo>
                    <a:pt x="372" y="174"/>
                  </a:lnTo>
                  <a:lnTo>
                    <a:pt x="366" y="174"/>
                  </a:lnTo>
                  <a:lnTo>
                    <a:pt x="360" y="174"/>
                  </a:lnTo>
                  <a:lnTo>
                    <a:pt x="354" y="174"/>
                  </a:lnTo>
                  <a:lnTo>
                    <a:pt x="348" y="174"/>
                  </a:lnTo>
                  <a:lnTo>
                    <a:pt x="342" y="174"/>
                  </a:lnTo>
                  <a:lnTo>
                    <a:pt x="336" y="174"/>
                  </a:lnTo>
                  <a:lnTo>
                    <a:pt x="330" y="174"/>
                  </a:lnTo>
                  <a:lnTo>
                    <a:pt x="324" y="174"/>
                  </a:lnTo>
                  <a:lnTo>
                    <a:pt x="318" y="174"/>
                  </a:lnTo>
                  <a:lnTo>
                    <a:pt x="312" y="174"/>
                  </a:lnTo>
                  <a:lnTo>
                    <a:pt x="312" y="180"/>
                  </a:lnTo>
                  <a:lnTo>
                    <a:pt x="306" y="180"/>
                  </a:lnTo>
                  <a:lnTo>
                    <a:pt x="306" y="186"/>
                  </a:lnTo>
                  <a:lnTo>
                    <a:pt x="300" y="186"/>
                  </a:lnTo>
                  <a:lnTo>
                    <a:pt x="300" y="192"/>
                  </a:lnTo>
                  <a:lnTo>
                    <a:pt x="306" y="198"/>
                  </a:lnTo>
                  <a:lnTo>
                    <a:pt x="312" y="204"/>
                  </a:lnTo>
                  <a:lnTo>
                    <a:pt x="318" y="210"/>
                  </a:lnTo>
                  <a:lnTo>
                    <a:pt x="324" y="210"/>
                  </a:lnTo>
                  <a:lnTo>
                    <a:pt x="324" y="216"/>
                  </a:lnTo>
                  <a:lnTo>
                    <a:pt x="318" y="216"/>
                  </a:lnTo>
                  <a:lnTo>
                    <a:pt x="324" y="216"/>
                  </a:lnTo>
                  <a:lnTo>
                    <a:pt x="324" y="222"/>
                  </a:lnTo>
                  <a:lnTo>
                    <a:pt x="330" y="222"/>
                  </a:lnTo>
                  <a:lnTo>
                    <a:pt x="324" y="222"/>
                  </a:lnTo>
                  <a:lnTo>
                    <a:pt x="330" y="228"/>
                  </a:lnTo>
                  <a:lnTo>
                    <a:pt x="336" y="234"/>
                  </a:lnTo>
                  <a:lnTo>
                    <a:pt x="342" y="234"/>
                  </a:lnTo>
                  <a:lnTo>
                    <a:pt x="342" y="240"/>
                  </a:lnTo>
                  <a:lnTo>
                    <a:pt x="348" y="240"/>
                  </a:lnTo>
                  <a:lnTo>
                    <a:pt x="354" y="240"/>
                  </a:lnTo>
                  <a:lnTo>
                    <a:pt x="348" y="240"/>
                  </a:lnTo>
                  <a:lnTo>
                    <a:pt x="354" y="240"/>
                  </a:lnTo>
                  <a:lnTo>
                    <a:pt x="354" y="246"/>
                  </a:lnTo>
                  <a:lnTo>
                    <a:pt x="360" y="246"/>
                  </a:lnTo>
                  <a:lnTo>
                    <a:pt x="366" y="246"/>
                  </a:lnTo>
                  <a:lnTo>
                    <a:pt x="366" y="252"/>
                  </a:lnTo>
                  <a:lnTo>
                    <a:pt x="366" y="258"/>
                  </a:lnTo>
                  <a:lnTo>
                    <a:pt x="372" y="258"/>
                  </a:lnTo>
                  <a:lnTo>
                    <a:pt x="372" y="264"/>
                  </a:lnTo>
                  <a:lnTo>
                    <a:pt x="372" y="270"/>
                  </a:lnTo>
                  <a:lnTo>
                    <a:pt x="378" y="276"/>
                  </a:lnTo>
                  <a:lnTo>
                    <a:pt x="378" y="282"/>
                  </a:lnTo>
                  <a:lnTo>
                    <a:pt x="378" y="288"/>
                  </a:lnTo>
                  <a:lnTo>
                    <a:pt x="384" y="294"/>
                  </a:lnTo>
                  <a:lnTo>
                    <a:pt x="390" y="300"/>
                  </a:lnTo>
                  <a:lnTo>
                    <a:pt x="390" y="306"/>
                  </a:lnTo>
                  <a:lnTo>
                    <a:pt x="384" y="306"/>
                  </a:lnTo>
                  <a:lnTo>
                    <a:pt x="384" y="312"/>
                  </a:lnTo>
                  <a:lnTo>
                    <a:pt x="384" y="318"/>
                  </a:lnTo>
                  <a:lnTo>
                    <a:pt x="378" y="318"/>
                  </a:lnTo>
                  <a:lnTo>
                    <a:pt x="372" y="324"/>
                  </a:lnTo>
                  <a:lnTo>
                    <a:pt x="366" y="324"/>
                  </a:lnTo>
                  <a:lnTo>
                    <a:pt x="366" y="330"/>
                  </a:lnTo>
                  <a:lnTo>
                    <a:pt x="366" y="336"/>
                  </a:lnTo>
                  <a:lnTo>
                    <a:pt x="366" y="342"/>
                  </a:lnTo>
                  <a:lnTo>
                    <a:pt x="360" y="342"/>
                  </a:lnTo>
                  <a:lnTo>
                    <a:pt x="360" y="348"/>
                  </a:lnTo>
                  <a:lnTo>
                    <a:pt x="360" y="354"/>
                  </a:lnTo>
                  <a:lnTo>
                    <a:pt x="354" y="354"/>
                  </a:lnTo>
                  <a:lnTo>
                    <a:pt x="354" y="360"/>
                  </a:lnTo>
                  <a:lnTo>
                    <a:pt x="348" y="366"/>
                  </a:lnTo>
                  <a:lnTo>
                    <a:pt x="348" y="372"/>
                  </a:lnTo>
                  <a:lnTo>
                    <a:pt x="342" y="372"/>
                  </a:lnTo>
                  <a:lnTo>
                    <a:pt x="342" y="378"/>
                  </a:lnTo>
                  <a:lnTo>
                    <a:pt x="348" y="378"/>
                  </a:lnTo>
                  <a:lnTo>
                    <a:pt x="342" y="378"/>
                  </a:lnTo>
                  <a:lnTo>
                    <a:pt x="342" y="384"/>
                  </a:lnTo>
                  <a:lnTo>
                    <a:pt x="336" y="384"/>
                  </a:lnTo>
                  <a:lnTo>
                    <a:pt x="330" y="384"/>
                  </a:lnTo>
                  <a:lnTo>
                    <a:pt x="330" y="390"/>
                  </a:lnTo>
                  <a:lnTo>
                    <a:pt x="324" y="390"/>
                  </a:lnTo>
                  <a:lnTo>
                    <a:pt x="324" y="396"/>
                  </a:lnTo>
                  <a:lnTo>
                    <a:pt x="324" y="402"/>
                  </a:lnTo>
                  <a:lnTo>
                    <a:pt x="330" y="402"/>
                  </a:lnTo>
                  <a:lnTo>
                    <a:pt x="336" y="402"/>
                  </a:lnTo>
                  <a:lnTo>
                    <a:pt x="336" y="408"/>
                  </a:lnTo>
                  <a:lnTo>
                    <a:pt x="336" y="414"/>
                  </a:lnTo>
                  <a:lnTo>
                    <a:pt x="336" y="420"/>
                  </a:lnTo>
                  <a:lnTo>
                    <a:pt x="330" y="420"/>
                  </a:lnTo>
                  <a:lnTo>
                    <a:pt x="336" y="420"/>
                  </a:lnTo>
                  <a:lnTo>
                    <a:pt x="336" y="426"/>
                  </a:lnTo>
                  <a:lnTo>
                    <a:pt x="336" y="432"/>
                  </a:lnTo>
                  <a:lnTo>
                    <a:pt x="330" y="432"/>
                  </a:lnTo>
                  <a:lnTo>
                    <a:pt x="330" y="438"/>
                  </a:lnTo>
                  <a:lnTo>
                    <a:pt x="336" y="438"/>
                  </a:lnTo>
                  <a:lnTo>
                    <a:pt x="336" y="444"/>
                  </a:lnTo>
                  <a:lnTo>
                    <a:pt x="336" y="450"/>
                  </a:lnTo>
                  <a:lnTo>
                    <a:pt x="336" y="456"/>
                  </a:lnTo>
                  <a:lnTo>
                    <a:pt x="342" y="462"/>
                  </a:lnTo>
                  <a:lnTo>
                    <a:pt x="342" y="468"/>
                  </a:lnTo>
                  <a:lnTo>
                    <a:pt x="336" y="468"/>
                  </a:lnTo>
                  <a:lnTo>
                    <a:pt x="342" y="468"/>
                  </a:lnTo>
                  <a:lnTo>
                    <a:pt x="342" y="474"/>
                  </a:lnTo>
                  <a:lnTo>
                    <a:pt x="342" y="480"/>
                  </a:lnTo>
                  <a:lnTo>
                    <a:pt x="348" y="480"/>
                  </a:lnTo>
                  <a:lnTo>
                    <a:pt x="348" y="486"/>
                  </a:lnTo>
                  <a:lnTo>
                    <a:pt x="354" y="486"/>
                  </a:lnTo>
                  <a:lnTo>
                    <a:pt x="360" y="486"/>
                  </a:lnTo>
                  <a:lnTo>
                    <a:pt x="360" y="492"/>
                  </a:lnTo>
                  <a:lnTo>
                    <a:pt x="360" y="498"/>
                  </a:lnTo>
                  <a:lnTo>
                    <a:pt x="360" y="504"/>
                  </a:lnTo>
                  <a:lnTo>
                    <a:pt x="366" y="504"/>
                  </a:lnTo>
                  <a:lnTo>
                    <a:pt x="360" y="510"/>
                  </a:lnTo>
                  <a:lnTo>
                    <a:pt x="360" y="516"/>
                  </a:lnTo>
                  <a:lnTo>
                    <a:pt x="366" y="516"/>
                  </a:lnTo>
                  <a:lnTo>
                    <a:pt x="366" y="522"/>
                  </a:lnTo>
                  <a:lnTo>
                    <a:pt x="372" y="522"/>
                  </a:lnTo>
                  <a:lnTo>
                    <a:pt x="372" y="528"/>
                  </a:lnTo>
                  <a:lnTo>
                    <a:pt x="378" y="534"/>
                  </a:lnTo>
                  <a:lnTo>
                    <a:pt x="384" y="540"/>
                  </a:lnTo>
                  <a:lnTo>
                    <a:pt x="384" y="546"/>
                  </a:lnTo>
                  <a:lnTo>
                    <a:pt x="390" y="546"/>
                  </a:lnTo>
                  <a:lnTo>
                    <a:pt x="390" y="552"/>
                  </a:lnTo>
                  <a:lnTo>
                    <a:pt x="396" y="552"/>
                  </a:lnTo>
                  <a:lnTo>
                    <a:pt x="396" y="558"/>
                  </a:lnTo>
                  <a:lnTo>
                    <a:pt x="402" y="558"/>
                  </a:lnTo>
                  <a:lnTo>
                    <a:pt x="408" y="558"/>
                  </a:lnTo>
                  <a:lnTo>
                    <a:pt x="408" y="564"/>
                  </a:lnTo>
                  <a:lnTo>
                    <a:pt x="414" y="564"/>
                  </a:lnTo>
                  <a:lnTo>
                    <a:pt x="414" y="570"/>
                  </a:lnTo>
                  <a:lnTo>
                    <a:pt x="414" y="576"/>
                  </a:lnTo>
                  <a:lnTo>
                    <a:pt x="414" y="582"/>
                  </a:lnTo>
                  <a:lnTo>
                    <a:pt x="414" y="588"/>
                  </a:lnTo>
                  <a:lnTo>
                    <a:pt x="414" y="594"/>
                  </a:lnTo>
                  <a:lnTo>
                    <a:pt x="420" y="594"/>
                  </a:lnTo>
                  <a:lnTo>
                    <a:pt x="420" y="600"/>
                  </a:lnTo>
                  <a:lnTo>
                    <a:pt x="420" y="606"/>
                  </a:lnTo>
                  <a:close/>
                  <a:moveTo>
                    <a:pt x="54" y="528"/>
                  </a:moveTo>
                  <a:lnTo>
                    <a:pt x="60" y="528"/>
                  </a:lnTo>
                  <a:lnTo>
                    <a:pt x="54" y="528"/>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1" name="Freeform 23"/>
            <p:cNvSpPr>
              <a:spLocks/>
            </p:cNvSpPr>
            <p:nvPr>
              <p:custDataLst>
                <p:tags r:id="rId75"/>
              </p:custDataLst>
            </p:nvPr>
          </p:nvSpPr>
          <p:spPr bwMode="gray">
            <a:xfrm>
              <a:off x="4184650" y="2832101"/>
              <a:ext cx="901700" cy="611188"/>
            </a:xfrm>
            <a:custGeom>
              <a:avLst/>
              <a:gdLst>
                <a:gd name="T0" fmla="*/ 76720 w 726"/>
                <a:gd name="T1" fmla="*/ 147619 h 492"/>
                <a:gd name="T2" fmla="*/ 67980 w 726"/>
                <a:gd name="T3" fmla="*/ 149562 h 492"/>
                <a:gd name="T4" fmla="*/ 53412 w 726"/>
                <a:gd name="T5" fmla="*/ 149562 h 492"/>
                <a:gd name="T6" fmla="*/ 40788 w 726"/>
                <a:gd name="T7" fmla="*/ 156360 h 492"/>
                <a:gd name="T8" fmla="*/ 37874 w 726"/>
                <a:gd name="T9" fmla="*/ 170927 h 492"/>
                <a:gd name="T10" fmla="*/ 32047 w 726"/>
                <a:gd name="T11" fmla="*/ 166072 h 492"/>
                <a:gd name="T12" fmla="*/ 23308 w 726"/>
                <a:gd name="T13" fmla="*/ 156360 h 492"/>
                <a:gd name="T14" fmla="*/ 12625 w 726"/>
                <a:gd name="T15" fmla="*/ 142764 h 492"/>
                <a:gd name="T16" fmla="*/ 8741 w 726"/>
                <a:gd name="T17" fmla="*/ 130139 h 492"/>
                <a:gd name="T18" fmla="*/ 3884 w 726"/>
                <a:gd name="T19" fmla="*/ 117513 h 492"/>
                <a:gd name="T20" fmla="*/ 3884 w 726"/>
                <a:gd name="T21" fmla="*/ 106830 h 492"/>
                <a:gd name="T22" fmla="*/ 3884 w 726"/>
                <a:gd name="T23" fmla="*/ 96147 h 492"/>
                <a:gd name="T24" fmla="*/ 10682 w 726"/>
                <a:gd name="T25" fmla="*/ 85464 h 492"/>
                <a:gd name="T26" fmla="*/ 19423 w 726"/>
                <a:gd name="T27" fmla="*/ 72839 h 492"/>
                <a:gd name="T28" fmla="*/ 27192 w 726"/>
                <a:gd name="T29" fmla="*/ 70896 h 492"/>
                <a:gd name="T30" fmla="*/ 37874 w 726"/>
                <a:gd name="T31" fmla="*/ 66040 h 492"/>
                <a:gd name="T32" fmla="*/ 49528 w 726"/>
                <a:gd name="T33" fmla="*/ 67983 h 492"/>
                <a:gd name="T34" fmla="*/ 60210 w 726"/>
                <a:gd name="T35" fmla="*/ 64098 h 492"/>
                <a:gd name="T36" fmla="*/ 67980 w 726"/>
                <a:gd name="T37" fmla="*/ 62156 h 492"/>
                <a:gd name="T38" fmla="*/ 83518 w 726"/>
                <a:gd name="T39" fmla="*/ 57300 h 492"/>
                <a:gd name="T40" fmla="*/ 90316 w 726"/>
                <a:gd name="T41" fmla="*/ 49530 h 492"/>
                <a:gd name="T42" fmla="*/ 87402 w 726"/>
                <a:gd name="T43" fmla="*/ 42732 h 492"/>
                <a:gd name="T44" fmla="*/ 104883 w 726"/>
                <a:gd name="T45" fmla="*/ 40790 h 492"/>
                <a:gd name="T46" fmla="*/ 117508 w 726"/>
                <a:gd name="T47" fmla="*/ 37876 h 492"/>
                <a:gd name="T48" fmla="*/ 124306 w 726"/>
                <a:gd name="T49" fmla="*/ 33991 h 492"/>
                <a:gd name="T50" fmla="*/ 132075 w 726"/>
                <a:gd name="T51" fmla="*/ 26222 h 492"/>
                <a:gd name="T52" fmla="*/ 143729 w 726"/>
                <a:gd name="T53" fmla="*/ 17482 h 492"/>
                <a:gd name="T54" fmla="*/ 145671 w 726"/>
                <a:gd name="T55" fmla="*/ 8741 h 492"/>
                <a:gd name="T56" fmla="*/ 150527 w 726"/>
                <a:gd name="T57" fmla="*/ 3884 h 492"/>
                <a:gd name="T58" fmla="*/ 160238 w 726"/>
                <a:gd name="T59" fmla="*/ 0 h 492"/>
                <a:gd name="T60" fmla="*/ 170920 w 726"/>
                <a:gd name="T61" fmla="*/ 8741 h 492"/>
                <a:gd name="T62" fmla="*/ 181604 w 726"/>
                <a:gd name="T63" fmla="*/ 21366 h 492"/>
                <a:gd name="T64" fmla="*/ 184516 w 726"/>
                <a:gd name="T65" fmla="*/ 32049 h 492"/>
                <a:gd name="T66" fmla="*/ 179661 w 726"/>
                <a:gd name="T67" fmla="*/ 40790 h 492"/>
                <a:gd name="T68" fmla="*/ 186459 w 726"/>
                <a:gd name="T69" fmla="*/ 46616 h 492"/>
                <a:gd name="T70" fmla="*/ 195199 w 726"/>
                <a:gd name="T71" fmla="*/ 55357 h 492"/>
                <a:gd name="T72" fmla="*/ 205882 w 726"/>
                <a:gd name="T73" fmla="*/ 57300 h 492"/>
                <a:gd name="T74" fmla="*/ 214622 w 726"/>
                <a:gd name="T75" fmla="*/ 64098 h 492"/>
                <a:gd name="T76" fmla="*/ 218506 w 726"/>
                <a:gd name="T77" fmla="*/ 74781 h 492"/>
                <a:gd name="T78" fmla="*/ 231131 w 726"/>
                <a:gd name="T79" fmla="*/ 81579 h 492"/>
                <a:gd name="T80" fmla="*/ 235016 w 726"/>
                <a:gd name="T81" fmla="*/ 91291 h 492"/>
                <a:gd name="T82" fmla="*/ 241814 w 726"/>
                <a:gd name="T83" fmla="*/ 101003 h 492"/>
                <a:gd name="T84" fmla="*/ 252496 w 726"/>
                <a:gd name="T85" fmla="*/ 104887 h 492"/>
                <a:gd name="T86" fmla="*/ 256381 w 726"/>
                <a:gd name="T87" fmla="*/ 120427 h 492"/>
                <a:gd name="T88" fmla="*/ 244727 w 726"/>
                <a:gd name="T89" fmla="*/ 117513 h 492"/>
                <a:gd name="T90" fmla="*/ 233073 w 726"/>
                <a:gd name="T91" fmla="*/ 117513 h 492"/>
                <a:gd name="T92" fmla="*/ 231131 w 726"/>
                <a:gd name="T93" fmla="*/ 117513 h 492"/>
                <a:gd name="T94" fmla="*/ 226275 w 726"/>
                <a:gd name="T95" fmla="*/ 115570 h 492"/>
                <a:gd name="T96" fmla="*/ 215593 w 726"/>
                <a:gd name="T97" fmla="*/ 115570 h 492"/>
                <a:gd name="T98" fmla="*/ 207824 w 726"/>
                <a:gd name="T99" fmla="*/ 121398 h 492"/>
                <a:gd name="T100" fmla="*/ 197141 w 726"/>
                <a:gd name="T101" fmla="*/ 117513 h 492"/>
                <a:gd name="T102" fmla="*/ 188402 w 726"/>
                <a:gd name="T103" fmla="*/ 124311 h 492"/>
                <a:gd name="T104" fmla="*/ 175776 w 726"/>
                <a:gd name="T105" fmla="*/ 128196 h 492"/>
                <a:gd name="T106" fmla="*/ 167036 w 726"/>
                <a:gd name="T107" fmla="*/ 126253 h 492"/>
                <a:gd name="T108" fmla="*/ 158296 w 726"/>
                <a:gd name="T109" fmla="*/ 138879 h 492"/>
                <a:gd name="T110" fmla="*/ 143729 w 726"/>
                <a:gd name="T111" fmla="*/ 134994 h 492"/>
                <a:gd name="T112" fmla="*/ 126249 w 726"/>
                <a:gd name="T113" fmla="*/ 132081 h 492"/>
                <a:gd name="T114" fmla="*/ 113623 w 726"/>
                <a:gd name="T115" fmla="*/ 124311 h 492"/>
                <a:gd name="T116" fmla="*/ 98085 w 726"/>
                <a:gd name="T117" fmla="*/ 117513 h 492"/>
                <a:gd name="T118" fmla="*/ 87402 w 726"/>
                <a:gd name="T119" fmla="*/ 128196 h 492"/>
                <a:gd name="T120" fmla="*/ 83518 w 726"/>
                <a:gd name="T121" fmla="*/ 138879 h 4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492">
                  <a:moveTo>
                    <a:pt x="234" y="426"/>
                  </a:moveTo>
                  <a:lnTo>
                    <a:pt x="234" y="420"/>
                  </a:lnTo>
                  <a:lnTo>
                    <a:pt x="228" y="420"/>
                  </a:lnTo>
                  <a:lnTo>
                    <a:pt x="228" y="414"/>
                  </a:lnTo>
                  <a:lnTo>
                    <a:pt x="222" y="414"/>
                  </a:lnTo>
                  <a:lnTo>
                    <a:pt x="222" y="420"/>
                  </a:lnTo>
                  <a:lnTo>
                    <a:pt x="222" y="414"/>
                  </a:lnTo>
                  <a:lnTo>
                    <a:pt x="222" y="420"/>
                  </a:lnTo>
                  <a:lnTo>
                    <a:pt x="216" y="414"/>
                  </a:lnTo>
                  <a:lnTo>
                    <a:pt x="216" y="420"/>
                  </a:lnTo>
                  <a:lnTo>
                    <a:pt x="210" y="420"/>
                  </a:lnTo>
                  <a:lnTo>
                    <a:pt x="210" y="426"/>
                  </a:lnTo>
                  <a:lnTo>
                    <a:pt x="210" y="420"/>
                  </a:lnTo>
                  <a:lnTo>
                    <a:pt x="204" y="420"/>
                  </a:lnTo>
                  <a:lnTo>
                    <a:pt x="198" y="420"/>
                  </a:lnTo>
                  <a:lnTo>
                    <a:pt x="198" y="414"/>
                  </a:lnTo>
                  <a:lnTo>
                    <a:pt x="192" y="414"/>
                  </a:lnTo>
                  <a:lnTo>
                    <a:pt x="192" y="420"/>
                  </a:lnTo>
                  <a:lnTo>
                    <a:pt x="192" y="414"/>
                  </a:lnTo>
                  <a:lnTo>
                    <a:pt x="186" y="414"/>
                  </a:lnTo>
                  <a:lnTo>
                    <a:pt x="180" y="414"/>
                  </a:lnTo>
                  <a:lnTo>
                    <a:pt x="174" y="414"/>
                  </a:lnTo>
                  <a:lnTo>
                    <a:pt x="168" y="414"/>
                  </a:lnTo>
                  <a:lnTo>
                    <a:pt x="162" y="414"/>
                  </a:lnTo>
                  <a:lnTo>
                    <a:pt x="156" y="414"/>
                  </a:lnTo>
                  <a:lnTo>
                    <a:pt x="156" y="420"/>
                  </a:lnTo>
                  <a:lnTo>
                    <a:pt x="150" y="420"/>
                  </a:lnTo>
                  <a:lnTo>
                    <a:pt x="144" y="420"/>
                  </a:lnTo>
                  <a:lnTo>
                    <a:pt x="138" y="420"/>
                  </a:lnTo>
                  <a:lnTo>
                    <a:pt x="132" y="420"/>
                  </a:lnTo>
                  <a:lnTo>
                    <a:pt x="126" y="420"/>
                  </a:lnTo>
                  <a:lnTo>
                    <a:pt x="120" y="420"/>
                  </a:lnTo>
                  <a:lnTo>
                    <a:pt x="120" y="426"/>
                  </a:lnTo>
                  <a:lnTo>
                    <a:pt x="120" y="432"/>
                  </a:lnTo>
                  <a:lnTo>
                    <a:pt x="120" y="438"/>
                  </a:lnTo>
                  <a:lnTo>
                    <a:pt x="114" y="438"/>
                  </a:lnTo>
                  <a:lnTo>
                    <a:pt x="114" y="444"/>
                  </a:lnTo>
                  <a:lnTo>
                    <a:pt x="120" y="444"/>
                  </a:lnTo>
                  <a:lnTo>
                    <a:pt x="114" y="450"/>
                  </a:lnTo>
                  <a:lnTo>
                    <a:pt x="114" y="456"/>
                  </a:lnTo>
                  <a:lnTo>
                    <a:pt x="114" y="462"/>
                  </a:lnTo>
                  <a:lnTo>
                    <a:pt x="114" y="468"/>
                  </a:lnTo>
                  <a:lnTo>
                    <a:pt x="108" y="468"/>
                  </a:lnTo>
                  <a:lnTo>
                    <a:pt x="108" y="474"/>
                  </a:lnTo>
                  <a:lnTo>
                    <a:pt x="108" y="480"/>
                  </a:lnTo>
                  <a:lnTo>
                    <a:pt x="102" y="480"/>
                  </a:lnTo>
                  <a:lnTo>
                    <a:pt x="102" y="486"/>
                  </a:lnTo>
                  <a:lnTo>
                    <a:pt x="102" y="492"/>
                  </a:lnTo>
                  <a:lnTo>
                    <a:pt x="96" y="492"/>
                  </a:lnTo>
                  <a:lnTo>
                    <a:pt x="96" y="486"/>
                  </a:lnTo>
                  <a:lnTo>
                    <a:pt x="96" y="480"/>
                  </a:lnTo>
                  <a:lnTo>
                    <a:pt x="90" y="480"/>
                  </a:lnTo>
                  <a:lnTo>
                    <a:pt x="90" y="474"/>
                  </a:lnTo>
                  <a:lnTo>
                    <a:pt x="90" y="468"/>
                  </a:lnTo>
                  <a:lnTo>
                    <a:pt x="90" y="462"/>
                  </a:lnTo>
                  <a:lnTo>
                    <a:pt x="90" y="456"/>
                  </a:lnTo>
                  <a:lnTo>
                    <a:pt x="90" y="450"/>
                  </a:lnTo>
                  <a:lnTo>
                    <a:pt x="84" y="450"/>
                  </a:lnTo>
                  <a:lnTo>
                    <a:pt x="84" y="444"/>
                  </a:lnTo>
                  <a:lnTo>
                    <a:pt x="78" y="444"/>
                  </a:lnTo>
                  <a:lnTo>
                    <a:pt x="72" y="444"/>
                  </a:lnTo>
                  <a:lnTo>
                    <a:pt x="72" y="438"/>
                  </a:lnTo>
                  <a:lnTo>
                    <a:pt x="66" y="438"/>
                  </a:lnTo>
                  <a:lnTo>
                    <a:pt x="66" y="432"/>
                  </a:lnTo>
                  <a:lnTo>
                    <a:pt x="60" y="432"/>
                  </a:lnTo>
                  <a:lnTo>
                    <a:pt x="60" y="426"/>
                  </a:lnTo>
                  <a:lnTo>
                    <a:pt x="54" y="420"/>
                  </a:lnTo>
                  <a:lnTo>
                    <a:pt x="48" y="414"/>
                  </a:lnTo>
                  <a:lnTo>
                    <a:pt x="48" y="408"/>
                  </a:lnTo>
                  <a:lnTo>
                    <a:pt x="42" y="408"/>
                  </a:lnTo>
                  <a:lnTo>
                    <a:pt x="42" y="402"/>
                  </a:lnTo>
                  <a:lnTo>
                    <a:pt x="36" y="402"/>
                  </a:lnTo>
                  <a:lnTo>
                    <a:pt x="36" y="396"/>
                  </a:lnTo>
                  <a:lnTo>
                    <a:pt x="42" y="390"/>
                  </a:lnTo>
                  <a:lnTo>
                    <a:pt x="36" y="390"/>
                  </a:lnTo>
                  <a:lnTo>
                    <a:pt x="36" y="384"/>
                  </a:lnTo>
                  <a:lnTo>
                    <a:pt x="36" y="378"/>
                  </a:lnTo>
                  <a:lnTo>
                    <a:pt x="36" y="372"/>
                  </a:lnTo>
                  <a:lnTo>
                    <a:pt x="30" y="372"/>
                  </a:lnTo>
                  <a:lnTo>
                    <a:pt x="24" y="372"/>
                  </a:lnTo>
                  <a:lnTo>
                    <a:pt x="24" y="366"/>
                  </a:lnTo>
                  <a:lnTo>
                    <a:pt x="18" y="366"/>
                  </a:lnTo>
                  <a:lnTo>
                    <a:pt x="18" y="360"/>
                  </a:lnTo>
                  <a:lnTo>
                    <a:pt x="18" y="354"/>
                  </a:lnTo>
                  <a:lnTo>
                    <a:pt x="12" y="354"/>
                  </a:lnTo>
                  <a:lnTo>
                    <a:pt x="18" y="354"/>
                  </a:lnTo>
                  <a:lnTo>
                    <a:pt x="18" y="348"/>
                  </a:lnTo>
                  <a:lnTo>
                    <a:pt x="12" y="342"/>
                  </a:lnTo>
                  <a:lnTo>
                    <a:pt x="12" y="336"/>
                  </a:lnTo>
                  <a:lnTo>
                    <a:pt x="12" y="330"/>
                  </a:lnTo>
                  <a:lnTo>
                    <a:pt x="12" y="324"/>
                  </a:lnTo>
                  <a:lnTo>
                    <a:pt x="6" y="324"/>
                  </a:lnTo>
                  <a:lnTo>
                    <a:pt x="6" y="318"/>
                  </a:lnTo>
                  <a:lnTo>
                    <a:pt x="12" y="318"/>
                  </a:lnTo>
                  <a:lnTo>
                    <a:pt x="12" y="312"/>
                  </a:lnTo>
                  <a:lnTo>
                    <a:pt x="12" y="306"/>
                  </a:lnTo>
                  <a:lnTo>
                    <a:pt x="6" y="306"/>
                  </a:lnTo>
                  <a:lnTo>
                    <a:pt x="12" y="306"/>
                  </a:lnTo>
                  <a:lnTo>
                    <a:pt x="12" y="300"/>
                  </a:lnTo>
                  <a:lnTo>
                    <a:pt x="12" y="294"/>
                  </a:lnTo>
                  <a:lnTo>
                    <a:pt x="12" y="288"/>
                  </a:lnTo>
                  <a:lnTo>
                    <a:pt x="6" y="288"/>
                  </a:lnTo>
                  <a:lnTo>
                    <a:pt x="0" y="288"/>
                  </a:lnTo>
                  <a:lnTo>
                    <a:pt x="0" y="282"/>
                  </a:lnTo>
                  <a:lnTo>
                    <a:pt x="0" y="276"/>
                  </a:lnTo>
                  <a:lnTo>
                    <a:pt x="6" y="276"/>
                  </a:lnTo>
                  <a:lnTo>
                    <a:pt x="6" y="270"/>
                  </a:lnTo>
                  <a:lnTo>
                    <a:pt x="12" y="270"/>
                  </a:lnTo>
                  <a:lnTo>
                    <a:pt x="18" y="270"/>
                  </a:lnTo>
                  <a:lnTo>
                    <a:pt x="18" y="264"/>
                  </a:lnTo>
                  <a:lnTo>
                    <a:pt x="24" y="264"/>
                  </a:lnTo>
                  <a:lnTo>
                    <a:pt x="18" y="264"/>
                  </a:lnTo>
                  <a:lnTo>
                    <a:pt x="18" y="258"/>
                  </a:lnTo>
                  <a:lnTo>
                    <a:pt x="24" y="258"/>
                  </a:lnTo>
                  <a:lnTo>
                    <a:pt x="24" y="252"/>
                  </a:lnTo>
                  <a:lnTo>
                    <a:pt x="30" y="246"/>
                  </a:lnTo>
                  <a:lnTo>
                    <a:pt x="30" y="240"/>
                  </a:lnTo>
                  <a:lnTo>
                    <a:pt x="36" y="240"/>
                  </a:lnTo>
                  <a:lnTo>
                    <a:pt x="36" y="234"/>
                  </a:lnTo>
                  <a:lnTo>
                    <a:pt x="36" y="228"/>
                  </a:lnTo>
                  <a:lnTo>
                    <a:pt x="42" y="228"/>
                  </a:lnTo>
                  <a:lnTo>
                    <a:pt x="42" y="222"/>
                  </a:lnTo>
                  <a:lnTo>
                    <a:pt x="42" y="216"/>
                  </a:lnTo>
                  <a:lnTo>
                    <a:pt x="42" y="210"/>
                  </a:lnTo>
                  <a:lnTo>
                    <a:pt x="48" y="210"/>
                  </a:lnTo>
                  <a:lnTo>
                    <a:pt x="54" y="204"/>
                  </a:lnTo>
                  <a:lnTo>
                    <a:pt x="60" y="204"/>
                  </a:lnTo>
                  <a:lnTo>
                    <a:pt x="60" y="198"/>
                  </a:lnTo>
                  <a:lnTo>
                    <a:pt x="66" y="198"/>
                  </a:lnTo>
                  <a:lnTo>
                    <a:pt x="72" y="198"/>
                  </a:lnTo>
                  <a:lnTo>
                    <a:pt x="72" y="204"/>
                  </a:lnTo>
                  <a:lnTo>
                    <a:pt x="72" y="198"/>
                  </a:lnTo>
                  <a:lnTo>
                    <a:pt x="78" y="198"/>
                  </a:lnTo>
                  <a:lnTo>
                    <a:pt x="78" y="204"/>
                  </a:lnTo>
                  <a:lnTo>
                    <a:pt x="78" y="198"/>
                  </a:lnTo>
                  <a:lnTo>
                    <a:pt x="84" y="198"/>
                  </a:lnTo>
                  <a:lnTo>
                    <a:pt x="90" y="198"/>
                  </a:lnTo>
                  <a:lnTo>
                    <a:pt x="90" y="192"/>
                  </a:lnTo>
                  <a:lnTo>
                    <a:pt x="96" y="192"/>
                  </a:lnTo>
                  <a:lnTo>
                    <a:pt x="102" y="192"/>
                  </a:lnTo>
                  <a:lnTo>
                    <a:pt x="108" y="192"/>
                  </a:lnTo>
                  <a:lnTo>
                    <a:pt x="108" y="186"/>
                  </a:lnTo>
                  <a:lnTo>
                    <a:pt x="114" y="186"/>
                  </a:lnTo>
                  <a:lnTo>
                    <a:pt x="108" y="186"/>
                  </a:lnTo>
                  <a:lnTo>
                    <a:pt x="114" y="180"/>
                  </a:lnTo>
                  <a:lnTo>
                    <a:pt x="120" y="180"/>
                  </a:lnTo>
                  <a:lnTo>
                    <a:pt x="120" y="186"/>
                  </a:lnTo>
                  <a:lnTo>
                    <a:pt x="126" y="186"/>
                  </a:lnTo>
                  <a:lnTo>
                    <a:pt x="126" y="192"/>
                  </a:lnTo>
                  <a:lnTo>
                    <a:pt x="132" y="192"/>
                  </a:lnTo>
                  <a:lnTo>
                    <a:pt x="132" y="198"/>
                  </a:lnTo>
                  <a:lnTo>
                    <a:pt x="138" y="198"/>
                  </a:lnTo>
                  <a:lnTo>
                    <a:pt x="138" y="192"/>
                  </a:lnTo>
                  <a:lnTo>
                    <a:pt x="144" y="192"/>
                  </a:lnTo>
                  <a:lnTo>
                    <a:pt x="150" y="192"/>
                  </a:lnTo>
                  <a:lnTo>
                    <a:pt x="150" y="186"/>
                  </a:lnTo>
                  <a:lnTo>
                    <a:pt x="150" y="192"/>
                  </a:lnTo>
                  <a:lnTo>
                    <a:pt x="150" y="186"/>
                  </a:lnTo>
                  <a:lnTo>
                    <a:pt x="156" y="186"/>
                  </a:lnTo>
                  <a:lnTo>
                    <a:pt x="156" y="180"/>
                  </a:lnTo>
                  <a:lnTo>
                    <a:pt x="162" y="180"/>
                  </a:lnTo>
                  <a:lnTo>
                    <a:pt x="168" y="180"/>
                  </a:lnTo>
                  <a:lnTo>
                    <a:pt x="168" y="174"/>
                  </a:lnTo>
                  <a:lnTo>
                    <a:pt x="168" y="180"/>
                  </a:lnTo>
                  <a:lnTo>
                    <a:pt x="174" y="180"/>
                  </a:lnTo>
                  <a:lnTo>
                    <a:pt x="174" y="174"/>
                  </a:lnTo>
                  <a:lnTo>
                    <a:pt x="174" y="180"/>
                  </a:lnTo>
                  <a:lnTo>
                    <a:pt x="174" y="174"/>
                  </a:lnTo>
                  <a:lnTo>
                    <a:pt x="180" y="174"/>
                  </a:lnTo>
                  <a:lnTo>
                    <a:pt x="186" y="174"/>
                  </a:lnTo>
                  <a:lnTo>
                    <a:pt x="192" y="174"/>
                  </a:lnTo>
                  <a:lnTo>
                    <a:pt x="198" y="174"/>
                  </a:lnTo>
                  <a:lnTo>
                    <a:pt x="198" y="168"/>
                  </a:lnTo>
                  <a:lnTo>
                    <a:pt x="204" y="168"/>
                  </a:lnTo>
                  <a:lnTo>
                    <a:pt x="210" y="168"/>
                  </a:lnTo>
                  <a:lnTo>
                    <a:pt x="216" y="168"/>
                  </a:lnTo>
                  <a:lnTo>
                    <a:pt x="222" y="168"/>
                  </a:lnTo>
                  <a:lnTo>
                    <a:pt x="228" y="168"/>
                  </a:lnTo>
                  <a:lnTo>
                    <a:pt x="234" y="168"/>
                  </a:lnTo>
                  <a:lnTo>
                    <a:pt x="234" y="162"/>
                  </a:lnTo>
                  <a:lnTo>
                    <a:pt x="234" y="156"/>
                  </a:lnTo>
                  <a:lnTo>
                    <a:pt x="240" y="156"/>
                  </a:lnTo>
                  <a:lnTo>
                    <a:pt x="246" y="156"/>
                  </a:lnTo>
                  <a:lnTo>
                    <a:pt x="246" y="150"/>
                  </a:lnTo>
                  <a:lnTo>
                    <a:pt x="252" y="150"/>
                  </a:lnTo>
                  <a:lnTo>
                    <a:pt x="246" y="150"/>
                  </a:lnTo>
                  <a:lnTo>
                    <a:pt x="252" y="150"/>
                  </a:lnTo>
                  <a:lnTo>
                    <a:pt x="252" y="144"/>
                  </a:lnTo>
                  <a:lnTo>
                    <a:pt x="252" y="138"/>
                  </a:lnTo>
                  <a:lnTo>
                    <a:pt x="258" y="144"/>
                  </a:lnTo>
                  <a:lnTo>
                    <a:pt x="258" y="138"/>
                  </a:lnTo>
                  <a:lnTo>
                    <a:pt x="258" y="132"/>
                  </a:lnTo>
                  <a:lnTo>
                    <a:pt x="258" y="126"/>
                  </a:lnTo>
                  <a:lnTo>
                    <a:pt x="252" y="126"/>
                  </a:lnTo>
                  <a:lnTo>
                    <a:pt x="246" y="126"/>
                  </a:lnTo>
                  <a:lnTo>
                    <a:pt x="246" y="120"/>
                  </a:lnTo>
                  <a:lnTo>
                    <a:pt x="246" y="126"/>
                  </a:lnTo>
                  <a:lnTo>
                    <a:pt x="246" y="120"/>
                  </a:lnTo>
                  <a:lnTo>
                    <a:pt x="252" y="120"/>
                  </a:lnTo>
                  <a:lnTo>
                    <a:pt x="252" y="114"/>
                  </a:lnTo>
                  <a:lnTo>
                    <a:pt x="258" y="114"/>
                  </a:lnTo>
                  <a:lnTo>
                    <a:pt x="264" y="114"/>
                  </a:lnTo>
                  <a:lnTo>
                    <a:pt x="270" y="114"/>
                  </a:lnTo>
                  <a:lnTo>
                    <a:pt x="276" y="114"/>
                  </a:lnTo>
                  <a:lnTo>
                    <a:pt x="282" y="114"/>
                  </a:lnTo>
                  <a:lnTo>
                    <a:pt x="288" y="114"/>
                  </a:lnTo>
                  <a:lnTo>
                    <a:pt x="294" y="114"/>
                  </a:lnTo>
                  <a:lnTo>
                    <a:pt x="300" y="114"/>
                  </a:lnTo>
                  <a:lnTo>
                    <a:pt x="300" y="108"/>
                  </a:lnTo>
                  <a:lnTo>
                    <a:pt x="300" y="114"/>
                  </a:lnTo>
                  <a:lnTo>
                    <a:pt x="300" y="108"/>
                  </a:lnTo>
                  <a:lnTo>
                    <a:pt x="306" y="108"/>
                  </a:lnTo>
                  <a:lnTo>
                    <a:pt x="312" y="108"/>
                  </a:lnTo>
                  <a:lnTo>
                    <a:pt x="318" y="108"/>
                  </a:lnTo>
                  <a:lnTo>
                    <a:pt x="324" y="108"/>
                  </a:lnTo>
                  <a:lnTo>
                    <a:pt x="330" y="108"/>
                  </a:lnTo>
                  <a:lnTo>
                    <a:pt x="336" y="108"/>
                  </a:lnTo>
                  <a:lnTo>
                    <a:pt x="336" y="102"/>
                  </a:lnTo>
                  <a:lnTo>
                    <a:pt x="336" y="96"/>
                  </a:lnTo>
                  <a:lnTo>
                    <a:pt x="342" y="96"/>
                  </a:lnTo>
                  <a:lnTo>
                    <a:pt x="336" y="96"/>
                  </a:lnTo>
                  <a:lnTo>
                    <a:pt x="342" y="96"/>
                  </a:lnTo>
                  <a:lnTo>
                    <a:pt x="348" y="96"/>
                  </a:lnTo>
                  <a:lnTo>
                    <a:pt x="342" y="96"/>
                  </a:lnTo>
                  <a:lnTo>
                    <a:pt x="348" y="96"/>
                  </a:lnTo>
                  <a:lnTo>
                    <a:pt x="348" y="90"/>
                  </a:lnTo>
                  <a:lnTo>
                    <a:pt x="354" y="90"/>
                  </a:lnTo>
                  <a:lnTo>
                    <a:pt x="360" y="84"/>
                  </a:lnTo>
                  <a:lnTo>
                    <a:pt x="360" y="90"/>
                  </a:lnTo>
                  <a:lnTo>
                    <a:pt x="360" y="84"/>
                  </a:lnTo>
                  <a:lnTo>
                    <a:pt x="360" y="78"/>
                  </a:lnTo>
                  <a:lnTo>
                    <a:pt x="366" y="78"/>
                  </a:lnTo>
                  <a:lnTo>
                    <a:pt x="366" y="72"/>
                  </a:lnTo>
                  <a:lnTo>
                    <a:pt x="372" y="72"/>
                  </a:lnTo>
                  <a:lnTo>
                    <a:pt x="372" y="66"/>
                  </a:lnTo>
                  <a:lnTo>
                    <a:pt x="378" y="66"/>
                  </a:lnTo>
                  <a:lnTo>
                    <a:pt x="378" y="60"/>
                  </a:lnTo>
                  <a:lnTo>
                    <a:pt x="384" y="60"/>
                  </a:lnTo>
                  <a:lnTo>
                    <a:pt x="390" y="60"/>
                  </a:lnTo>
                  <a:lnTo>
                    <a:pt x="390" y="54"/>
                  </a:lnTo>
                  <a:lnTo>
                    <a:pt x="390" y="48"/>
                  </a:lnTo>
                  <a:lnTo>
                    <a:pt x="396" y="48"/>
                  </a:lnTo>
                  <a:lnTo>
                    <a:pt x="402" y="48"/>
                  </a:lnTo>
                  <a:lnTo>
                    <a:pt x="402" y="42"/>
                  </a:lnTo>
                  <a:lnTo>
                    <a:pt x="402" y="48"/>
                  </a:lnTo>
                  <a:lnTo>
                    <a:pt x="402" y="42"/>
                  </a:lnTo>
                  <a:lnTo>
                    <a:pt x="408" y="42"/>
                  </a:lnTo>
                  <a:lnTo>
                    <a:pt x="408" y="36"/>
                  </a:lnTo>
                  <a:lnTo>
                    <a:pt x="408" y="30"/>
                  </a:lnTo>
                  <a:lnTo>
                    <a:pt x="408" y="24"/>
                  </a:lnTo>
                  <a:lnTo>
                    <a:pt x="408" y="18"/>
                  </a:lnTo>
                  <a:lnTo>
                    <a:pt x="408" y="24"/>
                  </a:lnTo>
                  <a:lnTo>
                    <a:pt x="408" y="18"/>
                  </a:lnTo>
                  <a:lnTo>
                    <a:pt x="408" y="12"/>
                  </a:lnTo>
                  <a:lnTo>
                    <a:pt x="414" y="12"/>
                  </a:lnTo>
                  <a:lnTo>
                    <a:pt x="414" y="6"/>
                  </a:lnTo>
                  <a:lnTo>
                    <a:pt x="414" y="12"/>
                  </a:lnTo>
                  <a:lnTo>
                    <a:pt x="414" y="6"/>
                  </a:lnTo>
                  <a:lnTo>
                    <a:pt x="420" y="12"/>
                  </a:lnTo>
                  <a:lnTo>
                    <a:pt x="420" y="6"/>
                  </a:lnTo>
                  <a:lnTo>
                    <a:pt x="420" y="12"/>
                  </a:lnTo>
                  <a:lnTo>
                    <a:pt x="420" y="6"/>
                  </a:lnTo>
                  <a:lnTo>
                    <a:pt x="420" y="12"/>
                  </a:lnTo>
                  <a:lnTo>
                    <a:pt x="420" y="6"/>
                  </a:lnTo>
                  <a:lnTo>
                    <a:pt x="426" y="6"/>
                  </a:lnTo>
                  <a:lnTo>
                    <a:pt x="432" y="6"/>
                  </a:lnTo>
                  <a:lnTo>
                    <a:pt x="438" y="6"/>
                  </a:lnTo>
                  <a:lnTo>
                    <a:pt x="444" y="6"/>
                  </a:lnTo>
                  <a:lnTo>
                    <a:pt x="444" y="0"/>
                  </a:lnTo>
                  <a:lnTo>
                    <a:pt x="450" y="0"/>
                  </a:lnTo>
                  <a:lnTo>
                    <a:pt x="456" y="0"/>
                  </a:lnTo>
                  <a:lnTo>
                    <a:pt x="462" y="0"/>
                  </a:lnTo>
                  <a:lnTo>
                    <a:pt x="462" y="6"/>
                  </a:lnTo>
                  <a:lnTo>
                    <a:pt x="468" y="6"/>
                  </a:lnTo>
                  <a:lnTo>
                    <a:pt x="474" y="6"/>
                  </a:lnTo>
                  <a:lnTo>
                    <a:pt x="474" y="12"/>
                  </a:lnTo>
                  <a:lnTo>
                    <a:pt x="474" y="18"/>
                  </a:lnTo>
                  <a:lnTo>
                    <a:pt x="480" y="18"/>
                  </a:lnTo>
                  <a:lnTo>
                    <a:pt x="480" y="24"/>
                  </a:lnTo>
                  <a:lnTo>
                    <a:pt x="486" y="24"/>
                  </a:lnTo>
                  <a:lnTo>
                    <a:pt x="486" y="30"/>
                  </a:lnTo>
                  <a:lnTo>
                    <a:pt x="492" y="30"/>
                  </a:lnTo>
                  <a:lnTo>
                    <a:pt x="492" y="36"/>
                  </a:lnTo>
                  <a:lnTo>
                    <a:pt x="498" y="36"/>
                  </a:lnTo>
                  <a:lnTo>
                    <a:pt x="498" y="42"/>
                  </a:lnTo>
                  <a:lnTo>
                    <a:pt x="504" y="48"/>
                  </a:lnTo>
                  <a:lnTo>
                    <a:pt x="510" y="54"/>
                  </a:lnTo>
                  <a:lnTo>
                    <a:pt x="510" y="60"/>
                  </a:lnTo>
                  <a:lnTo>
                    <a:pt x="516" y="66"/>
                  </a:lnTo>
                  <a:lnTo>
                    <a:pt x="516" y="72"/>
                  </a:lnTo>
                  <a:lnTo>
                    <a:pt x="516" y="78"/>
                  </a:lnTo>
                  <a:lnTo>
                    <a:pt x="516" y="84"/>
                  </a:lnTo>
                  <a:lnTo>
                    <a:pt x="510" y="84"/>
                  </a:lnTo>
                  <a:lnTo>
                    <a:pt x="516" y="84"/>
                  </a:lnTo>
                  <a:lnTo>
                    <a:pt x="510" y="84"/>
                  </a:lnTo>
                  <a:lnTo>
                    <a:pt x="510" y="90"/>
                  </a:lnTo>
                  <a:lnTo>
                    <a:pt x="516" y="90"/>
                  </a:lnTo>
                  <a:lnTo>
                    <a:pt x="510" y="90"/>
                  </a:lnTo>
                  <a:lnTo>
                    <a:pt x="510" y="96"/>
                  </a:lnTo>
                  <a:lnTo>
                    <a:pt x="516" y="96"/>
                  </a:lnTo>
                  <a:lnTo>
                    <a:pt x="510" y="102"/>
                  </a:lnTo>
                  <a:lnTo>
                    <a:pt x="510" y="96"/>
                  </a:lnTo>
                  <a:lnTo>
                    <a:pt x="510" y="102"/>
                  </a:lnTo>
                  <a:lnTo>
                    <a:pt x="504" y="102"/>
                  </a:lnTo>
                  <a:lnTo>
                    <a:pt x="504" y="108"/>
                  </a:lnTo>
                  <a:lnTo>
                    <a:pt x="504" y="114"/>
                  </a:lnTo>
                  <a:lnTo>
                    <a:pt x="510" y="114"/>
                  </a:lnTo>
                  <a:lnTo>
                    <a:pt x="510" y="120"/>
                  </a:lnTo>
                  <a:lnTo>
                    <a:pt x="510" y="126"/>
                  </a:lnTo>
                  <a:lnTo>
                    <a:pt x="504" y="126"/>
                  </a:lnTo>
                  <a:lnTo>
                    <a:pt x="504" y="132"/>
                  </a:lnTo>
                  <a:lnTo>
                    <a:pt x="510" y="132"/>
                  </a:lnTo>
                  <a:lnTo>
                    <a:pt x="510" y="126"/>
                  </a:lnTo>
                  <a:lnTo>
                    <a:pt x="516" y="132"/>
                  </a:lnTo>
                  <a:lnTo>
                    <a:pt x="522" y="132"/>
                  </a:lnTo>
                  <a:lnTo>
                    <a:pt x="528" y="132"/>
                  </a:lnTo>
                  <a:lnTo>
                    <a:pt x="534" y="132"/>
                  </a:lnTo>
                  <a:lnTo>
                    <a:pt x="540" y="132"/>
                  </a:lnTo>
                  <a:lnTo>
                    <a:pt x="546" y="132"/>
                  </a:lnTo>
                  <a:lnTo>
                    <a:pt x="546" y="138"/>
                  </a:lnTo>
                  <a:lnTo>
                    <a:pt x="546" y="144"/>
                  </a:lnTo>
                  <a:lnTo>
                    <a:pt x="540" y="144"/>
                  </a:lnTo>
                  <a:lnTo>
                    <a:pt x="540" y="150"/>
                  </a:lnTo>
                  <a:lnTo>
                    <a:pt x="546" y="156"/>
                  </a:lnTo>
                  <a:lnTo>
                    <a:pt x="552" y="156"/>
                  </a:lnTo>
                  <a:lnTo>
                    <a:pt x="558" y="156"/>
                  </a:lnTo>
                  <a:lnTo>
                    <a:pt x="564" y="156"/>
                  </a:lnTo>
                  <a:lnTo>
                    <a:pt x="564" y="162"/>
                  </a:lnTo>
                  <a:lnTo>
                    <a:pt x="564" y="156"/>
                  </a:lnTo>
                  <a:lnTo>
                    <a:pt x="570" y="156"/>
                  </a:lnTo>
                  <a:lnTo>
                    <a:pt x="570" y="162"/>
                  </a:lnTo>
                  <a:lnTo>
                    <a:pt x="576" y="156"/>
                  </a:lnTo>
                  <a:lnTo>
                    <a:pt x="576" y="162"/>
                  </a:lnTo>
                  <a:lnTo>
                    <a:pt x="582" y="162"/>
                  </a:lnTo>
                  <a:lnTo>
                    <a:pt x="582" y="168"/>
                  </a:lnTo>
                  <a:lnTo>
                    <a:pt x="588" y="168"/>
                  </a:lnTo>
                  <a:lnTo>
                    <a:pt x="588" y="174"/>
                  </a:lnTo>
                  <a:lnTo>
                    <a:pt x="594" y="174"/>
                  </a:lnTo>
                  <a:lnTo>
                    <a:pt x="594" y="180"/>
                  </a:lnTo>
                  <a:lnTo>
                    <a:pt x="594" y="174"/>
                  </a:lnTo>
                  <a:lnTo>
                    <a:pt x="600" y="174"/>
                  </a:lnTo>
                  <a:lnTo>
                    <a:pt x="600" y="180"/>
                  </a:lnTo>
                  <a:lnTo>
                    <a:pt x="606" y="180"/>
                  </a:lnTo>
                  <a:lnTo>
                    <a:pt x="606" y="186"/>
                  </a:lnTo>
                  <a:lnTo>
                    <a:pt x="606" y="192"/>
                  </a:lnTo>
                  <a:lnTo>
                    <a:pt x="600" y="192"/>
                  </a:lnTo>
                  <a:lnTo>
                    <a:pt x="600" y="198"/>
                  </a:lnTo>
                  <a:lnTo>
                    <a:pt x="606" y="198"/>
                  </a:lnTo>
                  <a:lnTo>
                    <a:pt x="606" y="204"/>
                  </a:lnTo>
                  <a:lnTo>
                    <a:pt x="606" y="210"/>
                  </a:lnTo>
                  <a:lnTo>
                    <a:pt x="612" y="210"/>
                  </a:lnTo>
                  <a:lnTo>
                    <a:pt x="618" y="210"/>
                  </a:lnTo>
                  <a:lnTo>
                    <a:pt x="618" y="216"/>
                  </a:lnTo>
                  <a:lnTo>
                    <a:pt x="624" y="216"/>
                  </a:lnTo>
                  <a:lnTo>
                    <a:pt x="630" y="216"/>
                  </a:lnTo>
                  <a:lnTo>
                    <a:pt x="636" y="216"/>
                  </a:lnTo>
                  <a:lnTo>
                    <a:pt x="636" y="222"/>
                  </a:lnTo>
                  <a:lnTo>
                    <a:pt x="642" y="222"/>
                  </a:lnTo>
                  <a:lnTo>
                    <a:pt x="642" y="228"/>
                  </a:lnTo>
                  <a:lnTo>
                    <a:pt x="648" y="228"/>
                  </a:lnTo>
                  <a:lnTo>
                    <a:pt x="648" y="234"/>
                  </a:lnTo>
                  <a:lnTo>
                    <a:pt x="648" y="240"/>
                  </a:lnTo>
                  <a:lnTo>
                    <a:pt x="654" y="240"/>
                  </a:lnTo>
                  <a:lnTo>
                    <a:pt x="660" y="240"/>
                  </a:lnTo>
                  <a:lnTo>
                    <a:pt x="660" y="246"/>
                  </a:lnTo>
                  <a:lnTo>
                    <a:pt x="666" y="246"/>
                  </a:lnTo>
                  <a:lnTo>
                    <a:pt x="666" y="252"/>
                  </a:lnTo>
                  <a:lnTo>
                    <a:pt x="660" y="252"/>
                  </a:lnTo>
                  <a:lnTo>
                    <a:pt x="660" y="258"/>
                  </a:lnTo>
                  <a:lnTo>
                    <a:pt x="660" y="264"/>
                  </a:lnTo>
                  <a:lnTo>
                    <a:pt x="666" y="264"/>
                  </a:lnTo>
                  <a:lnTo>
                    <a:pt x="672" y="264"/>
                  </a:lnTo>
                  <a:lnTo>
                    <a:pt x="672" y="270"/>
                  </a:lnTo>
                  <a:lnTo>
                    <a:pt x="672" y="276"/>
                  </a:lnTo>
                  <a:lnTo>
                    <a:pt x="666" y="276"/>
                  </a:lnTo>
                  <a:lnTo>
                    <a:pt x="672" y="276"/>
                  </a:lnTo>
                  <a:lnTo>
                    <a:pt x="672" y="282"/>
                  </a:lnTo>
                  <a:lnTo>
                    <a:pt x="678" y="282"/>
                  </a:lnTo>
                  <a:lnTo>
                    <a:pt x="684" y="282"/>
                  </a:lnTo>
                  <a:lnTo>
                    <a:pt x="690" y="282"/>
                  </a:lnTo>
                  <a:lnTo>
                    <a:pt x="690" y="288"/>
                  </a:lnTo>
                  <a:lnTo>
                    <a:pt x="696" y="288"/>
                  </a:lnTo>
                  <a:lnTo>
                    <a:pt x="696" y="294"/>
                  </a:lnTo>
                  <a:lnTo>
                    <a:pt x="696" y="288"/>
                  </a:lnTo>
                  <a:lnTo>
                    <a:pt x="702" y="288"/>
                  </a:lnTo>
                  <a:lnTo>
                    <a:pt x="702" y="294"/>
                  </a:lnTo>
                  <a:lnTo>
                    <a:pt x="708" y="294"/>
                  </a:lnTo>
                  <a:lnTo>
                    <a:pt x="708" y="300"/>
                  </a:lnTo>
                  <a:lnTo>
                    <a:pt x="714" y="300"/>
                  </a:lnTo>
                  <a:lnTo>
                    <a:pt x="714" y="306"/>
                  </a:lnTo>
                  <a:lnTo>
                    <a:pt x="714" y="312"/>
                  </a:lnTo>
                  <a:lnTo>
                    <a:pt x="714" y="318"/>
                  </a:lnTo>
                  <a:lnTo>
                    <a:pt x="714" y="324"/>
                  </a:lnTo>
                  <a:lnTo>
                    <a:pt x="720" y="330"/>
                  </a:lnTo>
                  <a:lnTo>
                    <a:pt x="726" y="336"/>
                  </a:lnTo>
                  <a:lnTo>
                    <a:pt x="720" y="336"/>
                  </a:lnTo>
                  <a:lnTo>
                    <a:pt x="720" y="330"/>
                  </a:lnTo>
                  <a:lnTo>
                    <a:pt x="714" y="330"/>
                  </a:lnTo>
                  <a:lnTo>
                    <a:pt x="708" y="330"/>
                  </a:lnTo>
                  <a:lnTo>
                    <a:pt x="702" y="330"/>
                  </a:lnTo>
                  <a:lnTo>
                    <a:pt x="696" y="330"/>
                  </a:lnTo>
                  <a:lnTo>
                    <a:pt x="696" y="336"/>
                  </a:lnTo>
                  <a:lnTo>
                    <a:pt x="690" y="336"/>
                  </a:lnTo>
                  <a:lnTo>
                    <a:pt x="684" y="336"/>
                  </a:lnTo>
                  <a:lnTo>
                    <a:pt x="684" y="330"/>
                  </a:lnTo>
                  <a:lnTo>
                    <a:pt x="684" y="336"/>
                  </a:lnTo>
                  <a:lnTo>
                    <a:pt x="678" y="336"/>
                  </a:lnTo>
                  <a:lnTo>
                    <a:pt x="672" y="336"/>
                  </a:lnTo>
                  <a:lnTo>
                    <a:pt x="666" y="336"/>
                  </a:lnTo>
                  <a:lnTo>
                    <a:pt x="672" y="336"/>
                  </a:lnTo>
                  <a:lnTo>
                    <a:pt x="666" y="336"/>
                  </a:lnTo>
                  <a:lnTo>
                    <a:pt x="666" y="330"/>
                  </a:lnTo>
                  <a:lnTo>
                    <a:pt x="660" y="330"/>
                  </a:lnTo>
                  <a:lnTo>
                    <a:pt x="654" y="330"/>
                  </a:lnTo>
                  <a:lnTo>
                    <a:pt x="660" y="330"/>
                  </a:lnTo>
                  <a:lnTo>
                    <a:pt x="654" y="330"/>
                  </a:lnTo>
                  <a:lnTo>
                    <a:pt x="654" y="324"/>
                  </a:lnTo>
                  <a:lnTo>
                    <a:pt x="648" y="324"/>
                  </a:lnTo>
                  <a:lnTo>
                    <a:pt x="648" y="330"/>
                  </a:lnTo>
                  <a:lnTo>
                    <a:pt x="648" y="324"/>
                  </a:lnTo>
                  <a:lnTo>
                    <a:pt x="648" y="330"/>
                  </a:lnTo>
                  <a:lnTo>
                    <a:pt x="648" y="324"/>
                  </a:lnTo>
                  <a:lnTo>
                    <a:pt x="648" y="330"/>
                  </a:lnTo>
                  <a:lnTo>
                    <a:pt x="642" y="330"/>
                  </a:lnTo>
                  <a:lnTo>
                    <a:pt x="642" y="324"/>
                  </a:lnTo>
                  <a:lnTo>
                    <a:pt x="642" y="330"/>
                  </a:lnTo>
                  <a:lnTo>
                    <a:pt x="636" y="330"/>
                  </a:lnTo>
                  <a:lnTo>
                    <a:pt x="642" y="330"/>
                  </a:lnTo>
                  <a:lnTo>
                    <a:pt x="636" y="330"/>
                  </a:lnTo>
                  <a:lnTo>
                    <a:pt x="636" y="324"/>
                  </a:lnTo>
                  <a:lnTo>
                    <a:pt x="636" y="330"/>
                  </a:lnTo>
                  <a:lnTo>
                    <a:pt x="636" y="324"/>
                  </a:lnTo>
                  <a:lnTo>
                    <a:pt x="630" y="324"/>
                  </a:lnTo>
                  <a:lnTo>
                    <a:pt x="624" y="324"/>
                  </a:lnTo>
                  <a:lnTo>
                    <a:pt x="624" y="318"/>
                  </a:lnTo>
                  <a:lnTo>
                    <a:pt x="624" y="324"/>
                  </a:lnTo>
                  <a:lnTo>
                    <a:pt x="624" y="318"/>
                  </a:lnTo>
                  <a:lnTo>
                    <a:pt x="618" y="318"/>
                  </a:lnTo>
                  <a:lnTo>
                    <a:pt x="612" y="318"/>
                  </a:lnTo>
                  <a:lnTo>
                    <a:pt x="606" y="318"/>
                  </a:lnTo>
                  <a:lnTo>
                    <a:pt x="606" y="324"/>
                  </a:lnTo>
                  <a:lnTo>
                    <a:pt x="612" y="324"/>
                  </a:lnTo>
                  <a:lnTo>
                    <a:pt x="606" y="324"/>
                  </a:lnTo>
                  <a:lnTo>
                    <a:pt x="606" y="330"/>
                  </a:lnTo>
                  <a:lnTo>
                    <a:pt x="606" y="336"/>
                  </a:lnTo>
                  <a:lnTo>
                    <a:pt x="600" y="336"/>
                  </a:lnTo>
                  <a:lnTo>
                    <a:pt x="594" y="336"/>
                  </a:lnTo>
                  <a:lnTo>
                    <a:pt x="594" y="342"/>
                  </a:lnTo>
                  <a:lnTo>
                    <a:pt x="588" y="342"/>
                  </a:lnTo>
                  <a:lnTo>
                    <a:pt x="582" y="342"/>
                  </a:lnTo>
                  <a:lnTo>
                    <a:pt x="576" y="342"/>
                  </a:lnTo>
                  <a:lnTo>
                    <a:pt x="570" y="342"/>
                  </a:lnTo>
                  <a:lnTo>
                    <a:pt x="570" y="336"/>
                  </a:lnTo>
                  <a:lnTo>
                    <a:pt x="564" y="336"/>
                  </a:lnTo>
                  <a:lnTo>
                    <a:pt x="558" y="336"/>
                  </a:lnTo>
                  <a:lnTo>
                    <a:pt x="558" y="330"/>
                  </a:lnTo>
                  <a:lnTo>
                    <a:pt x="558" y="336"/>
                  </a:lnTo>
                  <a:lnTo>
                    <a:pt x="558" y="330"/>
                  </a:lnTo>
                  <a:lnTo>
                    <a:pt x="552" y="330"/>
                  </a:lnTo>
                  <a:lnTo>
                    <a:pt x="552" y="336"/>
                  </a:lnTo>
                  <a:lnTo>
                    <a:pt x="558" y="336"/>
                  </a:lnTo>
                  <a:lnTo>
                    <a:pt x="552" y="336"/>
                  </a:lnTo>
                  <a:lnTo>
                    <a:pt x="546" y="336"/>
                  </a:lnTo>
                  <a:lnTo>
                    <a:pt x="546" y="342"/>
                  </a:lnTo>
                  <a:lnTo>
                    <a:pt x="540" y="342"/>
                  </a:lnTo>
                  <a:lnTo>
                    <a:pt x="534" y="342"/>
                  </a:lnTo>
                  <a:lnTo>
                    <a:pt x="534" y="348"/>
                  </a:lnTo>
                  <a:lnTo>
                    <a:pt x="528" y="348"/>
                  </a:lnTo>
                  <a:lnTo>
                    <a:pt x="522" y="348"/>
                  </a:lnTo>
                  <a:lnTo>
                    <a:pt x="522" y="354"/>
                  </a:lnTo>
                  <a:lnTo>
                    <a:pt x="516" y="348"/>
                  </a:lnTo>
                  <a:lnTo>
                    <a:pt x="516" y="354"/>
                  </a:lnTo>
                  <a:lnTo>
                    <a:pt x="510" y="354"/>
                  </a:lnTo>
                  <a:lnTo>
                    <a:pt x="504" y="354"/>
                  </a:lnTo>
                  <a:lnTo>
                    <a:pt x="504" y="360"/>
                  </a:lnTo>
                  <a:lnTo>
                    <a:pt x="498" y="360"/>
                  </a:lnTo>
                  <a:lnTo>
                    <a:pt x="492" y="360"/>
                  </a:lnTo>
                  <a:lnTo>
                    <a:pt x="492" y="354"/>
                  </a:lnTo>
                  <a:lnTo>
                    <a:pt x="486" y="354"/>
                  </a:lnTo>
                  <a:lnTo>
                    <a:pt x="480" y="354"/>
                  </a:lnTo>
                  <a:lnTo>
                    <a:pt x="474" y="354"/>
                  </a:lnTo>
                  <a:lnTo>
                    <a:pt x="474" y="348"/>
                  </a:lnTo>
                  <a:lnTo>
                    <a:pt x="468" y="348"/>
                  </a:lnTo>
                  <a:lnTo>
                    <a:pt x="468" y="354"/>
                  </a:lnTo>
                  <a:lnTo>
                    <a:pt x="474" y="354"/>
                  </a:lnTo>
                  <a:lnTo>
                    <a:pt x="468" y="354"/>
                  </a:lnTo>
                  <a:lnTo>
                    <a:pt x="462" y="354"/>
                  </a:lnTo>
                  <a:lnTo>
                    <a:pt x="462" y="360"/>
                  </a:lnTo>
                  <a:lnTo>
                    <a:pt x="462" y="366"/>
                  </a:lnTo>
                  <a:lnTo>
                    <a:pt x="456" y="366"/>
                  </a:lnTo>
                  <a:lnTo>
                    <a:pt x="456" y="372"/>
                  </a:lnTo>
                  <a:lnTo>
                    <a:pt x="456" y="378"/>
                  </a:lnTo>
                  <a:lnTo>
                    <a:pt x="450" y="378"/>
                  </a:lnTo>
                  <a:lnTo>
                    <a:pt x="450" y="384"/>
                  </a:lnTo>
                  <a:lnTo>
                    <a:pt x="444" y="390"/>
                  </a:lnTo>
                  <a:lnTo>
                    <a:pt x="438" y="390"/>
                  </a:lnTo>
                  <a:lnTo>
                    <a:pt x="432" y="390"/>
                  </a:lnTo>
                  <a:lnTo>
                    <a:pt x="432" y="384"/>
                  </a:lnTo>
                  <a:lnTo>
                    <a:pt x="426" y="384"/>
                  </a:lnTo>
                  <a:lnTo>
                    <a:pt x="420" y="384"/>
                  </a:lnTo>
                  <a:lnTo>
                    <a:pt x="414" y="384"/>
                  </a:lnTo>
                  <a:lnTo>
                    <a:pt x="414" y="378"/>
                  </a:lnTo>
                  <a:lnTo>
                    <a:pt x="408" y="378"/>
                  </a:lnTo>
                  <a:lnTo>
                    <a:pt x="402" y="378"/>
                  </a:lnTo>
                  <a:lnTo>
                    <a:pt x="396" y="378"/>
                  </a:lnTo>
                  <a:lnTo>
                    <a:pt x="390" y="378"/>
                  </a:lnTo>
                  <a:lnTo>
                    <a:pt x="384" y="378"/>
                  </a:lnTo>
                  <a:lnTo>
                    <a:pt x="378" y="378"/>
                  </a:lnTo>
                  <a:lnTo>
                    <a:pt x="372" y="378"/>
                  </a:lnTo>
                  <a:lnTo>
                    <a:pt x="372" y="372"/>
                  </a:lnTo>
                  <a:lnTo>
                    <a:pt x="366" y="372"/>
                  </a:lnTo>
                  <a:lnTo>
                    <a:pt x="360" y="372"/>
                  </a:lnTo>
                  <a:lnTo>
                    <a:pt x="354" y="372"/>
                  </a:lnTo>
                  <a:lnTo>
                    <a:pt x="348" y="372"/>
                  </a:lnTo>
                  <a:lnTo>
                    <a:pt x="342" y="372"/>
                  </a:lnTo>
                  <a:lnTo>
                    <a:pt x="336" y="372"/>
                  </a:lnTo>
                  <a:lnTo>
                    <a:pt x="336" y="366"/>
                  </a:lnTo>
                  <a:lnTo>
                    <a:pt x="336" y="360"/>
                  </a:lnTo>
                  <a:lnTo>
                    <a:pt x="330" y="354"/>
                  </a:lnTo>
                  <a:lnTo>
                    <a:pt x="324" y="354"/>
                  </a:lnTo>
                  <a:lnTo>
                    <a:pt x="324" y="348"/>
                  </a:lnTo>
                  <a:lnTo>
                    <a:pt x="318" y="348"/>
                  </a:lnTo>
                  <a:lnTo>
                    <a:pt x="318" y="342"/>
                  </a:lnTo>
                  <a:lnTo>
                    <a:pt x="312" y="342"/>
                  </a:lnTo>
                  <a:lnTo>
                    <a:pt x="306" y="342"/>
                  </a:lnTo>
                  <a:lnTo>
                    <a:pt x="306" y="336"/>
                  </a:lnTo>
                  <a:lnTo>
                    <a:pt x="300" y="336"/>
                  </a:lnTo>
                  <a:lnTo>
                    <a:pt x="294" y="330"/>
                  </a:lnTo>
                  <a:lnTo>
                    <a:pt x="288" y="330"/>
                  </a:lnTo>
                  <a:lnTo>
                    <a:pt x="282" y="330"/>
                  </a:lnTo>
                  <a:lnTo>
                    <a:pt x="276" y="330"/>
                  </a:lnTo>
                  <a:lnTo>
                    <a:pt x="276" y="336"/>
                  </a:lnTo>
                  <a:lnTo>
                    <a:pt x="270" y="336"/>
                  </a:lnTo>
                  <a:lnTo>
                    <a:pt x="264" y="336"/>
                  </a:lnTo>
                  <a:lnTo>
                    <a:pt x="264" y="342"/>
                  </a:lnTo>
                  <a:lnTo>
                    <a:pt x="258" y="342"/>
                  </a:lnTo>
                  <a:lnTo>
                    <a:pt x="258" y="348"/>
                  </a:lnTo>
                  <a:lnTo>
                    <a:pt x="252" y="354"/>
                  </a:lnTo>
                  <a:lnTo>
                    <a:pt x="252" y="360"/>
                  </a:lnTo>
                  <a:lnTo>
                    <a:pt x="246" y="360"/>
                  </a:lnTo>
                  <a:lnTo>
                    <a:pt x="246" y="366"/>
                  </a:lnTo>
                  <a:lnTo>
                    <a:pt x="240" y="372"/>
                  </a:lnTo>
                  <a:lnTo>
                    <a:pt x="234" y="372"/>
                  </a:lnTo>
                  <a:lnTo>
                    <a:pt x="234" y="378"/>
                  </a:lnTo>
                  <a:lnTo>
                    <a:pt x="234" y="372"/>
                  </a:lnTo>
                  <a:lnTo>
                    <a:pt x="228" y="378"/>
                  </a:lnTo>
                  <a:lnTo>
                    <a:pt x="228" y="384"/>
                  </a:lnTo>
                  <a:lnTo>
                    <a:pt x="234" y="384"/>
                  </a:lnTo>
                  <a:lnTo>
                    <a:pt x="234" y="390"/>
                  </a:lnTo>
                  <a:lnTo>
                    <a:pt x="234" y="396"/>
                  </a:lnTo>
                  <a:lnTo>
                    <a:pt x="234" y="402"/>
                  </a:lnTo>
                  <a:lnTo>
                    <a:pt x="234" y="408"/>
                  </a:lnTo>
                  <a:lnTo>
                    <a:pt x="234" y="414"/>
                  </a:lnTo>
                  <a:lnTo>
                    <a:pt x="234" y="420"/>
                  </a:lnTo>
                  <a:lnTo>
                    <a:pt x="234" y="42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3" name="Freeform 24"/>
            <p:cNvSpPr>
              <a:spLocks noEditPoints="1"/>
            </p:cNvSpPr>
            <p:nvPr>
              <p:custDataLst>
                <p:tags r:id="rId76"/>
              </p:custDataLst>
            </p:nvPr>
          </p:nvSpPr>
          <p:spPr bwMode="gray">
            <a:xfrm>
              <a:off x="3373438" y="2632076"/>
              <a:ext cx="825500" cy="669925"/>
            </a:xfrm>
            <a:custGeom>
              <a:avLst/>
              <a:gdLst>
                <a:gd name="T0" fmla="*/ 233201 w 666"/>
                <a:gd name="T1" fmla="*/ 33939 h 540"/>
                <a:gd name="T2" fmla="*/ 233201 w 666"/>
                <a:gd name="T3" fmla="*/ 46544 h 540"/>
                <a:gd name="T4" fmla="*/ 218687 w 666"/>
                <a:gd name="T5" fmla="*/ 57211 h 540"/>
                <a:gd name="T6" fmla="*/ 209978 w 666"/>
                <a:gd name="T7" fmla="*/ 74665 h 540"/>
                <a:gd name="T8" fmla="*/ 199334 w 666"/>
                <a:gd name="T9" fmla="*/ 90180 h 540"/>
                <a:gd name="T10" fmla="*/ 195464 w 666"/>
                <a:gd name="T11" fmla="*/ 106664 h 540"/>
                <a:gd name="T12" fmla="*/ 186755 w 666"/>
                <a:gd name="T13" fmla="*/ 119270 h 540"/>
                <a:gd name="T14" fmla="*/ 179014 w 666"/>
                <a:gd name="T15" fmla="*/ 136724 h 540"/>
                <a:gd name="T16" fmla="*/ 172240 w 666"/>
                <a:gd name="T17" fmla="*/ 145451 h 540"/>
                <a:gd name="T18" fmla="*/ 159661 w 666"/>
                <a:gd name="T19" fmla="*/ 140603 h 540"/>
                <a:gd name="T20" fmla="*/ 154823 w 666"/>
                <a:gd name="T21" fmla="*/ 138664 h 540"/>
                <a:gd name="T22" fmla="*/ 144178 w 666"/>
                <a:gd name="T23" fmla="*/ 138664 h 540"/>
                <a:gd name="T24" fmla="*/ 131599 w 666"/>
                <a:gd name="T25" fmla="*/ 151269 h 540"/>
                <a:gd name="T26" fmla="*/ 123858 w 666"/>
                <a:gd name="T27" fmla="*/ 165814 h 540"/>
                <a:gd name="T28" fmla="*/ 115150 w 666"/>
                <a:gd name="T29" fmla="*/ 181329 h 540"/>
                <a:gd name="T30" fmla="*/ 108375 w 666"/>
                <a:gd name="T31" fmla="*/ 179390 h 540"/>
                <a:gd name="T32" fmla="*/ 110311 w 666"/>
                <a:gd name="T33" fmla="*/ 185208 h 540"/>
                <a:gd name="T34" fmla="*/ 95796 w 666"/>
                <a:gd name="T35" fmla="*/ 188117 h 540"/>
                <a:gd name="T36" fmla="*/ 90958 w 666"/>
                <a:gd name="T37" fmla="*/ 188117 h 540"/>
                <a:gd name="T38" fmla="*/ 87088 w 666"/>
                <a:gd name="T39" fmla="*/ 188117 h 540"/>
                <a:gd name="T40" fmla="*/ 83217 w 666"/>
                <a:gd name="T41" fmla="*/ 185208 h 540"/>
                <a:gd name="T42" fmla="*/ 81282 w 666"/>
                <a:gd name="T43" fmla="*/ 188117 h 540"/>
                <a:gd name="T44" fmla="*/ 78379 w 666"/>
                <a:gd name="T45" fmla="*/ 188117 h 540"/>
                <a:gd name="T46" fmla="*/ 74508 w 666"/>
                <a:gd name="T47" fmla="*/ 191995 h 540"/>
                <a:gd name="T48" fmla="*/ 67735 w 666"/>
                <a:gd name="T49" fmla="*/ 190056 h 540"/>
                <a:gd name="T50" fmla="*/ 61929 w 666"/>
                <a:gd name="T51" fmla="*/ 188117 h 540"/>
                <a:gd name="T52" fmla="*/ 55155 w 666"/>
                <a:gd name="T53" fmla="*/ 181329 h 540"/>
                <a:gd name="T54" fmla="*/ 55155 w 666"/>
                <a:gd name="T55" fmla="*/ 174542 h 540"/>
                <a:gd name="T56" fmla="*/ 57091 w 666"/>
                <a:gd name="T57" fmla="*/ 168723 h 540"/>
                <a:gd name="T58" fmla="*/ 55155 w 666"/>
                <a:gd name="T59" fmla="*/ 170662 h 540"/>
                <a:gd name="T60" fmla="*/ 53220 w 666"/>
                <a:gd name="T61" fmla="*/ 164845 h 540"/>
                <a:gd name="T62" fmla="*/ 49350 w 666"/>
                <a:gd name="T63" fmla="*/ 159996 h 540"/>
                <a:gd name="T64" fmla="*/ 46447 w 666"/>
                <a:gd name="T65" fmla="*/ 161935 h 540"/>
                <a:gd name="T66" fmla="*/ 31932 w 666"/>
                <a:gd name="T67" fmla="*/ 151269 h 540"/>
                <a:gd name="T68" fmla="*/ 19352 w 666"/>
                <a:gd name="T69" fmla="*/ 147391 h 540"/>
                <a:gd name="T70" fmla="*/ 23224 w 666"/>
                <a:gd name="T71" fmla="*/ 147391 h 540"/>
                <a:gd name="T72" fmla="*/ 17418 w 666"/>
                <a:gd name="T73" fmla="*/ 147391 h 540"/>
                <a:gd name="T74" fmla="*/ 14515 w 666"/>
                <a:gd name="T75" fmla="*/ 149329 h 540"/>
                <a:gd name="T76" fmla="*/ 0 w 666"/>
                <a:gd name="T77" fmla="*/ 145451 h 540"/>
                <a:gd name="T78" fmla="*/ 1936 w 666"/>
                <a:gd name="T79" fmla="*/ 127997 h 540"/>
                <a:gd name="T80" fmla="*/ 0 w 666"/>
                <a:gd name="T81" fmla="*/ 108603 h 540"/>
                <a:gd name="T82" fmla="*/ 3870 w 666"/>
                <a:gd name="T83" fmla="*/ 95998 h 540"/>
                <a:gd name="T84" fmla="*/ 14515 w 666"/>
                <a:gd name="T85" fmla="*/ 81452 h 540"/>
                <a:gd name="T86" fmla="*/ 21288 w 666"/>
                <a:gd name="T87" fmla="*/ 67877 h 540"/>
                <a:gd name="T88" fmla="*/ 17418 w 666"/>
                <a:gd name="T89" fmla="*/ 51393 h 540"/>
                <a:gd name="T90" fmla="*/ 19352 w 666"/>
                <a:gd name="T91" fmla="*/ 27151 h 540"/>
                <a:gd name="T92" fmla="*/ 27094 w 666"/>
                <a:gd name="T93" fmla="*/ 10666 h 540"/>
                <a:gd name="T94" fmla="*/ 44512 w 666"/>
                <a:gd name="T95" fmla="*/ 1940 h 540"/>
                <a:gd name="T96" fmla="*/ 67735 w 666"/>
                <a:gd name="T97" fmla="*/ 3878 h 540"/>
                <a:gd name="T98" fmla="*/ 85153 w 666"/>
                <a:gd name="T99" fmla="*/ 17454 h 540"/>
                <a:gd name="T100" fmla="*/ 104505 w 666"/>
                <a:gd name="T101" fmla="*/ 10666 h 540"/>
                <a:gd name="T102" fmla="*/ 120955 w 666"/>
                <a:gd name="T103" fmla="*/ 19393 h 540"/>
                <a:gd name="T104" fmla="*/ 142243 w 666"/>
                <a:gd name="T105" fmla="*/ 17454 h 540"/>
                <a:gd name="T106" fmla="*/ 161596 w 666"/>
                <a:gd name="T107" fmla="*/ 10666 h 540"/>
                <a:gd name="T108" fmla="*/ 184819 w 666"/>
                <a:gd name="T109" fmla="*/ 14545 h 540"/>
                <a:gd name="T110" fmla="*/ 193528 w 666"/>
                <a:gd name="T111" fmla="*/ 17454 h 540"/>
                <a:gd name="T112" fmla="*/ 202237 w 666"/>
                <a:gd name="T113" fmla="*/ 8727 h 540"/>
                <a:gd name="T114" fmla="*/ 216752 w 666"/>
                <a:gd name="T115" fmla="*/ 1940 h 540"/>
                <a:gd name="T116" fmla="*/ 87088 w 666"/>
                <a:gd name="T117" fmla="*/ 188117 h 540"/>
                <a:gd name="T118" fmla="*/ 87088 w 666"/>
                <a:gd name="T119" fmla="*/ 190056 h 540"/>
                <a:gd name="T120" fmla="*/ 14515 w 666"/>
                <a:gd name="T121" fmla="*/ 149329 h 5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6" h="540">
                  <a:moveTo>
                    <a:pt x="636" y="48"/>
                  </a:moveTo>
                  <a:lnTo>
                    <a:pt x="636" y="54"/>
                  </a:lnTo>
                  <a:lnTo>
                    <a:pt x="636" y="60"/>
                  </a:lnTo>
                  <a:lnTo>
                    <a:pt x="636" y="66"/>
                  </a:lnTo>
                  <a:lnTo>
                    <a:pt x="642" y="72"/>
                  </a:lnTo>
                  <a:lnTo>
                    <a:pt x="642" y="78"/>
                  </a:lnTo>
                  <a:lnTo>
                    <a:pt x="642" y="84"/>
                  </a:lnTo>
                  <a:lnTo>
                    <a:pt x="648" y="84"/>
                  </a:lnTo>
                  <a:lnTo>
                    <a:pt x="654" y="84"/>
                  </a:lnTo>
                  <a:lnTo>
                    <a:pt x="654" y="90"/>
                  </a:lnTo>
                  <a:lnTo>
                    <a:pt x="660" y="90"/>
                  </a:lnTo>
                  <a:lnTo>
                    <a:pt x="660" y="96"/>
                  </a:lnTo>
                  <a:lnTo>
                    <a:pt x="666" y="96"/>
                  </a:lnTo>
                  <a:lnTo>
                    <a:pt x="660" y="96"/>
                  </a:lnTo>
                  <a:lnTo>
                    <a:pt x="666" y="96"/>
                  </a:lnTo>
                  <a:lnTo>
                    <a:pt x="666" y="102"/>
                  </a:lnTo>
                  <a:lnTo>
                    <a:pt x="666" y="108"/>
                  </a:lnTo>
                  <a:lnTo>
                    <a:pt x="666" y="114"/>
                  </a:lnTo>
                  <a:lnTo>
                    <a:pt x="666" y="120"/>
                  </a:lnTo>
                  <a:lnTo>
                    <a:pt x="660" y="120"/>
                  </a:lnTo>
                  <a:lnTo>
                    <a:pt x="660" y="126"/>
                  </a:lnTo>
                  <a:lnTo>
                    <a:pt x="666" y="126"/>
                  </a:lnTo>
                  <a:lnTo>
                    <a:pt x="666" y="132"/>
                  </a:lnTo>
                  <a:lnTo>
                    <a:pt x="660" y="132"/>
                  </a:lnTo>
                  <a:lnTo>
                    <a:pt x="660" y="138"/>
                  </a:lnTo>
                  <a:lnTo>
                    <a:pt x="654" y="138"/>
                  </a:lnTo>
                  <a:lnTo>
                    <a:pt x="648" y="144"/>
                  </a:lnTo>
                  <a:lnTo>
                    <a:pt x="642" y="144"/>
                  </a:lnTo>
                  <a:lnTo>
                    <a:pt x="642" y="150"/>
                  </a:lnTo>
                  <a:lnTo>
                    <a:pt x="636" y="150"/>
                  </a:lnTo>
                  <a:lnTo>
                    <a:pt x="630" y="144"/>
                  </a:lnTo>
                  <a:lnTo>
                    <a:pt x="630" y="150"/>
                  </a:lnTo>
                  <a:lnTo>
                    <a:pt x="624" y="150"/>
                  </a:lnTo>
                  <a:lnTo>
                    <a:pt x="624" y="156"/>
                  </a:lnTo>
                  <a:lnTo>
                    <a:pt x="618" y="156"/>
                  </a:lnTo>
                  <a:lnTo>
                    <a:pt x="618" y="162"/>
                  </a:lnTo>
                  <a:lnTo>
                    <a:pt x="612" y="162"/>
                  </a:lnTo>
                  <a:lnTo>
                    <a:pt x="612" y="168"/>
                  </a:lnTo>
                  <a:lnTo>
                    <a:pt x="612" y="174"/>
                  </a:lnTo>
                  <a:lnTo>
                    <a:pt x="606" y="174"/>
                  </a:lnTo>
                  <a:lnTo>
                    <a:pt x="606" y="180"/>
                  </a:lnTo>
                  <a:lnTo>
                    <a:pt x="606" y="186"/>
                  </a:lnTo>
                  <a:lnTo>
                    <a:pt x="606" y="192"/>
                  </a:lnTo>
                  <a:lnTo>
                    <a:pt x="606" y="198"/>
                  </a:lnTo>
                  <a:lnTo>
                    <a:pt x="600" y="198"/>
                  </a:lnTo>
                  <a:lnTo>
                    <a:pt x="600" y="204"/>
                  </a:lnTo>
                  <a:lnTo>
                    <a:pt x="600" y="210"/>
                  </a:lnTo>
                  <a:lnTo>
                    <a:pt x="594" y="210"/>
                  </a:lnTo>
                  <a:lnTo>
                    <a:pt x="594" y="216"/>
                  </a:lnTo>
                  <a:lnTo>
                    <a:pt x="588" y="216"/>
                  </a:lnTo>
                  <a:lnTo>
                    <a:pt x="588" y="222"/>
                  </a:lnTo>
                  <a:lnTo>
                    <a:pt x="588" y="228"/>
                  </a:lnTo>
                  <a:lnTo>
                    <a:pt x="588" y="234"/>
                  </a:lnTo>
                  <a:lnTo>
                    <a:pt x="588" y="240"/>
                  </a:lnTo>
                  <a:lnTo>
                    <a:pt x="588" y="246"/>
                  </a:lnTo>
                  <a:lnTo>
                    <a:pt x="582" y="246"/>
                  </a:lnTo>
                  <a:lnTo>
                    <a:pt x="576" y="246"/>
                  </a:lnTo>
                  <a:lnTo>
                    <a:pt x="576" y="252"/>
                  </a:lnTo>
                  <a:lnTo>
                    <a:pt x="570" y="252"/>
                  </a:lnTo>
                  <a:lnTo>
                    <a:pt x="564" y="252"/>
                  </a:lnTo>
                  <a:lnTo>
                    <a:pt x="564" y="258"/>
                  </a:lnTo>
                  <a:lnTo>
                    <a:pt x="570" y="258"/>
                  </a:lnTo>
                  <a:lnTo>
                    <a:pt x="570" y="264"/>
                  </a:lnTo>
                  <a:lnTo>
                    <a:pt x="570" y="270"/>
                  </a:lnTo>
                  <a:lnTo>
                    <a:pt x="570" y="276"/>
                  </a:lnTo>
                  <a:lnTo>
                    <a:pt x="564" y="276"/>
                  </a:lnTo>
                  <a:lnTo>
                    <a:pt x="564" y="282"/>
                  </a:lnTo>
                  <a:lnTo>
                    <a:pt x="564" y="288"/>
                  </a:lnTo>
                  <a:lnTo>
                    <a:pt x="558" y="288"/>
                  </a:lnTo>
                  <a:lnTo>
                    <a:pt x="558" y="294"/>
                  </a:lnTo>
                  <a:lnTo>
                    <a:pt x="552" y="294"/>
                  </a:lnTo>
                  <a:lnTo>
                    <a:pt x="552" y="300"/>
                  </a:lnTo>
                  <a:lnTo>
                    <a:pt x="546" y="300"/>
                  </a:lnTo>
                  <a:lnTo>
                    <a:pt x="540" y="300"/>
                  </a:lnTo>
                  <a:lnTo>
                    <a:pt x="540" y="306"/>
                  </a:lnTo>
                  <a:lnTo>
                    <a:pt x="534" y="306"/>
                  </a:lnTo>
                  <a:lnTo>
                    <a:pt x="534" y="312"/>
                  </a:lnTo>
                  <a:lnTo>
                    <a:pt x="528" y="312"/>
                  </a:lnTo>
                  <a:lnTo>
                    <a:pt x="534" y="312"/>
                  </a:lnTo>
                  <a:lnTo>
                    <a:pt x="534" y="318"/>
                  </a:lnTo>
                  <a:lnTo>
                    <a:pt x="534" y="324"/>
                  </a:lnTo>
                  <a:lnTo>
                    <a:pt x="528" y="324"/>
                  </a:lnTo>
                  <a:lnTo>
                    <a:pt x="528" y="330"/>
                  </a:lnTo>
                  <a:lnTo>
                    <a:pt x="528" y="336"/>
                  </a:lnTo>
                  <a:lnTo>
                    <a:pt x="528" y="342"/>
                  </a:lnTo>
                  <a:lnTo>
                    <a:pt x="522" y="342"/>
                  </a:lnTo>
                  <a:lnTo>
                    <a:pt x="522" y="348"/>
                  </a:lnTo>
                  <a:lnTo>
                    <a:pt x="522" y="354"/>
                  </a:lnTo>
                  <a:lnTo>
                    <a:pt x="522" y="360"/>
                  </a:lnTo>
                  <a:lnTo>
                    <a:pt x="516" y="360"/>
                  </a:lnTo>
                  <a:lnTo>
                    <a:pt x="516" y="366"/>
                  </a:lnTo>
                  <a:lnTo>
                    <a:pt x="510" y="366"/>
                  </a:lnTo>
                  <a:lnTo>
                    <a:pt x="510" y="372"/>
                  </a:lnTo>
                  <a:lnTo>
                    <a:pt x="510" y="378"/>
                  </a:lnTo>
                  <a:lnTo>
                    <a:pt x="510" y="384"/>
                  </a:lnTo>
                  <a:lnTo>
                    <a:pt x="504" y="384"/>
                  </a:lnTo>
                  <a:lnTo>
                    <a:pt x="504" y="390"/>
                  </a:lnTo>
                  <a:lnTo>
                    <a:pt x="498" y="390"/>
                  </a:lnTo>
                  <a:lnTo>
                    <a:pt x="498" y="396"/>
                  </a:lnTo>
                  <a:lnTo>
                    <a:pt x="492" y="396"/>
                  </a:lnTo>
                  <a:lnTo>
                    <a:pt x="498" y="396"/>
                  </a:lnTo>
                  <a:lnTo>
                    <a:pt x="498" y="402"/>
                  </a:lnTo>
                  <a:lnTo>
                    <a:pt x="492" y="402"/>
                  </a:lnTo>
                  <a:lnTo>
                    <a:pt x="498" y="402"/>
                  </a:lnTo>
                  <a:lnTo>
                    <a:pt x="492" y="402"/>
                  </a:lnTo>
                  <a:lnTo>
                    <a:pt x="492" y="408"/>
                  </a:lnTo>
                  <a:lnTo>
                    <a:pt x="492" y="414"/>
                  </a:lnTo>
                  <a:lnTo>
                    <a:pt x="486" y="408"/>
                  </a:lnTo>
                  <a:lnTo>
                    <a:pt x="486" y="414"/>
                  </a:lnTo>
                  <a:lnTo>
                    <a:pt x="480" y="414"/>
                  </a:lnTo>
                  <a:lnTo>
                    <a:pt x="474" y="414"/>
                  </a:lnTo>
                  <a:lnTo>
                    <a:pt x="468" y="414"/>
                  </a:lnTo>
                  <a:lnTo>
                    <a:pt x="468" y="408"/>
                  </a:lnTo>
                  <a:lnTo>
                    <a:pt x="468" y="402"/>
                  </a:lnTo>
                  <a:lnTo>
                    <a:pt x="462" y="402"/>
                  </a:lnTo>
                  <a:lnTo>
                    <a:pt x="462" y="408"/>
                  </a:lnTo>
                  <a:lnTo>
                    <a:pt x="456" y="408"/>
                  </a:lnTo>
                  <a:lnTo>
                    <a:pt x="456" y="402"/>
                  </a:lnTo>
                  <a:lnTo>
                    <a:pt x="456" y="396"/>
                  </a:lnTo>
                  <a:lnTo>
                    <a:pt x="450" y="396"/>
                  </a:lnTo>
                  <a:lnTo>
                    <a:pt x="456" y="396"/>
                  </a:lnTo>
                  <a:lnTo>
                    <a:pt x="450" y="396"/>
                  </a:lnTo>
                  <a:lnTo>
                    <a:pt x="456" y="390"/>
                  </a:lnTo>
                  <a:lnTo>
                    <a:pt x="450" y="390"/>
                  </a:lnTo>
                  <a:lnTo>
                    <a:pt x="444" y="390"/>
                  </a:lnTo>
                  <a:lnTo>
                    <a:pt x="444" y="384"/>
                  </a:lnTo>
                  <a:lnTo>
                    <a:pt x="438" y="384"/>
                  </a:lnTo>
                  <a:lnTo>
                    <a:pt x="444" y="384"/>
                  </a:lnTo>
                  <a:lnTo>
                    <a:pt x="438" y="384"/>
                  </a:lnTo>
                  <a:lnTo>
                    <a:pt x="438" y="378"/>
                  </a:lnTo>
                  <a:lnTo>
                    <a:pt x="438" y="384"/>
                  </a:lnTo>
                  <a:lnTo>
                    <a:pt x="438" y="390"/>
                  </a:lnTo>
                  <a:lnTo>
                    <a:pt x="438" y="396"/>
                  </a:lnTo>
                  <a:lnTo>
                    <a:pt x="432" y="396"/>
                  </a:lnTo>
                  <a:lnTo>
                    <a:pt x="426" y="396"/>
                  </a:lnTo>
                  <a:lnTo>
                    <a:pt x="420" y="396"/>
                  </a:lnTo>
                  <a:lnTo>
                    <a:pt x="414" y="390"/>
                  </a:lnTo>
                  <a:lnTo>
                    <a:pt x="420" y="390"/>
                  </a:lnTo>
                  <a:lnTo>
                    <a:pt x="414" y="390"/>
                  </a:lnTo>
                  <a:lnTo>
                    <a:pt x="420" y="390"/>
                  </a:lnTo>
                  <a:lnTo>
                    <a:pt x="414" y="390"/>
                  </a:lnTo>
                  <a:lnTo>
                    <a:pt x="414" y="384"/>
                  </a:lnTo>
                  <a:lnTo>
                    <a:pt x="414" y="390"/>
                  </a:lnTo>
                  <a:lnTo>
                    <a:pt x="408" y="390"/>
                  </a:lnTo>
                  <a:lnTo>
                    <a:pt x="408" y="396"/>
                  </a:lnTo>
                  <a:lnTo>
                    <a:pt x="402" y="396"/>
                  </a:lnTo>
                  <a:lnTo>
                    <a:pt x="402" y="402"/>
                  </a:lnTo>
                  <a:lnTo>
                    <a:pt x="396" y="402"/>
                  </a:lnTo>
                  <a:lnTo>
                    <a:pt x="396" y="408"/>
                  </a:lnTo>
                  <a:lnTo>
                    <a:pt x="390" y="408"/>
                  </a:lnTo>
                  <a:lnTo>
                    <a:pt x="390" y="414"/>
                  </a:lnTo>
                  <a:lnTo>
                    <a:pt x="384" y="414"/>
                  </a:lnTo>
                  <a:lnTo>
                    <a:pt x="384" y="420"/>
                  </a:lnTo>
                  <a:lnTo>
                    <a:pt x="378" y="420"/>
                  </a:lnTo>
                  <a:lnTo>
                    <a:pt x="378" y="426"/>
                  </a:lnTo>
                  <a:lnTo>
                    <a:pt x="372" y="426"/>
                  </a:lnTo>
                  <a:lnTo>
                    <a:pt x="372" y="432"/>
                  </a:lnTo>
                  <a:lnTo>
                    <a:pt x="366" y="432"/>
                  </a:lnTo>
                  <a:lnTo>
                    <a:pt x="366" y="438"/>
                  </a:lnTo>
                  <a:lnTo>
                    <a:pt x="360" y="438"/>
                  </a:lnTo>
                  <a:lnTo>
                    <a:pt x="360" y="444"/>
                  </a:lnTo>
                  <a:lnTo>
                    <a:pt x="354" y="444"/>
                  </a:lnTo>
                  <a:lnTo>
                    <a:pt x="354" y="450"/>
                  </a:lnTo>
                  <a:lnTo>
                    <a:pt x="348" y="450"/>
                  </a:lnTo>
                  <a:lnTo>
                    <a:pt x="342" y="456"/>
                  </a:lnTo>
                  <a:lnTo>
                    <a:pt x="342" y="462"/>
                  </a:lnTo>
                  <a:lnTo>
                    <a:pt x="342" y="468"/>
                  </a:lnTo>
                  <a:lnTo>
                    <a:pt x="348" y="468"/>
                  </a:lnTo>
                  <a:lnTo>
                    <a:pt x="342" y="474"/>
                  </a:lnTo>
                  <a:lnTo>
                    <a:pt x="342" y="480"/>
                  </a:lnTo>
                  <a:lnTo>
                    <a:pt x="342" y="486"/>
                  </a:lnTo>
                  <a:lnTo>
                    <a:pt x="342" y="492"/>
                  </a:lnTo>
                  <a:lnTo>
                    <a:pt x="336" y="492"/>
                  </a:lnTo>
                  <a:lnTo>
                    <a:pt x="336" y="498"/>
                  </a:lnTo>
                  <a:lnTo>
                    <a:pt x="336" y="504"/>
                  </a:lnTo>
                  <a:lnTo>
                    <a:pt x="330" y="504"/>
                  </a:lnTo>
                  <a:lnTo>
                    <a:pt x="336" y="504"/>
                  </a:lnTo>
                  <a:lnTo>
                    <a:pt x="330" y="504"/>
                  </a:lnTo>
                  <a:lnTo>
                    <a:pt x="330" y="510"/>
                  </a:lnTo>
                  <a:lnTo>
                    <a:pt x="324" y="510"/>
                  </a:lnTo>
                  <a:lnTo>
                    <a:pt x="324" y="516"/>
                  </a:lnTo>
                  <a:lnTo>
                    <a:pt x="318" y="516"/>
                  </a:lnTo>
                  <a:lnTo>
                    <a:pt x="318" y="510"/>
                  </a:lnTo>
                  <a:lnTo>
                    <a:pt x="318" y="504"/>
                  </a:lnTo>
                  <a:lnTo>
                    <a:pt x="312" y="504"/>
                  </a:lnTo>
                  <a:lnTo>
                    <a:pt x="318" y="504"/>
                  </a:lnTo>
                  <a:lnTo>
                    <a:pt x="318" y="510"/>
                  </a:lnTo>
                  <a:lnTo>
                    <a:pt x="318" y="516"/>
                  </a:lnTo>
                  <a:lnTo>
                    <a:pt x="318" y="510"/>
                  </a:lnTo>
                  <a:lnTo>
                    <a:pt x="312" y="510"/>
                  </a:lnTo>
                  <a:lnTo>
                    <a:pt x="312" y="504"/>
                  </a:lnTo>
                  <a:lnTo>
                    <a:pt x="306" y="504"/>
                  </a:lnTo>
                  <a:lnTo>
                    <a:pt x="312" y="504"/>
                  </a:lnTo>
                  <a:lnTo>
                    <a:pt x="312" y="510"/>
                  </a:lnTo>
                  <a:lnTo>
                    <a:pt x="306" y="510"/>
                  </a:lnTo>
                  <a:lnTo>
                    <a:pt x="306" y="504"/>
                  </a:lnTo>
                  <a:lnTo>
                    <a:pt x="306" y="510"/>
                  </a:lnTo>
                  <a:lnTo>
                    <a:pt x="312" y="510"/>
                  </a:lnTo>
                  <a:lnTo>
                    <a:pt x="306" y="510"/>
                  </a:lnTo>
                  <a:lnTo>
                    <a:pt x="312" y="510"/>
                  </a:lnTo>
                  <a:lnTo>
                    <a:pt x="312" y="516"/>
                  </a:lnTo>
                  <a:lnTo>
                    <a:pt x="312" y="522"/>
                  </a:lnTo>
                  <a:lnTo>
                    <a:pt x="312" y="516"/>
                  </a:lnTo>
                  <a:lnTo>
                    <a:pt x="312" y="522"/>
                  </a:lnTo>
                  <a:lnTo>
                    <a:pt x="312" y="528"/>
                  </a:lnTo>
                  <a:lnTo>
                    <a:pt x="306" y="528"/>
                  </a:lnTo>
                  <a:lnTo>
                    <a:pt x="300" y="528"/>
                  </a:lnTo>
                  <a:lnTo>
                    <a:pt x="294" y="528"/>
                  </a:lnTo>
                  <a:lnTo>
                    <a:pt x="294" y="522"/>
                  </a:lnTo>
                  <a:lnTo>
                    <a:pt x="294" y="528"/>
                  </a:lnTo>
                  <a:lnTo>
                    <a:pt x="288" y="528"/>
                  </a:lnTo>
                  <a:lnTo>
                    <a:pt x="282" y="528"/>
                  </a:lnTo>
                  <a:lnTo>
                    <a:pt x="276" y="528"/>
                  </a:lnTo>
                  <a:lnTo>
                    <a:pt x="270" y="528"/>
                  </a:lnTo>
                  <a:lnTo>
                    <a:pt x="270" y="522"/>
                  </a:lnTo>
                  <a:lnTo>
                    <a:pt x="270" y="528"/>
                  </a:lnTo>
                  <a:lnTo>
                    <a:pt x="276" y="528"/>
                  </a:lnTo>
                  <a:lnTo>
                    <a:pt x="270" y="528"/>
                  </a:lnTo>
                  <a:lnTo>
                    <a:pt x="270" y="534"/>
                  </a:lnTo>
                  <a:lnTo>
                    <a:pt x="270" y="528"/>
                  </a:lnTo>
                  <a:lnTo>
                    <a:pt x="270" y="534"/>
                  </a:lnTo>
                  <a:lnTo>
                    <a:pt x="264" y="534"/>
                  </a:lnTo>
                  <a:lnTo>
                    <a:pt x="258" y="534"/>
                  </a:lnTo>
                  <a:lnTo>
                    <a:pt x="258" y="528"/>
                  </a:lnTo>
                  <a:lnTo>
                    <a:pt x="264" y="528"/>
                  </a:lnTo>
                  <a:lnTo>
                    <a:pt x="264" y="522"/>
                  </a:lnTo>
                  <a:lnTo>
                    <a:pt x="264" y="528"/>
                  </a:lnTo>
                  <a:lnTo>
                    <a:pt x="258" y="528"/>
                  </a:lnTo>
                  <a:lnTo>
                    <a:pt x="264" y="528"/>
                  </a:lnTo>
                  <a:lnTo>
                    <a:pt x="258" y="528"/>
                  </a:lnTo>
                  <a:lnTo>
                    <a:pt x="252" y="528"/>
                  </a:lnTo>
                  <a:lnTo>
                    <a:pt x="252" y="522"/>
                  </a:lnTo>
                  <a:lnTo>
                    <a:pt x="246" y="522"/>
                  </a:lnTo>
                  <a:lnTo>
                    <a:pt x="246" y="516"/>
                  </a:lnTo>
                  <a:lnTo>
                    <a:pt x="246" y="522"/>
                  </a:lnTo>
                  <a:lnTo>
                    <a:pt x="252" y="522"/>
                  </a:lnTo>
                  <a:lnTo>
                    <a:pt x="252" y="528"/>
                  </a:lnTo>
                  <a:lnTo>
                    <a:pt x="246" y="528"/>
                  </a:lnTo>
                  <a:lnTo>
                    <a:pt x="246" y="522"/>
                  </a:lnTo>
                  <a:lnTo>
                    <a:pt x="246" y="528"/>
                  </a:lnTo>
                  <a:lnTo>
                    <a:pt x="252" y="528"/>
                  </a:lnTo>
                  <a:lnTo>
                    <a:pt x="246" y="528"/>
                  </a:lnTo>
                  <a:lnTo>
                    <a:pt x="246" y="534"/>
                  </a:lnTo>
                  <a:lnTo>
                    <a:pt x="246" y="528"/>
                  </a:lnTo>
                  <a:lnTo>
                    <a:pt x="246" y="522"/>
                  </a:lnTo>
                  <a:lnTo>
                    <a:pt x="246" y="528"/>
                  </a:lnTo>
                  <a:lnTo>
                    <a:pt x="240" y="522"/>
                  </a:lnTo>
                  <a:lnTo>
                    <a:pt x="240" y="516"/>
                  </a:lnTo>
                  <a:lnTo>
                    <a:pt x="240" y="522"/>
                  </a:lnTo>
                  <a:lnTo>
                    <a:pt x="234" y="522"/>
                  </a:lnTo>
                  <a:lnTo>
                    <a:pt x="234" y="516"/>
                  </a:lnTo>
                  <a:lnTo>
                    <a:pt x="234" y="522"/>
                  </a:lnTo>
                  <a:lnTo>
                    <a:pt x="234" y="528"/>
                  </a:lnTo>
                  <a:lnTo>
                    <a:pt x="240" y="528"/>
                  </a:lnTo>
                  <a:lnTo>
                    <a:pt x="240" y="534"/>
                  </a:lnTo>
                  <a:lnTo>
                    <a:pt x="234" y="534"/>
                  </a:lnTo>
                  <a:lnTo>
                    <a:pt x="234" y="528"/>
                  </a:lnTo>
                  <a:lnTo>
                    <a:pt x="228" y="528"/>
                  </a:lnTo>
                  <a:lnTo>
                    <a:pt x="234" y="528"/>
                  </a:lnTo>
                  <a:lnTo>
                    <a:pt x="228" y="528"/>
                  </a:lnTo>
                  <a:lnTo>
                    <a:pt x="228" y="522"/>
                  </a:lnTo>
                  <a:lnTo>
                    <a:pt x="234" y="522"/>
                  </a:lnTo>
                  <a:lnTo>
                    <a:pt x="228" y="522"/>
                  </a:lnTo>
                  <a:lnTo>
                    <a:pt x="228" y="528"/>
                  </a:lnTo>
                  <a:lnTo>
                    <a:pt x="228" y="534"/>
                  </a:lnTo>
                  <a:lnTo>
                    <a:pt x="234" y="534"/>
                  </a:lnTo>
                  <a:lnTo>
                    <a:pt x="228" y="534"/>
                  </a:lnTo>
                  <a:lnTo>
                    <a:pt x="228" y="540"/>
                  </a:lnTo>
                  <a:lnTo>
                    <a:pt x="222" y="540"/>
                  </a:lnTo>
                  <a:lnTo>
                    <a:pt x="222" y="534"/>
                  </a:lnTo>
                  <a:lnTo>
                    <a:pt x="222" y="528"/>
                  </a:lnTo>
                  <a:lnTo>
                    <a:pt x="228" y="522"/>
                  </a:lnTo>
                  <a:lnTo>
                    <a:pt x="222" y="522"/>
                  </a:lnTo>
                  <a:lnTo>
                    <a:pt x="222" y="528"/>
                  </a:lnTo>
                  <a:lnTo>
                    <a:pt x="222" y="534"/>
                  </a:lnTo>
                  <a:lnTo>
                    <a:pt x="222" y="528"/>
                  </a:lnTo>
                  <a:lnTo>
                    <a:pt x="216" y="528"/>
                  </a:lnTo>
                  <a:lnTo>
                    <a:pt x="222" y="528"/>
                  </a:lnTo>
                  <a:lnTo>
                    <a:pt x="222" y="534"/>
                  </a:lnTo>
                  <a:lnTo>
                    <a:pt x="222" y="540"/>
                  </a:lnTo>
                  <a:lnTo>
                    <a:pt x="216" y="540"/>
                  </a:lnTo>
                  <a:lnTo>
                    <a:pt x="222" y="540"/>
                  </a:lnTo>
                  <a:lnTo>
                    <a:pt x="216" y="540"/>
                  </a:lnTo>
                  <a:lnTo>
                    <a:pt x="216" y="534"/>
                  </a:lnTo>
                  <a:lnTo>
                    <a:pt x="216" y="528"/>
                  </a:lnTo>
                  <a:lnTo>
                    <a:pt x="216" y="534"/>
                  </a:lnTo>
                  <a:lnTo>
                    <a:pt x="216" y="540"/>
                  </a:lnTo>
                  <a:lnTo>
                    <a:pt x="210" y="540"/>
                  </a:lnTo>
                  <a:lnTo>
                    <a:pt x="204" y="540"/>
                  </a:lnTo>
                  <a:lnTo>
                    <a:pt x="204" y="534"/>
                  </a:lnTo>
                  <a:lnTo>
                    <a:pt x="204" y="528"/>
                  </a:lnTo>
                  <a:lnTo>
                    <a:pt x="204" y="534"/>
                  </a:lnTo>
                  <a:lnTo>
                    <a:pt x="198" y="534"/>
                  </a:lnTo>
                  <a:lnTo>
                    <a:pt x="198" y="528"/>
                  </a:lnTo>
                  <a:lnTo>
                    <a:pt x="198" y="534"/>
                  </a:lnTo>
                  <a:lnTo>
                    <a:pt x="198" y="540"/>
                  </a:lnTo>
                  <a:lnTo>
                    <a:pt x="192" y="540"/>
                  </a:lnTo>
                  <a:lnTo>
                    <a:pt x="186" y="540"/>
                  </a:lnTo>
                  <a:lnTo>
                    <a:pt x="192" y="540"/>
                  </a:lnTo>
                  <a:lnTo>
                    <a:pt x="192" y="534"/>
                  </a:lnTo>
                  <a:lnTo>
                    <a:pt x="186" y="534"/>
                  </a:lnTo>
                  <a:lnTo>
                    <a:pt x="192" y="534"/>
                  </a:lnTo>
                  <a:lnTo>
                    <a:pt x="186" y="534"/>
                  </a:lnTo>
                  <a:lnTo>
                    <a:pt x="186" y="540"/>
                  </a:lnTo>
                  <a:lnTo>
                    <a:pt x="186" y="534"/>
                  </a:lnTo>
                  <a:lnTo>
                    <a:pt x="180" y="534"/>
                  </a:lnTo>
                  <a:lnTo>
                    <a:pt x="180" y="540"/>
                  </a:lnTo>
                  <a:lnTo>
                    <a:pt x="180" y="534"/>
                  </a:lnTo>
                  <a:lnTo>
                    <a:pt x="174" y="534"/>
                  </a:lnTo>
                  <a:lnTo>
                    <a:pt x="174" y="528"/>
                  </a:lnTo>
                  <a:lnTo>
                    <a:pt x="174" y="534"/>
                  </a:lnTo>
                  <a:lnTo>
                    <a:pt x="174" y="528"/>
                  </a:lnTo>
                  <a:lnTo>
                    <a:pt x="174" y="534"/>
                  </a:lnTo>
                  <a:lnTo>
                    <a:pt x="174" y="528"/>
                  </a:lnTo>
                  <a:lnTo>
                    <a:pt x="168" y="528"/>
                  </a:lnTo>
                  <a:lnTo>
                    <a:pt x="174" y="528"/>
                  </a:lnTo>
                  <a:lnTo>
                    <a:pt x="174" y="534"/>
                  </a:lnTo>
                  <a:lnTo>
                    <a:pt x="174" y="528"/>
                  </a:lnTo>
                  <a:lnTo>
                    <a:pt x="168" y="528"/>
                  </a:lnTo>
                  <a:lnTo>
                    <a:pt x="168" y="522"/>
                  </a:lnTo>
                  <a:lnTo>
                    <a:pt x="162" y="522"/>
                  </a:lnTo>
                  <a:lnTo>
                    <a:pt x="162" y="516"/>
                  </a:lnTo>
                  <a:lnTo>
                    <a:pt x="156" y="516"/>
                  </a:lnTo>
                  <a:lnTo>
                    <a:pt x="156" y="510"/>
                  </a:lnTo>
                  <a:lnTo>
                    <a:pt x="156" y="504"/>
                  </a:lnTo>
                  <a:lnTo>
                    <a:pt x="150" y="498"/>
                  </a:lnTo>
                  <a:lnTo>
                    <a:pt x="150" y="492"/>
                  </a:lnTo>
                  <a:lnTo>
                    <a:pt x="156" y="492"/>
                  </a:lnTo>
                  <a:lnTo>
                    <a:pt x="150" y="492"/>
                  </a:lnTo>
                  <a:lnTo>
                    <a:pt x="156" y="492"/>
                  </a:lnTo>
                  <a:lnTo>
                    <a:pt x="156" y="498"/>
                  </a:lnTo>
                  <a:lnTo>
                    <a:pt x="156" y="492"/>
                  </a:lnTo>
                  <a:lnTo>
                    <a:pt x="156" y="498"/>
                  </a:lnTo>
                  <a:lnTo>
                    <a:pt x="156" y="492"/>
                  </a:lnTo>
                  <a:lnTo>
                    <a:pt x="156" y="486"/>
                  </a:lnTo>
                  <a:lnTo>
                    <a:pt x="156" y="492"/>
                  </a:lnTo>
                  <a:lnTo>
                    <a:pt x="150" y="492"/>
                  </a:lnTo>
                  <a:lnTo>
                    <a:pt x="150" y="486"/>
                  </a:lnTo>
                  <a:lnTo>
                    <a:pt x="144" y="486"/>
                  </a:lnTo>
                  <a:lnTo>
                    <a:pt x="144" y="480"/>
                  </a:lnTo>
                  <a:lnTo>
                    <a:pt x="150" y="480"/>
                  </a:lnTo>
                  <a:lnTo>
                    <a:pt x="156" y="480"/>
                  </a:lnTo>
                  <a:lnTo>
                    <a:pt x="162" y="480"/>
                  </a:lnTo>
                  <a:lnTo>
                    <a:pt x="156" y="480"/>
                  </a:lnTo>
                  <a:lnTo>
                    <a:pt x="156" y="474"/>
                  </a:lnTo>
                  <a:lnTo>
                    <a:pt x="162" y="474"/>
                  </a:lnTo>
                  <a:lnTo>
                    <a:pt x="162" y="468"/>
                  </a:lnTo>
                  <a:lnTo>
                    <a:pt x="162" y="474"/>
                  </a:lnTo>
                  <a:lnTo>
                    <a:pt x="168" y="474"/>
                  </a:lnTo>
                  <a:lnTo>
                    <a:pt x="168" y="468"/>
                  </a:lnTo>
                  <a:lnTo>
                    <a:pt x="162" y="468"/>
                  </a:lnTo>
                  <a:lnTo>
                    <a:pt x="162" y="474"/>
                  </a:lnTo>
                  <a:lnTo>
                    <a:pt x="156" y="474"/>
                  </a:lnTo>
                  <a:lnTo>
                    <a:pt x="156" y="480"/>
                  </a:lnTo>
                  <a:lnTo>
                    <a:pt x="150" y="480"/>
                  </a:lnTo>
                  <a:lnTo>
                    <a:pt x="150" y="474"/>
                  </a:lnTo>
                  <a:lnTo>
                    <a:pt x="156" y="474"/>
                  </a:lnTo>
                  <a:lnTo>
                    <a:pt x="150" y="474"/>
                  </a:lnTo>
                  <a:lnTo>
                    <a:pt x="150" y="480"/>
                  </a:lnTo>
                  <a:lnTo>
                    <a:pt x="156" y="480"/>
                  </a:lnTo>
                  <a:lnTo>
                    <a:pt x="150" y="480"/>
                  </a:lnTo>
                  <a:lnTo>
                    <a:pt x="144" y="480"/>
                  </a:lnTo>
                  <a:lnTo>
                    <a:pt x="144" y="474"/>
                  </a:lnTo>
                  <a:lnTo>
                    <a:pt x="138" y="474"/>
                  </a:lnTo>
                  <a:lnTo>
                    <a:pt x="138" y="468"/>
                  </a:lnTo>
                  <a:lnTo>
                    <a:pt x="144" y="468"/>
                  </a:lnTo>
                  <a:lnTo>
                    <a:pt x="150" y="468"/>
                  </a:lnTo>
                  <a:lnTo>
                    <a:pt x="156" y="468"/>
                  </a:lnTo>
                  <a:lnTo>
                    <a:pt x="162" y="468"/>
                  </a:lnTo>
                  <a:lnTo>
                    <a:pt x="156" y="468"/>
                  </a:lnTo>
                  <a:lnTo>
                    <a:pt x="156" y="462"/>
                  </a:lnTo>
                  <a:lnTo>
                    <a:pt x="150" y="462"/>
                  </a:lnTo>
                  <a:lnTo>
                    <a:pt x="150" y="468"/>
                  </a:lnTo>
                  <a:lnTo>
                    <a:pt x="144" y="468"/>
                  </a:lnTo>
                  <a:lnTo>
                    <a:pt x="144" y="462"/>
                  </a:lnTo>
                  <a:lnTo>
                    <a:pt x="150" y="462"/>
                  </a:lnTo>
                  <a:lnTo>
                    <a:pt x="144" y="462"/>
                  </a:lnTo>
                  <a:lnTo>
                    <a:pt x="144" y="468"/>
                  </a:lnTo>
                  <a:lnTo>
                    <a:pt x="138" y="468"/>
                  </a:lnTo>
                  <a:lnTo>
                    <a:pt x="138" y="462"/>
                  </a:lnTo>
                  <a:lnTo>
                    <a:pt x="132" y="462"/>
                  </a:lnTo>
                  <a:lnTo>
                    <a:pt x="132" y="456"/>
                  </a:lnTo>
                  <a:lnTo>
                    <a:pt x="138" y="456"/>
                  </a:lnTo>
                  <a:lnTo>
                    <a:pt x="138" y="450"/>
                  </a:lnTo>
                  <a:lnTo>
                    <a:pt x="138" y="456"/>
                  </a:lnTo>
                  <a:lnTo>
                    <a:pt x="138" y="450"/>
                  </a:lnTo>
                  <a:lnTo>
                    <a:pt x="144" y="450"/>
                  </a:lnTo>
                  <a:lnTo>
                    <a:pt x="150" y="450"/>
                  </a:lnTo>
                  <a:lnTo>
                    <a:pt x="150" y="444"/>
                  </a:lnTo>
                  <a:lnTo>
                    <a:pt x="150" y="450"/>
                  </a:lnTo>
                  <a:lnTo>
                    <a:pt x="144" y="450"/>
                  </a:lnTo>
                  <a:lnTo>
                    <a:pt x="138" y="450"/>
                  </a:lnTo>
                  <a:lnTo>
                    <a:pt x="144" y="450"/>
                  </a:lnTo>
                  <a:lnTo>
                    <a:pt x="138" y="450"/>
                  </a:lnTo>
                  <a:lnTo>
                    <a:pt x="138" y="456"/>
                  </a:lnTo>
                  <a:lnTo>
                    <a:pt x="132" y="456"/>
                  </a:lnTo>
                  <a:lnTo>
                    <a:pt x="126" y="456"/>
                  </a:lnTo>
                  <a:lnTo>
                    <a:pt x="126" y="450"/>
                  </a:lnTo>
                  <a:lnTo>
                    <a:pt x="126" y="444"/>
                  </a:lnTo>
                  <a:lnTo>
                    <a:pt x="120" y="444"/>
                  </a:lnTo>
                  <a:lnTo>
                    <a:pt x="120" y="438"/>
                  </a:lnTo>
                  <a:lnTo>
                    <a:pt x="114" y="438"/>
                  </a:lnTo>
                  <a:lnTo>
                    <a:pt x="114" y="432"/>
                  </a:lnTo>
                  <a:lnTo>
                    <a:pt x="108" y="432"/>
                  </a:lnTo>
                  <a:lnTo>
                    <a:pt x="102" y="432"/>
                  </a:lnTo>
                  <a:lnTo>
                    <a:pt x="102" y="426"/>
                  </a:lnTo>
                  <a:lnTo>
                    <a:pt x="96" y="426"/>
                  </a:lnTo>
                  <a:lnTo>
                    <a:pt x="90" y="426"/>
                  </a:lnTo>
                  <a:lnTo>
                    <a:pt x="84" y="426"/>
                  </a:lnTo>
                  <a:lnTo>
                    <a:pt x="84" y="420"/>
                  </a:lnTo>
                  <a:lnTo>
                    <a:pt x="78" y="420"/>
                  </a:lnTo>
                  <a:lnTo>
                    <a:pt x="72" y="420"/>
                  </a:lnTo>
                  <a:lnTo>
                    <a:pt x="66" y="420"/>
                  </a:lnTo>
                  <a:lnTo>
                    <a:pt x="60" y="420"/>
                  </a:lnTo>
                  <a:lnTo>
                    <a:pt x="54" y="420"/>
                  </a:lnTo>
                  <a:lnTo>
                    <a:pt x="48" y="420"/>
                  </a:lnTo>
                  <a:lnTo>
                    <a:pt x="42" y="420"/>
                  </a:lnTo>
                  <a:lnTo>
                    <a:pt x="48" y="420"/>
                  </a:lnTo>
                  <a:lnTo>
                    <a:pt x="48" y="414"/>
                  </a:lnTo>
                  <a:lnTo>
                    <a:pt x="54" y="414"/>
                  </a:lnTo>
                  <a:lnTo>
                    <a:pt x="60" y="414"/>
                  </a:lnTo>
                  <a:lnTo>
                    <a:pt x="66" y="414"/>
                  </a:lnTo>
                  <a:lnTo>
                    <a:pt x="66" y="408"/>
                  </a:lnTo>
                  <a:lnTo>
                    <a:pt x="66" y="414"/>
                  </a:lnTo>
                  <a:lnTo>
                    <a:pt x="72" y="414"/>
                  </a:lnTo>
                  <a:lnTo>
                    <a:pt x="78" y="414"/>
                  </a:lnTo>
                  <a:lnTo>
                    <a:pt x="78" y="420"/>
                  </a:lnTo>
                  <a:lnTo>
                    <a:pt x="78" y="414"/>
                  </a:lnTo>
                  <a:lnTo>
                    <a:pt x="72" y="414"/>
                  </a:lnTo>
                  <a:lnTo>
                    <a:pt x="72" y="420"/>
                  </a:lnTo>
                  <a:lnTo>
                    <a:pt x="72" y="414"/>
                  </a:lnTo>
                  <a:lnTo>
                    <a:pt x="66" y="414"/>
                  </a:lnTo>
                  <a:lnTo>
                    <a:pt x="72" y="414"/>
                  </a:lnTo>
                  <a:lnTo>
                    <a:pt x="72" y="420"/>
                  </a:lnTo>
                  <a:lnTo>
                    <a:pt x="78" y="420"/>
                  </a:lnTo>
                  <a:lnTo>
                    <a:pt x="84" y="420"/>
                  </a:lnTo>
                  <a:lnTo>
                    <a:pt x="84" y="414"/>
                  </a:lnTo>
                  <a:lnTo>
                    <a:pt x="78" y="414"/>
                  </a:lnTo>
                  <a:lnTo>
                    <a:pt x="72" y="414"/>
                  </a:lnTo>
                  <a:lnTo>
                    <a:pt x="66" y="408"/>
                  </a:lnTo>
                  <a:lnTo>
                    <a:pt x="60" y="408"/>
                  </a:lnTo>
                  <a:lnTo>
                    <a:pt x="54" y="408"/>
                  </a:lnTo>
                  <a:lnTo>
                    <a:pt x="54" y="414"/>
                  </a:lnTo>
                  <a:lnTo>
                    <a:pt x="48" y="414"/>
                  </a:lnTo>
                  <a:lnTo>
                    <a:pt x="42" y="414"/>
                  </a:lnTo>
                  <a:lnTo>
                    <a:pt x="42" y="408"/>
                  </a:lnTo>
                  <a:lnTo>
                    <a:pt x="42" y="414"/>
                  </a:lnTo>
                  <a:lnTo>
                    <a:pt x="42" y="420"/>
                  </a:lnTo>
                  <a:lnTo>
                    <a:pt x="42" y="414"/>
                  </a:lnTo>
                  <a:lnTo>
                    <a:pt x="42" y="420"/>
                  </a:lnTo>
                  <a:lnTo>
                    <a:pt x="36" y="420"/>
                  </a:lnTo>
                  <a:lnTo>
                    <a:pt x="42" y="420"/>
                  </a:lnTo>
                  <a:lnTo>
                    <a:pt x="36" y="420"/>
                  </a:lnTo>
                  <a:lnTo>
                    <a:pt x="42" y="420"/>
                  </a:lnTo>
                  <a:lnTo>
                    <a:pt x="36" y="420"/>
                  </a:lnTo>
                  <a:lnTo>
                    <a:pt x="42" y="420"/>
                  </a:lnTo>
                  <a:lnTo>
                    <a:pt x="36" y="420"/>
                  </a:lnTo>
                  <a:lnTo>
                    <a:pt x="30" y="420"/>
                  </a:lnTo>
                  <a:lnTo>
                    <a:pt x="24" y="420"/>
                  </a:lnTo>
                  <a:lnTo>
                    <a:pt x="18" y="420"/>
                  </a:lnTo>
                  <a:lnTo>
                    <a:pt x="12" y="420"/>
                  </a:lnTo>
                  <a:lnTo>
                    <a:pt x="6" y="420"/>
                  </a:lnTo>
                  <a:lnTo>
                    <a:pt x="6" y="426"/>
                  </a:lnTo>
                  <a:lnTo>
                    <a:pt x="0" y="426"/>
                  </a:lnTo>
                  <a:lnTo>
                    <a:pt x="0" y="420"/>
                  </a:lnTo>
                  <a:lnTo>
                    <a:pt x="0" y="414"/>
                  </a:lnTo>
                  <a:lnTo>
                    <a:pt x="6" y="414"/>
                  </a:lnTo>
                  <a:lnTo>
                    <a:pt x="0" y="408"/>
                  </a:lnTo>
                  <a:lnTo>
                    <a:pt x="6" y="408"/>
                  </a:lnTo>
                  <a:lnTo>
                    <a:pt x="6" y="402"/>
                  </a:lnTo>
                  <a:lnTo>
                    <a:pt x="0" y="402"/>
                  </a:lnTo>
                  <a:lnTo>
                    <a:pt x="6" y="396"/>
                  </a:lnTo>
                  <a:lnTo>
                    <a:pt x="6" y="390"/>
                  </a:lnTo>
                  <a:lnTo>
                    <a:pt x="0" y="390"/>
                  </a:lnTo>
                  <a:lnTo>
                    <a:pt x="6" y="390"/>
                  </a:lnTo>
                  <a:lnTo>
                    <a:pt x="6" y="384"/>
                  </a:lnTo>
                  <a:lnTo>
                    <a:pt x="6" y="378"/>
                  </a:lnTo>
                  <a:lnTo>
                    <a:pt x="6" y="372"/>
                  </a:lnTo>
                  <a:lnTo>
                    <a:pt x="6" y="366"/>
                  </a:lnTo>
                  <a:lnTo>
                    <a:pt x="6" y="360"/>
                  </a:lnTo>
                  <a:lnTo>
                    <a:pt x="0" y="360"/>
                  </a:lnTo>
                  <a:lnTo>
                    <a:pt x="0" y="354"/>
                  </a:lnTo>
                  <a:lnTo>
                    <a:pt x="0" y="348"/>
                  </a:lnTo>
                  <a:lnTo>
                    <a:pt x="0" y="342"/>
                  </a:lnTo>
                  <a:lnTo>
                    <a:pt x="0" y="336"/>
                  </a:lnTo>
                  <a:lnTo>
                    <a:pt x="0" y="330"/>
                  </a:lnTo>
                  <a:lnTo>
                    <a:pt x="0" y="324"/>
                  </a:lnTo>
                  <a:lnTo>
                    <a:pt x="6" y="324"/>
                  </a:lnTo>
                  <a:lnTo>
                    <a:pt x="6" y="318"/>
                  </a:lnTo>
                  <a:lnTo>
                    <a:pt x="0" y="318"/>
                  </a:lnTo>
                  <a:lnTo>
                    <a:pt x="0" y="312"/>
                  </a:lnTo>
                  <a:lnTo>
                    <a:pt x="0" y="306"/>
                  </a:lnTo>
                  <a:lnTo>
                    <a:pt x="6" y="306"/>
                  </a:lnTo>
                  <a:lnTo>
                    <a:pt x="6" y="300"/>
                  </a:lnTo>
                  <a:lnTo>
                    <a:pt x="6" y="294"/>
                  </a:lnTo>
                  <a:lnTo>
                    <a:pt x="0" y="294"/>
                  </a:lnTo>
                  <a:lnTo>
                    <a:pt x="6" y="294"/>
                  </a:lnTo>
                  <a:lnTo>
                    <a:pt x="6" y="288"/>
                  </a:lnTo>
                  <a:lnTo>
                    <a:pt x="0" y="288"/>
                  </a:lnTo>
                  <a:lnTo>
                    <a:pt x="6" y="288"/>
                  </a:lnTo>
                  <a:lnTo>
                    <a:pt x="6" y="282"/>
                  </a:lnTo>
                  <a:lnTo>
                    <a:pt x="6" y="276"/>
                  </a:lnTo>
                  <a:lnTo>
                    <a:pt x="6" y="270"/>
                  </a:lnTo>
                  <a:lnTo>
                    <a:pt x="12" y="270"/>
                  </a:lnTo>
                  <a:lnTo>
                    <a:pt x="18" y="270"/>
                  </a:lnTo>
                  <a:lnTo>
                    <a:pt x="24" y="270"/>
                  </a:lnTo>
                  <a:lnTo>
                    <a:pt x="24" y="264"/>
                  </a:lnTo>
                  <a:lnTo>
                    <a:pt x="24" y="258"/>
                  </a:lnTo>
                  <a:lnTo>
                    <a:pt x="24" y="252"/>
                  </a:lnTo>
                  <a:lnTo>
                    <a:pt x="24" y="246"/>
                  </a:lnTo>
                  <a:lnTo>
                    <a:pt x="30" y="246"/>
                  </a:lnTo>
                  <a:lnTo>
                    <a:pt x="30" y="240"/>
                  </a:lnTo>
                  <a:lnTo>
                    <a:pt x="36" y="240"/>
                  </a:lnTo>
                  <a:lnTo>
                    <a:pt x="36" y="234"/>
                  </a:lnTo>
                  <a:lnTo>
                    <a:pt x="36" y="228"/>
                  </a:lnTo>
                  <a:lnTo>
                    <a:pt x="42" y="228"/>
                  </a:lnTo>
                  <a:lnTo>
                    <a:pt x="48" y="228"/>
                  </a:lnTo>
                  <a:lnTo>
                    <a:pt x="48" y="222"/>
                  </a:lnTo>
                  <a:lnTo>
                    <a:pt x="54" y="222"/>
                  </a:lnTo>
                  <a:lnTo>
                    <a:pt x="54" y="216"/>
                  </a:lnTo>
                  <a:lnTo>
                    <a:pt x="54" y="210"/>
                  </a:lnTo>
                  <a:lnTo>
                    <a:pt x="48" y="204"/>
                  </a:lnTo>
                  <a:lnTo>
                    <a:pt x="54" y="204"/>
                  </a:lnTo>
                  <a:lnTo>
                    <a:pt x="54" y="198"/>
                  </a:lnTo>
                  <a:lnTo>
                    <a:pt x="54" y="192"/>
                  </a:lnTo>
                  <a:lnTo>
                    <a:pt x="60" y="192"/>
                  </a:lnTo>
                  <a:lnTo>
                    <a:pt x="60" y="198"/>
                  </a:lnTo>
                  <a:lnTo>
                    <a:pt x="60" y="192"/>
                  </a:lnTo>
                  <a:lnTo>
                    <a:pt x="66" y="192"/>
                  </a:lnTo>
                  <a:lnTo>
                    <a:pt x="66" y="186"/>
                  </a:lnTo>
                  <a:lnTo>
                    <a:pt x="66" y="180"/>
                  </a:lnTo>
                  <a:lnTo>
                    <a:pt x="60" y="180"/>
                  </a:lnTo>
                  <a:lnTo>
                    <a:pt x="60" y="174"/>
                  </a:lnTo>
                  <a:lnTo>
                    <a:pt x="60" y="168"/>
                  </a:lnTo>
                  <a:lnTo>
                    <a:pt x="60" y="162"/>
                  </a:lnTo>
                  <a:lnTo>
                    <a:pt x="60" y="156"/>
                  </a:lnTo>
                  <a:lnTo>
                    <a:pt x="54" y="156"/>
                  </a:lnTo>
                  <a:lnTo>
                    <a:pt x="54" y="150"/>
                  </a:lnTo>
                  <a:lnTo>
                    <a:pt x="48" y="150"/>
                  </a:lnTo>
                  <a:lnTo>
                    <a:pt x="48" y="144"/>
                  </a:lnTo>
                  <a:lnTo>
                    <a:pt x="48" y="138"/>
                  </a:lnTo>
                  <a:lnTo>
                    <a:pt x="48" y="132"/>
                  </a:lnTo>
                  <a:lnTo>
                    <a:pt x="48" y="126"/>
                  </a:lnTo>
                  <a:lnTo>
                    <a:pt x="54" y="126"/>
                  </a:lnTo>
                  <a:lnTo>
                    <a:pt x="54" y="120"/>
                  </a:lnTo>
                  <a:lnTo>
                    <a:pt x="54" y="114"/>
                  </a:lnTo>
                  <a:lnTo>
                    <a:pt x="54" y="108"/>
                  </a:lnTo>
                  <a:lnTo>
                    <a:pt x="54" y="102"/>
                  </a:lnTo>
                  <a:lnTo>
                    <a:pt x="54" y="96"/>
                  </a:lnTo>
                  <a:lnTo>
                    <a:pt x="54" y="90"/>
                  </a:lnTo>
                  <a:lnTo>
                    <a:pt x="54" y="84"/>
                  </a:lnTo>
                  <a:lnTo>
                    <a:pt x="54" y="78"/>
                  </a:lnTo>
                  <a:lnTo>
                    <a:pt x="54" y="72"/>
                  </a:lnTo>
                  <a:lnTo>
                    <a:pt x="60" y="72"/>
                  </a:lnTo>
                  <a:lnTo>
                    <a:pt x="60" y="66"/>
                  </a:lnTo>
                  <a:lnTo>
                    <a:pt x="66" y="66"/>
                  </a:lnTo>
                  <a:lnTo>
                    <a:pt x="72" y="66"/>
                  </a:lnTo>
                  <a:lnTo>
                    <a:pt x="72" y="60"/>
                  </a:lnTo>
                  <a:lnTo>
                    <a:pt x="72" y="54"/>
                  </a:lnTo>
                  <a:lnTo>
                    <a:pt x="78" y="54"/>
                  </a:lnTo>
                  <a:lnTo>
                    <a:pt x="78" y="48"/>
                  </a:lnTo>
                  <a:lnTo>
                    <a:pt x="78" y="42"/>
                  </a:lnTo>
                  <a:lnTo>
                    <a:pt x="78" y="36"/>
                  </a:lnTo>
                  <a:lnTo>
                    <a:pt x="78" y="30"/>
                  </a:lnTo>
                  <a:lnTo>
                    <a:pt x="78" y="24"/>
                  </a:lnTo>
                  <a:lnTo>
                    <a:pt x="84" y="24"/>
                  </a:lnTo>
                  <a:lnTo>
                    <a:pt x="84" y="18"/>
                  </a:lnTo>
                  <a:lnTo>
                    <a:pt x="90" y="18"/>
                  </a:lnTo>
                  <a:lnTo>
                    <a:pt x="90" y="12"/>
                  </a:lnTo>
                  <a:lnTo>
                    <a:pt x="96" y="12"/>
                  </a:lnTo>
                  <a:lnTo>
                    <a:pt x="102" y="12"/>
                  </a:lnTo>
                  <a:lnTo>
                    <a:pt x="102" y="6"/>
                  </a:lnTo>
                  <a:lnTo>
                    <a:pt x="108" y="6"/>
                  </a:lnTo>
                  <a:lnTo>
                    <a:pt x="114" y="6"/>
                  </a:lnTo>
                  <a:lnTo>
                    <a:pt x="120" y="6"/>
                  </a:lnTo>
                  <a:lnTo>
                    <a:pt x="126" y="6"/>
                  </a:lnTo>
                  <a:lnTo>
                    <a:pt x="132" y="6"/>
                  </a:lnTo>
                  <a:lnTo>
                    <a:pt x="138" y="6"/>
                  </a:lnTo>
                  <a:lnTo>
                    <a:pt x="144" y="6"/>
                  </a:lnTo>
                  <a:lnTo>
                    <a:pt x="150" y="0"/>
                  </a:lnTo>
                  <a:lnTo>
                    <a:pt x="156" y="0"/>
                  </a:lnTo>
                  <a:lnTo>
                    <a:pt x="162" y="0"/>
                  </a:lnTo>
                  <a:lnTo>
                    <a:pt x="168" y="6"/>
                  </a:lnTo>
                  <a:lnTo>
                    <a:pt x="174" y="6"/>
                  </a:lnTo>
                  <a:lnTo>
                    <a:pt x="180" y="6"/>
                  </a:lnTo>
                  <a:lnTo>
                    <a:pt x="186" y="6"/>
                  </a:lnTo>
                  <a:lnTo>
                    <a:pt x="186" y="12"/>
                  </a:lnTo>
                  <a:lnTo>
                    <a:pt x="192" y="12"/>
                  </a:lnTo>
                  <a:lnTo>
                    <a:pt x="198" y="12"/>
                  </a:lnTo>
                  <a:lnTo>
                    <a:pt x="204" y="12"/>
                  </a:lnTo>
                  <a:lnTo>
                    <a:pt x="210" y="12"/>
                  </a:lnTo>
                  <a:lnTo>
                    <a:pt x="210" y="18"/>
                  </a:lnTo>
                  <a:lnTo>
                    <a:pt x="216" y="24"/>
                  </a:lnTo>
                  <a:lnTo>
                    <a:pt x="222" y="24"/>
                  </a:lnTo>
                  <a:lnTo>
                    <a:pt x="222" y="30"/>
                  </a:lnTo>
                  <a:lnTo>
                    <a:pt x="228" y="36"/>
                  </a:lnTo>
                  <a:lnTo>
                    <a:pt x="228" y="42"/>
                  </a:lnTo>
                  <a:lnTo>
                    <a:pt x="234" y="42"/>
                  </a:lnTo>
                  <a:lnTo>
                    <a:pt x="234" y="48"/>
                  </a:lnTo>
                  <a:lnTo>
                    <a:pt x="240" y="48"/>
                  </a:lnTo>
                  <a:lnTo>
                    <a:pt x="246" y="48"/>
                  </a:lnTo>
                  <a:lnTo>
                    <a:pt x="252" y="48"/>
                  </a:lnTo>
                  <a:lnTo>
                    <a:pt x="252" y="42"/>
                  </a:lnTo>
                  <a:lnTo>
                    <a:pt x="258" y="42"/>
                  </a:lnTo>
                  <a:lnTo>
                    <a:pt x="264" y="42"/>
                  </a:lnTo>
                  <a:lnTo>
                    <a:pt x="270" y="42"/>
                  </a:lnTo>
                  <a:lnTo>
                    <a:pt x="270" y="36"/>
                  </a:lnTo>
                  <a:lnTo>
                    <a:pt x="276" y="36"/>
                  </a:lnTo>
                  <a:lnTo>
                    <a:pt x="282" y="36"/>
                  </a:lnTo>
                  <a:lnTo>
                    <a:pt x="282" y="30"/>
                  </a:lnTo>
                  <a:lnTo>
                    <a:pt x="288" y="30"/>
                  </a:lnTo>
                  <a:lnTo>
                    <a:pt x="294" y="30"/>
                  </a:lnTo>
                  <a:lnTo>
                    <a:pt x="300" y="30"/>
                  </a:lnTo>
                  <a:lnTo>
                    <a:pt x="300" y="36"/>
                  </a:lnTo>
                  <a:lnTo>
                    <a:pt x="306" y="36"/>
                  </a:lnTo>
                  <a:lnTo>
                    <a:pt x="312" y="36"/>
                  </a:lnTo>
                  <a:lnTo>
                    <a:pt x="312" y="42"/>
                  </a:lnTo>
                  <a:lnTo>
                    <a:pt x="318" y="42"/>
                  </a:lnTo>
                  <a:lnTo>
                    <a:pt x="318" y="48"/>
                  </a:lnTo>
                  <a:lnTo>
                    <a:pt x="324" y="48"/>
                  </a:lnTo>
                  <a:lnTo>
                    <a:pt x="330" y="48"/>
                  </a:lnTo>
                  <a:lnTo>
                    <a:pt x="330" y="54"/>
                  </a:lnTo>
                  <a:lnTo>
                    <a:pt x="336" y="54"/>
                  </a:lnTo>
                  <a:lnTo>
                    <a:pt x="342" y="54"/>
                  </a:lnTo>
                  <a:lnTo>
                    <a:pt x="342" y="60"/>
                  </a:lnTo>
                  <a:lnTo>
                    <a:pt x="348" y="60"/>
                  </a:lnTo>
                  <a:lnTo>
                    <a:pt x="354" y="60"/>
                  </a:lnTo>
                  <a:lnTo>
                    <a:pt x="360" y="60"/>
                  </a:lnTo>
                  <a:lnTo>
                    <a:pt x="366" y="60"/>
                  </a:lnTo>
                  <a:lnTo>
                    <a:pt x="372" y="60"/>
                  </a:lnTo>
                  <a:lnTo>
                    <a:pt x="378" y="60"/>
                  </a:lnTo>
                  <a:lnTo>
                    <a:pt x="384" y="60"/>
                  </a:lnTo>
                  <a:lnTo>
                    <a:pt x="390" y="60"/>
                  </a:lnTo>
                  <a:lnTo>
                    <a:pt x="396" y="54"/>
                  </a:lnTo>
                  <a:lnTo>
                    <a:pt x="396" y="48"/>
                  </a:lnTo>
                  <a:lnTo>
                    <a:pt x="402" y="48"/>
                  </a:lnTo>
                  <a:lnTo>
                    <a:pt x="402" y="42"/>
                  </a:lnTo>
                  <a:lnTo>
                    <a:pt x="408" y="42"/>
                  </a:lnTo>
                  <a:lnTo>
                    <a:pt x="408" y="36"/>
                  </a:lnTo>
                  <a:lnTo>
                    <a:pt x="414" y="36"/>
                  </a:lnTo>
                  <a:lnTo>
                    <a:pt x="420" y="36"/>
                  </a:lnTo>
                  <a:lnTo>
                    <a:pt x="426" y="36"/>
                  </a:lnTo>
                  <a:lnTo>
                    <a:pt x="432" y="36"/>
                  </a:lnTo>
                  <a:lnTo>
                    <a:pt x="432" y="30"/>
                  </a:lnTo>
                  <a:lnTo>
                    <a:pt x="438" y="30"/>
                  </a:lnTo>
                  <a:lnTo>
                    <a:pt x="444" y="30"/>
                  </a:lnTo>
                  <a:lnTo>
                    <a:pt x="450" y="30"/>
                  </a:lnTo>
                  <a:lnTo>
                    <a:pt x="456" y="30"/>
                  </a:lnTo>
                  <a:lnTo>
                    <a:pt x="462" y="30"/>
                  </a:lnTo>
                  <a:lnTo>
                    <a:pt x="468" y="30"/>
                  </a:lnTo>
                  <a:lnTo>
                    <a:pt x="474" y="30"/>
                  </a:lnTo>
                  <a:lnTo>
                    <a:pt x="480" y="30"/>
                  </a:lnTo>
                  <a:lnTo>
                    <a:pt x="486" y="30"/>
                  </a:lnTo>
                  <a:lnTo>
                    <a:pt x="492" y="30"/>
                  </a:lnTo>
                  <a:lnTo>
                    <a:pt x="498" y="30"/>
                  </a:lnTo>
                  <a:lnTo>
                    <a:pt x="504" y="36"/>
                  </a:lnTo>
                  <a:lnTo>
                    <a:pt x="510" y="36"/>
                  </a:lnTo>
                  <a:lnTo>
                    <a:pt x="516" y="36"/>
                  </a:lnTo>
                  <a:lnTo>
                    <a:pt x="516" y="42"/>
                  </a:lnTo>
                  <a:lnTo>
                    <a:pt x="522" y="42"/>
                  </a:lnTo>
                  <a:lnTo>
                    <a:pt x="528" y="42"/>
                  </a:lnTo>
                  <a:lnTo>
                    <a:pt x="534" y="42"/>
                  </a:lnTo>
                  <a:lnTo>
                    <a:pt x="540" y="42"/>
                  </a:lnTo>
                  <a:lnTo>
                    <a:pt x="534" y="48"/>
                  </a:lnTo>
                  <a:lnTo>
                    <a:pt x="540" y="48"/>
                  </a:lnTo>
                  <a:lnTo>
                    <a:pt x="540" y="42"/>
                  </a:lnTo>
                  <a:lnTo>
                    <a:pt x="540" y="48"/>
                  </a:lnTo>
                  <a:lnTo>
                    <a:pt x="540" y="42"/>
                  </a:lnTo>
                  <a:lnTo>
                    <a:pt x="540" y="48"/>
                  </a:lnTo>
                  <a:lnTo>
                    <a:pt x="540" y="42"/>
                  </a:lnTo>
                  <a:lnTo>
                    <a:pt x="540" y="48"/>
                  </a:lnTo>
                  <a:lnTo>
                    <a:pt x="546" y="48"/>
                  </a:lnTo>
                  <a:lnTo>
                    <a:pt x="546" y="42"/>
                  </a:lnTo>
                  <a:lnTo>
                    <a:pt x="552" y="42"/>
                  </a:lnTo>
                  <a:lnTo>
                    <a:pt x="552" y="36"/>
                  </a:lnTo>
                  <a:lnTo>
                    <a:pt x="546" y="36"/>
                  </a:lnTo>
                  <a:lnTo>
                    <a:pt x="552" y="36"/>
                  </a:lnTo>
                  <a:lnTo>
                    <a:pt x="552" y="30"/>
                  </a:lnTo>
                  <a:lnTo>
                    <a:pt x="552" y="36"/>
                  </a:lnTo>
                  <a:lnTo>
                    <a:pt x="558" y="36"/>
                  </a:lnTo>
                  <a:lnTo>
                    <a:pt x="558" y="30"/>
                  </a:lnTo>
                  <a:lnTo>
                    <a:pt x="564" y="30"/>
                  </a:lnTo>
                  <a:lnTo>
                    <a:pt x="564" y="24"/>
                  </a:lnTo>
                  <a:lnTo>
                    <a:pt x="570" y="24"/>
                  </a:lnTo>
                  <a:lnTo>
                    <a:pt x="570" y="18"/>
                  </a:lnTo>
                  <a:lnTo>
                    <a:pt x="570" y="24"/>
                  </a:lnTo>
                  <a:lnTo>
                    <a:pt x="570" y="18"/>
                  </a:lnTo>
                  <a:lnTo>
                    <a:pt x="576" y="18"/>
                  </a:lnTo>
                  <a:lnTo>
                    <a:pt x="582" y="18"/>
                  </a:lnTo>
                  <a:lnTo>
                    <a:pt x="588" y="18"/>
                  </a:lnTo>
                  <a:lnTo>
                    <a:pt x="588" y="12"/>
                  </a:lnTo>
                  <a:lnTo>
                    <a:pt x="594" y="12"/>
                  </a:lnTo>
                  <a:lnTo>
                    <a:pt x="594" y="6"/>
                  </a:lnTo>
                  <a:lnTo>
                    <a:pt x="600" y="6"/>
                  </a:lnTo>
                  <a:lnTo>
                    <a:pt x="606" y="6"/>
                  </a:lnTo>
                  <a:lnTo>
                    <a:pt x="612" y="6"/>
                  </a:lnTo>
                  <a:lnTo>
                    <a:pt x="612" y="12"/>
                  </a:lnTo>
                  <a:lnTo>
                    <a:pt x="612" y="18"/>
                  </a:lnTo>
                  <a:lnTo>
                    <a:pt x="618" y="18"/>
                  </a:lnTo>
                  <a:lnTo>
                    <a:pt x="618" y="24"/>
                  </a:lnTo>
                  <a:lnTo>
                    <a:pt x="624" y="24"/>
                  </a:lnTo>
                  <a:lnTo>
                    <a:pt x="624" y="30"/>
                  </a:lnTo>
                  <a:lnTo>
                    <a:pt x="624" y="36"/>
                  </a:lnTo>
                  <a:lnTo>
                    <a:pt x="630" y="36"/>
                  </a:lnTo>
                  <a:lnTo>
                    <a:pt x="630" y="42"/>
                  </a:lnTo>
                  <a:lnTo>
                    <a:pt x="636" y="42"/>
                  </a:lnTo>
                  <a:lnTo>
                    <a:pt x="636" y="48"/>
                  </a:lnTo>
                  <a:close/>
                  <a:moveTo>
                    <a:pt x="246" y="528"/>
                  </a:moveTo>
                  <a:lnTo>
                    <a:pt x="258" y="528"/>
                  </a:lnTo>
                  <a:lnTo>
                    <a:pt x="258" y="534"/>
                  </a:lnTo>
                  <a:lnTo>
                    <a:pt x="246" y="534"/>
                  </a:lnTo>
                  <a:lnTo>
                    <a:pt x="246" y="528"/>
                  </a:lnTo>
                  <a:close/>
                  <a:moveTo>
                    <a:pt x="198" y="534"/>
                  </a:moveTo>
                  <a:lnTo>
                    <a:pt x="210" y="534"/>
                  </a:lnTo>
                  <a:lnTo>
                    <a:pt x="210" y="540"/>
                  </a:lnTo>
                  <a:lnTo>
                    <a:pt x="198" y="540"/>
                  </a:lnTo>
                  <a:lnTo>
                    <a:pt x="198" y="534"/>
                  </a:lnTo>
                  <a:close/>
                  <a:moveTo>
                    <a:pt x="240" y="522"/>
                  </a:moveTo>
                  <a:lnTo>
                    <a:pt x="246" y="522"/>
                  </a:lnTo>
                  <a:lnTo>
                    <a:pt x="246" y="534"/>
                  </a:lnTo>
                  <a:lnTo>
                    <a:pt x="240" y="534"/>
                  </a:lnTo>
                  <a:lnTo>
                    <a:pt x="240" y="522"/>
                  </a:lnTo>
                  <a:close/>
                  <a:moveTo>
                    <a:pt x="234" y="522"/>
                  </a:moveTo>
                  <a:lnTo>
                    <a:pt x="240" y="522"/>
                  </a:lnTo>
                  <a:lnTo>
                    <a:pt x="240" y="528"/>
                  </a:lnTo>
                  <a:lnTo>
                    <a:pt x="234" y="528"/>
                  </a:lnTo>
                  <a:lnTo>
                    <a:pt x="234" y="522"/>
                  </a:lnTo>
                  <a:close/>
                  <a:moveTo>
                    <a:pt x="78" y="420"/>
                  </a:moveTo>
                  <a:lnTo>
                    <a:pt x="84" y="420"/>
                  </a:lnTo>
                  <a:lnTo>
                    <a:pt x="78" y="420"/>
                  </a:lnTo>
                  <a:close/>
                  <a:moveTo>
                    <a:pt x="36" y="420"/>
                  </a:moveTo>
                  <a:lnTo>
                    <a:pt x="42" y="420"/>
                  </a:lnTo>
                  <a:lnTo>
                    <a:pt x="36" y="420"/>
                  </a:lnTo>
                  <a:close/>
                  <a:moveTo>
                    <a:pt x="312" y="504"/>
                  </a:moveTo>
                  <a:lnTo>
                    <a:pt x="312" y="510"/>
                  </a:lnTo>
                  <a:lnTo>
                    <a:pt x="313" y="510"/>
                  </a:lnTo>
                  <a:lnTo>
                    <a:pt x="312" y="504"/>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4" name="Freeform 25"/>
            <p:cNvSpPr>
              <a:spLocks/>
            </p:cNvSpPr>
            <p:nvPr>
              <p:custDataLst>
                <p:tags r:id="rId77"/>
              </p:custDataLst>
            </p:nvPr>
          </p:nvSpPr>
          <p:spPr bwMode="gray">
            <a:xfrm>
              <a:off x="3181350" y="2827338"/>
              <a:ext cx="133350" cy="347663"/>
            </a:xfrm>
            <a:custGeom>
              <a:avLst/>
              <a:gdLst>
                <a:gd name="T0" fmla="*/ 29720 w 108"/>
                <a:gd name="T1" fmla="*/ 95928 h 282"/>
                <a:gd name="T2" fmla="*/ 24927 w 108"/>
                <a:gd name="T3" fmla="*/ 97847 h 282"/>
                <a:gd name="T4" fmla="*/ 21092 w 108"/>
                <a:gd name="T5" fmla="*/ 95928 h 282"/>
                <a:gd name="T6" fmla="*/ 19175 w 108"/>
                <a:gd name="T7" fmla="*/ 92091 h 282"/>
                <a:gd name="T8" fmla="*/ 14381 w 108"/>
                <a:gd name="T9" fmla="*/ 90173 h 282"/>
                <a:gd name="T10" fmla="*/ 12464 w 108"/>
                <a:gd name="T11" fmla="*/ 85377 h 282"/>
                <a:gd name="T12" fmla="*/ 12464 w 108"/>
                <a:gd name="T13" fmla="*/ 83458 h 282"/>
                <a:gd name="T14" fmla="*/ 14381 w 108"/>
                <a:gd name="T15" fmla="*/ 79620 h 282"/>
                <a:gd name="T16" fmla="*/ 14381 w 108"/>
                <a:gd name="T17" fmla="*/ 73865 h 282"/>
                <a:gd name="T18" fmla="*/ 12464 w 108"/>
                <a:gd name="T19" fmla="*/ 69069 h 282"/>
                <a:gd name="T20" fmla="*/ 14381 w 108"/>
                <a:gd name="T21" fmla="*/ 65232 h 282"/>
                <a:gd name="T22" fmla="*/ 14381 w 108"/>
                <a:gd name="T23" fmla="*/ 58516 h 282"/>
                <a:gd name="T24" fmla="*/ 16298 w 108"/>
                <a:gd name="T25" fmla="*/ 54679 h 282"/>
                <a:gd name="T26" fmla="*/ 12464 w 108"/>
                <a:gd name="T27" fmla="*/ 51801 h 282"/>
                <a:gd name="T28" fmla="*/ 10546 w 108"/>
                <a:gd name="T29" fmla="*/ 47964 h 282"/>
                <a:gd name="T30" fmla="*/ 12464 w 108"/>
                <a:gd name="T31" fmla="*/ 44127 h 282"/>
                <a:gd name="T32" fmla="*/ 10546 w 108"/>
                <a:gd name="T33" fmla="*/ 40290 h 282"/>
                <a:gd name="T34" fmla="*/ 12464 w 108"/>
                <a:gd name="T35" fmla="*/ 35494 h 282"/>
                <a:gd name="T36" fmla="*/ 10546 w 108"/>
                <a:gd name="T37" fmla="*/ 31656 h 282"/>
                <a:gd name="T38" fmla="*/ 7670 w 108"/>
                <a:gd name="T39" fmla="*/ 31656 h 282"/>
                <a:gd name="T40" fmla="*/ 7670 w 108"/>
                <a:gd name="T41" fmla="*/ 33575 h 282"/>
                <a:gd name="T42" fmla="*/ 7670 w 108"/>
                <a:gd name="T43" fmla="*/ 31656 h 282"/>
                <a:gd name="T44" fmla="*/ 7670 w 108"/>
                <a:gd name="T45" fmla="*/ 29738 h 282"/>
                <a:gd name="T46" fmla="*/ 7670 w 108"/>
                <a:gd name="T47" fmla="*/ 23023 h 282"/>
                <a:gd name="T48" fmla="*/ 7670 w 108"/>
                <a:gd name="T49" fmla="*/ 21104 h 282"/>
                <a:gd name="T50" fmla="*/ 7670 w 108"/>
                <a:gd name="T51" fmla="*/ 19186 h 282"/>
                <a:gd name="T52" fmla="*/ 7670 w 108"/>
                <a:gd name="T53" fmla="*/ 16308 h 282"/>
                <a:gd name="T54" fmla="*/ 7670 w 108"/>
                <a:gd name="T55" fmla="*/ 14390 h 282"/>
                <a:gd name="T56" fmla="*/ 3835 w 108"/>
                <a:gd name="T57" fmla="*/ 12471 h 282"/>
                <a:gd name="T58" fmla="*/ 0 w 108"/>
                <a:gd name="T59" fmla="*/ 10552 h 282"/>
                <a:gd name="T60" fmla="*/ 1917 w 108"/>
                <a:gd name="T61" fmla="*/ 6715 h 282"/>
                <a:gd name="T62" fmla="*/ 1917 w 108"/>
                <a:gd name="T63" fmla="*/ 0 h 282"/>
                <a:gd name="T64" fmla="*/ 3835 w 108"/>
                <a:gd name="T65" fmla="*/ 0 h 282"/>
                <a:gd name="T66" fmla="*/ 10546 w 108"/>
                <a:gd name="T67" fmla="*/ 1918 h 282"/>
                <a:gd name="T68" fmla="*/ 14381 w 108"/>
                <a:gd name="T69" fmla="*/ 3837 h 282"/>
                <a:gd name="T70" fmla="*/ 19175 w 108"/>
                <a:gd name="T71" fmla="*/ 1918 h 282"/>
                <a:gd name="T72" fmla="*/ 19175 w 108"/>
                <a:gd name="T73" fmla="*/ 3837 h 282"/>
                <a:gd name="T74" fmla="*/ 16298 w 108"/>
                <a:gd name="T75" fmla="*/ 7674 h 282"/>
                <a:gd name="T76" fmla="*/ 16298 w 108"/>
                <a:gd name="T77" fmla="*/ 12471 h 282"/>
                <a:gd name="T78" fmla="*/ 19175 w 108"/>
                <a:gd name="T79" fmla="*/ 16308 h 282"/>
                <a:gd name="T80" fmla="*/ 23010 w 108"/>
                <a:gd name="T81" fmla="*/ 19186 h 282"/>
                <a:gd name="T82" fmla="*/ 26844 w 108"/>
                <a:gd name="T83" fmla="*/ 21104 h 282"/>
                <a:gd name="T84" fmla="*/ 29720 w 108"/>
                <a:gd name="T85" fmla="*/ 24941 h 282"/>
                <a:gd name="T86" fmla="*/ 29720 w 108"/>
                <a:gd name="T87" fmla="*/ 31656 h 282"/>
                <a:gd name="T88" fmla="*/ 29720 w 108"/>
                <a:gd name="T89" fmla="*/ 33575 h 282"/>
                <a:gd name="T90" fmla="*/ 31638 w 108"/>
                <a:gd name="T91" fmla="*/ 37413 h 282"/>
                <a:gd name="T92" fmla="*/ 33556 w 108"/>
                <a:gd name="T93" fmla="*/ 41250 h 282"/>
                <a:gd name="T94" fmla="*/ 33556 w 108"/>
                <a:gd name="T95" fmla="*/ 47964 h 282"/>
                <a:gd name="T96" fmla="*/ 33556 w 108"/>
                <a:gd name="T97" fmla="*/ 54679 h 282"/>
                <a:gd name="T98" fmla="*/ 33556 w 108"/>
                <a:gd name="T99" fmla="*/ 60435 h 282"/>
                <a:gd name="T100" fmla="*/ 33556 w 108"/>
                <a:gd name="T101" fmla="*/ 67150 h 282"/>
                <a:gd name="T102" fmla="*/ 35473 w 108"/>
                <a:gd name="T103" fmla="*/ 70987 h 282"/>
                <a:gd name="T104" fmla="*/ 33556 w 108"/>
                <a:gd name="T105" fmla="*/ 74824 h 282"/>
                <a:gd name="T106" fmla="*/ 33556 w 108"/>
                <a:gd name="T107" fmla="*/ 81539 h 282"/>
                <a:gd name="T108" fmla="*/ 33556 w 108"/>
                <a:gd name="T109" fmla="*/ 88255 h 282"/>
                <a:gd name="T110" fmla="*/ 35473 w 108"/>
                <a:gd name="T111" fmla="*/ 92091 h 282"/>
                <a:gd name="T112" fmla="*/ 35473 w 108"/>
                <a:gd name="T113" fmla="*/ 90173 h 282"/>
                <a:gd name="T114" fmla="*/ 35473 w 108"/>
                <a:gd name="T115" fmla="*/ 92091 h 282"/>
                <a:gd name="T116" fmla="*/ 37391 w 108"/>
                <a:gd name="T117" fmla="*/ 94010 h 282"/>
                <a:gd name="T118" fmla="*/ 33556 w 108"/>
                <a:gd name="T119" fmla="*/ 95928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8" h="282">
                  <a:moveTo>
                    <a:pt x="96" y="276"/>
                  </a:moveTo>
                  <a:lnTo>
                    <a:pt x="90" y="276"/>
                  </a:lnTo>
                  <a:lnTo>
                    <a:pt x="84" y="276"/>
                  </a:lnTo>
                  <a:lnTo>
                    <a:pt x="84" y="282"/>
                  </a:lnTo>
                  <a:lnTo>
                    <a:pt x="78" y="282"/>
                  </a:lnTo>
                  <a:lnTo>
                    <a:pt x="72" y="282"/>
                  </a:lnTo>
                  <a:lnTo>
                    <a:pt x="66" y="282"/>
                  </a:lnTo>
                  <a:lnTo>
                    <a:pt x="66" y="276"/>
                  </a:lnTo>
                  <a:lnTo>
                    <a:pt x="60" y="276"/>
                  </a:lnTo>
                  <a:lnTo>
                    <a:pt x="60" y="270"/>
                  </a:lnTo>
                  <a:lnTo>
                    <a:pt x="54" y="270"/>
                  </a:lnTo>
                  <a:lnTo>
                    <a:pt x="54" y="264"/>
                  </a:lnTo>
                  <a:lnTo>
                    <a:pt x="48" y="264"/>
                  </a:lnTo>
                  <a:lnTo>
                    <a:pt x="48" y="258"/>
                  </a:lnTo>
                  <a:lnTo>
                    <a:pt x="42" y="258"/>
                  </a:lnTo>
                  <a:lnTo>
                    <a:pt x="42" y="252"/>
                  </a:lnTo>
                  <a:lnTo>
                    <a:pt x="42" y="246"/>
                  </a:lnTo>
                  <a:lnTo>
                    <a:pt x="36" y="246"/>
                  </a:lnTo>
                  <a:lnTo>
                    <a:pt x="42" y="246"/>
                  </a:lnTo>
                  <a:lnTo>
                    <a:pt x="36" y="246"/>
                  </a:lnTo>
                  <a:lnTo>
                    <a:pt x="36" y="240"/>
                  </a:lnTo>
                  <a:lnTo>
                    <a:pt x="36" y="234"/>
                  </a:lnTo>
                  <a:lnTo>
                    <a:pt x="42" y="234"/>
                  </a:lnTo>
                  <a:lnTo>
                    <a:pt x="42" y="228"/>
                  </a:lnTo>
                  <a:lnTo>
                    <a:pt x="42" y="222"/>
                  </a:lnTo>
                  <a:lnTo>
                    <a:pt x="42" y="216"/>
                  </a:lnTo>
                  <a:lnTo>
                    <a:pt x="42" y="210"/>
                  </a:lnTo>
                  <a:lnTo>
                    <a:pt x="36" y="210"/>
                  </a:lnTo>
                  <a:lnTo>
                    <a:pt x="36" y="204"/>
                  </a:lnTo>
                  <a:lnTo>
                    <a:pt x="36" y="198"/>
                  </a:lnTo>
                  <a:lnTo>
                    <a:pt x="36" y="192"/>
                  </a:lnTo>
                  <a:lnTo>
                    <a:pt x="42" y="192"/>
                  </a:lnTo>
                  <a:lnTo>
                    <a:pt x="42" y="186"/>
                  </a:lnTo>
                  <a:lnTo>
                    <a:pt x="42" y="180"/>
                  </a:lnTo>
                  <a:lnTo>
                    <a:pt x="42" y="174"/>
                  </a:lnTo>
                  <a:lnTo>
                    <a:pt x="42" y="168"/>
                  </a:lnTo>
                  <a:lnTo>
                    <a:pt x="42" y="162"/>
                  </a:lnTo>
                  <a:lnTo>
                    <a:pt x="48" y="162"/>
                  </a:lnTo>
                  <a:lnTo>
                    <a:pt x="48" y="156"/>
                  </a:lnTo>
                  <a:lnTo>
                    <a:pt x="42" y="156"/>
                  </a:lnTo>
                  <a:lnTo>
                    <a:pt x="42" y="150"/>
                  </a:lnTo>
                  <a:lnTo>
                    <a:pt x="36" y="150"/>
                  </a:lnTo>
                  <a:lnTo>
                    <a:pt x="36" y="144"/>
                  </a:lnTo>
                  <a:lnTo>
                    <a:pt x="30" y="144"/>
                  </a:lnTo>
                  <a:lnTo>
                    <a:pt x="30" y="138"/>
                  </a:lnTo>
                  <a:lnTo>
                    <a:pt x="30" y="132"/>
                  </a:lnTo>
                  <a:lnTo>
                    <a:pt x="36" y="132"/>
                  </a:lnTo>
                  <a:lnTo>
                    <a:pt x="36" y="126"/>
                  </a:lnTo>
                  <a:lnTo>
                    <a:pt x="36" y="120"/>
                  </a:lnTo>
                  <a:lnTo>
                    <a:pt x="30" y="120"/>
                  </a:lnTo>
                  <a:lnTo>
                    <a:pt x="30" y="114"/>
                  </a:lnTo>
                  <a:lnTo>
                    <a:pt x="36" y="114"/>
                  </a:lnTo>
                  <a:lnTo>
                    <a:pt x="36" y="108"/>
                  </a:lnTo>
                  <a:lnTo>
                    <a:pt x="36" y="102"/>
                  </a:lnTo>
                  <a:lnTo>
                    <a:pt x="36" y="96"/>
                  </a:lnTo>
                  <a:lnTo>
                    <a:pt x="30" y="96"/>
                  </a:lnTo>
                  <a:lnTo>
                    <a:pt x="30" y="90"/>
                  </a:lnTo>
                  <a:lnTo>
                    <a:pt x="30" y="96"/>
                  </a:lnTo>
                  <a:lnTo>
                    <a:pt x="30" y="90"/>
                  </a:lnTo>
                  <a:lnTo>
                    <a:pt x="24" y="90"/>
                  </a:lnTo>
                  <a:lnTo>
                    <a:pt x="24" y="96"/>
                  </a:lnTo>
                  <a:lnTo>
                    <a:pt x="18" y="96"/>
                  </a:lnTo>
                  <a:lnTo>
                    <a:pt x="24" y="96"/>
                  </a:lnTo>
                  <a:lnTo>
                    <a:pt x="24" y="90"/>
                  </a:lnTo>
                  <a:lnTo>
                    <a:pt x="18" y="90"/>
                  </a:lnTo>
                  <a:lnTo>
                    <a:pt x="24" y="90"/>
                  </a:lnTo>
                  <a:lnTo>
                    <a:pt x="30" y="90"/>
                  </a:lnTo>
                  <a:lnTo>
                    <a:pt x="30" y="84"/>
                  </a:lnTo>
                  <a:lnTo>
                    <a:pt x="24" y="84"/>
                  </a:lnTo>
                  <a:lnTo>
                    <a:pt x="24" y="78"/>
                  </a:lnTo>
                  <a:lnTo>
                    <a:pt x="24" y="72"/>
                  </a:lnTo>
                  <a:lnTo>
                    <a:pt x="24" y="66"/>
                  </a:lnTo>
                  <a:lnTo>
                    <a:pt x="30" y="66"/>
                  </a:lnTo>
                  <a:lnTo>
                    <a:pt x="24" y="66"/>
                  </a:lnTo>
                  <a:lnTo>
                    <a:pt x="24" y="60"/>
                  </a:lnTo>
                  <a:lnTo>
                    <a:pt x="30" y="60"/>
                  </a:lnTo>
                  <a:lnTo>
                    <a:pt x="24" y="60"/>
                  </a:lnTo>
                  <a:lnTo>
                    <a:pt x="24" y="54"/>
                  </a:lnTo>
                  <a:lnTo>
                    <a:pt x="24" y="48"/>
                  </a:lnTo>
                  <a:lnTo>
                    <a:pt x="30" y="48"/>
                  </a:lnTo>
                  <a:lnTo>
                    <a:pt x="24" y="48"/>
                  </a:lnTo>
                  <a:lnTo>
                    <a:pt x="24" y="42"/>
                  </a:lnTo>
                  <a:lnTo>
                    <a:pt x="24" y="48"/>
                  </a:lnTo>
                  <a:lnTo>
                    <a:pt x="24" y="42"/>
                  </a:lnTo>
                  <a:lnTo>
                    <a:pt x="18" y="42"/>
                  </a:lnTo>
                  <a:lnTo>
                    <a:pt x="18" y="36"/>
                  </a:lnTo>
                  <a:lnTo>
                    <a:pt x="12" y="36"/>
                  </a:lnTo>
                  <a:lnTo>
                    <a:pt x="12" y="30"/>
                  </a:lnTo>
                  <a:lnTo>
                    <a:pt x="6" y="30"/>
                  </a:lnTo>
                  <a:lnTo>
                    <a:pt x="0" y="30"/>
                  </a:lnTo>
                  <a:lnTo>
                    <a:pt x="0" y="24"/>
                  </a:lnTo>
                  <a:lnTo>
                    <a:pt x="0" y="18"/>
                  </a:lnTo>
                  <a:lnTo>
                    <a:pt x="6" y="18"/>
                  </a:lnTo>
                  <a:lnTo>
                    <a:pt x="6" y="12"/>
                  </a:lnTo>
                  <a:lnTo>
                    <a:pt x="6" y="6"/>
                  </a:lnTo>
                  <a:lnTo>
                    <a:pt x="6" y="0"/>
                  </a:lnTo>
                  <a:lnTo>
                    <a:pt x="0" y="0"/>
                  </a:lnTo>
                  <a:lnTo>
                    <a:pt x="6" y="0"/>
                  </a:lnTo>
                  <a:lnTo>
                    <a:pt x="12" y="0"/>
                  </a:lnTo>
                  <a:lnTo>
                    <a:pt x="18" y="6"/>
                  </a:lnTo>
                  <a:lnTo>
                    <a:pt x="24" y="6"/>
                  </a:lnTo>
                  <a:lnTo>
                    <a:pt x="30" y="6"/>
                  </a:lnTo>
                  <a:lnTo>
                    <a:pt x="36" y="6"/>
                  </a:lnTo>
                  <a:lnTo>
                    <a:pt x="36" y="12"/>
                  </a:lnTo>
                  <a:lnTo>
                    <a:pt x="42" y="12"/>
                  </a:lnTo>
                  <a:lnTo>
                    <a:pt x="42" y="6"/>
                  </a:lnTo>
                  <a:lnTo>
                    <a:pt x="48" y="6"/>
                  </a:lnTo>
                  <a:lnTo>
                    <a:pt x="54" y="6"/>
                  </a:lnTo>
                  <a:lnTo>
                    <a:pt x="60" y="6"/>
                  </a:lnTo>
                  <a:lnTo>
                    <a:pt x="54" y="6"/>
                  </a:lnTo>
                  <a:lnTo>
                    <a:pt x="54" y="12"/>
                  </a:lnTo>
                  <a:lnTo>
                    <a:pt x="54" y="18"/>
                  </a:lnTo>
                  <a:lnTo>
                    <a:pt x="54" y="24"/>
                  </a:lnTo>
                  <a:lnTo>
                    <a:pt x="48" y="24"/>
                  </a:lnTo>
                  <a:lnTo>
                    <a:pt x="54" y="24"/>
                  </a:lnTo>
                  <a:lnTo>
                    <a:pt x="54" y="30"/>
                  </a:lnTo>
                  <a:lnTo>
                    <a:pt x="48" y="36"/>
                  </a:lnTo>
                  <a:lnTo>
                    <a:pt x="48" y="42"/>
                  </a:lnTo>
                  <a:lnTo>
                    <a:pt x="54" y="42"/>
                  </a:lnTo>
                  <a:lnTo>
                    <a:pt x="54" y="48"/>
                  </a:lnTo>
                  <a:lnTo>
                    <a:pt x="60" y="48"/>
                  </a:lnTo>
                  <a:lnTo>
                    <a:pt x="60" y="54"/>
                  </a:lnTo>
                  <a:lnTo>
                    <a:pt x="66" y="54"/>
                  </a:lnTo>
                  <a:lnTo>
                    <a:pt x="72" y="54"/>
                  </a:lnTo>
                  <a:lnTo>
                    <a:pt x="72" y="60"/>
                  </a:lnTo>
                  <a:lnTo>
                    <a:pt x="78" y="60"/>
                  </a:lnTo>
                  <a:lnTo>
                    <a:pt x="78" y="66"/>
                  </a:lnTo>
                  <a:lnTo>
                    <a:pt x="84" y="66"/>
                  </a:lnTo>
                  <a:lnTo>
                    <a:pt x="84" y="72"/>
                  </a:lnTo>
                  <a:lnTo>
                    <a:pt x="84" y="78"/>
                  </a:lnTo>
                  <a:lnTo>
                    <a:pt x="84" y="84"/>
                  </a:lnTo>
                  <a:lnTo>
                    <a:pt x="84" y="90"/>
                  </a:lnTo>
                  <a:lnTo>
                    <a:pt x="84" y="96"/>
                  </a:lnTo>
                  <a:lnTo>
                    <a:pt x="84" y="90"/>
                  </a:lnTo>
                  <a:lnTo>
                    <a:pt x="84" y="96"/>
                  </a:lnTo>
                  <a:lnTo>
                    <a:pt x="84" y="102"/>
                  </a:lnTo>
                  <a:lnTo>
                    <a:pt x="90" y="102"/>
                  </a:lnTo>
                  <a:lnTo>
                    <a:pt x="90" y="108"/>
                  </a:lnTo>
                  <a:lnTo>
                    <a:pt x="96" y="108"/>
                  </a:lnTo>
                  <a:lnTo>
                    <a:pt x="96" y="114"/>
                  </a:lnTo>
                  <a:lnTo>
                    <a:pt x="96" y="120"/>
                  </a:lnTo>
                  <a:lnTo>
                    <a:pt x="96" y="126"/>
                  </a:lnTo>
                  <a:lnTo>
                    <a:pt x="96" y="132"/>
                  </a:lnTo>
                  <a:lnTo>
                    <a:pt x="96" y="138"/>
                  </a:lnTo>
                  <a:lnTo>
                    <a:pt x="96" y="144"/>
                  </a:lnTo>
                  <a:lnTo>
                    <a:pt x="96" y="150"/>
                  </a:lnTo>
                  <a:lnTo>
                    <a:pt x="96" y="156"/>
                  </a:lnTo>
                  <a:lnTo>
                    <a:pt x="96" y="162"/>
                  </a:lnTo>
                  <a:lnTo>
                    <a:pt x="96" y="168"/>
                  </a:lnTo>
                  <a:lnTo>
                    <a:pt x="96" y="174"/>
                  </a:lnTo>
                  <a:lnTo>
                    <a:pt x="96" y="180"/>
                  </a:lnTo>
                  <a:lnTo>
                    <a:pt x="96" y="186"/>
                  </a:lnTo>
                  <a:lnTo>
                    <a:pt x="96" y="192"/>
                  </a:lnTo>
                  <a:lnTo>
                    <a:pt x="96" y="198"/>
                  </a:lnTo>
                  <a:lnTo>
                    <a:pt x="96" y="204"/>
                  </a:lnTo>
                  <a:lnTo>
                    <a:pt x="102" y="204"/>
                  </a:lnTo>
                  <a:lnTo>
                    <a:pt x="96" y="204"/>
                  </a:lnTo>
                  <a:lnTo>
                    <a:pt x="96" y="210"/>
                  </a:lnTo>
                  <a:lnTo>
                    <a:pt x="96" y="216"/>
                  </a:lnTo>
                  <a:lnTo>
                    <a:pt x="96" y="222"/>
                  </a:lnTo>
                  <a:lnTo>
                    <a:pt x="96" y="228"/>
                  </a:lnTo>
                  <a:lnTo>
                    <a:pt x="96" y="234"/>
                  </a:lnTo>
                  <a:lnTo>
                    <a:pt x="96" y="240"/>
                  </a:lnTo>
                  <a:lnTo>
                    <a:pt x="96" y="246"/>
                  </a:lnTo>
                  <a:lnTo>
                    <a:pt x="96" y="252"/>
                  </a:lnTo>
                  <a:lnTo>
                    <a:pt x="96" y="258"/>
                  </a:lnTo>
                  <a:lnTo>
                    <a:pt x="102" y="258"/>
                  </a:lnTo>
                  <a:lnTo>
                    <a:pt x="102" y="264"/>
                  </a:lnTo>
                  <a:lnTo>
                    <a:pt x="102" y="258"/>
                  </a:lnTo>
                  <a:lnTo>
                    <a:pt x="102" y="264"/>
                  </a:lnTo>
                  <a:lnTo>
                    <a:pt x="102" y="258"/>
                  </a:lnTo>
                  <a:lnTo>
                    <a:pt x="102" y="264"/>
                  </a:lnTo>
                  <a:lnTo>
                    <a:pt x="108" y="264"/>
                  </a:lnTo>
                  <a:lnTo>
                    <a:pt x="102" y="264"/>
                  </a:lnTo>
                  <a:lnTo>
                    <a:pt x="108" y="264"/>
                  </a:lnTo>
                  <a:lnTo>
                    <a:pt x="102" y="264"/>
                  </a:lnTo>
                  <a:lnTo>
                    <a:pt x="108" y="270"/>
                  </a:lnTo>
                  <a:lnTo>
                    <a:pt x="108" y="276"/>
                  </a:lnTo>
                  <a:lnTo>
                    <a:pt x="102" y="276"/>
                  </a:lnTo>
                  <a:lnTo>
                    <a:pt x="96" y="27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5" name="Freeform 26"/>
            <p:cNvSpPr>
              <a:spLocks/>
            </p:cNvSpPr>
            <p:nvPr>
              <p:custDataLst>
                <p:tags r:id="rId78"/>
              </p:custDataLst>
            </p:nvPr>
          </p:nvSpPr>
          <p:spPr bwMode="gray">
            <a:xfrm>
              <a:off x="3240088" y="2736851"/>
              <a:ext cx="215900" cy="431800"/>
            </a:xfrm>
            <a:custGeom>
              <a:avLst/>
              <a:gdLst>
                <a:gd name="T0" fmla="*/ 31879 w 174"/>
                <a:gd name="T1" fmla="*/ 122354 h 348"/>
                <a:gd name="T2" fmla="*/ 23184 w 174"/>
                <a:gd name="T3" fmla="*/ 122354 h 348"/>
                <a:gd name="T4" fmla="*/ 17388 w 174"/>
                <a:gd name="T5" fmla="*/ 124295 h 348"/>
                <a:gd name="T6" fmla="*/ 19321 w 174"/>
                <a:gd name="T7" fmla="*/ 120412 h 348"/>
                <a:gd name="T8" fmla="*/ 19321 w 174"/>
                <a:gd name="T9" fmla="*/ 120412 h 348"/>
                <a:gd name="T10" fmla="*/ 19321 w 174"/>
                <a:gd name="T11" fmla="*/ 120412 h 348"/>
                <a:gd name="T12" fmla="*/ 17388 w 174"/>
                <a:gd name="T13" fmla="*/ 113614 h 348"/>
                <a:gd name="T14" fmla="*/ 17388 w 174"/>
                <a:gd name="T15" fmla="*/ 104875 h 348"/>
                <a:gd name="T16" fmla="*/ 19321 w 174"/>
                <a:gd name="T17" fmla="*/ 98077 h 348"/>
                <a:gd name="T18" fmla="*/ 17388 w 174"/>
                <a:gd name="T19" fmla="*/ 92251 h 348"/>
                <a:gd name="T20" fmla="*/ 17388 w 174"/>
                <a:gd name="T21" fmla="*/ 83511 h 348"/>
                <a:gd name="T22" fmla="*/ 17388 w 174"/>
                <a:gd name="T23" fmla="*/ 74772 h 348"/>
                <a:gd name="T24" fmla="*/ 17388 w 174"/>
                <a:gd name="T25" fmla="*/ 67003 h 348"/>
                <a:gd name="T26" fmla="*/ 12558 w 174"/>
                <a:gd name="T27" fmla="*/ 62148 h 348"/>
                <a:gd name="T28" fmla="*/ 12558 w 174"/>
                <a:gd name="T29" fmla="*/ 57293 h 348"/>
                <a:gd name="T30" fmla="*/ 12558 w 174"/>
                <a:gd name="T31" fmla="*/ 49524 h 348"/>
                <a:gd name="T32" fmla="*/ 7728 w 174"/>
                <a:gd name="T33" fmla="*/ 44669 h 348"/>
                <a:gd name="T34" fmla="*/ 1932 w 174"/>
                <a:gd name="T35" fmla="*/ 42727 h 348"/>
                <a:gd name="T36" fmla="*/ 1932 w 174"/>
                <a:gd name="T37" fmla="*/ 36901 h 348"/>
                <a:gd name="T38" fmla="*/ 1932 w 174"/>
                <a:gd name="T39" fmla="*/ 32045 h 348"/>
                <a:gd name="T40" fmla="*/ 3864 w 174"/>
                <a:gd name="T41" fmla="*/ 26218 h 348"/>
                <a:gd name="T42" fmla="*/ 7728 w 174"/>
                <a:gd name="T43" fmla="*/ 26218 h 348"/>
                <a:gd name="T44" fmla="*/ 10626 w 174"/>
                <a:gd name="T45" fmla="*/ 23305 h 348"/>
                <a:gd name="T46" fmla="*/ 12558 w 174"/>
                <a:gd name="T47" fmla="*/ 21363 h 348"/>
                <a:gd name="T48" fmla="*/ 17388 w 174"/>
                <a:gd name="T49" fmla="*/ 21363 h 348"/>
                <a:gd name="T50" fmla="*/ 23184 w 174"/>
                <a:gd name="T51" fmla="*/ 19421 h 348"/>
                <a:gd name="T52" fmla="*/ 29947 w 174"/>
                <a:gd name="T53" fmla="*/ 14566 h 348"/>
                <a:gd name="T54" fmla="*/ 31879 w 174"/>
                <a:gd name="T55" fmla="*/ 8739 h 348"/>
                <a:gd name="T56" fmla="*/ 31879 w 174"/>
                <a:gd name="T57" fmla="*/ 3885 h 348"/>
                <a:gd name="T58" fmla="*/ 37674 w 174"/>
                <a:gd name="T59" fmla="*/ 1942 h 348"/>
                <a:gd name="T60" fmla="*/ 41539 w 174"/>
                <a:gd name="T61" fmla="*/ 1942 h 348"/>
                <a:gd name="T62" fmla="*/ 46369 w 174"/>
                <a:gd name="T63" fmla="*/ 6798 h 348"/>
                <a:gd name="T64" fmla="*/ 51199 w 174"/>
                <a:gd name="T65" fmla="*/ 10681 h 348"/>
                <a:gd name="T66" fmla="*/ 55063 w 174"/>
                <a:gd name="T67" fmla="*/ 14566 h 348"/>
                <a:gd name="T68" fmla="*/ 55063 w 174"/>
                <a:gd name="T69" fmla="*/ 19421 h 348"/>
                <a:gd name="T70" fmla="*/ 56995 w 174"/>
                <a:gd name="T71" fmla="*/ 26218 h 348"/>
                <a:gd name="T72" fmla="*/ 58927 w 174"/>
                <a:gd name="T73" fmla="*/ 32045 h 348"/>
                <a:gd name="T74" fmla="*/ 60859 w 174"/>
                <a:gd name="T75" fmla="*/ 37871 h 348"/>
                <a:gd name="T76" fmla="*/ 56995 w 174"/>
                <a:gd name="T77" fmla="*/ 37871 h 348"/>
                <a:gd name="T78" fmla="*/ 56995 w 174"/>
                <a:gd name="T79" fmla="*/ 44669 h 348"/>
                <a:gd name="T80" fmla="*/ 55063 w 174"/>
                <a:gd name="T81" fmla="*/ 51466 h 348"/>
                <a:gd name="T82" fmla="*/ 51199 w 174"/>
                <a:gd name="T83" fmla="*/ 56321 h 348"/>
                <a:gd name="T84" fmla="*/ 46369 w 174"/>
                <a:gd name="T85" fmla="*/ 60206 h 348"/>
                <a:gd name="T86" fmla="*/ 44437 w 174"/>
                <a:gd name="T87" fmla="*/ 67003 h 348"/>
                <a:gd name="T88" fmla="*/ 40573 w 174"/>
                <a:gd name="T89" fmla="*/ 70887 h 348"/>
                <a:gd name="T90" fmla="*/ 40573 w 174"/>
                <a:gd name="T91" fmla="*/ 74772 h 348"/>
                <a:gd name="T92" fmla="*/ 40573 w 174"/>
                <a:gd name="T93" fmla="*/ 79627 h 348"/>
                <a:gd name="T94" fmla="*/ 40573 w 174"/>
                <a:gd name="T95" fmla="*/ 83511 h 348"/>
                <a:gd name="T96" fmla="*/ 37674 w 174"/>
                <a:gd name="T97" fmla="*/ 90309 h 348"/>
                <a:gd name="T98" fmla="*/ 37674 w 174"/>
                <a:gd name="T99" fmla="*/ 98077 h 348"/>
                <a:gd name="T100" fmla="*/ 40573 w 174"/>
                <a:gd name="T101" fmla="*/ 104875 h 348"/>
                <a:gd name="T102" fmla="*/ 40573 w 174"/>
                <a:gd name="T103" fmla="*/ 109730 h 348"/>
                <a:gd name="T104" fmla="*/ 40573 w 174"/>
                <a:gd name="T105" fmla="*/ 115556 h 348"/>
                <a:gd name="T106" fmla="*/ 37674 w 174"/>
                <a:gd name="T107" fmla="*/ 120412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348">
                  <a:moveTo>
                    <a:pt x="108" y="342"/>
                  </a:moveTo>
                  <a:lnTo>
                    <a:pt x="102" y="342"/>
                  </a:lnTo>
                  <a:lnTo>
                    <a:pt x="96" y="342"/>
                  </a:lnTo>
                  <a:lnTo>
                    <a:pt x="90" y="342"/>
                  </a:lnTo>
                  <a:lnTo>
                    <a:pt x="84" y="342"/>
                  </a:lnTo>
                  <a:lnTo>
                    <a:pt x="78" y="342"/>
                  </a:lnTo>
                  <a:lnTo>
                    <a:pt x="72" y="342"/>
                  </a:lnTo>
                  <a:lnTo>
                    <a:pt x="66" y="342"/>
                  </a:lnTo>
                  <a:lnTo>
                    <a:pt x="66" y="348"/>
                  </a:lnTo>
                  <a:lnTo>
                    <a:pt x="60" y="348"/>
                  </a:lnTo>
                  <a:lnTo>
                    <a:pt x="54" y="348"/>
                  </a:lnTo>
                  <a:lnTo>
                    <a:pt x="48" y="348"/>
                  </a:lnTo>
                  <a:lnTo>
                    <a:pt x="54" y="348"/>
                  </a:lnTo>
                  <a:lnTo>
                    <a:pt x="60" y="348"/>
                  </a:lnTo>
                  <a:lnTo>
                    <a:pt x="60" y="342"/>
                  </a:lnTo>
                  <a:lnTo>
                    <a:pt x="54" y="336"/>
                  </a:lnTo>
                  <a:lnTo>
                    <a:pt x="60" y="336"/>
                  </a:lnTo>
                  <a:lnTo>
                    <a:pt x="54" y="336"/>
                  </a:lnTo>
                  <a:lnTo>
                    <a:pt x="60" y="336"/>
                  </a:lnTo>
                  <a:lnTo>
                    <a:pt x="54" y="336"/>
                  </a:lnTo>
                  <a:lnTo>
                    <a:pt x="54" y="330"/>
                  </a:lnTo>
                  <a:lnTo>
                    <a:pt x="54" y="336"/>
                  </a:lnTo>
                  <a:lnTo>
                    <a:pt x="54" y="330"/>
                  </a:lnTo>
                  <a:lnTo>
                    <a:pt x="54" y="336"/>
                  </a:lnTo>
                  <a:lnTo>
                    <a:pt x="54" y="330"/>
                  </a:lnTo>
                  <a:lnTo>
                    <a:pt x="48" y="330"/>
                  </a:lnTo>
                  <a:lnTo>
                    <a:pt x="48" y="324"/>
                  </a:lnTo>
                  <a:lnTo>
                    <a:pt x="48" y="318"/>
                  </a:lnTo>
                  <a:lnTo>
                    <a:pt x="48" y="312"/>
                  </a:lnTo>
                  <a:lnTo>
                    <a:pt x="48" y="306"/>
                  </a:lnTo>
                  <a:lnTo>
                    <a:pt x="48" y="300"/>
                  </a:lnTo>
                  <a:lnTo>
                    <a:pt x="48" y="294"/>
                  </a:lnTo>
                  <a:lnTo>
                    <a:pt x="48" y="288"/>
                  </a:lnTo>
                  <a:lnTo>
                    <a:pt x="48" y="282"/>
                  </a:lnTo>
                  <a:lnTo>
                    <a:pt x="48" y="276"/>
                  </a:lnTo>
                  <a:lnTo>
                    <a:pt x="54" y="276"/>
                  </a:lnTo>
                  <a:lnTo>
                    <a:pt x="48" y="276"/>
                  </a:lnTo>
                  <a:lnTo>
                    <a:pt x="48" y="270"/>
                  </a:lnTo>
                  <a:lnTo>
                    <a:pt x="48" y="264"/>
                  </a:lnTo>
                  <a:lnTo>
                    <a:pt x="48" y="258"/>
                  </a:lnTo>
                  <a:lnTo>
                    <a:pt x="48" y="252"/>
                  </a:lnTo>
                  <a:lnTo>
                    <a:pt x="48" y="246"/>
                  </a:lnTo>
                  <a:lnTo>
                    <a:pt x="48" y="240"/>
                  </a:lnTo>
                  <a:lnTo>
                    <a:pt x="48" y="234"/>
                  </a:lnTo>
                  <a:lnTo>
                    <a:pt x="48" y="228"/>
                  </a:lnTo>
                  <a:lnTo>
                    <a:pt x="48" y="222"/>
                  </a:lnTo>
                  <a:lnTo>
                    <a:pt x="48" y="216"/>
                  </a:lnTo>
                  <a:lnTo>
                    <a:pt x="48" y="210"/>
                  </a:lnTo>
                  <a:lnTo>
                    <a:pt x="48" y="204"/>
                  </a:lnTo>
                  <a:lnTo>
                    <a:pt x="48" y="198"/>
                  </a:lnTo>
                  <a:lnTo>
                    <a:pt x="48" y="192"/>
                  </a:lnTo>
                  <a:lnTo>
                    <a:pt x="48" y="186"/>
                  </a:lnTo>
                  <a:lnTo>
                    <a:pt x="48" y="180"/>
                  </a:lnTo>
                  <a:lnTo>
                    <a:pt x="42" y="180"/>
                  </a:lnTo>
                  <a:lnTo>
                    <a:pt x="42" y="174"/>
                  </a:lnTo>
                  <a:lnTo>
                    <a:pt x="36" y="174"/>
                  </a:lnTo>
                  <a:lnTo>
                    <a:pt x="36" y="168"/>
                  </a:lnTo>
                  <a:lnTo>
                    <a:pt x="36" y="162"/>
                  </a:lnTo>
                  <a:lnTo>
                    <a:pt x="36" y="168"/>
                  </a:lnTo>
                  <a:lnTo>
                    <a:pt x="36" y="162"/>
                  </a:lnTo>
                  <a:lnTo>
                    <a:pt x="36" y="156"/>
                  </a:lnTo>
                  <a:lnTo>
                    <a:pt x="36" y="150"/>
                  </a:lnTo>
                  <a:lnTo>
                    <a:pt x="36" y="144"/>
                  </a:lnTo>
                  <a:lnTo>
                    <a:pt x="36" y="138"/>
                  </a:lnTo>
                  <a:lnTo>
                    <a:pt x="30" y="138"/>
                  </a:lnTo>
                  <a:lnTo>
                    <a:pt x="30" y="132"/>
                  </a:lnTo>
                  <a:lnTo>
                    <a:pt x="24" y="132"/>
                  </a:lnTo>
                  <a:lnTo>
                    <a:pt x="24" y="126"/>
                  </a:lnTo>
                  <a:lnTo>
                    <a:pt x="18" y="126"/>
                  </a:lnTo>
                  <a:lnTo>
                    <a:pt x="12" y="126"/>
                  </a:lnTo>
                  <a:lnTo>
                    <a:pt x="12" y="120"/>
                  </a:lnTo>
                  <a:lnTo>
                    <a:pt x="6" y="120"/>
                  </a:lnTo>
                  <a:lnTo>
                    <a:pt x="6" y="114"/>
                  </a:lnTo>
                  <a:lnTo>
                    <a:pt x="0" y="114"/>
                  </a:lnTo>
                  <a:lnTo>
                    <a:pt x="0" y="108"/>
                  </a:lnTo>
                  <a:lnTo>
                    <a:pt x="6" y="102"/>
                  </a:lnTo>
                  <a:lnTo>
                    <a:pt x="6" y="96"/>
                  </a:lnTo>
                  <a:lnTo>
                    <a:pt x="0" y="96"/>
                  </a:lnTo>
                  <a:lnTo>
                    <a:pt x="6" y="96"/>
                  </a:lnTo>
                  <a:lnTo>
                    <a:pt x="6" y="90"/>
                  </a:lnTo>
                  <a:lnTo>
                    <a:pt x="6" y="84"/>
                  </a:lnTo>
                  <a:lnTo>
                    <a:pt x="6" y="78"/>
                  </a:lnTo>
                  <a:lnTo>
                    <a:pt x="12" y="78"/>
                  </a:lnTo>
                  <a:lnTo>
                    <a:pt x="12" y="72"/>
                  </a:lnTo>
                  <a:lnTo>
                    <a:pt x="18" y="72"/>
                  </a:lnTo>
                  <a:lnTo>
                    <a:pt x="18" y="78"/>
                  </a:lnTo>
                  <a:lnTo>
                    <a:pt x="18" y="72"/>
                  </a:lnTo>
                  <a:lnTo>
                    <a:pt x="24" y="72"/>
                  </a:lnTo>
                  <a:lnTo>
                    <a:pt x="24" y="66"/>
                  </a:lnTo>
                  <a:lnTo>
                    <a:pt x="30" y="66"/>
                  </a:lnTo>
                  <a:lnTo>
                    <a:pt x="30" y="60"/>
                  </a:lnTo>
                  <a:lnTo>
                    <a:pt x="30" y="66"/>
                  </a:lnTo>
                  <a:lnTo>
                    <a:pt x="30" y="60"/>
                  </a:lnTo>
                  <a:lnTo>
                    <a:pt x="36" y="60"/>
                  </a:lnTo>
                  <a:lnTo>
                    <a:pt x="30" y="60"/>
                  </a:lnTo>
                  <a:lnTo>
                    <a:pt x="36" y="60"/>
                  </a:lnTo>
                  <a:lnTo>
                    <a:pt x="36" y="54"/>
                  </a:lnTo>
                  <a:lnTo>
                    <a:pt x="42" y="54"/>
                  </a:lnTo>
                  <a:lnTo>
                    <a:pt x="48" y="54"/>
                  </a:lnTo>
                  <a:lnTo>
                    <a:pt x="48" y="60"/>
                  </a:lnTo>
                  <a:lnTo>
                    <a:pt x="48" y="54"/>
                  </a:lnTo>
                  <a:lnTo>
                    <a:pt x="54" y="54"/>
                  </a:lnTo>
                  <a:lnTo>
                    <a:pt x="60" y="54"/>
                  </a:lnTo>
                  <a:lnTo>
                    <a:pt x="66" y="54"/>
                  </a:lnTo>
                  <a:lnTo>
                    <a:pt x="72" y="54"/>
                  </a:lnTo>
                  <a:lnTo>
                    <a:pt x="78" y="48"/>
                  </a:lnTo>
                  <a:lnTo>
                    <a:pt x="84" y="48"/>
                  </a:lnTo>
                  <a:lnTo>
                    <a:pt x="84" y="42"/>
                  </a:lnTo>
                  <a:lnTo>
                    <a:pt x="84" y="36"/>
                  </a:lnTo>
                  <a:lnTo>
                    <a:pt x="90" y="36"/>
                  </a:lnTo>
                  <a:lnTo>
                    <a:pt x="90" y="30"/>
                  </a:lnTo>
                  <a:lnTo>
                    <a:pt x="90" y="24"/>
                  </a:lnTo>
                  <a:lnTo>
                    <a:pt x="96" y="24"/>
                  </a:lnTo>
                  <a:lnTo>
                    <a:pt x="96" y="18"/>
                  </a:lnTo>
                  <a:lnTo>
                    <a:pt x="90" y="18"/>
                  </a:lnTo>
                  <a:lnTo>
                    <a:pt x="90" y="12"/>
                  </a:lnTo>
                  <a:lnTo>
                    <a:pt x="90" y="6"/>
                  </a:lnTo>
                  <a:lnTo>
                    <a:pt x="96" y="6"/>
                  </a:lnTo>
                  <a:lnTo>
                    <a:pt x="102" y="6"/>
                  </a:lnTo>
                  <a:lnTo>
                    <a:pt x="108" y="6"/>
                  </a:lnTo>
                  <a:lnTo>
                    <a:pt x="108" y="0"/>
                  </a:lnTo>
                  <a:lnTo>
                    <a:pt x="114" y="0"/>
                  </a:lnTo>
                  <a:lnTo>
                    <a:pt x="120" y="0"/>
                  </a:lnTo>
                  <a:lnTo>
                    <a:pt x="120" y="6"/>
                  </a:lnTo>
                  <a:lnTo>
                    <a:pt x="126" y="6"/>
                  </a:lnTo>
                  <a:lnTo>
                    <a:pt x="126" y="12"/>
                  </a:lnTo>
                  <a:lnTo>
                    <a:pt x="132" y="12"/>
                  </a:lnTo>
                  <a:lnTo>
                    <a:pt x="132" y="18"/>
                  </a:lnTo>
                  <a:lnTo>
                    <a:pt x="138" y="18"/>
                  </a:lnTo>
                  <a:lnTo>
                    <a:pt x="138" y="24"/>
                  </a:lnTo>
                  <a:lnTo>
                    <a:pt x="144" y="24"/>
                  </a:lnTo>
                  <a:lnTo>
                    <a:pt x="144" y="30"/>
                  </a:lnTo>
                  <a:lnTo>
                    <a:pt x="150" y="30"/>
                  </a:lnTo>
                  <a:lnTo>
                    <a:pt x="156" y="30"/>
                  </a:lnTo>
                  <a:lnTo>
                    <a:pt x="156" y="36"/>
                  </a:lnTo>
                  <a:lnTo>
                    <a:pt x="156" y="42"/>
                  </a:lnTo>
                  <a:lnTo>
                    <a:pt x="162" y="42"/>
                  </a:lnTo>
                  <a:lnTo>
                    <a:pt x="156" y="42"/>
                  </a:lnTo>
                  <a:lnTo>
                    <a:pt x="156" y="48"/>
                  </a:lnTo>
                  <a:lnTo>
                    <a:pt x="156" y="54"/>
                  </a:lnTo>
                  <a:lnTo>
                    <a:pt x="156" y="60"/>
                  </a:lnTo>
                  <a:lnTo>
                    <a:pt x="156" y="66"/>
                  </a:lnTo>
                  <a:lnTo>
                    <a:pt x="162" y="66"/>
                  </a:lnTo>
                  <a:lnTo>
                    <a:pt x="162" y="72"/>
                  </a:lnTo>
                  <a:lnTo>
                    <a:pt x="168" y="72"/>
                  </a:lnTo>
                  <a:lnTo>
                    <a:pt x="168" y="78"/>
                  </a:lnTo>
                  <a:lnTo>
                    <a:pt x="168" y="84"/>
                  </a:lnTo>
                  <a:lnTo>
                    <a:pt x="168" y="90"/>
                  </a:lnTo>
                  <a:lnTo>
                    <a:pt x="168" y="96"/>
                  </a:lnTo>
                  <a:lnTo>
                    <a:pt x="174" y="96"/>
                  </a:lnTo>
                  <a:lnTo>
                    <a:pt x="174" y="102"/>
                  </a:lnTo>
                  <a:lnTo>
                    <a:pt x="174" y="108"/>
                  </a:lnTo>
                  <a:lnTo>
                    <a:pt x="168" y="108"/>
                  </a:lnTo>
                  <a:lnTo>
                    <a:pt x="168" y="114"/>
                  </a:lnTo>
                  <a:lnTo>
                    <a:pt x="168" y="108"/>
                  </a:lnTo>
                  <a:lnTo>
                    <a:pt x="162" y="108"/>
                  </a:lnTo>
                  <a:lnTo>
                    <a:pt x="162" y="114"/>
                  </a:lnTo>
                  <a:lnTo>
                    <a:pt x="162" y="120"/>
                  </a:lnTo>
                  <a:lnTo>
                    <a:pt x="156" y="120"/>
                  </a:lnTo>
                  <a:lnTo>
                    <a:pt x="162" y="126"/>
                  </a:lnTo>
                  <a:lnTo>
                    <a:pt x="162" y="132"/>
                  </a:lnTo>
                  <a:lnTo>
                    <a:pt x="162" y="138"/>
                  </a:lnTo>
                  <a:lnTo>
                    <a:pt x="156" y="138"/>
                  </a:lnTo>
                  <a:lnTo>
                    <a:pt x="156" y="144"/>
                  </a:lnTo>
                  <a:lnTo>
                    <a:pt x="150" y="144"/>
                  </a:lnTo>
                  <a:lnTo>
                    <a:pt x="144" y="144"/>
                  </a:lnTo>
                  <a:lnTo>
                    <a:pt x="144" y="150"/>
                  </a:lnTo>
                  <a:lnTo>
                    <a:pt x="144" y="156"/>
                  </a:lnTo>
                  <a:lnTo>
                    <a:pt x="138" y="156"/>
                  </a:lnTo>
                  <a:lnTo>
                    <a:pt x="138" y="162"/>
                  </a:lnTo>
                  <a:lnTo>
                    <a:pt x="132" y="162"/>
                  </a:lnTo>
                  <a:lnTo>
                    <a:pt x="132" y="168"/>
                  </a:lnTo>
                  <a:lnTo>
                    <a:pt x="132" y="174"/>
                  </a:lnTo>
                  <a:lnTo>
                    <a:pt x="132" y="180"/>
                  </a:lnTo>
                  <a:lnTo>
                    <a:pt x="132" y="186"/>
                  </a:lnTo>
                  <a:lnTo>
                    <a:pt x="126" y="186"/>
                  </a:lnTo>
                  <a:lnTo>
                    <a:pt x="120" y="186"/>
                  </a:lnTo>
                  <a:lnTo>
                    <a:pt x="114" y="186"/>
                  </a:lnTo>
                  <a:lnTo>
                    <a:pt x="114" y="192"/>
                  </a:lnTo>
                  <a:lnTo>
                    <a:pt x="114" y="198"/>
                  </a:lnTo>
                  <a:lnTo>
                    <a:pt x="114" y="204"/>
                  </a:lnTo>
                  <a:lnTo>
                    <a:pt x="108" y="204"/>
                  </a:lnTo>
                  <a:lnTo>
                    <a:pt x="114" y="204"/>
                  </a:lnTo>
                  <a:lnTo>
                    <a:pt x="114" y="210"/>
                  </a:lnTo>
                  <a:lnTo>
                    <a:pt x="108" y="210"/>
                  </a:lnTo>
                  <a:lnTo>
                    <a:pt x="114" y="210"/>
                  </a:lnTo>
                  <a:lnTo>
                    <a:pt x="114" y="216"/>
                  </a:lnTo>
                  <a:lnTo>
                    <a:pt x="114" y="222"/>
                  </a:lnTo>
                  <a:lnTo>
                    <a:pt x="108" y="222"/>
                  </a:lnTo>
                  <a:lnTo>
                    <a:pt x="108" y="228"/>
                  </a:lnTo>
                  <a:lnTo>
                    <a:pt x="108" y="234"/>
                  </a:lnTo>
                  <a:lnTo>
                    <a:pt x="114" y="234"/>
                  </a:lnTo>
                  <a:lnTo>
                    <a:pt x="114" y="240"/>
                  </a:lnTo>
                  <a:lnTo>
                    <a:pt x="108" y="240"/>
                  </a:lnTo>
                  <a:lnTo>
                    <a:pt x="108" y="246"/>
                  </a:lnTo>
                  <a:lnTo>
                    <a:pt x="108" y="252"/>
                  </a:lnTo>
                  <a:lnTo>
                    <a:pt x="108" y="258"/>
                  </a:lnTo>
                  <a:lnTo>
                    <a:pt x="108" y="264"/>
                  </a:lnTo>
                  <a:lnTo>
                    <a:pt x="108" y="270"/>
                  </a:lnTo>
                  <a:lnTo>
                    <a:pt x="108" y="276"/>
                  </a:lnTo>
                  <a:lnTo>
                    <a:pt x="114" y="276"/>
                  </a:lnTo>
                  <a:lnTo>
                    <a:pt x="114" y="282"/>
                  </a:lnTo>
                  <a:lnTo>
                    <a:pt x="114" y="288"/>
                  </a:lnTo>
                  <a:lnTo>
                    <a:pt x="114" y="294"/>
                  </a:lnTo>
                  <a:lnTo>
                    <a:pt x="114" y="300"/>
                  </a:lnTo>
                  <a:lnTo>
                    <a:pt x="114" y="306"/>
                  </a:lnTo>
                  <a:lnTo>
                    <a:pt x="108" y="306"/>
                  </a:lnTo>
                  <a:lnTo>
                    <a:pt x="114" y="306"/>
                  </a:lnTo>
                  <a:lnTo>
                    <a:pt x="114" y="312"/>
                  </a:lnTo>
                  <a:lnTo>
                    <a:pt x="108" y="318"/>
                  </a:lnTo>
                  <a:lnTo>
                    <a:pt x="114" y="318"/>
                  </a:lnTo>
                  <a:lnTo>
                    <a:pt x="114" y="324"/>
                  </a:lnTo>
                  <a:lnTo>
                    <a:pt x="108" y="324"/>
                  </a:lnTo>
                  <a:lnTo>
                    <a:pt x="114" y="330"/>
                  </a:lnTo>
                  <a:lnTo>
                    <a:pt x="108" y="330"/>
                  </a:lnTo>
                  <a:lnTo>
                    <a:pt x="108" y="336"/>
                  </a:lnTo>
                  <a:lnTo>
                    <a:pt x="108" y="34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6" name="Freeform 27"/>
            <p:cNvSpPr>
              <a:spLocks/>
            </p:cNvSpPr>
            <p:nvPr>
              <p:custDataLst>
                <p:tags r:id="rId79"/>
              </p:custDataLst>
            </p:nvPr>
          </p:nvSpPr>
          <p:spPr bwMode="gray">
            <a:xfrm>
              <a:off x="3201988" y="1925638"/>
              <a:ext cx="1087438" cy="862013"/>
            </a:xfrm>
            <a:custGeom>
              <a:avLst/>
              <a:gdLst>
                <a:gd name="T0" fmla="*/ 60190 w 876"/>
                <a:gd name="T1" fmla="*/ 237877 h 696"/>
                <a:gd name="T2" fmla="*/ 49511 w 876"/>
                <a:gd name="T3" fmla="*/ 233041 h 696"/>
                <a:gd name="T4" fmla="*/ 42716 w 876"/>
                <a:gd name="T5" fmla="*/ 241744 h 696"/>
                <a:gd name="T6" fmla="*/ 40774 w 876"/>
                <a:gd name="T7" fmla="*/ 229174 h 696"/>
                <a:gd name="T8" fmla="*/ 26211 w 876"/>
                <a:gd name="T9" fmla="*/ 227240 h 696"/>
                <a:gd name="T10" fmla="*/ 14562 w 876"/>
                <a:gd name="T11" fmla="*/ 216603 h 696"/>
                <a:gd name="T12" fmla="*/ 19416 w 876"/>
                <a:gd name="T13" fmla="*/ 212735 h 696"/>
                <a:gd name="T14" fmla="*/ 8737 w 876"/>
                <a:gd name="T15" fmla="*/ 204032 h 696"/>
                <a:gd name="T16" fmla="*/ 1942 w 876"/>
                <a:gd name="T17" fmla="*/ 195329 h 696"/>
                <a:gd name="T18" fmla="*/ 0 w 876"/>
                <a:gd name="T19" fmla="*/ 182759 h 696"/>
                <a:gd name="T20" fmla="*/ 10678 w 876"/>
                <a:gd name="T21" fmla="*/ 177924 h 696"/>
                <a:gd name="T22" fmla="*/ 23299 w 876"/>
                <a:gd name="T23" fmla="*/ 172122 h 696"/>
                <a:gd name="T24" fmla="*/ 42716 w 876"/>
                <a:gd name="T25" fmla="*/ 172122 h 696"/>
                <a:gd name="T26" fmla="*/ 62132 w 876"/>
                <a:gd name="T27" fmla="*/ 172122 h 696"/>
                <a:gd name="T28" fmla="*/ 72810 w 876"/>
                <a:gd name="T29" fmla="*/ 163420 h 696"/>
                <a:gd name="T30" fmla="*/ 76693 w 876"/>
                <a:gd name="T31" fmla="*/ 144080 h 696"/>
                <a:gd name="T32" fmla="*/ 79605 w 876"/>
                <a:gd name="T33" fmla="*/ 127641 h 696"/>
                <a:gd name="T34" fmla="*/ 79605 w 876"/>
                <a:gd name="T35" fmla="*/ 108301 h 696"/>
                <a:gd name="T36" fmla="*/ 83489 w 876"/>
                <a:gd name="T37" fmla="*/ 93797 h 696"/>
                <a:gd name="T38" fmla="*/ 102905 w 876"/>
                <a:gd name="T39" fmla="*/ 88962 h 696"/>
                <a:gd name="T40" fmla="*/ 120379 w 876"/>
                <a:gd name="T41" fmla="*/ 78325 h 696"/>
                <a:gd name="T42" fmla="*/ 132029 w 876"/>
                <a:gd name="T43" fmla="*/ 67689 h 696"/>
                <a:gd name="T44" fmla="*/ 145620 w 876"/>
                <a:gd name="T45" fmla="*/ 55118 h 696"/>
                <a:gd name="T46" fmla="*/ 158240 w 876"/>
                <a:gd name="T47" fmla="*/ 48349 h 696"/>
                <a:gd name="T48" fmla="*/ 170861 w 876"/>
                <a:gd name="T49" fmla="*/ 40613 h 696"/>
                <a:gd name="T50" fmla="*/ 186394 w 876"/>
                <a:gd name="T51" fmla="*/ 29977 h 696"/>
                <a:gd name="T52" fmla="*/ 199014 w 876"/>
                <a:gd name="T53" fmla="*/ 21274 h 696"/>
                <a:gd name="T54" fmla="*/ 214547 w 876"/>
                <a:gd name="T55" fmla="*/ 12571 h 696"/>
                <a:gd name="T56" fmla="*/ 229109 w 876"/>
                <a:gd name="T57" fmla="*/ 3868 h 696"/>
                <a:gd name="T58" fmla="*/ 244642 w 876"/>
                <a:gd name="T59" fmla="*/ 1934 h 696"/>
                <a:gd name="T60" fmla="*/ 263088 w 876"/>
                <a:gd name="T61" fmla="*/ 6769 h 696"/>
                <a:gd name="T62" fmla="*/ 273766 w 876"/>
                <a:gd name="T63" fmla="*/ 14505 h 696"/>
                <a:gd name="T64" fmla="*/ 295124 w 876"/>
                <a:gd name="T65" fmla="*/ 17406 h 696"/>
                <a:gd name="T66" fmla="*/ 298036 w 876"/>
                <a:gd name="T67" fmla="*/ 37712 h 696"/>
                <a:gd name="T68" fmla="*/ 303861 w 876"/>
                <a:gd name="T69" fmla="*/ 51250 h 696"/>
                <a:gd name="T70" fmla="*/ 312598 w 876"/>
                <a:gd name="T71" fmla="*/ 65754 h 696"/>
                <a:gd name="T72" fmla="*/ 308715 w 876"/>
                <a:gd name="T73" fmla="*/ 85094 h 696"/>
                <a:gd name="T74" fmla="*/ 305802 w 876"/>
                <a:gd name="T75" fmla="*/ 101532 h 696"/>
                <a:gd name="T76" fmla="*/ 303861 w 876"/>
                <a:gd name="T77" fmla="*/ 120872 h 696"/>
                <a:gd name="T78" fmla="*/ 301919 w 876"/>
                <a:gd name="T79" fmla="*/ 140212 h 696"/>
                <a:gd name="T80" fmla="*/ 289299 w 876"/>
                <a:gd name="T81" fmla="*/ 154717 h 696"/>
                <a:gd name="T82" fmla="*/ 280562 w 876"/>
                <a:gd name="T83" fmla="*/ 165353 h 696"/>
                <a:gd name="T84" fmla="*/ 269883 w 876"/>
                <a:gd name="T85" fmla="*/ 177924 h 696"/>
                <a:gd name="T86" fmla="*/ 263088 w 876"/>
                <a:gd name="T87" fmla="*/ 191461 h 696"/>
                <a:gd name="T88" fmla="*/ 265029 w 876"/>
                <a:gd name="T89" fmla="*/ 204032 h 696"/>
                <a:gd name="T90" fmla="*/ 252408 w 876"/>
                <a:gd name="T91" fmla="*/ 209834 h 696"/>
                <a:gd name="T92" fmla="*/ 245613 w 876"/>
                <a:gd name="T93" fmla="*/ 214669 h 696"/>
                <a:gd name="T94" fmla="*/ 241730 w 876"/>
                <a:gd name="T95" fmla="*/ 216603 h 696"/>
                <a:gd name="T96" fmla="*/ 232992 w 876"/>
                <a:gd name="T97" fmla="*/ 216603 h 696"/>
                <a:gd name="T98" fmla="*/ 215518 w 876"/>
                <a:gd name="T99" fmla="*/ 212735 h 696"/>
                <a:gd name="T100" fmla="*/ 199014 w 876"/>
                <a:gd name="T101" fmla="*/ 214669 h 696"/>
                <a:gd name="T102" fmla="*/ 186394 w 876"/>
                <a:gd name="T103" fmla="*/ 222405 h 696"/>
                <a:gd name="T104" fmla="*/ 168920 w 876"/>
                <a:gd name="T105" fmla="*/ 220471 h 696"/>
                <a:gd name="T106" fmla="*/ 156299 w 876"/>
                <a:gd name="T107" fmla="*/ 214669 h 696"/>
                <a:gd name="T108" fmla="*/ 143679 w 876"/>
                <a:gd name="T109" fmla="*/ 216603 h 696"/>
                <a:gd name="T110" fmla="*/ 131059 w 876"/>
                <a:gd name="T111" fmla="*/ 214669 h 696"/>
                <a:gd name="T112" fmla="*/ 115526 w 876"/>
                <a:gd name="T113" fmla="*/ 205966 h 696"/>
                <a:gd name="T114" fmla="*/ 98051 w 876"/>
                <a:gd name="T115" fmla="*/ 204032 h 696"/>
                <a:gd name="T116" fmla="*/ 81547 w 876"/>
                <a:gd name="T117" fmla="*/ 205966 h 696"/>
                <a:gd name="T118" fmla="*/ 76693 w 876"/>
                <a:gd name="T119" fmla="*/ 220471 h 696"/>
                <a:gd name="T120" fmla="*/ 67957 w 876"/>
                <a:gd name="T121" fmla="*/ 232075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696">
                  <a:moveTo>
                    <a:pt x="192" y="696"/>
                  </a:moveTo>
                  <a:lnTo>
                    <a:pt x="186" y="696"/>
                  </a:lnTo>
                  <a:lnTo>
                    <a:pt x="186" y="690"/>
                  </a:lnTo>
                  <a:lnTo>
                    <a:pt x="186" y="684"/>
                  </a:lnTo>
                  <a:lnTo>
                    <a:pt x="180" y="684"/>
                  </a:lnTo>
                  <a:lnTo>
                    <a:pt x="174" y="684"/>
                  </a:lnTo>
                  <a:lnTo>
                    <a:pt x="174" y="678"/>
                  </a:lnTo>
                  <a:lnTo>
                    <a:pt x="168" y="678"/>
                  </a:lnTo>
                  <a:lnTo>
                    <a:pt x="168" y="672"/>
                  </a:lnTo>
                  <a:lnTo>
                    <a:pt x="162" y="672"/>
                  </a:lnTo>
                  <a:lnTo>
                    <a:pt x="162" y="666"/>
                  </a:lnTo>
                  <a:lnTo>
                    <a:pt x="156" y="666"/>
                  </a:lnTo>
                  <a:lnTo>
                    <a:pt x="156" y="660"/>
                  </a:lnTo>
                  <a:lnTo>
                    <a:pt x="150" y="660"/>
                  </a:lnTo>
                  <a:lnTo>
                    <a:pt x="150" y="654"/>
                  </a:lnTo>
                  <a:lnTo>
                    <a:pt x="144" y="654"/>
                  </a:lnTo>
                  <a:lnTo>
                    <a:pt x="138" y="654"/>
                  </a:lnTo>
                  <a:lnTo>
                    <a:pt x="138" y="660"/>
                  </a:lnTo>
                  <a:lnTo>
                    <a:pt x="132" y="660"/>
                  </a:lnTo>
                  <a:lnTo>
                    <a:pt x="126" y="660"/>
                  </a:lnTo>
                  <a:lnTo>
                    <a:pt x="120" y="660"/>
                  </a:lnTo>
                  <a:lnTo>
                    <a:pt x="120" y="666"/>
                  </a:lnTo>
                  <a:lnTo>
                    <a:pt x="120" y="672"/>
                  </a:lnTo>
                  <a:lnTo>
                    <a:pt x="126" y="672"/>
                  </a:lnTo>
                  <a:lnTo>
                    <a:pt x="126" y="678"/>
                  </a:lnTo>
                  <a:lnTo>
                    <a:pt x="120" y="678"/>
                  </a:lnTo>
                  <a:lnTo>
                    <a:pt x="120" y="684"/>
                  </a:lnTo>
                  <a:lnTo>
                    <a:pt x="120" y="678"/>
                  </a:lnTo>
                  <a:lnTo>
                    <a:pt x="114" y="672"/>
                  </a:lnTo>
                  <a:lnTo>
                    <a:pt x="108" y="666"/>
                  </a:lnTo>
                  <a:lnTo>
                    <a:pt x="108" y="660"/>
                  </a:lnTo>
                  <a:lnTo>
                    <a:pt x="102" y="660"/>
                  </a:lnTo>
                  <a:lnTo>
                    <a:pt x="102" y="654"/>
                  </a:lnTo>
                  <a:lnTo>
                    <a:pt x="108" y="654"/>
                  </a:lnTo>
                  <a:lnTo>
                    <a:pt x="114" y="654"/>
                  </a:lnTo>
                  <a:lnTo>
                    <a:pt x="114" y="648"/>
                  </a:lnTo>
                  <a:lnTo>
                    <a:pt x="114" y="642"/>
                  </a:lnTo>
                  <a:lnTo>
                    <a:pt x="108" y="642"/>
                  </a:lnTo>
                  <a:lnTo>
                    <a:pt x="108" y="636"/>
                  </a:lnTo>
                  <a:lnTo>
                    <a:pt x="102" y="636"/>
                  </a:lnTo>
                  <a:lnTo>
                    <a:pt x="96" y="636"/>
                  </a:lnTo>
                  <a:lnTo>
                    <a:pt x="90" y="642"/>
                  </a:lnTo>
                  <a:lnTo>
                    <a:pt x="84" y="642"/>
                  </a:lnTo>
                  <a:lnTo>
                    <a:pt x="78" y="642"/>
                  </a:lnTo>
                  <a:lnTo>
                    <a:pt x="72" y="642"/>
                  </a:lnTo>
                  <a:lnTo>
                    <a:pt x="72" y="636"/>
                  </a:lnTo>
                  <a:lnTo>
                    <a:pt x="66" y="636"/>
                  </a:lnTo>
                  <a:lnTo>
                    <a:pt x="66" y="630"/>
                  </a:lnTo>
                  <a:lnTo>
                    <a:pt x="60" y="630"/>
                  </a:lnTo>
                  <a:lnTo>
                    <a:pt x="60" y="624"/>
                  </a:lnTo>
                  <a:lnTo>
                    <a:pt x="54" y="624"/>
                  </a:lnTo>
                  <a:lnTo>
                    <a:pt x="48" y="618"/>
                  </a:lnTo>
                  <a:lnTo>
                    <a:pt x="42" y="618"/>
                  </a:lnTo>
                  <a:lnTo>
                    <a:pt x="42" y="612"/>
                  </a:lnTo>
                  <a:lnTo>
                    <a:pt x="42" y="606"/>
                  </a:lnTo>
                  <a:lnTo>
                    <a:pt x="42" y="600"/>
                  </a:lnTo>
                  <a:lnTo>
                    <a:pt x="48" y="600"/>
                  </a:lnTo>
                  <a:lnTo>
                    <a:pt x="54" y="600"/>
                  </a:lnTo>
                  <a:lnTo>
                    <a:pt x="60" y="600"/>
                  </a:lnTo>
                  <a:lnTo>
                    <a:pt x="60" y="594"/>
                  </a:lnTo>
                  <a:lnTo>
                    <a:pt x="54" y="600"/>
                  </a:lnTo>
                  <a:lnTo>
                    <a:pt x="54" y="594"/>
                  </a:lnTo>
                  <a:lnTo>
                    <a:pt x="54" y="600"/>
                  </a:lnTo>
                  <a:lnTo>
                    <a:pt x="54" y="594"/>
                  </a:lnTo>
                  <a:lnTo>
                    <a:pt x="48" y="594"/>
                  </a:lnTo>
                  <a:lnTo>
                    <a:pt x="48" y="588"/>
                  </a:lnTo>
                  <a:lnTo>
                    <a:pt x="42" y="588"/>
                  </a:lnTo>
                  <a:lnTo>
                    <a:pt x="42" y="582"/>
                  </a:lnTo>
                  <a:lnTo>
                    <a:pt x="36" y="582"/>
                  </a:lnTo>
                  <a:lnTo>
                    <a:pt x="30" y="582"/>
                  </a:lnTo>
                  <a:lnTo>
                    <a:pt x="24" y="582"/>
                  </a:lnTo>
                  <a:lnTo>
                    <a:pt x="24" y="576"/>
                  </a:lnTo>
                  <a:lnTo>
                    <a:pt x="18" y="576"/>
                  </a:lnTo>
                  <a:lnTo>
                    <a:pt x="18" y="570"/>
                  </a:lnTo>
                  <a:lnTo>
                    <a:pt x="12" y="570"/>
                  </a:lnTo>
                  <a:lnTo>
                    <a:pt x="12" y="564"/>
                  </a:lnTo>
                  <a:lnTo>
                    <a:pt x="18" y="564"/>
                  </a:lnTo>
                  <a:lnTo>
                    <a:pt x="12" y="564"/>
                  </a:lnTo>
                  <a:lnTo>
                    <a:pt x="12" y="558"/>
                  </a:lnTo>
                  <a:lnTo>
                    <a:pt x="6" y="558"/>
                  </a:lnTo>
                  <a:lnTo>
                    <a:pt x="6" y="552"/>
                  </a:lnTo>
                  <a:lnTo>
                    <a:pt x="12" y="552"/>
                  </a:lnTo>
                  <a:lnTo>
                    <a:pt x="12" y="546"/>
                  </a:lnTo>
                  <a:lnTo>
                    <a:pt x="6" y="546"/>
                  </a:lnTo>
                  <a:lnTo>
                    <a:pt x="6" y="540"/>
                  </a:lnTo>
                  <a:lnTo>
                    <a:pt x="0" y="540"/>
                  </a:lnTo>
                  <a:lnTo>
                    <a:pt x="0" y="534"/>
                  </a:lnTo>
                  <a:lnTo>
                    <a:pt x="0" y="528"/>
                  </a:lnTo>
                  <a:lnTo>
                    <a:pt x="0" y="522"/>
                  </a:lnTo>
                  <a:lnTo>
                    <a:pt x="0" y="516"/>
                  </a:lnTo>
                  <a:lnTo>
                    <a:pt x="0" y="510"/>
                  </a:lnTo>
                  <a:lnTo>
                    <a:pt x="0" y="504"/>
                  </a:lnTo>
                  <a:lnTo>
                    <a:pt x="6" y="504"/>
                  </a:lnTo>
                  <a:lnTo>
                    <a:pt x="12" y="504"/>
                  </a:lnTo>
                  <a:lnTo>
                    <a:pt x="18" y="504"/>
                  </a:lnTo>
                  <a:lnTo>
                    <a:pt x="24" y="504"/>
                  </a:lnTo>
                  <a:lnTo>
                    <a:pt x="24" y="510"/>
                  </a:lnTo>
                  <a:lnTo>
                    <a:pt x="30" y="510"/>
                  </a:lnTo>
                  <a:lnTo>
                    <a:pt x="30" y="504"/>
                  </a:lnTo>
                  <a:lnTo>
                    <a:pt x="36" y="504"/>
                  </a:lnTo>
                  <a:lnTo>
                    <a:pt x="42" y="504"/>
                  </a:lnTo>
                  <a:lnTo>
                    <a:pt x="48" y="504"/>
                  </a:lnTo>
                  <a:lnTo>
                    <a:pt x="48" y="498"/>
                  </a:lnTo>
                  <a:lnTo>
                    <a:pt x="54" y="498"/>
                  </a:lnTo>
                  <a:lnTo>
                    <a:pt x="54" y="492"/>
                  </a:lnTo>
                  <a:lnTo>
                    <a:pt x="60" y="492"/>
                  </a:lnTo>
                  <a:lnTo>
                    <a:pt x="66" y="492"/>
                  </a:lnTo>
                  <a:lnTo>
                    <a:pt x="66" y="486"/>
                  </a:lnTo>
                  <a:lnTo>
                    <a:pt x="72" y="486"/>
                  </a:lnTo>
                  <a:lnTo>
                    <a:pt x="78" y="486"/>
                  </a:lnTo>
                  <a:lnTo>
                    <a:pt x="84" y="486"/>
                  </a:lnTo>
                  <a:lnTo>
                    <a:pt x="90" y="486"/>
                  </a:lnTo>
                  <a:lnTo>
                    <a:pt x="96" y="486"/>
                  </a:lnTo>
                  <a:lnTo>
                    <a:pt x="102" y="486"/>
                  </a:lnTo>
                  <a:lnTo>
                    <a:pt x="108" y="486"/>
                  </a:lnTo>
                  <a:lnTo>
                    <a:pt x="114" y="486"/>
                  </a:lnTo>
                  <a:lnTo>
                    <a:pt x="120" y="486"/>
                  </a:lnTo>
                  <a:lnTo>
                    <a:pt x="126" y="486"/>
                  </a:lnTo>
                  <a:lnTo>
                    <a:pt x="132" y="486"/>
                  </a:lnTo>
                  <a:lnTo>
                    <a:pt x="138" y="486"/>
                  </a:lnTo>
                  <a:lnTo>
                    <a:pt x="144" y="486"/>
                  </a:lnTo>
                  <a:lnTo>
                    <a:pt x="150" y="486"/>
                  </a:lnTo>
                  <a:lnTo>
                    <a:pt x="156" y="486"/>
                  </a:lnTo>
                  <a:lnTo>
                    <a:pt x="162" y="486"/>
                  </a:lnTo>
                  <a:lnTo>
                    <a:pt x="168" y="486"/>
                  </a:lnTo>
                  <a:lnTo>
                    <a:pt x="174" y="486"/>
                  </a:lnTo>
                  <a:lnTo>
                    <a:pt x="180" y="486"/>
                  </a:lnTo>
                  <a:lnTo>
                    <a:pt x="186" y="486"/>
                  </a:lnTo>
                  <a:lnTo>
                    <a:pt x="186" y="480"/>
                  </a:lnTo>
                  <a:lnTo>
                    <a:pt x="186" y="474"/>
                  </a:lnTo>
                  <a:lnTo>
                    <a:pt x="192" y="474"/>
                  </a:lnTo>
                  <a:lnTo>
                    <a:pt x="192" y="468"/>
                  </a:lnTo>
                  <a:lnTo>
                    <a:pt x="198" y="468"/>
                  </a:lnTo>
                  <a:lnTo>
                    <a:pt x="204" y="468"/>
                  </a:lnTo>
                  <a:lnTo>
                    <a:pt x="204" y="462"/>
                  </a:lnTo>
                  <a:lnTo>
                    <a:pt x="204" y="456"/>
                  </a:lnTo>
                  <a:lnTo>
                    <a:pt x="210" y="450"/>
                  </a:lnTo>
                  <a:lnTo>
                    <a:pt x="210" y="444"/>
                  </a:lnTo>
                  <a:lnTo>
                    <a:pt x="210" y="438"/>
                  </a:lnTo>
                  <a:lnTo>
                    <a:pt x="216" y="432"/>
                  </a:lnTo>
                  <a:lnTo>
                    <a:pt x="216" y="426"/>
                  </a:lnTo>
                  <a:lnTo>
                    <a:pt x="216" y="420"/>
                  </a:lnTo>
                  <a:lnTo>
                    <a:pt x="216" y="414"/>
                  </a:lnTo>
                  <a:lnTo>
                    <a:pt x="216" y="408"/>
                  </a:lnTo>
                  <a:lnTo>
                    <a:pt x="216" y="402"/>
                  </a:lnTo>
                  <a:lnTo>
                    <a:pt x="216" y="396"/>
                  </a:lnTo>
                  <a:lnTo>
                    <a:pt x="216" y="390"/>
                  </a:lnTo>
                  <a:lnTo>
                    <a:pt x="222" y="390"/>
                  </a:lnTo>
                  <a:lnTo>
                    <a:pt x="222" y="384"/>
                  </a:lnTo>
                  <a:lnTo>
                    <a:pt x="222" y="378"/>
                  </a:lnTo>
                  <a:lnTo>
                    <a:pt x="222" y="372"/>
                  </a:lnTo>
                  <a:lnTo>
                    <a:pt x="222" y="366"/>
                  </a:lnTo>
                  <a:lnTo>
                    <a:pt x="222" y="360"/>
                  </a:lnTo>
                  <a:lnTo>
                    <a:pt x="222" y="354"/>
                  </a:lnTo>
                  <a:lnTo>
                    <a:pt x="222" y="348"/>
                  </a:lnTo>
                  <a:lnTo>
                    <a:pt x="222" y="342"/>
                  </a:lnTo>
                  <a:lnTo>
                    <a:pt x="222" y="336"/>
                  </a:lnTo>
                  <a:lnTo>
                    <a:pt x="222" y="330"/>
                  </a:lnTo>
                  <a:lnTo>
                    <a:pt x="222" y="324"/>
                  </a:lnTo>
                  <a:lnTo>
                    <a:pt x="222" y="318"/>
                  </a:lnTo>
                  <a:lnTo>
                    <a:pt x="222" y="312"/>
                  </a:lnTo>
                  <a:lnTo>
                    <a:pt x="222" y="306"/>
                  </a:lnTo>
                  <a:lnTo>
                    <a:pt x="222" y="300"/>
                  </a:lnTo>
                  <a:lnTo>
                    <a:pt x="222" y="294"/>
                  </a:lnTo>
                  <a:lnTo>
                    <a:pt x="222" y="288"/>
                  </a:lnTo>
                  <a:lnTo>
                    <a:pt x="222" y="282"/>
                  </a:lnTo>
                  <a:lnTo>
                    <a:pt x="222" y="276"/>
                  </a:lnTo>
                  <a:lnTo>
                    <a:pt x="222" y="270"/>
                  </a:lnTo>
                  <a:lnTo>
                    <a:pt x="222" y="264"/>
                  </a:lnTo>
                  <a:lnTo>
                    <a:pt x="228" y="264"/>
                  </a:lnTo>
                  <a:lnTo>
                    <a:pt x="234" y="264"/>
                  </a:lnTo>
                  <a:lnTo>
                    <a:pt x="240" y="258"/>
                  </a:lnTo>
                  <a:lnTo>
                    <a:pt x="246" y="258"/>
                  </a:lnTo>
                  <a:lnTo>
                    <a:pt x="252" y="258"/>
                  </a:lnTo>
                  <a:lnTo>
                    <a:pt x="258" y="258"/>
                  </a:lnTo>
                  <a:lnTo>
                    <a:pt x="264" y="258"/>
                  </a:lnTo>
                  <a:lnTo>
                    <a:pt x="270" y="252"/>
                  </a:lnTo>
                  <a:lnTo>
                    <a:pt x="276" y="252"/>
                  </a:lnTo>
                  <a:lnTo>
                    <a:pt x="282" y="252"/>
                  </a:lnTo>
                  <a:lnTo>
                    <a:pt x="288" y="252"/>
                  </a:lnTo>
                  <a:lnTo>
                    <a:pt x="294" y="252"/>
                  </a:lnTo>
                  <a:lnTo>
                    <a:pt x="300" y="252"/>
                  </a:lnTo>
                  <a:lnTo>
                    <a:pt x="306" y="246"/>
                  </a:lnTo>
                  <a:lnTo>
                    <a:pt x="312" y="246"/>
                  </a:lnTo>
                  <a:lnTo>
                    <a:pt x="318" y="240"/>
                  </a:lnTo>
                  <a:lnTo>
                    <a:pt x="324" y="234"/>
                  </a:lnTo>
                  <a:lnTo>
                    <a:pt x="330" y="228"/>
                  </a:lnTo>
                  <a:lnTo>
                    <a:pt x="336" y="228"/>
                  </a:lnTo>
                  <a:lnTo>
                    <a:pt x="336" y="222"/>
                  </a:lnTo>
                  <a:lnTo>
                    <a:pt x="342" y="216"/>
                  </a:lnTo>
                  <a:lnTo>
                    <a:pt x="348" y="210"/>
                  </a:lnTo>
                  <a:lnTo>
                    <a:pt x="354" y="210"/>
                  </a:lnTo>
                  <a:lnTo>
                    <a:pt x="354" y="204"/>
                  </a:lnTo>
                  <a:lnTo>
                    <a:pt x="360" y="204"/>
                  </a:lnTo>
                  <a:lnTo>
                    <a:pt x="360" y="198"/>
                  </a:lnTo>
                  <a:lnTo>
                    <a:pt x="366" y="198"/>
                  </a:lnTo>
                  <a:lnTo>
                    <a:pt x="366" y="192"/>
                  </a:lnTo>
                  <a:lnTo>
                    <a:pt x="372" y="192"/>
                  </a:lnTo>
                  <a:lnTo>
                    <a:pt x="372" y="186"/>
                  </a:lnTo>
                  <a:lnTo>
                    <a:pt x="378" y="186"/>
                  </a:lnTo>
                  <a:lnTo>
                    <a:pt x="384" y="180"/>
                  </a:lnTo>
                  <a:lnTo>
                    <a:pt x="384" y="174"/>
                  </a:lnTo>
                  <a:lnTo>
                    <a:pt x="390" y="174"/>
                  </a:lnTo>
                  <a:lnTo>
                    <a:pt x="396" y="168"/>
                  </a:lnTo>
                  <a:lnTo>
                    <a:pt x="402" y="162"/>
                  </a:lnTo>
                  <a:lnTo>
                    <a:pt x="408" y="162"/>
                  </a:lnTo>
                  <a:lnTo>
                    <a:pt x="408" y="156"/>
                  </a:lnTo>
                  <a:lnTo>
                    <a:pt x="414" y="156"/>
                  </a:lnTo>
                  <a:lnTo>
                    <a:pt x="420" y="156"/>
                  </a:lnTo>
                  <a:lnTo>
                    <a:pt x="420" y="150"/>
                  </a:lnTo>
                  <a:lnTo>
                    <a:pt x="426" y="150"/>
                  </a:lnTo>
                  <a:lnTo>
                    <a:pt x="426" y="144"/>
                  </a:lnTo>
                  <a:lnTo>
                    <a:pt x="432" y="144"/>
                  </a:lnTo>
                  <a:lnTo>
                    <a:pt x="438" y="144"/>
                  </a:lnTo>
                  <a:lnTo>
                    <a:pt x="438" y="138"/>
                  </a:lnTo>
                  <a:lnTo>
                    <a:pt x="444" y="138"/>
                  </a:lnTo>
                  <a:lnTo>
                    <a:pt x="450" y="132"/>
                  </a:lnTo>
                  <a:lnTo>
                    <a:pt x="456" y="132"/>
                  </a:lnTo>
                  <a:lnTo>
                    <a:pt x="456" y="126"/>
                  </a:lnTo>
                  <a:lnTo>
                    <a:pt x="462" y="126"/>
                  </a:lnTo>
                  <a:lnTo>
                    <a:pt x="462" y="120"/>
                  </a:lnTo>
                  <a:lnTo>
                    <a:pt x="468" y="120"/>
                  </a:lnTo>
                  <a:lnTo>
                    <a:pt x="474" y="120"/>
                  </a:lnTo>
                  <a:lnTo>
                    <a:pt x="474" y="114"/>
                  </a:lnTo>
                  <a:lnTo>
                    <a:pt x="480" y="114"/>
                  </a:lnTo>
                  <a:lnTo>
                    <a:pt x="486" y="108"/>
                  </a:lnTo>
                  <a:lnTo>
                    <a:pt x="492" y="108"/>
                  </a:lnTo>
                  <a:lnTo>
                    <a:pt x="492" y="102"/>
                  </a:lnTo>
                  <a:lnTo>
                    <a:pt x="498" y="102"/>
                  </a:lnTo>
                  <a:lnTo>
                    <a:pt x="504" y="96"/>
                  </a:lnTo>
                  <a:lnTo>
                    <a:pt x="510" y="96"/>
                  </a:lnTo>
                  <a:lnTo>
                    <a:pt x="510" y="90"/>
                  </a:lnTo>
                  <a:lnTo>
                    <a:pt x="516" y="90"/>
                  </a:lnTo>
                  <a:lnTo>
                    <a:pt x="522" y="84"/>
                  </a:lnTo>
                  <a:lnTo>
                    <a:pt x="528" y="84"/>
                  </a:lnTo>
                  <a:lnTo>
                    <a:pt x="528" y="78"/>
                  </a:lnTo>
                  <a:lnTo>
                    <a:pt x="534" y="78"/>
                  </a:lnTo>
                  <a:lnTo>
                    <a:pt x="540" y="78"/>
                  </a:lnTo>
                  <a:lnTo>
                    <a:pt x="540" y="72"/>
                  </a:lnTo>
                  <a:lnTo>
                    <a:pt x="546" y="72"/>
                  </a:lnTo>
                  <a:lnTo>
                    <a:pt x="552" y="66"/>
                  </a:lnTo>
                  <a:lnTo>
                    <a:pt x="558" y="66"/>
                  </a:lnTo>
                  <a:lnTo>
                    <a:pt x="558" y="60"/>
                  </a:lnTo>
                  <a:lnTo>
                    <a:pt x="564" y="60"/>
                  </a:lnTo>
                  <a:lnTo>
                    <a:pt x="570" y="54"/>
                  </a:lnTo>
                  <a:lnTo>
                    <a:pt x="576" y="54"/>
                  </a:lnTo>
                  <a:lnTo>
                    <a:pt x="576" y="48"/>
                  </a:lnTo>
                  <a:lnTo>
                    <a:pt x="582" y="48"/>
                  </a:lnTo>
                  <a:lnTo>
                    <a:pt x="588" y="48"/>
                  </a:lnTo>
                  <a:lnTo>
                    <a:pt x="588" y="42"/>
                  </a:lnTo>
                  <a:lnTo>
                    <a:pt x="594" y="36"/>
                  </a:lnTo>
                  <a:lnTo>
                    <a:pt x="600" y="36"/>
                  </a:lnTo>
                  <a:lnTo>
                    <a:pt x="606" y="36"/>
                  </a:lnTo>
                  <a:lnTo>
                    <a:pt x="606" y="30"/>
                  </a:lnTo>
                  <a:lnTo>
                    <a:pt x="612" y="30"/>
                  </a:lnTo>
                  <a:lnTo>
                    <a:pt x="618" y="24"/>
                  </a:lnTo>
                  <a:lnTo>
                    <a:pt x="624" y="24"/>
                  </a:lnTo>
                  <a:lnTo>
                    <a:pt x="624" y="18"/>
                  </a:lnTo>
                  <a:lnTo>
                    <a:pt x="630" y="18"/>
                  </a:lnTo>
                  <a:lnTo>
                    <a:pt x="636" y="12"/>
                  </a:lnTo>
                  <a:lnTo>
                    <a:pt x="642" y="12"/>
                  </a:lnTo>
                  <a:lnTo>
                    <a:pt x="642" y="6"/>
                  </a:lnTo>
                  <a:lnTo>
                    <a:pt x="648" y="6"/>
                  </a:lnTo>
                  <a:lnTo>
                    <a:pt x="654" y="6"/>
                  </a:lnTo>
                  <a:lnTo>
                    <a:pt x="654" y="0"/>
                  </a:lnTo>
                  <a:lnTo>
                    <a:pt x="660" y="6"/>
                  </a:lnTo>
                  <a:lnTo>
                    <a:pt x="666" y="6"/>
                  </a:lnTo>
                  <a:lnTo>
                    <a:pt x="672" y="6"/>
                  </a:lnTo>
                  <a:lnTo>
                    <a:pt x="678" y="6"/>
                  </a:lnTo>
                  <a:lnTo>
                    <a:pt x="684" y="6"/>
                  </a:lnTo>
                  <a:lnTo>
                    <a:pt x="690" y="12"/>
                  </a:lnTo>
                  <a:lnTo>
                    <a:pt x="696" y="12"/>
                  </a:lnTo>
                  <a:lnTo>
                    <a:pt x="702" y="12"/>
                  </a:lnTo>
                  <a:lnTo>
                    <a:pt x="708" y="12"/>
                  </a:lnTo>
                  <a:lnTo>
                    <a:pt x="714" y="18"/>
                  </a:lnTo>
                  <a:lnTo>
                    <a:pt x="720" y="18"/>
                  </a:lnTo>
                  <a:lnTo>
                    <a:pt x="726" y="18"/>
                  </a:lnTo>
                  <a:lnTo>
                    <a:pt x="732" y="18"/>
                  </a:lnTo>
                  <a:lnTo>
                    <a:pt x="738" y="18"/>
                  </a:lnTo>
                  <a:lnTo>
                    <a:pt x="738" y="24"/>
                  </a:lnTo>
                  <a:lnTo>
                    <a:pt x="744" y="24"/>
                  </a:lnTo>
                  <a:lnTo>
                    <a:pt x="750" y="24"/>
                  </a:lnTo>
                  <a:lnTo>
                    <a:pt x="750" y="30"/>
                  </a:lnTo>
                  <a:lnTo>
                    <a:pt x="756" y="30"/>
                  </a:lnTo>
                  <a:lnTo>
                    <a:pt x="756" y="36"/>
                  </a:lnTo>
                  <a:lnTo>
                    <a:pt x="762" y="36"/>
                  </a:lnTo>
                  <a:lnTo>
                    <a:pt x="762" y="42"/>
                  </a:lnTo>
                  <a:lnTo>
                    <a:pt x="768" y="42"/>
                  </a:lnTo>
                  <a:lnTo>
                    <a:pt x="768" y="48"/>
                  </a:lnTo>
                  <a:lnTo>
                    <a:pt x="774" y="48"/>
                  </a:lnTo>
                  <a:lnTo>
                    <a:pt x="774" y="54"/>
                  </a:lnTo>
                  <a:lnTo>
                    <a:pt x="780" y="54"/>
                  </a:lnTo>
                  <a:lnTo>
                    <a:pt x="822" y="30"/>
                  </a:lnTo>
                  <a:lnTo>
                    <a:pt x="822" y="36"/>
                  </a:lnTo>
                  <a:lnTo>
                    <a:pt x="822" y="42"/>
                  </a:lnTo>
                  <a:lnTo>
                    <a:pt x="828" y="42"/>
                  </a:lnTo>
                  <a:lnTo>
                    <a:pt x="828" y="48"/>
                  </a:lnTo>
                  <a:lnTo>
                    <a:pt x="828" y="54"/>
                  </a:lnTo>
                  <a:lnTo>
                    <a:pt x="828" y="66"/>
                  </a:lnTo>
                  <a:lnTo>
                    <a:pt x="828" y="72"/>
                  </a:lnTo>
                  <a:lnTo>
                    <a:pt x="834" y="78"/>
                  </a:lnTo>
                  <a:lnTo>
                    <a:pt x="834" y="84"/>
                  </a:lnTo>
                  <a:lnTo>
                    <a:pt x="834" y="90"/>
                  </a:lnTo>
                  <a:lnTo>
                    <a:pt x="834" y="96"/>
                  </a:lnTo>
                  <a:lnTo>
                    <a:pt x="834" y="102"/>
                  </a:lnTo>
                  <a:lnTo>
                    <a:pt x="834" y="108"/>
                  </a:lnTo>
                  <a:lnTo>
                    <a:pt x="834" y="114"/>
                  </a:lnTo>
                  <a:lnTo>
                    <a:pt x="834" y="120"/>
                  </a:lnTo>
                  <a:lnTo>
                    <a:pt x="834" y="126"/>
                  </a:lnTo>
                  <a:lnTo>
                    <a:pt x="840" y="126"/>
                  </a:lnTo>
                  <a:lnTo>
                    <a:pt x="840" y="132"/>
                  </a:lnTo>
                  <a:lnTo>
                    <a:pt x="846" y="132"/>
                  </a:lnTo>
                  <a:lnTo>
                    <a:pt x="846" y="138"/>
                  </a:lnTo>
                  <a:lnTo>
                    <a:pt x="846" y="144"/>
                  </a:lnTo>
                  <a:lnTo>
                    <a:pt x="852" y="144"/>
                  </a:lnTo>
                  <a:lnTo>
                    <a:pt x="858" y="150"/>
                  </a:lnTo>
                  <a:lnTo>
                    <a:pt x="858" y="156"/>
                  </a:lnTo>
                  <a:lnTo>
                    <a:pt x="852" y="156"/>
                  </a:lnTo>
                  <a:lnTo>
                    <a:pt x="852" y="162"/>
                  </a:lnTo>
                  <a:lnTo>
                    <a:pt x="858" y="168"/>
                  </a:lnTo>
                  <a:lnTo>
                    <a:pt x="864" y="174"/>
                  </a:lnTo>
                  <a:lnTo>
                    <a:pt x="870" y="180"/>
                  </a:lnTo>
                  <a:lnTo>
                    <a:pt x="870" y="186"/>
                  </a:lnTo>
                  <a:lnTo>
                    <a:pt x="876" y="186"/>
                  </a:lnTo>
                  <a:lnTo>
                    <a:pt x="876" y="192"/>
                  </a:lnTo>
                  <a:lnTo>
                    <a:pt x="876" y="198"/>
                  </a:lnTo>
                  <a:lnTo>
                    <a:pt x="876" y="204"/>
                  </a:lnTo>
                  <a:lnTo>
                    <a:pt x="870" y="210"/>
                  </a:lnTo>
                  <a:lnTo>
                    <a:pt x="864" y="216"/>
                  </a:lnTo>
                  <a:lnTo>
                    <a:pt x="864" y="222"/>
                  </a:lnTo>
                  <a:lnTo>
                    <a:pt x="864" y="228"/>
                  </a:lnTo>
                  <a:lnTo>
                    <a:pt x="864" y="234"/>
                  </a:lnTo>
                  <a:lnTo>
                    <a:pt x="864" y="240"/>
                  </a:lnTo>
                  <a:lnTo>
                    <a:pt x="864" y="246"/>
                  </a:lnTo>
                  <a:lnTo>
                    <a:pt x="864" y="252"/>
                  </a:lnTo>
                  <a:lnTo>
                    <a:pt x="858" y="252"/>
                  </a:lnTo>
                  <a:lnTo>
                    <a:pt x="858" y="258"/>
                  </a:lnTo>
                  <a:lnTo>
                    <a:pt x="858" y="264"/>
                  </a:lnTo>
                  <a:lnTo>
                    <a:pt x="858" y="270"/>
                  </a:lnTo>
                  <a:lnTo>
                    <a:pt x="858" y="276"/>
                  </a:lnTo>
                  <a:lnTo>
                    <a:pt x="858" y="282"/>
                  </a:lnTo>
                  <a:lnTo>
                    <a:pt x="858" y="288"/>
                  </a:lnTo>
                  <a:lnTo>
                    <a:pt x="858" y="294"/>
                  </a:lnTo>
                  <a:lnTo>
                    <a:pt x="858" y="300"/>
                  </a:lnTo>
                  <a:lnTo>
                    <a:pt x="858" y="306"/>
                  </a:lnTo>
                  <a:lnTo>
                    <a:pt x="858" y="312"/>
                  </a:lnTo>
                  <a:lnTo>
                    <a:pt x="858" y="318"/>
                  </a:lnTo>
                  <a:lnTo>
                    <a:pt x="852" y="324"/>
                  </a:lnTo>
                  <a:lnTo>
                    <a:pt x="852" y="330"/>
                  </a:lnTo>
                  <a:lnTo>
                    <a:pt x="852" y="336"/>
                  </a:lnTo>
                  <a:lnTo>
                    <a:pt x="852" y="342"/>
                  </a:lnTo>
                  <a:lnTo>
                    <a:pt x="852" y="348"/>
                  </a:lnTo>
                  <a:lnTo>
                    <a:pt x="852" y="354"/>
                  </a:lnTo>
                  <a:lnTo>
                    <a:pt x="852" y="360"/>
                  </a:lnTo>
                  <a:lnTo>
                    <a:pt x="852" y="372"/>
                  </a:lnTo>
                  <a:lnTo>
                    <a:pt x="852" y="378"/>
                  </a:lnTo>
                  <a:lnTo>
                    <a:pt x="852" y="384"/>
                  </a:lnTo>
                  <a:lnTo>
                    <a:pt x="852" y="390"/>
                  </a:lnTo>
                  <a:lnTo>
                    <a:pt x="852" y="396"/>
                  </a:lnTo>
                  <a:lnTo>
                    <a:pt x="846" y="396"/>
                  </a:lnTo>
                  <a:lnTo>
                    <a:pt x="846" y="402"/>
                  </a:lnTo>
                  <a:lnTo>
                    <a:pt x="840" y="408"/>
                  </a:lnTo>
                  <a:lnTo>
                    <a:pt x="834" y="414"/>
                  </a:lnTo>
                  <a:lnTo>
                    <a:pt x="828" y="420"/>
                  </a:lnTo>
                  <a:lnTo>
                    <a:pt x="822" y="426"/>
                  </a:lnTo>
                  <a:lnTo>
                    <a:pt x="822" y="432"/>
                  </a:lnTo>
                  <a:lnTo>
                    <a:pt x="816" y="432"/>
                  </a:lnTo>
                  <a:lnTo>
                    <a:pt x="816" y="438"/>
                  </a:lnTo>
                  <a:lnTo>
                    <a:pt x="810" y="438"/>
                  </a:lnTo>
                  <a:lnTo>
                    <a:pt x="810" y="444"/>
                  </a:lnTo>
                  <a:lnTo>
                    <a:pt x="804" y="444"/>
                  </a:lnTo>
                  <a:lnTo>
                    <a:pt x="804" y="450"/>
                  </a:lnTo>
                  <a:lnTo>
                    <a:pt x="798" y="450"/>
                  </a:lnTo>
                  <a:lnTo>
                    <a:pt x="798" y="456"/>
                  </a:lnTo>
                  <a:lnTo>
                    <a:pt x="792" y="456"/>
                  </a:lnTo>
                  <a:lnTo>
                    <a:pt x="792" y="462"/>
                  </a:lnTo>
                  <a:lnTo>
                    <a:pt x="786" y="462"/>
                  </a:lnTo>
                  <a:lnTo>
                    <a:pt x="786" y="468"/>
                  </a:lnTo>
                  <a:lnTo>
                    <a:pt x="780" y="474"/>
                  </a:lnTo>
                  <a:lnTo>
                    <a:pt x="780" y="480"/>
                  </a:lnTo>
                  <a:lnTo>
                    <a:pt x="774" y="480"/>
                  </a:lnTo>
                  <a:lnTo>
                    <a:pt x="774" y="486"/>
                  </a:lnTo>
                  <a:lnTo>
                    <a:pt x="768" y="492"/>
                  </a:lnTo>
                  <a:lnTo>
                    <a:pt x="768" y="498"/>
                  </a:lnTo>
                  <a:lnTo>
                    <a:pt x="762" y="498"/>
                  </a:lnTo>
                  <a:lnTo>
                    <a:pt x="762" y="504"/>
                  </a:lnTo>
                  <a:lnTo>
                    <a:pt x="756" y="504"/>
                  </a:lnTo>
                  <a:lnTo>
                    <a:pt x="756" y="510"/>
                  </a:lnTo>
                  <a:lnTo>
                    <a:pt x="756" y="516"/>
                  </a:lnTo>
                  <a:lnTo>
                    <a:pt x="756" y="522"/>
                  </a:lnTo>
                  <a:lnTo>
                    <a:pt x="750" y="522"/>
                  </a:lnTo>
                  <a:lnTo>
                    <a:pt x="750" y="528"/>
                  </a:lnTo>
                  <a:lnTo>
                    <a:pt x="750" y="534"/>
                  </a:lnTo>
                  <a:lnTo>
                    <a:pt x="744" y="534"/>
                  </a:lnTo>
                  <a:lnTo>
                    <a:pt x="738" y="534"/>
                  </a:lnTo>
                  <a:lnTo>
                    <a:pt x="738" y="540"/>
                  </a:lnTo>
                  <a:lnTo>
                    <a:pt x="738" y="546"/>
                  </a:lnTo>
                  <a:lnTo>
                    <a:pt x="738" y="552"/>
                  </a:lnTo>
                  <a:lnTo>
                    <a:pt x="744" y="552"/>
                  </a:lnTo>
                  <a:lnTo>
                    <a:pt x="744" y="558"/>
                  </a:lnTo>
                  <a:lnTo>
                    <a:pt x="744" y="564"/>
                  </a:lnTo>
                  <a:lnTo>
                    <a:pt x="744" y="570"/>
                  </a:lnTo>
                  <a:lnTo>
                    <a:pt x="744" y="576"/>
                  </a:lnTo>
                  <a:lnTo>
                    <a:pt x="750" y="576"/>
                  </a:lnTo>
                  <a:lnTo>
                    <a:pt x="744" y="576"/>
                  </a:lnTo>
                  <a:lnTo>
                    <a:pt x="738" y="576"/>
                  </a:lnTo>
                  <a:lnTo>
                    <a:pt x="732" y="576"/>
                  </a:lnTo>
                  <a:lnTo>
                    <a:pt x="732" y="582"/>
                  </a:lnTo>
                  <a:lnTo>
                    <a:pt x="726" y="582"/>
                  </a:lnTo>
                  <a:lnTo>
                    <a:pt x="726" y="588"/>
                  </a:lnTo>
                  <a:lnTo>
                    <a:pt x="720" y="588"/>
                  </a:lnTo>
                  <a:lnTo>
                    <a:pt x="714" y="588"/>
                  </a:lnTo>
                  <a:lnTo>
                    <a:pt x="708" y="588"/>
                  </a:lnTo>
                  <a:lnTo>
                    <a:pt x="708" y="594"/>
                  </a:lnTo>
                  <a:lnTo>
                    <a:pt x="708" y="588"/>
                  </a:lnTo>
                  <a:lnTo>
                    <a:pt x="708" y="594"/>
                  </a:lnTo>
                  <a:lnTo>
                    <a:pt x="702" y="594"/>
                  </a:lnTo>
                  <a:lnTo>
                    <a:pt x="702" y="600"/>
                  </a:lnTo>
                  <a:lnTo>
                    <a:pt x="696" y="600"/>
                  </a:lnTo>
                  <a:lnTo>
                    <a:pt x="696" y="606"/>
                  </a:lnTo>
                  <a:lnTo>
                    <a:pt x="690" y="606"/>
                  </a:lnTo>
                  <a:lnTo>
                    <a:pt x="690" y="600"/>
                  </a:lnTo>
                  <a:lnTo>
                    <a:pt x="690" y="606"/>
                  </a:lnTo>
                  <a:lnTo>
                    <a:pt x="684" y="606"/>
                  </a:lnTo>
                  <a:lnTo>
                    <a:pt x="690" y="606"/>
                  </a:lnTo>
                  <a:lnTo>
                    <a:pt x="690" y="612"/>
                  </a:lnTo>
                  <a:lnTo>
                    <a:pt x="684" y="612"/>
                  </a:lnTo>
                  <a:lnTo>
                    <a:pt x="684" y="618"/>
                  </a:lnTo>
                  <a:lnTo>
                    <a:pt x="678" y="618"/>
                  </a:lnTo>
                  <a:lnTo>
                    <a:pt x="678" y="612"/>
                  </a:lnTo>
                  <a:lnTo>
                    <a:pt x="678" y="618"/>
                  </a:lnTo>
                  <a:lnTo>
                    <a:pt x="678" y="612"/>
                  </a:lnTo>
                  <a:lnTo>
                    <a:pt x="678" y="618"/>
                  </a:lnTo>
                  <a:lnTo>
                    <a:pt x="678" y="612"/>
                  </a:lnTo>
                  <a:lnTo>
                    <a:pt x="678" y="618"/>
                  </a:lnTo>
                  <a:lnTo>
                    <a:pt x="672" y="618"/>
                  </a:lnTo>
                  <a:lnTo>
                    <a:pt x="678" y="612"/>
                  </a:lnTo>
                  <a:lnTo>
                    <a:pt x="672" y="612"/>
                  </a:lnTo>
                  <a:lnTo>
                    <a:pt x="666" y="612"/>
                  </a:lnTo>
                  <a:lnTo>
                    <a:pt x="660" y="612"/>
                  </a:lnTo>
                  <a:lnTo>
                    <a:pt x="654" y="612"/>
                  </a:lnTo>
                  <a:lnTo>
                    <a:pt x="654" y="606"/>
                  </a:lnTo>
                  <a:lnTo>
                    <a:pt x="648" y="606"/>
                  </a:lnTo>
                  <a:lnTo>
                    <a:pt x="642" y="606"/>
                  </a:lnTo>
                  <a:lnTo>
                    <a:pt x="636" y="600"/>
                  </a:lnTo>
                  <a:lnTo>
                    <a:pt x="630" y="600"/>
                  </a:lnTo>
                  <a:lnTo>
                    <a:pt x="624" y="600"/>
                  </a:lnTo>
                  <a:lnTo>
                    <a:pt x="618" y="600"/>
                  </a:lnTo>
                  <a:lnTo>
                    <a:pt x="612" y="600"/>
                  </a:lnTo>
                  <a:lnTo>
                    <a:pt x="606" y="600"/>
                  </a:lnTo>
                  <a:lnTo>
                    <a:pt x="600" y="600"/>
                  </a:lnTo>
                  <a:lnTo>
                    <a:pt x="594" y="600"/>
                  </a:lnTo>
                  <a:lnTo>
                    <a:pt x="588" y="600"/>
                  </a:lnTo>
                  <a:lnTo>
                    <a:pt x="582" y="600"/>
                  </a:lnTo>
                  <a:lnTo>
                    <a:pt x="576" y="600"/>
                  </a:lnTo>
                  <a:lnTo>
                    <a:pt x="570" y="600"/>
                  </a:lnTo>
                  <a:lnTo>
                    <a:pt x="570" y="606"/>
                  </a:lnTo>
                  <a:lnTo>
                    <a:pt x="564" y="606"/>
                  </a:lnTo>
                  <a:lnTo>
                    <a:pt x="558" y="606"/>
                  </a:lnTo>
                  <a:lnTo>
                    <a:pt x="552" y="606"/>
                  </a:lnTo>
                  <a:lnTo>
                    <a:pt x="546" y="606"/>
                  </a:lnTo>
                  <a:lnTo>
                    <a:pt x="546" y="612"/>
                  </a:lnTo>
                  <a:lnTo>
                    <a:pt x="540" y="612"/>
                  </a:lnTo>
                  <a:lnTo>
                    <a:pt x="540" y="618"/>
                  </a:lnTo>
                  <a:lnTo>
                    <a:pt x="534" y="618"/>
                  </a:lnTo>
                  <a:lnTo>
                    <a:pt x="534" y="624"/>
                  </a:lnTo>
                  <a:lnTo>
                    <a:pt x="528" y="630"/>
                  </a:lnTo>
                  <a:lnTo>
                    <a:pt x="522" y="630"/>
                  </a:lnTo>
                  <a:lnTo>
                    <a:pt x="516" y="630"/>
                  </a:lnTo>
                  <a:lnTo>
                    <a:pt x="510" y="630"/>
                  </a:lnTo>
                  <a:lnTo>
                    <a:pt x="504" y="630"/>
                  </a:lnTo>
                  <a:lnTo>
                    <a:pt x="498" y="630"/>
                  </a:lnTo>
                  <a:lnTo>
                    <a:pt x="492" y="630"/>
                  </a:lnTo>
                  <a:lnTo>
                    <a:pt x="486" y="630"/>
                  </a:lnTo>
                  <a:lnTo>
                    <a:pt x="480" y="630"/>
                  </a:lnTo>
                  <a:lnTo>
                    <a:pt x="480" y="624"/>
                  </a:lnTo>
                  <a:lnTo>
                    <a:pt x="474" y="624"/>
                  </a:lnTo>
                  <a:lnTo>
                    <a:pt x="468" y="624"/>
                  </a:lnTo>
                  <a:lnTo>
                    <a:pt x="468" y="618"/>
                  </a:lnTo>
                  <a:lnTo>
                    <a:pt x="462" y="618"/>
                  </a:lnTo>
                  <a:lnTo>
                    <a:pt x="456" y="618"/>
                  </a:lnTo>
                  <a:lnTo>
                    <a:pt x="456" y="612"/>
                  </a:lnTo>
                  <a:lnTo>
                    <a:pt x="450" y="612"/>
                  </a:lnTo>
                  <a:lnTo>
                    <a:pt x="450" y="606"/>
                  </a:lnTo>
                  <a:lnTo>
                    <a:pt x="444" y="606"/>
                  </a:lnTo>
                  <a:lnTo>
                    <a:pt x="438" y="606"/>
                  </a:lnTo>
                  <a:lnTo>
                    <a:pt x="438" y="600"/>
                  </a:lnTo>
                  <a:lnTo>
                    <a:pt x="432" y="600"/>
                  </a:lnTo>
                  <a:lnTo>
                    <a:pt x="426" y="600"/>
                  </a:lnTo>
                  <a:lnTo>
                    <a:pt x="420" y="600"/>
                  </a:lnTo>
                  <a:lnTo>
                    <a:pt x="420" y="606"/>
                  </a:lnTo>
                  <a:lnTo>
                    <a:pt x="414" y="606"/>
                  </a:lnTo>
                  <a:lnTo>
                    <a:pt x="408" y="606"/>
                  </a:lnTo>
                  <a:lnTo>
                    <a:pt x="408" y="612"/>
                  </a:lnTo>
                  <a:lnTo>
                    <a:pt x="402" y="612"/>
                  </a:lnTo>
                  <a:lnTo>
                    <a:pt x="396" y="612"/>
                  </a:lnTo>
                  <a:lnTo>
                    <a:pt x="390" y="612"/>
                  </a:lnTo>
                  <a:lnTo>
                    <a:pt x="390" y="618"/>
                  </a:lnTo>
                  <a:lnTo>
                    <a:pt x="384" y="618"/>
                  </a:lnTo>
                  <a:lnTo>
                    <a:pt x="378" y="618"/>
                  </a:lnTo>
                  <a:lnTo>
                    <a:pt x="372" y="618"/>
                  </a:lnTo>
                  <a:lnTo>
                    <a:pt x="372" y="612"/>
                  </a:lnTo>
                  <a:lnTo>
                    <a:pt x="366" y="612"/>
                  </a:lnTo>
                  <a:lnTo>
                    <a:pt x="366" y="606"/>
                  </a:lnTo>
                  <a:lnTo>
                    <a:pt x="360" y="600"/>
                  </a:lnTo>
                  <a:lnTo>
                    <a:pt x="360" y="594"/>
                  </a:lnTo>
                  <a:lnTo>
                    <a:pt x="354" y="594"/>
                  </a:lnTo>
                  <a:lnTo>
                    <a:pt x="348" y="588"/>
                  </a:lnTo>
                  <a:lnTo>
                    <a:pt x="348" y="582"/>
                  </a:lnTo>
                  <a:lnTo>
                    <a:pt x="342" y="582"/>
                  </a:lnTo>
                  <a:lnTo>
                    <a:pt x="336" y="582"/>
                  </a:lnTo>
                  <a:lnTo>
                    <a:pt x="330" y="582"/>
                  </a:lnTo>
                  <a:lnTo>
                    <a:pt x="324" y="582"/>
                  </a:lnTo>
                  <a:lnTo>
                    <a:pt x="324" y="576"/>
                  </a:lnTo>
                  <a:lnTo>
                    <a:pt x="318" y="576"/>
                  </a:lnTo>
                  <a:lnTo>
                    <a:pt x="312" y="576"/>
                  </a:lnTo>
                  <a:lnTo>
                    <a:pt x="306" y="576"/>
                  </a:lnTo>
                  <a:lnTo>
                    <a:pt x="300" y="570"/>
                  </a:lnTo>
                  <a:lnTo>
                    <a:pt x="294" y="570"/>
                  </a:lnTo>
                  <a:lnTo>
                    <a:pt x="288" y="570"/>
                  </a:lnTo>
                  <a:lnTo>
                    <a:pt x="282" y="576"/>
                  </a:lnTo>
                  <a:lnTo>
                    <a:pt x="276" y="576"/>
                  </a:lnTo>
                  <a:lnTo>
                    <a:pt x="270" y="576"/>
                  </a:lnTo>
                  <a:lnTo>
                    <a:pt x="264" y="576"/>
                  </a:lnTo>
                  <a:lnTo>
                    <a:pt x="258" y="576"/>
                  </a:lnTo>
                  <a:lnTo>
                    <a:pt x="252" y="576"/>
                  </a:lnTo>
                  <a:lnTo>
                    <a:pt x="246" y="576"/>
                  </a:lnTo>
                  <a:lnTo>
                    <a:pt x="240" y="576"/>
                  </a:lnTo>
                  <a:lnTo>
                    <a:pt x="240" y="582"/>
                  </a:lnTo>
                  <a:lnTo>
                    <a:pt x="234" y="582"/>
                  </a:lnTo>
                  <a:lnTo>
                    <a:pt x="228" y="582"/>
                  </a:lnTo>
                  <a:lnTo>
                    <a:pt x="228" y="588"/>
                  </a:lnTo>
                  <a:lnTo>
                    <a:pt x="222" y="588"/>
                  </a:lnTo>
                  <a:lnTo>
                    <a:pt x="222" y="594"/>
                  </a:lnTo>
                  <a:lnTo>
                    <a:pt x="216" y="594"/>
                  </a:lnTo>
                  <a:lnTo>
                    <a:pt x="216" y="600"/>
                  </a:lnTo>
                  <a:lnTo>
                    <a:pt x="216" y="606"/>
                  </a:lnTo>
                  <a:lnTo>
                    <a:pt x="216" y="612"/>
                  </a:lnTo>
                  <a:lnTo>
                    <a:pt x="216" y="618"/>
                  </a:lnTo>
                  <a:lnTo>
                    <a:pt x="216" y="624"/>
                  </a:lnTo>
                  <a:lnTo>
                    <a:pt x="210" y="624"/>
                  </a:lnTo>
                  <a:lnTo>
                    <a:pt x="210" y="630"/>
                  </a:lnTo>
                  <a:lnTo>
                    <a:pt x="210" y="636"/>
                  </a:lnTo>
                  <a:lnTo>
                    <a:pt x="204" y="636"/>
                  </a:lnTo>
                  <a:lnTo>
                    <a:pt x="198" y="636"/>
                  </a:lnTo>
                  <a:lnTo>
                    <a:pt x="198" y="642"/>
                  </a:lnTo>
                  <a:lnTo>
                    <a:pt x="192" y="642"/>
                  </a:lnTo>
                  <a:lnTo>
                    <a:pt x="192" y="648"/>
                  </a:lnTo>
                  <a:lnTo>
                    <a:pt x="192" y="654"/>
                  </a:lnTo>
                  <a:lnTo>
                    <a:pt x="192" y="660"/>
                  </a:lnTo>
                  <a:lnTo>
                    <a:pt x="192" y="666"/>
                  </a:lnTo>
                  <a:lnTo>
                    <a:pt x="192" y="672"/>
                  </a:lnTo>
                  <a:lnTo>
                    <a:pt x="192" y="678"/>
                  </a:lnTo>
                  <a:lnTo>
                    <a:pt x="192" y="684"/>
                  </a:lnTo>
                  <a:lnTo>
                    <a:pt x="192" y="690"/>
                  </a:lnTo>
                  <a:lnTo>
                    <a:pt x="192" y="69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7" name="Freeform 28"/>
            <p:cNvSpPr>
              <a:spLocks/>
            </p:cNvSpPr>
            <p:nvPr>
              <p:custDataLst>
                <p:tags r:id="rId80"/>
              </p:custDataLst>
            </p:nvPr>
          </p:nvSpPr>
          <p:spPr bwMode="gray">
            <a:xfrm>
              <a:off x="4117975" y="1930401"/>
              <a:ext cx="730250" cy="1155700"/>
            </a:xfrm>
            <a:custGeom>
              <a:avLst/>
              <a:gdLst>
                <a:gd name="T0" fmla="*/ 174132 w 588"/>
                <a:gd name="T1" fmla="*/ 261667 h 930"/>
                <a:gd name="T2" fmla="*/ 167323 w 588"/>
                <a:gd name="T3" fmla="*/ 264586 h 930"/>
                <a:gd name="T4" fmla="*/ 166349 w 588"/>
                <a:gd name="T5" fmla="*/ 272368 h 930"/>
                <a:gd name="T6" fmla="*/ 159540 w 588"/>
                <a:gd name="T7" fmla="*/ 281122 h 930"/>
                <a:gd name="T8" fmla="*/ 147867 w 588"/>
                <a:gd name="T9" fmla="*/ 289877 h 930"/>
                <a:gd name="T10" fmla="*/ 140084 w 588"/>
                <a:gd name="T11" fmla="*/ 294741 h 930"/>
                <a:gd name="T12" fmla="*/ 129383 w 588"/>
                <a:gd name="T13" fmla="*/ 298632 h 930"/>
                <a:gd name="T14" fmla="*/ 116737 w 588"/>
                <a:gd name="T15" fmla="*/ 300577 h 930"/>
                <a:gd name="T16" fmla="*/ 109927 w 588"/>
                <a:gd name="T17" fmla="*/ 305441 h 930"/>
                <a:gd name="T18" fmla="*/ 109927 w 588"/>
                <a:gd name="T19" fmla="*/ 313223 h 930"/>
                <a:gd name="T20" fmla="*/ 97281 w 588"/>
                <a:gd name="T21" fmla="*/ 320032 h 930"/>
                <a:gd name="T22" fmla="*/ 81716 w 588"/>
                <a:gd name="T23" fmla="*/ 323923 h 930"/>
                <a:gd name="T24" fmla="*/ 72960 w 588"/>
                <a:gd name="T25" fmla="*/ 325868 h 930"/>
                <a:gd name="T26" fmla="*/ 64205 w 588"/>
                <a:gd name="T27" fmla="*/ 328787 h 930"/>
                <a:gd name="T28" fmla="*/ 56423 w 588"/>
                <a:gd name="T29" fmla="*/ 328787 h 930"/>
                <a:gd name="T30" fmla="*/ 45721 w 588"/>
                <a:gd name="T31" fmla="*/ 332678 h 930"/>
                <a:gd name="T32" fmla="*/ 38912 w 588"/>
                <a:gd name="T33" fmla="*/ 320032 h 930"/>
                <a:gd name="T34" fmla="*/ 30157 w 588"/>
                <a:gd name="T35" fmla="*/ 306414 h 930"/>
                <a:gd name="T36" fmla="*/ 19456 w 588"/>
                <a:gd name="T37" fmla="*/ 298632 h 930"/>
                <a:gd name="T38" fmla="*/ 12646 w 588"/>
                <a:gd name="T39" fmla="*/ 289877 h 930"/>
                <a:gd name="T40" fmla="*/ 21402 w 588"/>
                <a:gd name="T41" fmla="*/ 281122 h 930"/>
                <a:gd name="T42" fmla="*/ 40858 w 588"/>
                <a:gd name="T43" fmla="*/ 281122 h 930"/>
                <a:gd name="T44" fmla="*/ 36967 w 588"/>
                <a:gd name="T45" fmla="*/ 272368 h 930"/>
                <a:gd name="T46" fmla="*/ 32102 w 588"/>
                <a:gd name="T47" fmla="*/ 257777 h 930"/>
                <a:gd name="T48" fmla="*/ 32102 w 588"/>
                <a:gd name="T49" fmla="*/ 250967 h 930"/>
                <a:gd name="T50" fmla="*/ 30157 w 588"/>
                <a:gd name="T51" fmla="*/ 238322 h 930"/>
                <a:gd name="T52" fmla="*/ 26265 w 588"/>
                <a:gd name="T53" fmla="*/ 225676 h 930"/>
                <a:gd name="T54" fmla="*/ 21402 w 588"/>
                <a:gd name="T55" fmla="*/ 218867 h 930"/>
                <a:gd name="T56" fmla="*/ 8755 w 588"/>
                <a:gd name="T57" fmla="*/ 212058 h 930"/>
                <a:gd name="T58" fmla="*/ 1946 w 588"/>
                <a:gd name="T59" fmla="*/ 199413 h 930"/>
                <a:gd name="T60" fmla="*/ 3891 w 588"/>
                <a:gd name="T61" fmla="*/ 186766 h 930"/>
                <a:gd name="T62" fmla="*/ 10700 w 588"/>
                <a:gd name="T63" fmla="*/ 174121 h 930"/>
                <a:gd name="T64" fmla="*/ 21402 w 588"/>
                <a:gd name="T65" fmla="*/ 161475 h 930"/>
                <a:gd name="T66" fmla="*/ 30157 w 588"/>
                <a:gd name="T67" fmla="*/ 150775 h 930"/>
                <a:gd name="T68" fmla="*/ 40858 w 588"/>
                <a:gd name="T69" fmla="*/ 133265 h 930"/>
                <a:gd name="T70" fmla="*/ 42803 w 588"/>
                <a:gd name="T71" fmla="*/ 111865 h 930"/>
                <a:gd name="T72" fmla="*/ 42803 w 588"/>
                <a:gd name="T73" fmla="*/ 92411 h 930"/>
                <a:gd name="T74" fmla="*/ 45721 w 588"/>
                <a:gd name="T75" fmla="*/ 74901 h 930"/>
                <a:gd name="T76" fmla="*/ 42803 w 588"/>
                <a:gd name="T77" fmla="*/ 57391 h 930"/>
                <a:gd name="T78" fmla="*/ 36967 w 588"/>
                <a:gd name="T79" fmla="*/ 44746 h 930"/>
                <a:gd name="T80" fmla="*/ 34048 w 588"/>
                <a:gd name="T81" fmla="*/ 28210 h 930"/>
                <a:gd name="T82" fmla="*/ 30157 w 588"/>
                <a:gd name="T83" fmla="*/ 8755 h 930"/>
                <a:gd name="T84" fmla="*/ 42803 w 588"/>
                <a:gd name="T85" fmla="*/ 1945 h 930"/>
                <a:gd name="T86" fmla="*/ 62260 w 588"/>
                <a:gd name="T87" fmla="*/ 6810 h 930"/>
                <a:gd name="T88" fmla="*/ 81716 w 588"/>
                <a:gd name="T89" fmla="*/ 14591 h 930"/>
                <a:gd name="T90" fmla="*/ 97281 w 588"/>
                <a:gd name="T91" fmla="*/ 23346 h 930"/>
                <a:gd name="T92" fmla="*/ 211099 w 588"/>
                <a:gd name="T93" fmla="*/ 90465 h 930"/>
                <a:gd name="T94" fmla="*/ 211099 w 588"/>
                <a:gd name="T95" fmla="*/ 109920 h 930"/>
                <a:gd name="T96" fmla="*/ 211099 w 588"/>
                <a:gd name="T97" fmla="*/ 128402 h 930"/>
                <a:gd name="T98" fmla="*/ 211099 w 588"/>
                <a:gd name="T99" fmla="*/ 147857 h 930"/>
                <a:gd name="T100" fmla="*/ 204289 w 588"/>
                <a:gd name="T101" fmla="*/ 163420 h 930"/>
                <a:gd name="T102" fmla="*/ 189697 w 588"/>
                <a:gd name="T103" fmla="*/ 167312 h 930"/>
                <a:gd name="T104" fmla="*/ 182888 w 588"/>
                <a:gd name="T105" fmla="*/ 180930 h 930"/>
                <a:gd name="T106" fmla="*/ 178023 w 588"/>
                <a:gd name="T107" fmla="*/ 192603 h 930"/>
                <a:gd name="T108" fmla="*/ 174132 w 588"/>
                <a:gd name="T109" fmla="*/ 199413 h 930"/>
                <a:gd name="T110" fmla="*/ 177051 w 588"/>
                <a:gd name="T111" fmla="*/ 212058 h 930"/>
                <a:gd name="T112" fmla="*/ 167323 w 588"/>
                <a:gd name="T113" fmla="*/ 220813 h 930"/>
                <a:gd name="T114" fmla="*/ 178023 w 588"/>
                <a:gd name="T115" fmla="*/ 227621 h 930"/>
                <a:gd name="T116" fmla="*/ 182888 w 588"/>
                <a:gd name="T117" fmla="*/ 238322 h 930"/>
                <a:gd name="T118" fmla="*/ 186779 w 588"/>
                <a:gd name="T119" fmla="*/ 25096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8" h="930">
                  <a:moveTo>
                    <a:pt x="522" y="732"/>
                  </a:moveTo>
                  <a:lnTo>
                    <a:pt x="516" y="732"/>
                  </a:lnTo>
                  <a:lnTo>
                    <a:pt x="516" y="726"/>
                  </a:lnTo>
                  <a:lnTo>
                    <a:pt x="510" y="726"/>
                  </a:lnTo>
                  <a:lnTo>
                    <a:pt x="504" y="726"/>
                  </a:lnTo>
                  <a:lnTo>
                    <a:pt x="498" y="726"/>
                  </a:lnTo>
                  <a:lnTo>
                    <a:pt x="498" y="732"/>
                  </a:lnTo>
                  <a:lnTo>
                    <a:pt x="492" y="732"/>
                  </a:lnTo>
                  <a:lnTo>
                    <a:pt x="486" y="732"/>
                  </a:lnTo>
                  <a:lnTo>
                    <a:pt x="480" y="732"/>
                  </a:lnTo>
                  <a:lnTo>
                    <a:pt x="474" y="732"/>
                  </a:lnTo>
                  <a:lnTo>
                    <a:pt x="474" y="738"/>
                  </a:lnTo>
                  <a:lnTo>
                    <a:pt x="474" y="732"/>
                  </a:lnTo>
                  <a:lnTo>
                    <a:pt x="474" y="738"/>
                  </a:lnTo>
                  <a:lnTo>
                    <a:pt x="474" y="732"/>
                  </a:lnTo>
                  <a:lnTo>
                    <a:pt x="474" y="738"/>
                  </a:lnTo>
                  <a:lnTo>
                    <a:pt x="468" y="732"/>
                  </a:lnTo>
                  <a:lnTo>
                    <a:pt x="468" y="738"/>
                  </a:lnTo>
                  <a:lnTo>
                    <a:pt x="468" y="732"/>
                  </a:lnTo>
                  <a:lnTo>
                    <a:pt x="468" y="738"/>
                  </a:lnTo>
                  <a:lnTo>
                    <a:pt x="462" y="738"/>
                  </a:lnTo>
                  <a:lnTo>
                    <a:pt x="462" y="744"/>
                  </a:lnTo>
                  <a:lnTo>
                    <a:pt x="462" y="750"/>
                  </a:lnTo>
                  <a:lnTo>
                    <a:pt x="462" y="744"/>
                  </a:lnTo>
                  <a:lnTo>
                    <a:pt x="462" y="750"/>
                  </a:lnTo>
                  <a:lnTo>
                    <a:pt x="462" y="756"/>
                  </a:lnTo>
                  <a:lnTo>
                    <a:pt x="462" y="762"/>
                  </a:lnTo>
                  <a:lnTo>
                    <a:pt x="462" y="768"/>
                  </a:lnTo>
                  <a:lnTo>
                    <a:pt x="456" y="768"/>
                  </a:lnTo>
                  <a:lnTo>
                    <a:pt x="456" y="774"/>
                  </a:lnTo>
                  <a:lnTo>
                    <a:pt x="456" y="768"/>
                  </a:lnTo>
                  <a:lnTo>
                    <a:pt x="456" y="774"/>
                  </a:lnTo>
                  <a:lnTo>
                    <a:pt x="450" y="774"/>
                  </a:lnTo>
                  <a:lnTo>
                    <a:pt x="444" y="774"/>
                  </a:lnTo>
                  <a:lnTo>
                    <a:pt x="444" y="780"/>
                  </a:lnTo>
                  <a:lnTo>
                    <a:pt x="444" y="786"/>
                  </a:lnTo>
                  <a:lnTo>
                    <a:pt x="438" y="786"/>
                  </a:lnTo>
                  <a:lnTo>
                    <a:pt x="432" y="786"/>
                  </a:lnTo>
                  <a:lnTo>
                    <a:pt x="432" y="792"/>
                  </a:lnTo>
                  <a:lnTo>
                    <a:pt x="426" y="792"/>
                  </a:lnTo>
                  <a:lnTo>
                    <a:pt x="426" y="798"/>
                  </a:lnTo>
                  <a:lnTo>
                    <a:pt x="420" y="798"/>
                  </a:lnTo>
                  <a:lnTo>
                    <a:pt x="420" y="804"/>
                  </a:lnTo>
                  <a:lnTo>
                    <a:pt x="414" y="804"/>
                  </a:lnTo>
                  <a:lnTo>
                    <a:pt x="414" y="810"/>
                  </a:lnTo>
                  <a:lnTo>
                    <a:pt x="414" y="816"/>
                  </a:lnTo>
                  <a:lnTo>
                    <a:pt x="414" y="810"/>
                  </a:lnTo>
                  <a:lnTo>
                    <a:pt x="408" y="816"/>
                  </a:lnTo>
                  <a:lnTo>
                    <a:pt x="402" y="816"/>
                  </a:lnTo>
                  <a:lnTo>
                    <a:pt x="402" y="822"/>
                  </a:lnTo>
                  <a:lnTo>
                    <a:pt x="396" y="822"/>
                  </a:lnTo>
                  <a:lnTo>
                    <a:pt x="402" y="822"/>
                  </a:lnTo>
                  <a:lnTo>
                    <a:pt x="396" y="822"/>
                  </a:lnTo>
                  <a:lnTo>
                    <a:pt x="390" y="822"/>
                  </a:lnTo>
                  <a:lnTo>
                    <a:pt x="396" y="822"/>
                  </a:lnTo>
                  <a:lnTo>
                    <a:pt x="390" y="822"/>
                  </a:lnTo>
                  <a:lnTo>
                    <a:pt x="390" y="828"/>
                  </a:lnTo>
                  <a:lnTo>
                    <a:pt x="390" y="834"/>
                  </a:lnTo>
                  <a:lnTo>
                    <a:pt x="384" y="834"/>
                  </a:lnTo>
                  <a:lnTo>
                    <a:pt x="378" y="834"/>
                  </a:lnTo>
                  <a:lnTo>
                    <a:pt x="372" y="834"/>
                  </a:lnTo>
                  <a:lnTo>
                    <a:pt x="366" y="834"/>
                  </a:lnTo>
                  <a:lnTo>
                    <a:pt x="360" y="834"/>
                  </a:lnTo>
                  <a:lnTo>
                    <a:pt x="354" y="834"/>
                  </a:lnTo>
                  <a:lnTo>
                    <a:pt x="354" y="840"/>
                  </a:lnTo>
                  <a:lnTo>
                    <a:pt x="354" y="834"/>
                  </a:lnTo>
                  <a:lnTo>
                    <a:pt x="354" y="840"/>
                  </a:lnTo>
                  <a:lnTo>
                    <a:pt x="348" y="840"/>
                  </a:lnTo>
                  <a:lnTo>
                    <a:pt x="342" y="840"/>
                  </a:lnTo>
                  <a:lnTo>
                    <a:pt x="336" y="840"/>
                  </a:lnTo>
                  <a:lnTo>
                    <a:pt x="330" y="840"/>
                  </a:lnTo>
                  <a:lnTo>
                    <a:pt x="324" y="840"/>
                  </a:lnTo>
                  <a:lnTo>
                    <a:pt x="318" y="840"/>
                  </a:lnTo>
                  <a:lnTo>
                    <a:pt x="312" y="840"/>
                  </a:lnTo>
                  <a:lnTo>
                    <a:pt x="306" y="840"/>
                  </a:lnTo>
                  <a:lnTo>
                    <a:pt x="306" y="846"/>
                  </a:lnTo>
                  <a:lnTo>
                    <a:pt x="300" y="846"/>
                  </a:lnTo>
                  <a:lnTo>
                    <a:pt x="300" y="852"/>
                  </a:lnTo>
                  <a:lnTo>
                    <a:pt x="300" y="846"/>
                  </a:lnTo>
                  <a:lnTo>
                    <a:pt x="300" y="852"/>
                  </a:lnTo>
                  <a:lnTo>
                    <a:pt x="306" y="852"/>
                  </a:lnTo>
                  <a:lnTo>
                    <a:pt x="312" y="852"/>
                  </a:lnTo>
                  <a:lnTo>
                    <a:pt x="312" y="858"/>
                  </a:lnTo>
                  <a:lnTo>
                    <a:pt x="312" y="864"/>
                  </a:lnTo>
                  <a:lnTo>
                    <a:pt x="312" y="870"/>
                  </a:lnTo>
                  <a:lnTo>
                    <a:pt x="306" y="864"/>
                  </a:lnTo>
                  <a:lnTo>
                    <a:pt x="306" y="870"/>
                  </a:lnTo>
                  <a:lnTo>
                    <a:pt x="306" y="876"/>
                  </a:lnTo>
                  <a:lnTo>
                    <a:pt x="300" y="876"/>
                  </a:lnTo>
                  <a:lnTo>
                    <a:pt x="306" y="876"/>
                  </a:lnTo>
                  <a:lnTo>
                    <a:pt x="300" y="876"/>
                  </a:lnTo>
                  <a:lnTo>
                    <a:pt x="300" y="882"/>
                  </a:lnTo>
                  <a:lnTo>
                    <a:pt x="294" y="882"/>
                  </a:lnTo>
                  <a:lnTo>
                    <a:pt x="288" y="882"/>
                  </a:lnTo>
                  <a:lnTo>
                    <a:pt x="288" y="888"/>
                  </a:lnTo>
                  <a:lnTo>
                    <a:pt x="288" y="894"/>
                  </a:lnTo>
                  <a:lnTo>
                    <a:pt x="282" y="894"/>
                  </a:lnTo>
                  <a:lnTo>
                    <a:pt x="276" y="894"/>
                  </a:lnTo>
                  <a:lnTo>
                    <a:pt x="270" y="894"/>
                  </a:lnTo>
                  <a:lnTo>
                    <a:pt x="264" y="894"/>
                  </a:lnTo>
                  <a:lnTo>
                    <a:pt x="258" y="894"/>
                  </a:lnTo>
                  <a:lnTo>
                    <a:pt x="252" y="894"/>
                  </a:lnTo>
                  <a:lnTo>
                    <a:pt x="252" y="900"/>
                  </a:lnTo>
                  <a:lnTo>
                    <a:pt x="246" y="900"/>
                  </a:lnTo>
                  <a:lnTo>
                    <a:pt x="240" y="900"/>
                  </a:lnTo>
                  <a:lnTo>
                    <a:pt x="234" y="900"/>
                  </a:lnTo>
                  <a:lnTo>
                    <a:pt x="228" y="900"/>
                  </a:lnTo>
                  <a:lnTo>
                    <a:pt x="228" y="906"/>
                  </a:lnTo>
                  <a:lnTo>
                    <a:pt x="228" y="900"/>
                  </a:lnTo>
                  <a:lnTo>
                    <a:pt x="228" y="906"/>
                  </a:lnTo>
                  <a:lnTo>
                    <a:pt x="222" y="906"/>
                  </a:lnTo>
                  <a:lnTo>
                    <a:pt x="222" y="900"/>
                  </a:lnTo>
                  <a:lnTo>
                    <a:pt x="222" y="906"/>
                  </a:lnTo>
                  <a:lnTo>
                    <a:pt x="216" y="906"/>
                  </a:lnTo>
                  <a:lnTo>
                    <a:pt x="210" y="906"/>
                  </a:lnTo>
                  <a:lnTo>
                    <a:pt x="210" y="912"/>
                  </a:lnTo>
                  <a:lnTo>
                    <a:pt x="204" y="912"/>
                  </a:lnTo>
                  <a:lnTo>
                    <a:pt x="204" y="918"/>
                  </a:lnTo>
                  <a:lnTo>
                    <a:pt x="204" y="912"/>
                  </a:lnTo>
                  <a:lnTo>
                    <a:pt x="204" y="918"/>
                  </a:lnTo>
                  <a:lnTo>
                    <a:pt x="198" y="918"/>
                  </a:lnTo>
                  <a:lnTo>
                    <a:pt x="192" y="918"/>
                  </a:lnTo>
                  <a:lnTo>
                    <a:pt x="192" y="924"/>
                  </a:lnTo>
                  <a:lnTo>
                    <a:pt x="186" y="924"/>
                  </a:lnTo>
                  <a:lnTo>
                    <a:pt x="186" y="918"/>
                  </a:lnTo>
                  <a:lnTo>
                    <a:pt x="180" y="918"/>
                  </a:lnTo>
                  <a:lnTo>
                    <a:pt x="180" y="912"/>
                  </a:lnTo>
                  <a:lnTo>
                    <a:pt x="174" y="912"/>
                  </a:lnTo>
                  <a:lnTo>
                    <a:pt x="174" y="906"/>
                  </a:lnTo>
                  <a:lnTo>
                    <a:pt x="168" y="906"/>
                  </a:lnTo>
                  <a:lnTo>
                    <a:pt x="162" y="912"/>
                  </a:lnTo>
                  <a:lnTo>
                    <a:pt x="168" y="912"/>
                  </a:lnTo>
                  <a:lnTo>
                    <a:pt x="162" y="912"/>
                  </a:lnTo>
                  <a:lnTo>
                    <a:pt x="162" y="918"/>
                  </a:lnTo>
                  <a:lnTo>
                    <a:pt x="156" y="918"/>
                  </a:lnTo>
                  <a:lnTo>
                    <a:pt x="150" y="918"/>
                  </a:lnTo>
                  <a:lnTo>
                    <a:pt x="144" y="918"/>
                  </a:lnTo>
                  <a:lnTo>
                    <a:pt x="144" y="924"/>
                  </a:lnTo>
                  <a:lnTo>
                    <a:pt x="138" y="924"/>
                  </a:lnTo>
                  <a:lnTo>
                    <a:pt x="132" y="924"/>
                  </a:lnTo>
                  <a:lnTo>
                    <a:pt x="132" y="930"/>
                  </a:lnTo>
                  <a:lnTo>
                    <a:pt x="132" y="924"/>
                  </a:lnTo>
                  <a:lnTo>
                    <a:pt x="126" y="924"/>
                  </a:lnTo>
                  <a:lnTo>
                    <a:pt x="126" y="930"/>
                  </a:lnTo>
                  <a:lnTo>
                    <a:pt x="126" y="924"/>
                  </a:lnTo>
                  <a:lnTo>
                    <a:pt x="120" y="924"/>
                  </a:lnTo>
                  <a:lnTo>
                    <a:pt x="114" y="924"/>
                  </a:lnTo>
                  <a:lnTo>
                    <a:pt x="114" y="918"/>
                  </a:lnTo>
                  <a:lnTo>
                    <a:pt x="120" y="918"/>
                  </a:lnTo>
                  <a:lnTo>
                    <a:pt x="120" y="912"/>
                  </a:lnTo>
                  <a:lnTo>
                    <a:pt x="114" y="906"/>
                  </a:lnTo>
                  <a:lnTo>
                    <a:pt x="108" y="900"/>
                  </a:lnTo>
                  <a:lnTo>
                    <a:pt x="108" y="894"/>
                  </a:lnTo>
                  <a:lnTo>
                    <a:pt x="108" y="888"/>
                  </a:lnTo>
                  <a:lnTo>
                    <a:pt x="102" y="882"/>
                  </a:lnTo>
                  <a:lnTo>
                    <a:pt x="102" y="876"/>
                  </a:lnTo>
                  <a:lnTo>
                    <a:pt x="102" y="870"/>
                  </a:lnTo>
                  <a:lnTo>
                    <a:pt x="96" y="870"/>
                  </a:lnTo>
                  <a:lnTo>
                    <a:pt x="96" y="864"/>
                  </a:lnTo>
                  <a:lnTo>
                    <a:pt x="96" y="858"/>
                  </a:lnTo>
                  <a:lnTo>
                    <a:pt x="90" y="858"/>
                  </a:lnTo>
                  <a:lnTo>
                    <a:pt x="84" y="858"/>
                  </a:lnTo>
                  <a:lnTo>
                    <a:pt x="84" y="852"/>
                  </a:lnTo>
                  <a:lnTo>
                    <a:pt x="78" y="852"/>
                  </a:lnTo>
                  <a:lnTo>
                    <a:pt x="84" y="852"/>
                  </a:lnTo>
                  <a:lnTo>
                    <a:pt x="78" y="852"/>
                  </a:lnTo>
                  <a:lnTo>
                    <a:pt x="72" y="852"/>
                  </a:lnTo>
                  <a:lnTo>
                    <a:pt x="72" y="846"/>
                  </a:lnTo>
                  <a:lnTo>
                    <a:pt x="66" y="846"/>
                  </a:lnTo>
                  <a:lnTo>
                    <a:pt x="60" y="840"/>
                  </a:lnTo>
                  <a:lnTo>
                    <a:pt x="54" y="834"/>
                  </a:lnTo>
                  <a:lnTo>
                    <a:pt x="60" y="834"/>
                  </a:lnTo>
                  <a:lnTo>
                    <a:pt x="54" y="834"/>
                  </a:lnTo>
                  <a:lnTo>
                    <a:pt x="54" y="828"/>
                  </a:lnTo>
                  <a:lnTo>
                    <a:pt x="48" y="828"/>
                  </a:lnTo>
                  <a:lnTo>
                    <a:pt x="54" y="828"/>
                  </a:lnTo>
                  <a:lnTo>
                    <a:pt x="54" y="822"/>
                  </a:lnTo>
                  <a:lnTo>
                    <a:pt x="48" y="822"/>
                  </a:lnTo>
                  <a:lnTo>
                    <a:pt x="42" y="816"/>
                  </a:lnTo>
                  <a:lnTo>
                    <a:pt x="36" y="810"/>
                  </a:lnTo>
                  <a:lnTo>
                    <a:pt x="30" y="804"/>
                  </a:lnTo>
                  <a:lnTo>
                    <a:pt x="30" y="798"/>
                  </a:lnTo>
                  <a:lnTo>
                    <a:pt x="36" y="798"/>
                  </a:lnTo>
                  <a:lnTo>
                    <a:pt x="36" y="792"/>
                  </a:lnTo>
                  <a:lnTo>
                    <a:pt x="42" y="792"/>
                  </a:lnTo>
                  <a:lnTo>
                    <a:pt x="42" y="786"/>
                  </a:lnTo>
                  <a:lnTo>
                    <a:pt x="48" y="786"/>
                  </a:lnTo>
                  <a:lnTo>
                    <a:pt x="54" y="786"/>
                  </a:lnTo>
                  <a:lnTo>
                    <a:pt x="60" y="786"/>
                  </a:lnTo>
                  <a:lnTo>
                    <a:pt x="66" y="786"/>
                  </a:lnTo>
                  <a:lnTo>
                    <a:pt x="72" y="786"/>
                  </a:lnTo>
                  <a:lnTo>
                    <a:pt x="78" y="786"/>
                  </a:lnTo>
                  <a:lnTo>
                    <a:pt x="84" y="786"/>
                  </a:lnTo>
                  <a:lnTo>
                    <a:pt x="90" y="786"/>
                  </a:lnTo>
                  <a:lnTo>
                    <a:pt x="96" y="786"/>
                  </a:lnTo>
                  <a:lnTo>
                    <a:pt x="102" y="786"/>
                  </a:lnTo>
                  <a:lnTo>
                    <a:pt x="108" y="786"/>
                  </a:lnTo>
                  <a:lnTo>
                    <a:pt x="114" y="786"/>
                  </a:lnTo>
                  <a:lnTo>
                    <a:pt x="120" y="786"/>
                  </a:lnTo>
                  <a:lnTo>
                    <a:pt x="126" y="786"/>
                  </a:lnTo>
                  <a:lnTo>
                    <a:pt x="120" y="780"/>
                  </a:lnTo>
                  <a:lnTo>
                    <a:pt x="114" y="780"/>
                  </a:lnTo>
                  <a:lnTo>
                    <a:pt x="114" y="774"/>
                  </a:lnTo>
                  <a:lnTo>
                    <a:pt x="108" y="774"/>
                  </a:lnTo>
                  <a:lnTo>
                    <a:pt x="108" y="768"/>
                  </a:lnTo>
                  <a:lnTo>
                    <a:pt x="102" y="768"/>
                  </a:lnTo>
                  <a:lnTo>
                    <a:pt x="102" y="762"/>
                  </a:lnTo>
                  <a:lnTo>
                    <a:pt x="102" y="756"/>
                  </a:lnTo>
                  <a:lnTo>
                    <a:pt x="96" y="756"/>
                  </a:lnTo>
                  <a:lnTo>
                    <a:pt x="96" y="750"/>
                  </a:lnTo>
                  <a:lnTo>
                    <a:pt x="96" y="744"/>
                  </a:lnTo>
                  <a:lnTo>
                    <a:pt x="90" y="744"/>
                  </a:lnTo>
                  <a:lnTo>
                    <a:pt x="90" y="738"/>
                  </a:lnTo>
                  <a:lnTo>
                    <a:pt x="90" y="732"/>
                  </a:lnTo>
                  <a:lnTo>
                    <a:pt x="90" y="726"/>
                  </a:lnTo>
                  <a:lnTo>
                    <a:pt x="90" y="720"/>
                  </a:lnTo>
                  <a:lnTo>
                    <a:pt x="84" y="720"/>
                  </a:lnTo>
                  <a:lnTo>
                    <a:pt x="90" y="720"/>
                  </a:lnTo>
                  <a:lnTo>
                    <a:pt x="90" y="714"/>
                  </a:lnTo>
                  <a:lnTo>
                    <a:pt x="84" y="714"/>
                  </a:lnTo>
                  <a:lnTo>
                    <a:pt x="90" y="714"/>
                  </a:lnTo>
                  <a:lnTo>
                    <a:pt x="84" y="714"/>
                  </a:lnTo>
                  <a:lnTo>
                    <a:pt x="90" y="714"/>
                  </a:lnTo>
                  <a:lnTo>
                    <a:pt x="90" y="708"/>
                  </a:lnTo>
                  <a:lnTo>
                    <a:pt x="90" y="702"/>
                  </a:lnTo>
                  <a:lnTo>
                    <a:pt x="90" y="696"/>
                  </a:lnTo>
                  <a:lnTo>
                    <a:pt x="96" y="696"/>
                  </a:lnTo>
                  <a:lnTo>
                    <a:pt x="90" y="696"/>
                  </a:lnTo>
                  <a:lnTo>
                    <a:pt x="90" y="690"/>
                  </a:lnTo>
                  <a:lnTo>
                    <a:pt x="90" y="684"/>
                  </a:lnTo>
                  <a:lnTo>
                    <a:pt x="90" y="678"/>
                  </a:lnTo>
                  <a:lnTo>
                    <a:pt x="90" y="672"/>
                  </a:lnTo>
                  <a:lnTo>
                    <a:pt x="90" y="666"/>
                  </a:lnTo>
                  <a:lnTo>
                    <a:pt x="84" y="666"/>
                  </a:lnTo>
                  <a:lnTo>
                    <a:pt x="78" y="660"/>
                  </a:lnTo>
                  <a:lnTo>
                    <a:pt x="78" y="654"/>
                  </a:lnTo>
                  <a:lnTo>
                    <a:pt x="78" y="648"/>
                  </a:lnTo>
                  <a:lnTo>
                    <a:pt x="78" y="642"/>
                  </a:lnTo>
                  <a:lnTo>
                    <a:pt x="78" y="648"/>
                  </a:lnTo>
                  <a:lnTo>
                    <a:pt x="78" y="642"/>
                  </a:lnTo>
                  <a:lnTo>
                    <a:pt x="78" y="636"/>
                  </a:lnTo>
                  <a:lnTo>
                    <a:pt x="72" y="636"/>
                  </a:lnTo>
                  <a:lnTo>
                    <a:pt x="72" y="630"/>
                  </a:lnTo>
                  <a:lnTo>
                    <a:pt x="72" y="636"/>
                  </a:lnTo>
                  <a:lnTo>
                    <a:pt x="72" y="630"/>
                  </a:lnTo>
                  <a:lnTo>
                    <a:pt x="66" y="630"/>
                  </a:lnTo>
                  <a:lnTo>
                    <a:pt x="66" y="624"/>
                  </a:lnTo>
                  <a:lnTo>
                    <a:pt x="66" y="630"/>
                  </a:lnTo>
                  <a:lnTo>
                    <a:pt x="60" y="630"/>
                  </a:lnTo>
                  <a:lnTo>
                    <a:pt x="60" y="624"/>
                  </a:lnTo>
                  <a:lnTo>
                    <a:pt x="60" y="618"/>
                  </a:lnTo>
                  <a:lnTo>
                    <a:pt x="60" y="612"/>
                  </a:lnTo>
                  <a:lnTo>
                    <a:pt x="54" y="612"/>
                  </a:lnTo>
                  <a:lnTo>
                    <a:pt x="48" y="612"/>
                  </a:lnTo>
                  <a:lnTo>
                    <a:pt x="42" y="612"/>
                  </a:lnTo>
                  <a:lnTo>
                    <a:pt x="36" y="612"/>
                  </a:lnTo>
                  <a:lnTo>
                    <a:pt x="36" y="606"/>
                  </a:lnTo>
                  <a:lnTo>
                    <a:pt x="30" y="606"/>
                  </a:lnTo>
                  <a:lnTo>
                    <a:pt x="30" y="600"/>
                  </a:lnTo>
                  <a:lnTo>
                    <a:pt x="24" y="600"/>
                  </a:lnTo>
                  <a:lnTo>
                    <a:pt x="24" y="594"/>
                  </a:lnTo>
                  <a:lnTo>
                    <a:pt x="24" y="588"/>
                  </a:lnTo>
                  <a:lnTo>
                    <a:pt x="18" y="588"/>
                  </a:lnTo>
                  <a:lnTo>
                    <a:pt x="18" y="582"/>
                  </a:lnTo>
                  <a:lnTo>
                    <a:pt x="12" y="582"/>
                  </a:lnTo>
                  <a:lnTo>
                    <a:pt x="12" y="576"/>
                  </a:lnTo>
                  <a:lnTo>
                    <a:pt x="12" y="570"/>
                  </a:lnTo>
                  <a:lnTo>
                    <a:pt x="6" y="570"/>
                  </a:lnTo>
                  <a:lnTo>
                    <a:pt x="6" y="564"/>
                  </a:lnTo>
                  <a:lnTo>
                    <a:pt x="6" y="558"/>
                  </a:lnTo>
                  <a:lnTo>
                    <a:pt x="6" y="552"/>
                  </a:lnTo>
                  <a:lnTo>
                    <a:pt x="6" y="546"/>
                  </a:lnTo>
                  <a:lnTo>
                    <a:pt x="0" y="546"/>
                  </a:lnTo>
                  <a:lnTo>
                    <a:pt x="0" y="540"/>
                  </a:lnTo>
                  <a:lnTo>
                    <a:pt x="0" y="534"/>
                  </a:lnTo>
                  <a:lnTo>
                    <a:pt x="0" y="528"/>
                  </a:lnTo>
                  <a:lnTo>
                    <a:pt x="6" y="528"/>
                  </a:lnTo>
                  <a:lnTo>
                    <a:pt x="12" y="528"/>
                  </a:lnTo>
                  <a:lnTo>
                    <a:pt x="12" y="522"/>
                  </a:lnTo>
                  <a:lnTo>
                    <a:pt x="12" y="516"/>
                  </a:lnTo>
                  <a:lnTo>
                    <a:pt x="18" y="516"/>
                  </a:lnTo>
                  <a:lnTo>
                    <a:pt x="18" y="510"/>
                  </a:lnTo>
                  <a:lnTo>
                    <a:pt x="18" y="504"/>
                  </a:lnTo>
                  <a:lnTo>
                    <a:pt x="18" y="498"/>
                  </a:lnTo>
                  <a:lnTo>
                    <a:pt x="24" y="498"/>
                  </a:lnTo>
                  <a:lnTo>
                    <a:pt x="24" y="492"/>
                  </a:lnTo>
                  <a:lnTo>
                    <a:pt x="30" y="492"/>
                  </a:lnTo>
                  <a:lnTo>
                    <a:pt x="30" y="486"/>
                  </a:lnTo>
                  <a:lnTo>
                    <a:pt x="36" y="480"/>
                  </a:lnTo>
                  <a:lnTo>
                    <a:pt x="36" y="474"/>
                  </a:lnTo>
                  <a:lnTo>
                    <a:pt x="42" y="474"/>
                  </a:lnTo>
                  <a:lnTo>
                    <a:pt x="42" y="468"/>
                  </a:lnTo>
                  <a:lnTo>
                    <a:pt x="48" y="462"/>
                  </a:lnTo>
                  <a:lnTo>
                    <a:pt x="48" y="456"/>
                  </a:lnTo>
                  <a:lnTo>
                    <a:pt x="54" y="456"/>
                  </a:lnTo>
                  <a:lnTo>
                    <a:pt x="54" y="450"/>
                  </a:lnTo>
                  <a:lnTo>
                    <a:pt x="60" y="450"/>
                  </a:lnTo>
                  <a:lnTo>
                    <a:pt x="60" y="444"/>
                  </a:lnTo>
                  <a:lnTo>
                    <a:pt x="66" y="444"/>
                  </a:lnTo>
                  <a:lnTo>
                    <a:pt x="66" y="438"/>
                  </a:lnTo>
                  <a:lnTo>
                    <a:pt x="72" y="438"/>
                  </a:lnTo>
                  <a:lnTo>
                    <a:pt x="72" y="432"/>
                  </a:lnTo>
                  <a:lnTo>
                    <a:pt x="78" y="432"/>
                  </a:lnTo>
                  <a:lnTo>
                    <a:pt x="78" y="426"/>
                  </a:lnTo>
                  <a:lnTo>
                    <a:pt x="84" y="426"/>
                  </a:lnTo>
                  <a:lnTo>
                    <a:pt x="84" y="420"/>
                  </a:lnTo>
                  <a:lnTo>
                    <a:pt x="90" y="414"/>
                  </a:lnTo>
                  <a:lnTo>
                    <a:pt x="96" y="408"/>
                  </a:lnTo>
                  <a:lnTo>
                    <a:pt x="102" y="402"/>
                  </a:lnTo>
                  <a:lnTo>
                    <a:pt x="108" y="396"/>
                  </a:lnTo>
                  <a:lnTo>
                    <a:pt x="108" y="390"/>
                  </a:lnTo>
                  <a:lnTo>
                    <a:pt x="114" y="390"/>
                  </a:lnTo>
                  <a:lnTo>
                    <a:pt x="114" y="384"/>
                  </a:lnTo>
                  <a:lnTo>
                    <a:pt x="114" y="378"/>
                  </a:lnTo>
                  <a:lnTo>
                    <a:pt x="114" y="372"/>
                  </a:lnTo>
                  <a:lnTo>
                    <a:pt x="114" y="366"/>
                  </a:lnTo>
                  <a:lnTo>
                    <a:pt x="114" y="354"/>
                  </a:lnTo>
                  <a:lnTo>
                    <a:pt x="114" y="348"/>
                  </a:lnTo>
                  <a:lnTo>
                    <a:pt x="114" y="342"/>
                  </a:lnTo>
                  <a:lnTo>
                    <a:pt x="114" y="336"/>
                  </a:lnTo>
                  <a:lnTo>
                    <a:pt x="114" y="330"/>
                  </a:lnTo>
                  <a:lnTo>
                    <a:pt x="114" y="324"/>
                  </a:lnTo>
                  <a:lnTo>
                    <a:pt x="114" y="318"/>
                  </a:lnTo>
                  <a:lnTo>
                    <a:pt x="120" y="312"/>
                  </a:lnTo>
                  <a:lnTo>
                    <a:pt x="120" y="306"/>
                  </a:lnTo>
                  <a:lnTo>
                    <a:pt x="120" y="300"/>
                  </a:lnTo>
                  <a:lnTo>
                    <a:pt x="120" y="294"/>
                  </a:lnTo>
                  <a:lnTo>
                    <a:pt x="120" y="288"/>
                  </a:lnTo>
                  <a:lnTo>
                    <a:pt x="120" y="282"/>
                  </a:lnTo>
                  <a:lnTo>
                    <a:pt x="120" y="276"/>
                  </a:lnTo>
                  <a:lnTo>
                    <a:pt x="120" y="270"/>
                  </a:lnTo>
                  <a:lnTo>
                    <a:pt x="120" y="264"/>
                  </a:lnTo>
                  <a:lnTo>
                    <a:pt x="120" y="258"/>
                  </a:lnTo>
                  <a:lnTo>
                    <a:pt x="120" y="252"/>
                  </a:lnTo>
                  <a:lnTo>
                    <a:pt x="120" y="246"/>
                  </a:lnTo>
                  <a:lnTo>
                    <a:pt x="126" y="246"/>
                  </a:lnTo>
                  <a:lnTo>
                    <a:pt x="126" y="240"/>
                  </a:lnTo>
                  <a:lnTo>
                    <a:pt x="126" y="234"/>
                  </a:lnTo>
                  <a:lnTo>
                    <a:pt x="126" y="228"/>
                  </a:lnTo>
                  <a:lnTo>
                    <a:pt x="126" y="222"/>
                  </a:lnTo>
                  <a:lnTo>
                    <a:pt x="126" y="216"/>
                  </a:lnTo>
                  <a:lnTo>
                    <a:pt x="126" y="210"/>
                  </a:lnTo>
                  <a:lnTo>
                    <a:pt x="132" y="204"/>
                  </a:lnTo>
                  <a:lnTo>
                    <a:pt x="138" y="198"/>
                  </a:lnTo>
                  <a:lnTo>
                    <a:pt x="138" y="192"/>
                  </a:lnTo>
                  <a:lnTo>
                    <a:pt x="138" y="186"/>
                  </a:lnTo>
                  <a:lnTo>
                    <a:pt x="138" y="180"/>
                  </a:lnTo>
                  <a:lnTo>
                    <a:pt x="132" y="180"/>
                  </a:lnTo>
                  <a:lnTo>
                    <a:pt x="132" y="174"/>
                  </a:lnTo>
                  <a:lnTo>
                    <a:pt x="126" y="168"/>
                  </a:lnTo>
                  <a:lnTo>
                    <a:pt x="120" y="162"/>
                  </a:lnTo>
                  <a:lnTo>
                    <a:pt x="114" y="156"/>
                  </a:lnTo>
                  <a:lnTo>
                    <a:pt x="114" y="150"/>
                  </a:lnTo>
                  <a:lnTo>
                    <a:pt x="120" y="150"/>
                  </a:lnTo>
                  <a:lnTo>
                    <a:pt x="120" y="144"/>
                  </a:lnTo>
                  <a:lnTo>
                    <a:pt x="114" y="138"/>
                  </a:lnTo>
                  <a:lnTo>
                    <a:pt x="108" y="138"/>
                  </a:lnTo>
                  <a:lnTo>
                    <a:pt x="108" y="132"/>
                  </a:lnTo>
                  <a:lnTo>
                    <a:pt x="108" y="126"/>
                  </a:lnTo>
                  <a:lnTo>
                    <a:pt x="102" y="126"/>
                  </a:lnTo>
                  <a:lnTo>
                    <a:pt x="102" y="120"/>
                  </a:lnTo>
                  <a:lnTo>
                    <a:pt x="96" y="120"/>
                  </a:lnTo>
                  <a:lnTo>
                    <a:pt x="96" y="114"/>
                  </a:lnTo>
                  <a:lnTo>
                    <a:pt x="96" y="108"/>
                  </a:lnTo>
                  <a:lnTo>
                    <a:pt x="96" y="102"/>
                  </a:lnTo>
                  <a:lnTo>
                    <a:pt x="96" y="96"/>
                  </a:lnTo>
                  <a:lnTo>
                    <a:pt x="96" y="90"/>
                  </a:lnTo>
                  <a:lnTo>
                    <a:pt x="96" y="84"/>
                  </a:lnTo>
                  <a:lnTo>
                    <a:pt x="96" y="78"/>
                  </a:lnTo>
                  <a:lnTo>
                    <a:pt x="96" y="72"/>
                  </a:lnTo>
                  <a:lnTo>
                    <a:pt x="90" y="66"/>
                  </a:lnTo>
                  <a:lnTo>
                    <a:pt x="90" y="60"/>
                  </a:lnTo>
                  <a:lnTo>
                    <a:pt x="90" y="48"/>
                  </a:lnTo>
                  <a:lnTo>
                    <a:pt x="90" y="42"/>
                  </a:lnTo>
                  <a:lnTo>
                    <a:pt x="90" y="36"/>
                  </a:lnTo>
                  <a:lnTo>
                    <a:pt x="84" y="36"/>
                  </a:lnTo>
                  <a:lnTo>
                    <a:pt x="84" y="30"/>
                  </a:lnTo>
                  <a:lnTo>
                    <a:pt x="84" y="24"/>
                  </a:lnTo>
                  <a:lnTo>
                    <a:pt x="90" y="24"/>
                  </a:lnTo>
                  <a:lnTo>
                    <a:pt x="96" y="24"/>
                  </a:lnTo>
                  <a:lnTo>
                    <a:pt x="96" y="18"/>
                  </a:lnTo>
                  <a:lnTo>
                    <a:pt x="102" y="18"/>
                  </a:lnTo>
                  <a:lnTo>
                    <a:pt x="108" y="18"/>
                  </a:lnTo>
                  <a:lnTo>
                    <a:pt x="108" y="12"/>
                  </a:lnTo>
                  <a:lnTo>
                    <a:pt x="114" y="12"/>
                  </a:lnTo>
                  <a:lnTo>
                    <a:pt x="120" y="12"/>
                  </a:lnTo>
                  <a:lnTo>
                    <a:pt x="120" y="6"/>
                  </a:lnTo>
                  <a:lnTo>
                    <a:pt x="126" y="6"/>
                  </a:lnTo>
                  <a:lnTo>
                    <a:pt x="132" y="6"/>
                  </a:lnTo>
                  <a:lnTo>
                    <a:pt x="138" y="0"/>
                  </a:lnTo>
                  <a:lnTo>
                    <a:pt x="144" y="0"/>
                  </a:lnTo>
                  <a:lnTo>
                    <a:pt x="150" y="6"/>
                  </a:lnTo>
                  <a:lnTo>
                    <a:pt x="156" y="6"/>
                  </a:lnTo>
                  <a:lnTo>
                    <a:pt x="162" y="12"/>
                  </a:lnTo>
                  <a:lnTo>
                    <a:pt x="168" y="12"/>
                  </a:lnTo>
                  <a:lnTo>
                    <a:pt x="174" y="18"/>
                  </a:lnTo>
                  <a:lnTo>
                    <a:pt x="180" y="18"/>
                  </a:lnTo>
                  <a:lnTo>
                    <a:pt x="186" y="24"/>
                  </a:lnTo>
                  <a:lnTo>
                    <a:pt x="192" y="24"/>
                  </a:lnTo>
                  <a:lnTo>
                    <a:pt x="198" y="30"/>
                  </a:lnTo>
                  <a:lnTo>
                    <a:pt x="204" y="30"/>
                  </a:lnTo>
                  <a:lnTo>
                    <a:pt x="210" y="36"/>
                  </a:lnTo>
                  <a:lnTo>
                    <a:pt x="216" y="36"/>
                  </a:lnTo>
                  <a:lnTo>
                    <a:pt x="222" y="42"/>
                  </a:lnTo>
                  <a:lnTo>
                    <a:pt x="228" y="42"/>
                  </a:lnTo>
                  <a:lnTo>
                    <a:pt x="234" y="48"/>
                  </a:lnTo>
                  <a:lnTo>
                    <a:pt x="240" y="48"/>
                  </a:lnTo>
                  <a:lnTo>
                    <a:pt x="246" y="54"/>
                  </a:lnTo>
                  <a:lnTo>
                    <a:pt x="252" y="54"/>
                  </a:lnTo>
                  <a:lnTo>
                    <a:pt x="252" y="60"/>
                  </a:lnTo>
                  <a:lnTo>
                    <a:pt x="258" y="60"/>
                  </a:lnTo>
                  <a:lnTo>
                    <a:pt x="264" y="60"/>
                  </a:lnTo>
                  <a:lnTo>
                    <a:pt x="264" y="66"/>
                  </a:lnTo>
                  <a:lnTo>
                    <a:pt x="270" y="66"/>
                  </a:lnTo>
                  <a:lnTo>
                    <a:pt x="276" y="66"/>
                  </a:lnTo>
                  <a:lnTo>
                    <a:pt x="282" y="72"/>
                  </a:lnTo>
                  <a:lnTo>
                    <a:pt x="288" y="72"/>
                  </a:lnTo>
                  <a:lnTo>
                    <a:pt x="288" y="78"/>
                  </a:lnTo>
                  <a:lnTo>
                    <a:pt x="306" y="84"/>
                  </a:lnTo>
                  <a:lnTo>
                    <a:pt x="588" y="234"/>
                  </a:lnTo>
                  <a:lnTo>
                    <a:pt x="588" y="240"/>
                  </a:lnTo>
                  <a:lnTo>
                    <a:pt x="588" y="246"/>
                  </a:lnTo>
                  <a:lnTo>
                    <a:pt x="588" y="252"/>
                  </a:lnTo>
                  <a:lnTo>
                    <a:pt x="588" y="258"/>
                  </a:lnTo>
                  <a:lnTo>
                    <a:pt x="588" y="264"/>
                  </a:lnTo>
                  <a:lnTo>
                    <a:pt x="588" y="270"/>
                  </a:lnTo>
                  <a:lnTo>
                    <a:pt x="588" y="276"/>
                  </a:lnTo>
                  <a:lnTo>
                    <a:pt x="588" y="282"/>
                  </a:lnTo>
                  <a:lnTo>
                    <a:pt x="588" y="288"/>
                  </a:lnTo>
                  <a:lnTo>
                    <a:pt x="588" y="294"/>
                  </a:lnTo>
                  <a:lnTo>
                    <a:pt x="588" y="300"/>
                  </a:lnTo>
                  <a:lnTo>
                    <a:pt x="588" y="306"/>
                  </a:lnTo>
                  <a:lnTo>
                    <a:pt x="588" y="312"/>
                  </a:lnTo>
                  <a:lnTo>
                    <a:pt x="588" y="318"/>
                  </a:lnTo>
                  <a:lnTo>
                    <a:pt x="588" y="324"/>
                  </a:lnTo>
                  <a:lnTo>
                    <a:pt x="588" y="330"/>
                  </a:lnTo>
                  <a:lnTo>
                    <a:pt x="588" y="336"/>
                  </a:lnTo>
                  <a:lnTo>
                    <a:pt x="588" y="342"/>
                  </a:lnTo>
                  <a:lnTo>
                    <a:pt x="588" y="348"/>
                  </a:lnTo>
                  <a:lnTo>
                    <a:pt x="588" y="354"/>
                  </a:lnTo>
                  <a:lnTo>
                    <a:pt x="588" y="360"/>
                  </a:lnTo>
                  <a:lnTo>
                    <a:pt x="588" y="366"/>
                  </a:lnTo>
                  <a:lnTo>
                    <a:pt x="588" y="372"/>
                  </a:lnTo>
                  <a:lnTo>
                    <a:pt x="588" y="378"/>
                  </a:lnTo>
                  <a:lnTo>
                    <a:pt x="588" y="384"/>
                  </a:lnTo>
                  <a:lnTo>
                    <a:pt x="588" y="390"/>
                  </a:lnTo>
                  <a:lnTo>
                    <a:pt x="588" y="396"/>
                  </a:lnTo>
                  <a:lnTo>
                    <a:pt x="588" y="402"/>
                  </a:lnTo>
                  <a:lnTo>
                    <a:pt x="588" y="408"/>
                  </a:lnTo>
                  <a:lnTo>
                    <a:pt x="588" y="414"/>
                  </a:lnTo>
                  <a:lnTo>
                    <a:pt x="588" y="420"/>
                  </a:lnTo>
                  <a:lnTo>
                    <a:pt x="588" y="426"/>
                  </a:lnTo>
                  <a:lnTo>
                    <a:pt x="588" y="432"/>
                  </a:lnTo>
                  <a:lnTo>
                    <a:pt x="588" y="438"/>
                  </a:lnTo>
                  <a:lnTo>
                    <a:pt x="588" y="450"/>
                  </a:lnTo>
                  <a:lnTo>
                    <a:pt x="588" y="456"/>
                  </a:lnTo>
                  <a:lnTo>
                    <a:pt x="582" y="456"/>
                  </a:lnTo>
                  <a:lnTo>
                    <a:pt x="576" y="456"/>
                  </a:lnTo>
                  <a:lnTo>
                    <a:pt x="570" y="456"/>
                  </a:lnTo>
                  <a:lnTo>
                    <a:pt x="564" y="456"/>
                  </a:lnTo>
                  <a:lnTo>
                    <a:pt x="558" y="456"/>
                  </a:lnTo>
                  <a:lnTo>
                    <a:pt x="552" y="456"/>
                  </a:lnTo>
                  <a:lnTo>
                    <a:pt x="552" y="462"/>
                  </a:lnTo>
                  <a:lnTo>
                    <a:pt x="546" y="456"/>
                  </a:lnTo>
                  <a:lnTo>
                    <a:pt x="540" y="456"/>
                  </a:lnTo>
                  <a:lnTo>
                    <a:pt x="534" y="456"/>
                  </a:lnTo>
                  <a:lnTo>
                    <a:pt x="534" y="462"/>
                  </a:lnTo>
                  <a:lnTo>
                    <a:pt x="528" y="468"/>
                  </a:lnTo>
                  <a:lnTo>
                    <a:pt x="528" y="474"/>
                  </a:lnTo>
                  <a:lnTo>
                    <a:pt x="528" y="480"/>
                  </a:lnTo>
                  <a:lnTo>
                    <a:pt x="528" y="486"/>
                  </a:lnTo>
                  <a:lnTo>
                    <a:pt x="528" y="492"/>
                  </a:lnTo>
                  <a:lnTo>
                    <a:pt x="522" y="492"/>
                  </a:lnTo>
                  <a:lnTo>
                    <a:pt x="522" y="498"/>
                  </a:lnTo>
                  <a:lnTo>
                    <a:pt x="516" y="498"/>
                  </a:lnTo>
                  <a:lnTo>
                    <a:pt x="516" y="504"/>
                  </a:lnTo>
                  <a:lnTo>
                    <a:pt x="510" y="504"/>
                  </a:lnTo>
                  <a:lnTo>
                    <a:pt x="510" y="510"/>
                  </a:lnTo>
                  <a:lnTo>
                    <a:pt x="516" y="510"/>
                  </a:lnTo>
                  <a:lnTo>
                    <a:pt x="516" y="516"/>
                  </a:lnTo>
                  <a:lnTo>
                    <a:pt x="510" y="516"/>
                  </a:lnTo>
                  <a:lnTo>
                    <a:pt x="504" y="522"/>
                  </a:lnTo>
                  <a:lnTo>
                    <a:pt x="498" y="522"/>
                  </a:lnTo>
                  <a:lnTo>
                    <a:pt x="498" y="528"/>
                  </a:lnTo>
                  <a:lnTo>
                    <a:pt x="498" y="534"/>
                  </a:lnTo>
                  <a:lnTo>
                    <a:pt x="498" y="540"/>
                  </a:lnTo>
                  <a:lnTo>
                    <a:pt x="504" y="540"/>
                  </a:lnTo>
                  <a:lnTo>
                    <a:pt x="504" y="546"/>
                  </a:lnTo>
                  <a:lnTo>
                    <a:pt x="510" y="546"/>
                  </a:lnTo>
                  <a:lnTo>
                    <a:pt x="504" y="546"/>
                  </a:lnTo>
                  <a:lnTo>
                    <a:pt x="504" y="552"/>
                  </a:lnTo>
                  <a:lnTo>
                    <a:pt x="498" y="552"/>
                  </a:lnTo>
                  <a:lnTo>
                    <a:pt x="498" y="558"/>
                  </a:lnTo>
                  <a:lnTo>
                    <a:pt x="492" y="558"/>
                  </a:lnTo>
                  <a:lnTo>
                    <a:pt x="486" y="558"/>
                  </a:lnTo>
                  <a:lnTo>
                    <a:pt x="486" y="564"/>
                  </a:lnTo>
                  <a:lnTo>
                    <a:pt x="480" y="564"/>
                  </a:lnTo>
                  <a:lnTo>
                    <a:pt x="480" y="570"/>
                  </a:lnTo>
                  <a:lnTo>
                    <a:pt x="480" y="576"/>
                  </a:lnTo>
                  <a:lnTo>
                    <a:pt x="486" y="576"/>
                  </a:lnTo>
                  <a:lnTo>
                    <a:pt x="486" y="582"/>
                  </a:lnTo>
                  <a:lnTo>
                    <a:pt x="486" y="588"/>
                  </a:lnTo>
                  <a:lnTo>
                    <a:pt x="492" y="588"/>
                  </a:lnTo>
                  <a:lnTo>
                    <a:pt x="492" y="594"/>
                  </a:lnTo>
                  <a:lnTo>
                    <a:pt x="486" y="594"/>
                  </a:lnTo>
                  <a:lnTo>
                    <a:pt x="486" y="600"/>
                  </a:lnTo>
                  <a:lnTo>
                    <a:pt x="480" y="606"/>
                  </a:lnTo>
                  <a:lnTo>
                    <a:pt x="474" y="606"/>
                  </a:lnTo>
                  <a:lnTo>
                    <a:pt x="474" y="612"/>
                  </a:lnTo>
                  <a:lnTo>
                    <a:pt x="468" y="612"/>
                  </a:lnTo>
                  <a:lnTo>
                    <a:pt x="474" y="612"/>
                  </a:lnTo>
                  <a:lnTo>
                    <a:pt x="468" y="612"/>
                  </a:lnTo>
                  <a:lnTo>
                    <a:pt x="468" y="618"/>
                  </a:lnTo>
                  <a:lnTo>
                    <a:pt x="468" y="624"/>
                  </a:lnTo>
                  <a:lnTo>
                    <a:pt x="468" y="630"/>
                  </a:lnTo>
                  <a:lnTo>
                    <a:pt x="474" y="636"/>
                  </a:lnTo>
                  <a:lnTo>
                    <a:pt x="480" y="636"/>
                  </a:lnTo>
                  <a:lnTo>
                    <a:pt x="480" y="630"/>
                  </a:lnTo>
                  <a:lnTo>
                    <a:pt x="486" y="630"/>
                  </a:lnTo>
                  <a:lnTo>
                    <a:pt x="492" y="630"/>
                  </a:lnTo>
                  <a:lnTo>
                    <a:pt x="498" y="630"/>
                  </a:lnTo>
                  <a:lnTo>
                    <a:pt x="498" y="636"/>
                  </a:lnTo>
                  <a:lnTo>
                    <a:pt x="498" y="642"/>
                  </a:lnTo>
                  <a:lnTo>
                    <a:pt x="498" y="648"/>
                  </a:lnTo>
                  <a:lnTo>
                    <a:pt x="498" y="654"/>
                  </a:lnTo>
                  <a:lnTo>
                    <a:pt x="504" y="660"/>
                  </a:lnTo>
                  <a:lnTo>
                    <a:pt x="504" y="666"/>
                  </a:lnTo>
                  <a:lnTo>
                    <a:pt x="498" y="672"/>
                  </a:lnTo>
                  <a:lnTo>
                    <a:pt x="504" y="672"/>
                  </a:lnTo>
                  <a:lnTo>
                    <a:pt x="504" y="666"/>
                  </a:lnTo>
                  <a:lnTo>
                    <a:pt x="510" y="666"/>
                  </a:lnTo>
                  <a:lnTo>
                    <a:pt x="510" y="672"/>
                  </a:lnTo>
                  <a:lnTo>
                    <a:pt x="510" y="678"/>
                  </a:lnTo>
                  <a:lnTo>
                    <a:pt x="510" y="684"/>
                  </a:lnTo>
                  <a:lnTo>
                    <a:pt x="504" y="684"/>
                  </a:lnTo>
                  <a:lnTo>
                    <a:pt x="504" y="690"/>
                  </a:lnTo>
                  <a:lnTo>
                    <a:pt x="510" y="690"/>
                  </a:lnTo>
                  <a:lnTo>
                    <a:pt x="510" y="696"/>
                  </a:lnTo>
                  <a:lnTo>
                    <a:pt x="516" y="702"/>
                  </a:lnTo>
                  <a:lnTo>
                    <a:pt x="522" y="702"/>
                  </a:lnTo>
                  <a:lnTo>
                    <a:pt x="528" y="702"/>
                  </a:lnTo>
                  <a:lnTo>
                    <a:pt x="528" y="708"/>
                  </a:lnTo>
                  <a:lnTo>
                    <a:pt x="528" y="714"/>
                  </a:lnTo>
                  <a:lnTo>
                    <a:pt x="528" y="720"/>
                  </a:lnTo>
                  <a:lnTo>
                    <a:pt x="528" y="726"/>
                  </a:lnTo>
                  <a:lnTo>
                    <a:pt x="522" y="732"/>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8" name="Freeform 30"/>
            <p:cNvSpPr>
              <a:spLocks noEditPoints="1"/>
            </p:cNvSpPr>
            <p:nvPr>
              <p:custDataLst>
                <p:tags r:id="rId81"/>
              </p:custDataLst>
            </p:nvPr>
          </p:nvSpPr>
          <p:spPr bwMode="gray">
            <a:xfrm>
              <a:off x="5703888" y="2335213"/>
              <a:ext cx="461963" cy="401638"/>
            </a:xfrm>
            <a:custGeom>
              <a:avLst/>
              <a:gdLst>
                <a:gd name="T0" fmla="*/ 48452 w 372"/>
                <a:gd name="T1" fmla="*/ 14519 h 324"/>
                <a:gd name="T2" fmla="*/ 55235 w 372"/>
                <a:gd name="T3" fmla="*/ 31941 h 324"/>
                <a:gd name="T4" fmla="*/ 60081 w 372"/>
                <a:gd name="T5" fmla="*/ 44524 h 324"/>
                <a:gd name="T6" fmla="*/ 63957 w 372"/>
                <a:gd name="T7" fmla="*/ 57107 h 324"/>
                <a:gd name="T8" fmla="*/ 67834 w 372"/>
                <a:gd name="T9" fmla="*/ 57107 h 324"/>
                <a:gd name="T10" fmla="*/ 71710 w 372"/>
                <a:gd name="T11" fmla="*/ 57107 h 324"/>
                <a:gd name="T12" fmla="*/ 74616 w 372"/>
                <a:gd name="T13" fmla="*/ 63883 h 324"/>
                <a:gd name="T14" fmla="*/ 80431 w 372"/>
                <a:gd name="T15" fmla="*/ 61947 h 324"/>
                <a:gd name="T16" fmla="*/ 95935 w 372"/>
                <a:gd name="T17" fmla="*/ 70658 h 324"/>
                <a:gd name="T18" fmla="*/ 104657 w 372"/>
                <a:gd name="T19" fmla="*/ 83241 h 324"/>
                <a:gd name="T20" fmla="*/ 112409 w 372"/>
                <a:gd name="T21" fmla="*/ 89049 h 324"/>
                <a:gd name="T22" fmla="*/ 117254 w 372"/>
                <a:gd name="T23" fmla="*/ 97760 h 324"/>
                <a:gd name="T24" fmla="*/ 123069 w 372"/>
                <a:gd name="T25" fmla="*/ 104535 h 324"/>
                <a:gd name="T26" fmla="*/ 131790 w 372"/>
                <a:gd name="T27" fmla="*/ 108407 h 324"/>
                <a:gd name="T28" fmla="*/ 119193 w 372"/>
                <a:gd name="T29" fmla="*/ 112279 h 324"/>
                <a:gd name="T30" fmla="*/ 105626 w 372"/>
                <a:gd name="T31" fmla="*/ 99696 h 324"/>
                <a:gd name="T32" fmla="*/ 93998 w 372"/>
                <a:gd name="T33" fmla="*/ 89049 h 324"/>
                <a:gd name="T34" fmla="*/ 80431 w 372"/>
                <a:gd name="T35" fmla="*/ 78402 h 324"/>
                <a:gd name="T36" fmla="*/ 67834 w 372"/>
                <a:gd name="T37" fmla="*/ 74530 h 324"/>
                <a:gd name="T38" fmla="*/ 55235 w 372"/>
                <a:gd name="T39" fmla="*/ 74530 h 324"/>
                <a:gd name="T40" fmla="*/ 42638 w 372"/>
                <a:gd name="T41" fmla="*/ 74530 h 324"/>
                <a:gd name="T42" fmla="*/ 30040 w 372"/>
                <a:gd name="T43" fmla="*/ 65818 h 324"/>
                <a:gd name="T44" fmla="*/ 21319 w 372"/>
                <a:gd name="T45" fmla="*/ 80338 h 324"/>
                <a:gd name="T46" fmla="*/ 14536 w 372"/>
                <a:gd name="T47" fmla="*/ 74530 h 324"/>
                <a:gd name="T48" fmla="*/ 1938 w 372"/>
                <a:gd name="T49" fmla="*/ 70658 h 324"/>
                <a:gd name="T50" fmla="*/ 3876 w 372"/>
                <a:gd name="T51" fmla="*/ 55171 h 324"/>
                <a:gd name="T52" fmla="*/ 8721 w 372"/>
                <a:gd name="T53" fmla="*/ 36781 h 324"/>
                <a:gd name="T54" fmla="*/ 10660 w 372"/>
                <a:gd name="T55" fmla="*/ 26134 h 324"/>
                <a:gd name="T56" fmla="*/ 21319 w 372"/>
                <a:gd name="T57" fmla="*/ 19358 h 324"/>
                <a:gd name="T58" fmla="*/ 33916 w 372"/>
                <a:gd name="T59" fmla="*/ 10647 h 324"/>
                <a:gd name="T60" fmla="*/ 70740 w 372"/>
                <a:gd name="T61" fmla="*/ 46460 h 324"/>
                <a:gd name="T62" fmla="*/ 71710 w 372"/>
                <a:gd name="T63" fmla="*/ 44524 h 324"/>
                <a:gd name="T64" fmla="*/ 78493 w 372"/>
                <a:gd name="T65" fmla="*/ 48396 h 324"/>
                <a:gd name="T66" fmla="*/ 70740 w 372"/>
                <a:gd name="T67" fmla="*/ 48396 h 324"/>
                <a:gd name="T68" fmla="*/ 76555 w 372"/>
                <a:gd name="T69" fmla="*/ 60011 h 324"/>
                <a:gd name="T70" fmla="*/ 74616 w 372"/>
                <a:gd name="T71" fmla="*/ 48396 h 324"/>
                <a:gd name="T72" fmla="*/ 60081 w 372"/>
                <a:gd name="T73" fmla="*/ 37749 h 324"/>
                <a:gd name="T74" fmla="*/ 71710 w 372"/>
                <a:gd name="T75" fmla="*/ 40653 h 324"/>
                <a:gd name="T76" fmla="*/ 63957 w 372"/>
                <a:gd name="T77" fmla="*/ 42588 h 324"/>
                <a:gd name="T78" fmla="*/ 71710 w 372"/>
                <a:gd name="T79" fmla="*/ 46460 h 324"/>
                <a:gd name="T80" fmla="*/ 127914 w 372"/>
                <a:gd name="T81" fmla="*/ 105503 h 324"/>
                <a:gd name="T82" fmla="*/ 87214 w 372"/>
                <a:gd name="T83" fmla="*/ 51300 h 324"/>
                <a:gd name="T84" fmla="*/ 76555 w 372"/>
                <a:gd name="T85" fmla="*/ 51300 h 324"/>
                <a:gd name="T86" fmla="*/ 91090 w 372"/>
                <a:gd name="T87" fmla="*/ 51300 h 324"/>
                <a:gd name="T88" fmla="*/ 83338 w 372"/>
                <a:gd name="T89" fmla="*/ 42588 h 324"/>
                <a:gd name="T90" fmla="*/ 125007 w 372"/>
                <a:gd name="T91" fmla="*/ 104535 h 324"/>
                <a:gd name="T92" fmla="*/ 65895 w 372"/>
                <a:gd name="T93" fmla="*/ 36781 h 324"/>
                <a:gd name="T94" fmla="*/ 76555 w 372"/>
                <a:gd name="T95" fmla="*/ 44524 h 324"/>
                <a:gd name="T96" fmla="*/ 74616 w 372"/>
                <a:gd name="T97" fmla="*/ 57107 h 324"/>
                <a:gd name="T98" fmla="*/ 127914 w 372"/>
                <a:gd name="T99" fmla="*/ 104535 h 324"/>
                <a:gd name="T100" fmla="*/ 115317 w 372"/>
                <a:gd name="T101" fmla="*/ 89049 h 324"/>
                <a:gd name="T102" fmla="*/ 85276 w 372"/>
                <a:gd name="T103" fmla="*/ 46460 h 324"/>
                <a:gd name="T104" fmla="*/ 58143 w 372"/>
                <a:gd name="T105" fmla="*/ 30005 h 324"/>
                <a:gd name="T106" fmla="*/ 115317 w 372"/>
                <a:gd name="T107" fmla="*/ 89049 h 324"/>
                <a:gd name="T108" fmla="*/ 127914 w 372"/>
                <a:gd name="T109" fmla="*/ 105503 h 324"/>
                <a:gd name="T110" fmla="*/ 80431 w 372"/>
                <a:gd name="T111" fmla="*/ 48396 h 324"/>
                <a:gd name="T112" fmla="*/ 127914 w 372"/>
                <a:gd name="T113" fmla="*/ 101632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2" h="324">
                  <a:moveTo>
                    <a:pt x="120" y="0"/>
                  </a:moveTo>
                  <a:lnTo>
                    <a:pt x="120" y="6"/>
                  </a:lnTo>
                  <a:lnTo>
                    <a:pt x="126" y="6"/>
                  </a:lnTo>
                  <a:lnTo>
                    <a:pt x="126" y="12"/>
                  </a:lnTo>
                  <a:lnTo>
                    <a:pt x="126" y="18"/>
                  </a:lnTo>
                  <a:lnTo>
                    <a:pt x="132" y="18"/>
                  </a:lnTo>
                  <a:lnTo>
                    <a:pt x="132" y="24"/>
                  </a:lnTo>
                  <a:lnTo>
                    <a:pt x="138" y="30"/>
                  </a:lnTo>
                  <a:lnTo>
                    <a:pt x="138" y="36"/>
                  </a:lnTo>
                  <a:lnTo>
                    <a:pt x="138" y="42"/>
                  </a:lnTo>
                  <a:lnTo>
                    <a:pt x="144" y="42"/>
                  </a:lnTo>
                  <a:lnTo>
                    <a:pt x="144" y="48"/>
                  </a:lnTo>
                  <a:lnTo>
                    <a:pt x="144" y="54"/>
                  </a:lnTo>
                  <a:lnTo>
                    <a:pt x="144" y="60"/>
                  </a:lnTo>
                  <a:lnTo>
                    <a:pt x="144" y="66"/>
                  </a:lnTo>
                  <a:lnTo>
                    <a:pt x="150" y="66"/>
                  </a:lnTo>
                  <a:lnTo>
                    <a:pt x="150" y="72"/>
                  </a:lnTo>
                  <a:lnTo>
                    <a:pt x="150" y="78"/>
                  </a:lnTo>
                  <a:lnTo>
                    <a:pt x="150" y="84"/>
                  </a:lnTo>
                  <a:lnTo>
                    <a:pt x="156" y="90"/>
                  </a:lnTo>
                  <a:lnTo>
                    <a:pt x="150" y="90"/>
                  </a:lnTo>
                  <a:lnTo>
                    <a:pt x="156" y="90"/>
                  </a:lnTo>
                  <a:lnTo>
                    <a:pt x="156" y="96"/>
                  </a:lnTo>
                  <a:lnTo>
                    <a:pt x="156" y="102"/>
                  </a:lnTo>
                  <a:lnTo>
                    <a:pt x="156" y="108"/>
                  </a:lnTo>
                  <a:lnTo>
                    <a:pt x="156" y="114"/>
                  </a:lnTo>
                  <a:lnTo>
                    <a:pt x="156" y="120"/>
                  </a:lnTo>
                  <a:lnTo>
                    <a:pt x="162" y="120"/>
                  </a:lnTo>
                  <a:lnTo>
                    <a:pt x="162" y="126"/>
                  </a:lnTo>
                  <a:lnTo>
                    <a:pt x="168" y="126"/>
                  </a:lnTo>
                  <a:lnTo>
                    <a:pt x="168" y="132"/>
                  </a:lnTo>
                  <a:lnTo>
                    <a:pt x="168" y="138"/>
                  </a:lnTo>
                  <a:lnTo>
                    <a:pt x="168" y="144"/>
                  </a:lnTo>
                  <a:lnTo>
                    <a:pt x="174" y="144"/>
                  </a:lnTo>
                  <a:lnTo>
                    <a:pt x="180" y="144"/>
                  </a:lnTo>
                  <a:lnTo>
                    <a:pt x="180" y="150"/>
                  </a:lnTo>
                  <a:lnTo>
                    <a:pt x="180" y="156"/>
                  </a:lnTo>
                  <a:lnTo>
                    <a:pt x="180" y="162"/>
                  </a:lnTo>
                  <a:lnTo>
                    <a:pt x="186" y="162"/>
                  </a:lnTo>
                  <a:lnTo>
                    <a:pt x="180" y="162"/>
                  </a:lnTo>
                  <a:lnTo>
                    <a:pt x="180" y="168"/>
                  </a:lnTo>
                  <a:lnTo>
                    <a:pt x="186" y="168"/>
                  </a:lnTo>
                  <a:lnTo>
                    <a:pt x="186" y="174"/>
                  </a:lnTo>
                  <a:lnTo>
                    <a:pt x="186" y="168"/>
                  </a:lnTo>
                  <a:lnTo>
                    <a:pt x="186" y="174"/>
                  </a:lnTo>
                  <a:lnTo>
                    <a:pt x="186" y="168"/>
                  </a:lnTo>
                  <a:lnTo>
                    <a:pt x="186" y="174"/>
                  </a:lnTo>
                  <a:lnTo>
                    <a:pt x="186" y="168"/>
                  </a:lnTo>
                  <a:lnTo>
                    <a:pt x="192" y="168"/>
                  </a:lnTo>
                  <a:lnTo>
                    <a:pt x="192" y="162"/>
                  </a:lnTo>
                  <a:lnTo>
                    <a:pt x="186" y="162"/>
                  </a:lnTo>
                  <a:lnTo>
                    <a:pt x="186" y="156"/>
                  </a:lnTo>
                  <a:lnTo>
                    <a:pt x="186" y="150"/>
                  </a:lnTo>
                  <a:lnTo>
                    <a:pt x="192" y="150"/>
                  </a:lnTo>
                  <a:lnTo>
                    <a:pt x="192" y="144"/>
                  </a:lnTo>
                  <a:lnTo>
                    <a:pt x="192" y="150"/>
                  </a:lnTo>
                  <a:lnTo>
                    <a:pt x="198" y="150"/>
                  </a:lnTo>
                  <a:lnTo>
                    <a:pt x="198" y="156"/>
                  </a:lnTo>
                  <a:lnTo>
                    <a:pt x="204" y="156"/>
                  </a:lnTo>
                  <a:lnTo>
                    <a:pt x="204" y="162"/>
                  </a:lnTo>
                  <a:lnTo>
                    <a:pt x="198" y="162"/>
                  </a:lnTo>
                  <a:lnTo>
                    <a:pt x="204" y="162"/>
                  </a:lnTo>
                  <a:lnTo>
                    <a:pt x="204" y="168"/>
                  </a:lnTo>
                  <a:lnTo>
                    <a:pt x="204" y="174"/>
                  </a:lnTo>
                  <a:lnTo>
                    <a:pt x="204" y="168"/>
                  </a:lnTo>
                  <a:lnTo>
                    <a:pt x="204" y="174"/>
                  </a:lnTo>
                  <a:lnTo>
                    <a:pt x="210" y="174"/>
                  </a:lnTo>
                  <a:lnTo>
                    <a:pt x="204" y="174"/>
                  </a:lnTo>
                  <a:lnTo>
                    <a:pt x="210" y="174"/>
                  </a:lnTo>
                  <a:lnTo>
                    <a:pt x="210" y="180"/>
                  </a:lnTo>
                  <a:lnTo>
                    <a:pt x="216" y="180"/>
                  </a:lnTo>
                  <a:lnTo>
                    <a:pt x="222" y="180"/>
                  </a:lnTo>
                  <a:lnTo>
                    <a:pt x="216" y="180"/>
                  </a:lnTo>
                  <a:lnTo>
                    <a:pt x="222" y="180"/>
                  </a:lnTo>
                  <a:lnTo>
                    <a:pt x="222" y="174"/>
                  </a:lnTo>
                  <a:lnTo>
                    <a:pt x="222" y="180"/>
                  </a:lnTo>
                  <a:lnTo>
                    <a:pt x="222" y="174"/>
                  </a:lnTo>
                  <a:lnTo>
                    <a:pt x="228" y="174"/>
                  </a:lnTo>
                  <a:lnTo>
                    <a:pt x="228" y="180"/>
                  </a:lnTo>
                  <a:lnTo>
                    <a:pt x="228" y="174"/>
                  </a:lnTo>
                  <a:lnTo>
                    <a:pt x="228" y="180"/>
                  </a:lnTo>
                  <a:lnTo>
                    <a:pt x="234" y="180"/>
                  </a:lnTo>
                  <a:lnTo>
                    <a:pt x="240" y="180"/>
                  </a:lnTo>
                  <a:lnTo>
                    <a:pt x="240" y="186"/>
                  </a:lnTo>
                  <a:lnTo>
                    <a:pt x="240" y="192"/>
                  </a:lnTo>
                  <a:lnTo>
                    <a:pt x="246" y="192"/>
                  </a:lnTo>
                  <a:lnTo>
                    <a:pt x="252" y="192"/>
                  </a:lnTo>
                  <a:lnTo>
                    <a:pt x="258" y="192"/>
                  </a:lnTo>
                  <a:lnTo>
                    <a:pt x="264" y="198"/>
                  </a:lnTo>
                  <a:lnTo>
                    <a:pt x="270" y="198"/>
                  </a:lnTo>
                  <a:lnTo>
                    <a:pt x="270" y="204"/>
                  </a:lnTo>
                  <a:lnTo>
                    <a:pt x="276" y="210"/>
                  </a:lnTo>
                  <a:lnTo>
                    <a:pt x="276" y="216"/>
                  </a:lnTo>
                  <a:lnTo>
                    <a:pt x="282" y="216"/>
                  </a:lnTo>
                  <a:lnTo>
                    <a:pt x="282" y="222"/>
                  </a:lnTo>
                  <a:lnTo>
                    <a:pt x="288" y="222"/>
                  </a:lnTo>
                  <a:lnTo>
                    <a:pt x="288" y="228"/>
                  </a:lnTo>
                  <a:lnTo>
                    <a:pt x="288" y="234"/>
                  </a:lnTo>
                  <a:lnTo>
                    <a:pt x="288" y="228"/>
                  </a:lnTo>
                  <a:lnTo>
                    <a:pt x="294" y="234"/>
                  </a:lnTo>
                  <a:lnTo>
                    <a:pt x="294" y="240"/>
                  </a:lnTo>
                  <a:lnTo>
                    <a:pt x="294" y="234"/>
                  </a:lnTo>
                  <a:lnTo>
                    <a:pt x="300" y="240"/>
                  </a:lnTo>
                  <a:lnTo>
                    <a:pt x="300" y="234"/>
                  </a:lnTo>
                  <a:lnTo>
                    <a:pt x="300" y="240"/>
                  </a:lnTo>
                  <a:lnTo>
                    <a:pt x="306" y="240"/>
                  </a:lnTo>
                  <a:lnTo>
                    <a:pt x="312" y="240"/>
                  </a:lnTo>
                  <a:lnTo>
                    <a:pt x="312" y="246"/>
                  </a:lnTo>
                  <a:lnTo>
                    <a:pt x="312" y="252"/>
                  </a:lnTo>
                  <a:lnTo>
                    <a:pt x="318" y="252"/>
                  </a:lnTo>
                  <a:lnTo>
                    <a:pt x="318" y="258"/>
                  </a:lnTo>
                  <a:lnTo>
                    <a:pt x="324" y="258"/>
                  </a:lnTo>
                  <a:lnTo>
                    <a:pt x="324" y="252"/>
                  </a:lnTo>
                  <a:lnTo>
                    <a:pt x="318" y="252"/>
                  </a:lnTo>
                  <a:lnTo>
                    <a:pt x="324" y="252"/>
                  </a:lnTo>
                  <a:lnTo>
                    <a:pt x="324" y="258"/>
                  </a:lnTo>
                  <a:lnTo>
                    <a:pt x="330" y="258"/>
                  </a:lnTo>
                  <a:lnTo>
                    <a:pt x="330" y="264"/>
                  </a:lnTo>
                  <a:lnTo>
                    <a:pt x="330" y="270"/>
                  </a:lnTo>
                  <a:lnTo>
                    <a:pt x="330" y="276"/>
                  </a:lnTo>
                  <a:lnTo>
                    <a:pt x="336" y="276"/>
                  </a:lnTo>
                  <a:lnTo>
                    <a:pt x="336" y="282"/>
                  </a:lnTo>
                  <a:lnTo>
                    <a:pt x="336" y="276"/>
                  </a:lnTo>
                  <a:lnTo>
                    <a:pt x="342" y="276"/>
                  </a:lnTo>
                  <a:lnTo>
                    <a:pt x="342" y="282"/>
                  </a:lnTo>
                  <a:lnTo>
                    <a:pt x="348" y="282"/>
                  </a:lnTo>
                  <a:lnTo>
                    <a:pt x="348" y="288"/>
                  </a:lnTo>
                  <a:lnTo>
                    <a:pt x="354" y="288"/>
                  </a:lnTo>
                  <a:lnTo>
                    <a:pt x="354" y="294"/>
                  </a:lnTo>
                  <a:lnTo>
                    <a:pt x="348" y="294"/>
                  </a:lnTo>
                  <a:lnTo>
                    <a:pt x="354" y="294"/>
                  </a:lnTo>
                  <a:lnTo>
                    <a:pt x="354" y="300"/>
                  </a:lnTo>
                  <a:lnTo>
                    <a:pt x="360" y="300"/>
                  </a:lnTo>
                  <a:lnTo>
                    <a:pt x="354" y="300"/>
                  </a:lnTo>
                  <a:lnTo>
                    <a:pt x="360" y="300"/>
                  </a:lnTo>
                  <a:lnTo>
                    <a:pt x="366" y="300"/>
                  </a:lnTo>
                  <a:lnTo>
                    <a:pt x="366" y="294"/>
                  </a:lnTo>
                  <a:lnTo>
                    <a:pt x="366" y="300"/>
                  </a:lnTo>
                  <a:lnTo>
                    <a:pt x="372" y="300"/>
                  </a:lnTo>
                  <a:lnTo>
                    <a:pt x="372" y="306"/>
                  </a:lnTo>
                  <a:lnTo>
                    <a:pt x="366" y="306"/>
                  </a:lnTo>
                  <a:lnTo>
                    <a:pt x="366" y="312"/>
                  </a:lnTo>
                  <a:lnTo>
                    <a:pt x="360" y="312"/>
                  </a:lnTo>
                  <a:lnTo>
                    <a:pt x="360" y="318"/>
                  </a:lnTo>
                  <a:lnTo>
                    <a:pt x="354" y="318"/>
                  </a:lnTo>
                  <a:lnTo>
                    <a:pt x="354" y="324"/>
                  </a:lnTo>
                  <a:lnTo>
                    <a:pt x="348" y="324"/>
                  </a:lnTo>
                  <a:lnTo>
                    <a:pt x="342" y="324"/>
                  </a:lnTo>
                  <a:lnTo>
                    <a:pt x="342" y="318"/>
                  </a:lnTo>
                  <a:lnTo>
                    <a:pt x="336" y="318"/>
                  </a:lnTo>
                  <a:lnTo>
                    <a:pt x="330" y="318"/>
                  </a:lnTo>
                  <a:lnTo>
                    <a:pt x="330" y="312"/>
                  </a:lnTo>
                  <a:lnTo>
                    <a:pt x="324" y="312"/>
                  </a:lnTo>
                  <a:lnTo>
                    <a:pt x="324" y="306"/>
                  </a:lnTo>
                  <a:lnTo>
                    <a:pt x="318" y="306"/>
                  </a:lnTo>
                  <a:lnTo>
                    <a:pt x="318" y="300"/>
                  </a:lnTo>
                  <a:lnTo>
                    <a:pt x="312" y="300"/>
                  </a:lnTo>
                  <a:lnTo>
                    <a:pt x="306" y="294"/>
                  </a:lnTo>
                  <a:lnTo>
                    <a:pt x="306" y="288"/>
                  </a:lnTo>
                  <a:lnTo>
                    <a:pt x="300" y="282"/>
                  </a:lnTo>
                  <a:lnTo>
                    <a:pt x="300" y="276"/>
                  </a:lnTo>
                  <a:lnTo>
                    <a:pt x="294" y="276"/>
                  </a:lnTo>
                  <a:lnTo>
                    <a:pt x="294" y="270"/>
                  </a:lnTo>
                  <a:lnTo>
                    <a:pt x="288" y="270"/>
                  </a:lnTo>
                  <a:lnTo>
                    <a:pt x="282" y="264"/>
                  </a:lnTo>
                  <a:lnTo>
                    <a:pt x="276" y="264"/>
                  </a:lnTo>
                  <a:lnTo>
                    <a:pt x="276" y="258"/>
                  </a:lnTo>
                  <a:lnTo>
                    <a:pt x="270" y="258"/>
                  </a:lnTo>
                  <a:lnTo>
                    <a:pt x="270" y="252"/>
                  </a:lnTo>
                  <a:lnTo>
                    <a:pt x="264" y="252"/>
                  </a:lnTo>
                  <a:lnTo>
                    <a:pt x="264" y="246"/>
                  </a:lnTo>
                  <a:lnTo>
                    <a:pt x="258" y="240"/>
                  </a:lnTo>
                  <a:lnTo>
                    <a:pt x="258" y="234"/>
                  </a:lnTo>
                  <a:lnTo>
                    <a:pt x="252" y="234"/>
                  </a:lnTo>
                  <a:lnTo>
                    <a:pt x="252" y="228"/>
                  </a:lnTo>
                  <a:lnTo>
                    <a:pt x="246" y="228"/>
                  </a:lnTo>
                  <a:lnTo>
                    <a:pt x="246" y="222"/>
                  </a:lnTo>
                  <a:lnTo>
                    <a:pt x="240" y="222"/>
                  </a:lnTo>
                  <a:lnTo>
                    <a:pt x="234" y="222"/>
                  </a:lnTo>
                  <a:lnTo>
                    <a:pt x="228" y="222"/>
                  </a:lnTo>
                  <a:lnTo>
                    <a:pt x="228" y="216"/>
                  </a:lnTo>
                  <a:lnTo>
                    <a:pt x="222" y="216"/>
                  </a:lnTo>
                  <a:lnTo>
                    <a:pt x="222" y="210"/>
                  </a:lnTo>
                  <a:lnTo>
                    <a:pt x="216" y="210"/>
                  </a:lnTo>
                  <a:lnTo>
                    <a:pt x="210" y="210"/>
                  </a:lnTo>
                  <a:lnTo>
                    <a:pt x="210" y="204"/>
                  </a:lnTo>
                  <a:lnTo>
                    <a:pt x="204" y="204"/>
                  </a:lnTo>
                  <a:lnTo>
                    <a:pt x="198" y="204"/>
                  </a:lnTo>
                  <a:lnTo>
                    <a:pt x="198" y="210"/>
                  </a:lnTo>
                  <a:lnTo>
                    <a:pt x="192" y="210"/>
                  </a:lnTo>
                  <a:lnTo>
                    <a:pt x="192" y="204"/>
                  </a:lnTo>
                  <a:lnTo>
                    <a:pt x="186" y="204"/>
                  </a:lnTo>
                  <a:lnTo>
                    <a:pt x="180" y="204"/>
                  </a:lnTo>
                  <a:lnTo>
                    <a:pt x="174" y="204"/>
                  </a:lnTo>
                  <a:lnTo>
                    <a:pt x="174" y="198"/>
                  </a:lnTo>
                  <a:lnTo>
                    <a:pt x="174" y="204"/>
                  </a:lnTo>
                  <a:lnTo>
                    <a:pt x="168" y="204"/>
                  </a:lnTo>
                  <a:lnTo>
                    <a:pt x="162" y="204"/>
                  </a:lnTo>
                  <a:lnTo>
                    <a:pt x="156" y="204"/>
                  </a:lnTo>
                  <a:lnTo>
                    <a:pt x="156" y="210"/>
                  </a:lnTo>
                  <a:lnTo>
                    <a:pt x="156" y="204"/>
                  </a:lnTo>
                  <a:lnTo>
                    <a:pt x="156" y="198"/>
                  </a:lnTo>
                  <a:lnTo>
                    <a:pt x="150" y="198"/>
                  </a:lnTo>
                  <a:lnTo>
                    <a:pt x="144" y="198"/>
                  </a:lnTo>
                  <a:lnTo>
                    <a:pt x="144" y="204"/>
                  </a:lnTo>
                  <a:lnTo>
                    <a:pt x="138" y="204"/>
                  </a:lnTo>
                  <a:lnTo>
                    <a:pt x="132" y="204"/>
                  </a:lnTo>
                  <a:lnTo>
                    <a:pt x="126" y="204"/>
                  </a:lnTo>
                  <a:lnTo>
                    <a:pt x="126" y="210"/>
                  </a:lnTo>
                  <a:lnTo>
                    <a:pt x="120" y="210"/>
                  </a:lnTo>
                  <a:lnTo>
                    <a:pt x="114" y="210"/>
                  </a:lnTo>
                  <a:lnTo>
                    <a:pt x="114" y="204"/>
                  </a:lnTo>
                  <a:lnTo>
                    <a:pt x="108" y="204"/>
                  </a:lnTo>
                  <a:lnTo>
                    <a:pt x="108" y="198"/>
                  </a:lnTo>
                  <a:lnTo>
                    <a:pt x="102" y="198"/>
                  </a:lnTo>
                  <a:lnTo>
                    <a:pt x="102" y="192"/>
                  </a:lnTo>
                  <a:lnTo>
                    <a:pt x="96" y="192"/>
                  </a:lnTo>
                  <a:lnTo>
                    <a:pt x="90" y="192"/>
                  </a:lnTo>
                  <a:lnTo>
                    <a:pt x="90" y="186"/>
                  </a:lnTo>
                  <a:lnTo>
                    <a:pt x="84" y="186"/>
                  </a:lnTo>
                  <a:lnTo>
                    <a:pt x="84" y="180"/>
                  </a:lnTo>
                  <a:lnTo>
                    <a:pt x="78" y="186"/>
                  </a:lnTo>
                  <a:lnTo>
                    <a:pt x="78" y="192"/>
                  </a:lnTo>
                  <a:lnTo>
                    <a:pt x="78" y="198"/>
                  </a:lnTo>
                  <a:lnTo>
                    <a:pt x="72" y="204"/>
                  </a:lnTo>
                  <a:lnTo>
                    <a:pt x="72" y="210"/>
                  </a:lnTo>
                  <a:lnTo>
                    <a:pt x="66" y="216"/>
                  </a:lnTo>
                  <a:lnTo>
                    <a:pt x="66" y="222"/>
                  </a:lnTo>
                  <a:lnTo>
                    <a:pt x="66" y="228"/>
                  </a:lnTo>
                  <a:lnTo>
                    <a:pt x="60" y="228"/>
                  </a:lnTo>
                  <a:lnTo>
                    <a:pt x="60" y="222"/>
                  </a:lnTo>
                  <a:lnTo>
                    <a:pt x="60" y="216"/>
                  </a:lnTo>
                  <a:lnTo>
                    <a:pt x="54" y="216"/>
                  </a:lnTo>
                  <a:lnTo>
                    <a:pt x="54" y="210"/>
                  </a:lnTo>
                  <a:lnTo>
                    <a:pt x="48" y="210"/>
                  </a:lnTo>
                  <a:lnTo>
                    <a:pt x="48" y="204"/>
                  </a:lnTo>
                  <a:lnTo>
                    <a:pt x="48" y="210"/>
                  </a:lnTo>
                  <a:lnTo>
                    <a:pt x="48" y="204"/>
                  </a:lnTo>
                  <a:lnTo>
                    <a:pt x="42" y="204"/>
                  </a:lnTo>
                  <a:lnTo>
                    <a:pt x="42" y="210"/>
                  </a:lnTo>
                  <a:lnTo>
                    <a:pt x="36" y="210"/>
                  </a:lnTo>
                  <a:lnTo>
                    <a:pt x="36" y="216"/>
                  </a:lnTo>
                  <a:lnTo>
                    <a:pt x="30" y="216"/>
                  </a:lnTo>
                  <a:lnTo>
                    <a:pt x="24" y="216"/>
                  </a:lnTo>
                  <a:lnTo>
                    <a:pt x="18" y="216"/>
                  </a:lnTo>
                  <a:lnTo>
                    <a:pt x="12" y="216"/>
                  </a:lnTo>
                  <a:lnTo>
                    <a:pt x="6" y="216"/>
                  </a:lnTo>
                  <a:lnTo>
                    <a:pt x="6" y="210"/>
                  </a:lnTo>
                  <a:lnTo>
                    <a:pt x="6" y="204"/>
                  </a:lnTo>
                  <a:lnTo>
                    <a:pt x="6" y="198"/>
                  </a:lnTo>
                  <a:lnTo>
                    <a:pt x="6" y="192"/>
                  </a:lnTo>
                  <a:lnTo>
                    <a:pt x="6" y="186"/>
                  </a:lnTo>
                  <a:lnTo>
                    <a:pt x="0" y="186"/>
                  </a:lnTo>
                  <a:lnTo>
                    <a:pt x="0" y="180"/>
                  </a:lnTo>
                  <a:lnTo>
                    <a:pt x="0" y="174"/>
                  </a:lnTo>
                  <a:lnTo>
                    <a:pt x="0" y="168"/>
                  </a:lnTo>
                  <a:lnTo>
                    <a:pt x="0" y="162"/>
                  </a:lnTo>
                  <a:lnTo>
                    <a:pt x="6" y="162"/>
                  </a:lnTo>
                  <a:lnTo>
                    <a:pt x="6" y="156"/>
                  </a:lnTo>
                  <a:lnTo>
                    <a:pt x="12" y="156"/>
                  </a:lnTo>
                  <a:lnTo>
                    <a:pt x="12" y="150"/>
                  </a:lnTo>
                  <a:lnTo>
                    <a:pt x="12" y="144"/>
                  </a:lnTo>
                  <a:lnTo>
                    <a:pt x="12" y="138"/>
                  </a:lnTo>
                  <a:lnTo>
                    <a:pt x="18" y="132"/>
                  </a:lnTo>
                  <a:lnTo>
                    <a:pt x="18" y="126"/>
                  </a:lnTo>
                  <a:lnTo>
                    <a:pt x="18" y="120"/>
                  </a:lnTo>
                  <a:lnTo>
                    <a:pt x="24" y="120"/>
                  </a:lnTo>
                  <a:lnTo>
                    <a:pt x="24" y="114"/>
                  </a:lnTo>
                  <a:lnTo>
                    <a:pt x="24" y="108"/>
                  </a:lnTo>
                  <a:lnTo>
                    <a:pt x="24" y="102"/>
                  </a:lnTo>
                  <a:lnTo>
                    <a:pt x="30" y="102"/>
                  </a:lnTo>
                  <a:lnTo>
                    <a:pt x="30" y="96"/>
                  </a:lnTo>
                  <a:lnTo>
                    <a:pt x="30" y="90"/>
                  </a:lnTo>
                  <a:lnTo>
                    <a:pt x="24" y="90"/>
                  </a:lnTo>
                  <a:lnTo>
                    <a:pt x="24" y="84"/>
                  </a:lnTo>
                  <a:lnTo>
                    <a:pt x="24" y="78"/>
                  </a:lnTo>
                  <a:lnTo>
                    <a:pt x="30" y="78"/>
                  </a:lnTo>
                  <a:lnTo>
                    <a:pt x="30" y="72"/>
                  </a:lnTo>
                  <a:lnTo>
                    <a:pt x="36" y="72"/>
                  </a:lnTo>
                  <a:lnTo>
                    <a:pt x="30" y="72"/>
                  </a:lnTo>
                  <a:lnTo>
                    <a:pt x="30" y="66"/>
                  </a:lnTo>
                  <a:lnTo>
                    <a:pt x="30" y="60"/>
                  </a:lnTo>
                  <a:lnTo>
                    <a:pt x="36" y="60"/>
                  </a:lnTo>
                  <a:lnTo>
                    <a:pt x="36" y="54"/>
                  </a:lnTo>
                  <a:lnTo>
                    <a:pt x="30" y="54"/>
                  </a:lnTo>
                  <a:lnTo>
                    <a:pt x="36" y="54"/>
                  </a:lnTo>
                  <a:lnTo>
                    <a:pt x="42" y="54"/>
                  </a:lnTo>
                  <a:lnTo>
                    <a:pt x="48" y="54"/>
                  </a:lnTo>
                  <a:lnTo>
                    <a:pt x="54" y="54"/>
                  </a:lnTo>
                  <a:lnTo>
                    <a:pt x="60" y="54"/>
                  </a:lnTo>
                  <a:lnTo>
                    <a:pt x="60" y="48"/>
                  </a:lnTo>
                  <a:lnTo>
                    <a:pt x="60" y="42"/>
                  </a:lnTo>
                  <a:lnTo>
                    <a:pt x="66" y="36"/>
                  </a:lnTo>
                  <a:lnTo>
                    <a:pt x="72" y="36"/>
                  </a:lnTo>
                  <a:lnTo>
                    <a:pt x="78" y="36"/>
                  </a:lnTo>
                  <a:lnTo>
                    <a:pt x="78" y="30"/>
                  </a:lnTo>
                  <a:lnTo>
                    <a:pt x="84" y="30"/>
                  </a:lnTo>
                  <a:lnTo>
                    <a:pt x="90" y="24"/>
                  </a:lnTo>
                  <a:lnTo>
                    <a:pt x="90" y="30"/>
                  </a:lnTo>
                  <a:lnTo>
                    <a:pt x="96" y="30"/>
                  </a:lnTo>
                  <a:lnTo>
                    <a:pt x="96" y="24"/>
                  </a:lnTo>
                  <a:lnTo>
                    <a:pt x="96" y="30"/>
                  </a:lnTo>
                  <a:lnTo>
                    <a:pt x="102" y="24"/>
                  </a:lnTo>
                  <a:lnTo>
                    <a:pt x="108" y="24"/>
                  </a:lnTo>
                  <a:lnTo>
                    <a:pt x="108" y="18"/>
                  </a:lnTo>
                  <a:lnTo>
                    <a:pt x="108" y="12"/>
                  </a:lnTo>
                  <a:lnTo>
                    <a:pt x="114" y="6"/>
                  </a:lnTo>
                  <a:lnTo>
                    <a:pt x="120" y="0"/>
                  </a:lnTo>
                  <a:close/>
                  <a:moveTo>
                    <a:pt x="192" y="132"/>
                  </a:moveTo>
                  <a:lnTo>
                    <a:pt x="198" y="132"/>
                  </a:lnTo>
                  <a:lnTo>
                    <a:pt x="198" y="138"/>
                  </a:lnTo>
                  <a:lnTo>
                    <a:pt x="204" y="138"/>
                  </a:lnTo>
                  <a:lnTo>
                    <a:pt x="204" y="132"/>
                  </a:lnTo>
                  <a:lnTo>
                    <a:pt x="198" y="132"/>
                  </a:lnTo>
                  <a:lnTo>
                    <a:pt x="192" y="132"/>
                  </a:lnTo>
                  <a:lnTo>
                    <a:pt x="198" y="132"/>
                  </a:lnTo>
                  <a:lnTo>
                    <a:pt x="198" y="126"/>
                  </a:lnTo>
                  <a:lnTo>
                    <a:pt x="204" y="126"/>
                  </a:lnTo>
                  <a:lnTo>
                    <a:pt x="198" y="126"/>
                  </a:lnTo>
                  <a:lnTo>
                    <a:pt x="204" y="126"/>
                  </a:lnTo>
                  <a:lnTo>
                    <a:pt x="204" y="132"/>
                  </a:lnTo>
                  <a:lnTo>
                    <a:pt x="210" y="138"/>
                  </a:lnTo>
                  <a:lnTo>
                    <a:pt x="216" y="138"/>
                  </a:lnTo>
                  <a:lnTo>
                    <a:pt x="210" y="138"/>
                  </a:lnTo>
                  <a:lnTo>
                    <a:pt x="210" y="132"/>
                  </a:lnTo>
                  <a:lnTo>
                    <a:pt x="216" y="132"/>
                  </a:lnTo>
                  <a:lnTo>
                    <a:pt x="216" y="138"/>
                  </a:lnTo>
                  <a:lnTo>
                    <a:pt x="222" y="138"/>
                  </a:lnTo>
                  <a:lnTo>
                    <a:pt x="216" y="138"/>
                  </a:lnTo>
                  <a:lnTo>
                    <a:pt x="222" y="138"/>
                  </a:lnTo>
                  <a:lnTo>
                    <a:pt x="222" y="144"/>
                  </a:lnTo>
                  <a:lnTo>
                    <a:pt x="216" y="144"/>
                  </a:lnTo>
                  <a:lnTo>
                    <a:pt x="210" y="144"/>
                  </a:lnTo>
                  <a:lnTo>
                    <a:pt x="210" y="138"/>
                  </a:lnTo>
                  <a:lnTo>
                    <a:pt x="210" y="144"/>
                  </a:lnTo>
                  <a:lnTo>
                    <a:pt x="204" y="138"/>
                  </a:lnTo>
                  <a:lnTo>
                    <a:pt x="204" y="144"/>
                  </a:lnTo>
                  <a:lnTo>
                    <a:pt x="198" y="138"/>
                  </a:lnTo>
                  <a:lnTo>
                    <a:pt x="198" y="132"/>
                  </a:lnTo>
                  <a:lnTo>
                    <a:pt x="198" y="138"/>
                  </a:lnTo>
                  <a:lnTo>
                    <a:pt x="192" y="138"/>
                  </a:lnTo>
                  <a:lnTo>
                    <a:pt x="192" y="132"/>
                  </a:lnTo>
                  <a:close/>
                  <a:moveTo>
                    <a:pt x="198" y="108"/>
                  </a:moveTo>
                  <a:lnTo>
                    <a:pt x="204" y="108"/>
                  </a:lnTo>
                  <a:lnTo>
                    <a:pt x="204" y="120"/>
                  </a:lnTo>
                  <a:lnTo>
                    <a:pt x="198" y="120"/>
                  </a:lnTo>
                  <a:lnTo>
                    <a:pt x="198" y="108"/>
                  </a:lnTo>
                  <a:close/>
                  <a:moveTo>
                    <a:pt x="210" y="162"/>
                  </a:moveTo>
                  <a:lnTo>
                    <a:pt x="216" y="162"/>
                  </a:lnTo>
                  <a:lnTo>
                    <a:pt x="216" y="168"/>
                  </a:lnTo>
                  <a:lnTo>
                    <a:pt x="210" y="168"/>
                  </a:lnTo>
                  <a:lnTo>
                    <a:pt x="210" y="162"/>
                  </a:lnTo>
                  <a:close/>
                  <a:moveTo>
                    <a:pt x="204" y="108"/>
                  </a:moveTo>
                  <a:lnTo>
                    <a:pt x="210" y="108"/>
                  </a:lnTo>
                  <a:lnTo>
                    <a:pt x="210" y="114"/>
                  </a:lnTo>
                  <a:lnTo>
                    <a:pt x="204" y="114"/>
                  </a:lnTo>
                  <a:lnTo>
                    <a:pt x="204" y="108"/>
                  </a:lnTo>
                  <a:close/>
                  <a:moveTo>
                    <a:pt x="210" y="132"/>
                  </a:moveTo>
                  <a:lnTo>
                    <a:pt x="210" y="138"/>
                  </a:lnTo>
                  <a:lnTo>
                    <a:pt x="211" y="138"/>
                  </a:lnTo>
                  <a:lnTo>
                    <a:pt x="210" y="132"/>
                  </a:lnTo>
                  <a:close/>
                  <a:moveTo>
                    <a:pt x="360" y="294"/>
                  </a:moveTo>
                  <a:lnTo>
                    <a:pt x="366" y="294"/>
                  </a:lnTo>
                  <a:lnTo>
                    <a:pt x="360" y="294"/>
                  </a:lnTo>
                  <a:close/>
                  <a:moveTo>
                    <a:pt x="204" y="84"/>
                  </a:moveTo>
                  <a:lnTo>
                    <a:pt x="210" y="84"/>
                  </a:lnTo>
                  <a:lnTo>
                    <a:pt x="210" y="90"/>
                  </a:lnTo>
                  <a:lnTo>
                    <a:pt x="204" y="90"/>
                  </a:lnTo>
                  <a:lnTo>
                    <a:pt x="204" y="84"/>
                  </a:lnTo>
                  <a:close/>
                  <a:moveTo>
                    <a:pt x="168" y="108"/>
                  </a:moveTo>
                  <a:lnTo>
                    <a:pt x="168" y="114"/>
                  </a:lnTo>
                  <a:lnTo>
                    <a:pt x="169" y="114"/>
                  </a:lnTo>
                  <a:lnTo>
                    <a:pt x="168" y="108"/>
                  </a:lnTo>
                  <a:close/>
                  <a:moveTo>
                    <a:pt x="192" y="96"/>
                  </a:moveTo>
                  <a:lnTo>
                    <a:pt x="192" y="102"/>
                  </a:lnTo>
                  <a:lnTo>
                    <a:pt x="193" y="102"/>
                  </a:lnTo>
                  <a:lnTo>
                    <a:pt x="192" y="96"/>
                  </a:lnTo>
                  <a:close/>
                  <a:moveTo>
                    <a:pt x="204" y="114"/>
                  </a:moveTo>
                  <a:lnTo>
                    <a:pt x="210" y="114"/>
                  </a:lnTo>
                  <a:lnTo>
                    <a:pt x="204" y="114"/>
                  </a:lnTo>
                  <a:close/>
                  <a:moveTo>
                    <a:pt x="210" y="162"/>
                  </a:moveTo>
                  <a:lnTo>
                    <a:pt x="216" y="162"/>
                  </a:lnTo>
                  <a:lnTo>
                    <a:pt x="210" y="162"/>
                  </a:lnTo>
                  <a:close/>
                  <a:moveTo>
                    <a:pt x="240" y="144"/>
                  </a:moveTo>
                  <a:lnTo>
                    <a:pt x="246" y="144"/>
                  </a:lnTo>
                  <a:lnTo>
                    <a:pt x="240" y="144"/>
                  </a:lnTo>
                  <a:close/>
                  <a:moveTo>
                    <a:pt x="180" y="120"/>
                  </a:moveTo>
                  <a:lnTo>
                    <a:pt x="180" y="126"/>
                  </a:lnTo>
                  <a:lnTo>
                    <a:pt x="181" y="126"/>
                  </a:lnTo>
                  <a:lnTo>
                    <a:pt x="180" y="120"/>
                  </a:lnTo>
                  <a:close/>
                  <a:moveTo>
                    <a:pt x="354" y="288"/>
                  </a:moveTo>
                  <a:lnTo>
                    <a:pt x="360" y="288"/>
                  </a:lnTo>
                  <a:lnTo>
                    <a:pt x="354" y="288"/>
                  </a:lnTo>
                  <a:close/>
                  <a:moveTo>
                    <a:pt x="198" y="120"/>
                  </a:moveTo>
                  <a:lnTo>
                    <a:pt x="204" y="120"/>
                  </a:lnTo>
                  <a:lnTo>
                    <a:pt x="198" y="120"/>
                  </a:lnTo>
                  <a:close/>
                  <a:moveTo>
                    <a:pt x="204" y="126"/>
                  </a:moveTo>
                  <a:lnTo>
                    <a:pt x="210" y="126"/>
                  </a:lnTo>
                  <a:lnTo>
                    <a:pt x="210" y="132"/>
                  </a:lnTo>
                  <a:lnTo>
                    <a:pt x="204" y="132"/>
                  </a:lnTo>
                  <a:lnTo>
                    <a:pt x="204" y="126"/>
                  </a:lnTo>
                  <a:close/>
                  <a:moveTo>
                    <a:pt x="354" y="288"/>
                  </a:moveTo>
                  <a:lnTo>
                    <a:pt x="360" y="288"/>
                  </a:lnTo>
                  <a:lnTo>
                    <a:pt x="360" y="294"/>
                  </a:lnTo>
                  <a:lnTo>
                    <a:pt x="354" y="294"/>
                  </a:lnTo>
                  <a:lnTo>
                    <a:pt x="354" y="288"/>
                  </a:lnTo>
                  <a:close/>
                  <a:moveTo>
                    <a:pt x="360" y="294"/>
                  </a:moveTo>
                  <a:lnTo>
                    <a:pt x="366" y="294"/>
                  </a:lnTo>
                  <a:lnTo>
                    <a:pt x="366" y="300"/>
                  </a:lnTo>
                  <a:lnTo>
                    <a:pt x="360" y="300"/>
                  </a:lnTo>
                  <a:lnTo>
                    <a:pt x="360" y="294"/>
                  </a:lnTo>
                  <a:close/>
                  <a:moveTo>
                    <a:pt x="228" y="144"/>
                  </a:moveTo>
                  <a:lnTo>
                    <a:pt x="234" y="144"/>
                  </a:lnTo>
                  <a:lnTo>
                    <a:pt x="228" y="144"/>
                  </a:lnTo>
                  <a:close/>
                  <a:moveTo>
                    <a:pt x="186" y="144"/>
                  </a:moveTo>
                  <a:lnTo>
                    <a:pt x="186" y="150"/>
                  </a:lnTo>
                  <a:lnTo>
                    <a:pt x="187" y="150"/>
                  </a:lnTo>
                  <a:lnTo>
                    <a:pt x="186" y="144"/>
                  </a:lnTo>
                  <a:close/>
                  <a:moveTo>
                    <a:pt x="240" y="144"/>
                  </a:moveTo>
                  <a:lnTo>
                    <a:pt x="246" y="144"/>
                  </a:lnTo>
                  <a:lnTo>
                    <a:pt x="240" y="144"/>
                  </a:lnTo>
                  <a:close/>
                  <a:moveTo>
                    <a:pt x="240" y="144"/>
                  </a:moveTo>
                  <a:lnTo>
                    <a:pt x="240" y="150"/>
                  </a:lnTo>
                  <a:lnTo>
                    <a:pt x="241" y="150"/>
                  </a:lnTo>
                  <a:lnTo>
                    <a:pt x="240" y="144"/>
                  </a:lnTo>
                  <a:close/>
                  <a:moveTo>
                    <a:pt x="228" y="168"/>
                  </a:moveTo>
                  <a:lnTo>
                    <a:pt x="228" y="174"/>
                  </a:lnTo>
                  <a:lnTo>
                    <a:pt x="229" y="174"/>
                  </a:lnTo>
                  <a:lnTo>
                    <a:pt x="228" y="168"/>
                  </a:lnTo>
                  <a:close/>
                  <a:moveTo>
                    <a:pt x="216" y="144"/>
                  </a:moveTo>
                  <a:lnTo>
                    <a:pt x="222" y="144"/>
                  </a:lnTo>
                  <a:lnTo>
                    <a:pt x="222" y="150"/>
                  </a:lnTo>
                  <a:lnTo>
                    <a:pt x="216" y="150"/>
                  </a:lnTo>
                  <a:lnTo>
                    <a:pt x="216" y="144"/>
                  </a:lnTo>
                  <a:close/>
                  <a:moveTo>
                    <a:pt x="240" y="180"/>
                  </a:moveTo>
                  <a:lnTo>
                    <a:pt x="240" y="186"/>
                  </a:lnTo>
                  <a:lnTo>
                    <a:pt x="241" y="186"/>
                  </a:lnTo>
                  <a:lnTo>
                    <a:pt x="240" y="180"/>
                  </a:lnTo>
                  <a:close/>
                  <a:moveTo>
                    <a:pt x="252" y="144"/>
                  </a:moveTo>
                  <a:lnTo>
                    <a:pt x="258" y="144"/>
                  </a:lnTo>
                  <a:lnTo>
                    <a:pt x="252" y="144"/>
                  </a:lnTo>
                  <a:close/>
                  <a:moveTo>
                    <a:pt x="216" y="114"/>
                  </a:moveTo>
                  <a:lnTo>
                    <a:pt x="216" y="120"/>
                  </a:lnTo>
                  <a:lnTo>
                    <a:pt x="217" y="120"/>
                  </a:lnTo>
                  <a:lnTo>
                    <a:pt x="216" y="114"/>
                  </a:lnTo>
                  <a:close/>
                  <a:moveTo>
                    <a:pt x="198" y="102"/>
                  </a:moveTo>
                  <a:lnTo>
                    <a:pt x="198" y="108"/>
                  </a:lnTo>
                  <a:lnTo>
                    <a:pt x="199" y="108"/>
                  </a:lnTo>
                  <a:lnTo>
                    <a:pt x="198" y="102"/>
                  </a:lnTo>
                  <a:close/>
                  <a:moveTo>
                    <a:pt x="234" y="120"/>
                  </a:moveTo>
                  <a:lnTo>
                    <a:pt x="234" y="126"/>
                  </a:lnTo>
                  <a:lnTo>
                    <a:pt x="235" y="126"/>
                  </a:lnTo>
                  <a:lnTo>
                    <a:pt x="234" y="120"/>
                  </a:lnTo>
                  <a:close/>
                  <a:moveTo>
                    <a:pt x="360" y="300"/>
                  </a:moveTo>
                  <a:lnTo>
                    <a:pt x="366" y="300"/>
                  </a:lnTo>
                  <a:lnTo>
                    <a:pt x="360" y="300"/>
                  </a:lnTo>
                  <a:close/>
                  <a:moveTo>
                    <a:pt x="354" y="294"/>
                  </a:moveTo>
                  <a:lnTo>
                    <a:pt x="354" y="300"/>
                  </a:lnTo>
                  <a:lnTo>
                    <a:pt x="355" y="300"/>
                  </a:lnTo>
                  <a:lnTo>
                    <a:pt x="354" y="294"/>
                  </a:lnTo>
                  <a:close/>
                  <a:moveTo>
                    <a:pt x="204" y="120"/>
                  </a:moveTo>
                  <a:lnTo>
                    <a:pt x="210" y="120"/>
                  </a:lnTo>
                  <a:lnTo>
                    <a:pt x="204" y="120"/>
                  </a:lnTo>
                  <a:close/>
                  <a:moveTo>
                    <a:pt x="228" y="126"/>
                  </a:moveTo>
                  <a:lnTo>
                    <a:pt x="234" y="126"/>
                  </a:lnTo>
                  <a:lnTo>
                    <a:pt x="228" y="126"/>
                  </a:lnTo>
                  <a:close/>
                  <a:moveTo>
                    <a:pt x="186" y="96"/>
                  </a:moveTo>
                  <a:lnTo>
                    <a:pt x="192" y="96"/>
                  </a:lnTo>
                  <a:lnTo>
                    <a:pt x="192" y="102"/>
                  </a:lnTo>
                  <a:lnTo>
                    <a:pt x="186" y="102"/>
                  </a:lnTo>
                  <a:lnTo>
                    <a:pt x="186" y="96"/>
                  </a:lnTo>
                  <a:close/>
                  <a:moveTo>
                    <a:pt x="240" y="138"/>
                  </a:moveTo>
                  <a:lnTo>
                    <a:pt x="246" y="138"/>
                  </a:lnTo>
                  <a:lnTo>
                    <a:pt x="240" y="138"/>
                  </a:lnTo>
                  <a:close/>
                  <a:moveTo>
                    <a:pt x="216" y="120"/>
                  </a:moveTo>
                  <a:lnTo>
                    <a:pt x="222" y="120"/>
                  </a:lnTo>
                  <a:lnTo>
                    <a:pt x="222" y="126"/>
                  </a:lnTo>
                  <a:lnTo>
                    <a:pt x="216" y="126"/>
                  </a:lnTo>
                  <a:lnTo>
                    <a:pt x="216" y="120"/>
                  </a:lnTo>
                  <a:close/>
                  <a:moveTo>
                    <a:pt x="216" y="126"/>
                  </a:moveTo>
                  <a:lnTo>
                    <a:pt x="222" y="126"/>
                  </a:lnTo>
                  <a:lnTo>
                    <a:pt x="216" y="126"/>
                  </a:lnTo>
                  <a:close/>
                  <a:moveTo>
                    <a:pt x="174" y="120"/>
                  </a:moveTo>
                  <a:lnTo>
                    <a:pt x="180" y="120"/>
                  </a:lnTo>
                  <a:lnTo>
                    <a:pt x="174" y="120"/>
                  </a:lnTo>
                  <a:close/>
                  <a:moveTo>
                    <a:pt x="306" y="240"/>
                  </a:moveTo>
                  <a:lnTo>
                    <a:pt x="312" y="240"/>
                  </a:lnTo>
                  <a:lnTo>
                    <a:pt x="306" y="240"/>
                  </a:lnTo>
                  <a:close/>
                  <a:moveTo>
                    <a:pt x="210" y="156"/>
                  </a:moveTo>
                  <a:lnTo>
                    <a:pt x="210" y="162"/>
                  </a:lnTo>
                  <a:lnTo>
                    <a:pt x="211" y="162"/>
                  </a:lnTo>
                  <a:lnTo>
                    <a:pt x="210" y="156"/>
                  </a:lnTo>
                  <a:close/>
                  <a:moveTo>
                    <a:pt x="234" y="150"/>
                  </a:moveTo>
                  <a:lnTo>
                    <a:pt x="234" y="156"/>
                  </a:lnTo>
                  <a:lnTo>
                    <a:pt x="235" y="156"/>
                  </a:lnTo>
                  <a:lnTo>
                    <a:pt x="234" y="150"/>
                  </a:lnTo>
                  <a:close/>
                  <a:moveTo>
                    <a:pt x="240" y="186"/>
                  </a:moveTo>
                  <a:lnTo>
                    <a:pt x="246" y="186"/>
                  </a:lnTo>
                  <a:lnTo>
                    <a:pt x="240" y="186"/>
                  </a:lnTo>
                  <a:close/>
                  <a:moveTo>
                    <a:pt x="360" y="294"/>
                  </a:moveTo>
                  <a:lnTo>
                    <a:pt x="360" y="300"/>
                  </a:lnTo>
                  <a:lnTo>
                    <a:pt x="361" y="300"/>
                  </a:lnTo>
                  <a:lnTo>
                    <a:pt x="360" y="294"/>
                  </a:lnTo>
                  <a:close/>
                  <a:moveTo>
                    <a:pt x="240" y="186"/>
                  </a:moveTo>
                  <a:lnTo>
                    <a:pt x="246" y="186"/>
                  </a:lnTo>
                  <a:lnTo>
                    <a:pt x="246" y="192"/>
                  </a:lnTo>
                  <a:lnTo>
                    <a:pt x="240" y="192"/>
                  </a:lnTo>
                  <a:lnTo>
                    <a:pt x="240" y="186"/>
                  </a:lnTo>
                  <a:close/>
                  <a:moveTo>
                    <a:pt x="318" y="252"/>
                  </a:moveTo>
                  <a:lnTo>
                    <a:pt x="324" y="252"/>
                  </a:lnTo>
                  <a:lnTo>
                    <a:pt x="318" y="252"/>
                  </a:lnTo>
                  <a:close/>
                  <a:moveTo>
                    <a:pt x="192" y="120"/>
                  </a:moveTo>
                  <a:lnTo>
                    <a:pt x="198" y="120"/>
                  </a:lnTo>
                  <a:lnTo>
                    <a:pt x="198" y="126"/>
                  </a:lnTo>
                  <a:lnTo>
                    <a:pt x="192" y="126"/>
                  </a:lnTo>
                  <a:lnTo>
                    <a:pt x="192" y="120"/>
                  </a:lnTo>
                  <a:close/>
                  <a:moveTo>
                    <a:pt x="246" y="192"/>
                  </a:moveTo>
                  <a:lnTo>
                    <a:pt x="252" y="192"/>
                  </a:lnTo>
                  <a:lnTo>
                    <a:pt x="246" y="192"/>
                  </a:lnTo>
                  <a:close/>
                  <a:moveTo>
                    <a:pt x="240" y="132"/>
                  </a:moveTo>
                  <a:lnTo>
                    <a:pt x="240" y="138"/>
                  </a:lnTo>
                  <a:lnTo>
                    <a:pt x="241" y="138"/>
                  </a:lnTo>
                  <a:lnTo>
                    <a:pt x="240" y="132"/>
                  </a:lnTo>
                  <a:close/>
                  <a:moveTo>
                    <a:pt x="210" y="162"/>
                  </a:moveTo>
                  <a:lnTo>
                    <a:pt x="210" y="168"/>
                  </a:lnTo>
                  <a:lnTo>
                    <a:pt x="211" y="168"/>
                  </a:lnTo>
                  <a:lnTo>
                    <a:pt x="210" y="162"/>
                  </a:lnTo>
                  <a:close/>
                  <a:moveTo>
                    <a:pt x="162" y="78"/>
                  </a:moveTo>
                  <a:lnTo>
                    <a:pt x="162" y="84"/>
                  </a:lnTo>
                  <a:lnTo>
                    <a:pt x="163" y="84"/>
                  </a:lnTo>
                  <a:lnTo>
                    <a:pt x="162" y="78"/>
                  </a:lnTo>
                  <a:close/>
                  <a:moveTo>
                    <a:pt x="186" y="144"/>
                  </a:moveTo>
                  <a:lnTo>
                    <a:pt x="192" y="144"/>
                  </a:lnTo>
                  <a:lnTo>
                    <a:pt x="192" y="150"/>
                  </a:lnTo>
                  <a:lnTo>
                    <a:pt x="186" y="150"/>
                  </a:lnTo>
                  <a:lnTo>
                    <a:pt x="186" y="144"/>
                  </a:lnTo>
                  <a:close/>
                  <a:moveTo>
                    <a:pt x="324" y="252"/>
                  </a:moveTo>
                  <a:lnTo>
                    <a:pt x="324" y="258"/>
                  </a:lnTo>
                  <a:lnTo>
                    <a:pt x="325" y="258"/>
                  </a:lnTo>
                  <a:lnTo>
                    <a:pt x="324" y="252"/>
                  </a:lnTo>
                  <a:close/>
                  <a:moveTo>
                    <a:pt x="210" y="120"/>
                  </a:moveTo>
                  <a:lnTo>
                    <a:pt x="216" y="120"/>
                  </a:lnTo>
                  <a:lnTo>
                    <a:pt x="210" y="120"/>
                  </a:lnTo>
                  <a:close/>
                  <a:moveTo>
                    <a:pt x="360" y="288"/>
                  </a:moveTo>
                  <a:lnTo>
                    <a:pt x="360" y="294"/>
                  </a:lnTo>
                  <a:lnTo>
                    <a:pt x="361" y="294"/>
                  </a:lnTo>
                  <a:lnTo>
                    <a:pt x="360" y="288"/>
                  </a:lnTo>
                  <a:close/>
                  <a:moveTo>
                    <a:pt x="360" y="294"/>
                  </a:moveTo>
                  <a:lnTo>
                    <a:pt x="360" y="300"/>
                  </a:lnTo>
                  <a:lnTo>
                    <a:pt x="361" y="300"/>
                  </a:lnTo>
                  <a:lnTo>
                    <a:pt x="360" y="294"/>
                  </a:lnTo>
                  <a:close/>
                  <a:moveTo>
                    <a:pt x="198" y="108"/>
                  </a:moveTo>
                  <a:lnTo>
                    <a:pt x="204" y="108"/>
                  </a:lnTo>
                  <a:lnTo>
                    <a:pt x="198" y="108"/>
                  </a:lnTo>
                  <a:close/>
                  <a:moveTo>
                    <a:pt x="186" y="96"/>
                  </a:moveTo>
                  <a:lnTo>
                    <a:pt x="186" y="102"/>
                  </a:lnTo>
                  <a:lnTo>
                    <a:pt x="187" y="102"/>
                  </a:lnTo>
                  <a:lnTo>
                    <a:pt x="186" y="96"/>
                  </a:lnTo>
                  <a:close/>
                  <a:moveTo>
                    <a:pt x="222" y="138"/>
                  </a:moveTo>
                  <a:lnTo>
                    <a:pt x="228" y="138"/>
                  </a:lnTo>
                  <a:lnTo>
                    <a:pt x="222" y="138"/>
                  </a:lnTo>
                  <a:close/>
                  <a:moveTo>
                    <a:pt x="354" y="294"/>
                  </a:moveTo>
                  <a:lnTo>
                    <a:pt x="354" y="300"/>
                  </a:lnTo>
                  <a:lnTo>
                    <a:pt x="355" y="300"/>
                  </a:lnTo>
                  <a:lnTo>
                    <a:pt x="354" y="294"/>
                  </a:lnTo>
                  <a:close/>
                  <a:moveTo>
                    <a:pt x="342" y="276"/>
                  </a:moveTo>
                  <a:lnTo>
                    <a:pt x="342" y="282"/>
                  </a:lnTo>
                  <a:lnTo>
                    <a:pt x="343" y="282"/>
                  </a:lnTo>
                  <a:lnTo>
                    <a:pt x="342" y="276"/>
                  </a:lnTo>
                  <a:close/>
                  <a:moveTo>
                    <a:pt x="360" y="288"/>
                  </a:moveTo>
                  <a:lnTo>
                    <a:pt x="360" y="294"/>
                  </a:lnTo>
                  <a:lnTo>
                    <a:pt x="361" y="294"/>
                  </a:lnTo>
                  <a:lnTo>
                    <a:pt x="360" y="288"/>
                  </a:lnTo>
                  <a:close/>
                  <a:moveTo>
                    <a:pt x="192" y="132"/>
                  </a:moveTo>
                  <a:lnTo>
                    <a:pt x="198" y="132"/>
                  </a:lnTo>
                  <a:lnTo>
                    <a:pt x="192" y="13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19" name="Freeform 31"/>
            <p:cNvSpPr>
              <a:spLocks/>
            </p:cNvSpPr>
            <p:nvPr>
              <p:custDataLst>
                <p:tags r:id="rId82"/>
              </p:custDataLst>
            </p:nvPr>
          </p:nvSpPr>
          <p:spPr bwMode="gray">
            <a:xfrm>
              <a:off x="6075363" y="2714626"/>
              <a:ext cx="112713" cy="127000"/>
            </a:xfrm>
            <a:custGeom>
              <a:avLst/>
              <a:gdLst>
                <a:gd name="T0" fmla="*/ 15798 w 90"/>
                <a:gd name="T1" fmla="*/ 3907 h 102"/>
                <a:gd name="T2" fmla="*/ 17773 w 90"/>
                <a:gd name="T3" fmla="*/ 6838 h 102"/>
                <a:gd name="T4" fmla="*/ 19747 w 90"/>
                <a:gd name="T5" fmla="*/ 3907 h 102"/>
                <a:gd name="T6" fmla="*/ 22710 w 90"/>
                <a:gd name="T7" fmla="*/ 1954 h 102"/>
                <a:gd name="T8" fmla="*/ 23697 w 90"/>
                <a:gd name="T9" fmla="*/ 0 h 102"/>
                <a:gd name="T10" fmla="*/ 28634 w 90"/>
                <a:gd name="T11" fmla="*/ 1954 h 102"/>
                <a:gd name="T12" fmla="*/ 30609 w 90"/>
                <a:gd name="T13" fmla="*/ 3907 h 102"/>
                <a:gd name="T14" fmla="*/ 30609 w 90"/>
                <a:gd name="T15" fmla="*/ 8792 h 102"/>
                <a:gd name="T16" fmla="*/ 33571 w 90"/>
                <a:gd name="T17" fmla="*/ 10746 h 102"/>
                <a:gd name="T18" fmla="*/ 33571 w 90"/>
                <a:gd name="T19" fmla="*/ 15630 h 102"/>
                <a:gd name="T20" fmla="*/ 28634 w 90"/>
                <a:gd name="T21" fmla="*/ 15630 h 102"/>
                <a:gd name="T22" fmla="*/ 23697 w 90"/>
                <a:gd name="T23" fmla="*/ 19537 h 102"/>
                <a:gd name="T24" fmla="*/ 19747 w 90"/>
                <a:gd name="T25" fmla="*/ 19537 h 102"/>
                <a:gd name="T26" fmla="*/ 17773 w 90"/>
                <a:gd name="T27" fmla="*/ 21491 h 102"/>
                <a:gd name="T28" fmla="*/ 15798 w 90"/>
                <a:gd name="T29" fmla="*/ 23445 h 102"/>
                <a:gd name="T30" fmla="*/ 17773 w 90"/>
                <a:gd name="T31" fmla="*/ 26376 h 102"/>
                <a:gd name="T32" fmla="*/ 19747 w 90"/>
                <a:gd name="T33" fmla="*/ 23445 h 102"/>
                <a:gd name="T34" fmla="*/ 23697 w 90"/>
                <a:gd name="T35" fmla="*/ 23445 h 102"/>
                <a:gd name="T36" fmla="*/ 26660 w 90"/>
                <a:gd name="T37" fmla="*/ 21491 h 102"/>
                <a:gd name="T38" fmla="*/ 28634 w 90"/>
                <a:gd name="T39" fmla="*/ 23445 h 102"/>
                <a:gd name="T40" fmla="*/ 28634 w 90"/>
                <a:gd name="T41" fmla="*/ 28329 h 102"/>
                <a:gd name="T42" fmla="*/ 26660 w 90"/>
                <a:gd name="T43" fmla="*/ 30283 h 102"/>
                <a:gd name="T44" fmla="*/ 23697 w 90"/>
                <a:gd name="T45" fmla="*/ 32237 h 102"/>
                <a:gd name="T46" fmla="*/ 22710 w 90"/>
                <a:gd name="T47" fmla="*/ 34191 h 102"/>
                <a:gd name="T48" fmla="*/ 17773 w 90"/>
                <a:gd name="T49" fmla="*/ 34191 h 102"/>
                <a:gd name="T50" fmla="*/ 15798 w 90"/>
                <a:gd name="T51" fmla="*/ 34191 h 102"/>
                <a:gd name="T52" fmla="*/ 10861 w 90"/>
                <a:gd name="T53" fmla="*/ 34191 h 102"/>
                <a:gd name="T54" fmla="*/ 8887 w 90"/>
                <a:gd name="T55" fmla="*/ 37121 h 102"/>
                <a:gd name="T56" fmla="*/ 6911 w 90"/>
                <a:gd name="T57" fmla="*/ 34191 h 102"/>
                <a:gd name="T58" fmla="*/ 3949 w 90"/>
                <a:gd name="T59" fmla="*/ 37121 h 102"/>
                <a:gd name="T60" fmla="*/ 0 w 90"/>
                <a:gd name="T61" fmla="*/ 37121 h 102"/>
                <a:gd name="T62" fmla="*/ 0 w 90"/>
                <a:gd name="T63" fmla="*/ 32237 h 102"/>
                <a:gd name="T64" fmla="*/ 0 w 90"/>
                <a:gd name="T65" fmla="*/ 28329 h 102"/>
                <a:gd name="T66" fmla="*/ 0 w 90"/>
                <a:gd name="T67" fmla="*/ 23445 h 102"/>
                <a:gd name="T68" fmla="*/ 0 w 90"/>
                <a:gd name="T69" fmla="*/ 19537 h 102"/>
                <a:gd name="T70" fmla="*/ 1975 w 90"/>
                <a:gd name="T71" fmla="*/ 17584 h 102"/>
                <a:gd name="T72" fmla="*/ 3949 w 90"/>
                <a:gd name="T73" fmla="*/ 15630 h 102"/>
                <a:gd name="T74" fmla="*/ 6911 w 90"/>
                <a:gd name="T75" fmla="*/ 12700 h 102"/>
                <a:gd name="T76" fmla="*/ 8887 w 90"/>
                <a:gd name="T77" fmla="*/ 10746 h 102"/>
                <a:gd name="T78" fmla="*/ 10861 w 90"/>
                <a:gd name="T79" fmla="*/ 8792 h 102"/>
                <a:gd name="T80" fmla="*/ 12836 w 90"/>
                <a:gd name="T81" fmla="*/ 3907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 h="102">
                  <a:moveTo>
                    <a:pt x="36" y="12"/>
                  </a:moveTo>
                  <a:lnTo>
                    <a:pt x="42" y="12"/>
                  </a:lnTo>
                  <a:lnTo>
                    <a:pt x="42" y="18"/>
                  </a:lnTo>
                  <a:lnTo>
                    <a:pt x="48" y="18"/>
                  </a:lnTo>
                  <a:lnTo>
                    <a:pt x="54" y="18"/>
                  </a:lnTo>
                  <a:lnTo>
                    <a:pt x="54" y="12"/>
                  </a:lnTo>
                  <a:lnTo>
                    <a:pt x="60" y="12"/>
                  </a:lnTo>
                  <a:lnTo>
                    <a:pt x="60" y="6"/>
                  </a:lnTo>
                  <a:lnTo>
                    <a:pt x="66" y="6"/>
                  </a:lnTo>
                  <a:lnTo>
                    <a:pt x="66" y="0"/>
                  </a:lnTo>
                  <a:lnTo>
                    <a:pt x="72" y="0"/>
                  </a:lnTo>
                  <a:lnTo>
                    <a:pt x="78" y="6"/>
                  </a:lnTo>
                  <a:lnTo>
                    <a:pt x="78" y="12"/>
                  </a:lnTo>
                  <a:lnTo>
                    <a:pt x="84" y="12"/>
                  </a:lnTo>
                  <a:lnTo>
                    <a:pt x="84" y="18"/>
                  </a:lnTo>
                  <a:lnTo>
                    <a:pt x="84" y="24"/>
                  </a:lnTo>
                  <a:lnTo>
                    <a:pt x="90" y="24"/>
                  </a:lnTo>
                  <a:lnTo>
                    <a:pt x="90" y="30"/>
                  </a:lnTo>
                  <a:lnTo>
                    <a:pt x="90" y="36"/>
                  </a:lnTo>
                  <a:lnTo>
                    <a:pt x="90" y="42"/>
                  </a:lnTo>
                  <a:lnTo>
                    <a:pt x="84" y="42"/>
                  </a:lnTo>
                  <a:lnTo>
                    <a:pt x="78" y="42"/>
                  </a:lnTo>
                  <a:lnTo>
                    <a:pt x="72" y="48"/>
                  </a:lnTo>
                  <a:lnTo>
                    <a:pt x="66" y="54"/>
                  </a:lnTo>
                  <a:lnTo>
                    <a:pt x="60" y="54"/>
                  </a:lnTo>
                  <a:lnTo>
                    <a:pt x="54" y="54"/>
                  </a:lnTo>
                  <a:lnTo>
                    <a:pt x="54" y="60"/>
                  </a:lnTo>
                  <a:lnTo>
                    <a:pt x="48" y="60"/>
                  </a:lnTo>
                  <a:lnTo>
                    <a:pt x="48" y="66"/>
                  </a:lnTo>
                  <a:lnTo>
                    <a:pt x="42" y="66"/>
                  </a:lnTo>
                  <a:lnTo>
                    <a:pt x="42" y="72"/>
                  </a:lnTo>
                  <a:lnTo>
                    <a:pt x="48" y="72"/>
                  </a:lnTo>
                  <a:lnTo>
                    <a:pt x="48" y="66"/>
                  </a:lnTo>
                  <a:lnTo>
                    <a:pt x="54" y="66"/>
                  </a:lnTo>
                  <a:lnTo>
                    <a:pt x="60" y="66"/>
                  </a:lnTo>
                  <a:lnTo>
                    <a:pt x="66" y="66"/>
                  </a:lnTo>
                  <a:lnTo>
                    <a:pt x="72" y="66"/>
                  </a:lnTo>
                  <a:lnTo>
                    <a:pt x="72" y="60"/>
                  </a:lnTo>
                  <a:lnTo>
                    <a:pt x="72" y="66"/>
                  </a:lnTo>
                  <a:lnTo>
                    <a:pt x="78" y="66"/>
                  </a:lnTo>
                  <a:lnTo>
                    <a:pt x="78" y="72"/>
                  </a:lnTo>
                  <a:lnTo>
                    <a:pt x="78" y="78"/>
                  </a:lnTo>
                  <a:lnTo>
                    <a:pt x="72" y="78"/>
                  </a:lnTo>
                  <a:lnTo>
                    <a:pt x="72" y="84"/>
                  </a:lnTo>
                  <a:lnTo>
                    <a:pt x="72" y="90"/>
                  </a:lnTo>
                  <a:lnTo>
                    <a:pt x="66" y="90"/>
                  </a:lnTo>
                  <a:lnTo>
                    <a:pt x="66" y="96"/>
                  </a:lnTo>
                  <a:lnTo>
                    <a:pt x="60" y="96"/>
                  </a:lnTo>
                  <a:lnTo>
                    <a:pt x="54" y="96"/>
                  </a:lnTo>
                  <a:lnTo>
                    <a:pt x="48" y="96"/>
                  </a:lnTo>
                  <a:lnTo>
                    <a:pt x="48" y="90"/>
                  </a:lnTo>
                  <a:lnTo>
                    <a:pt x="42" y="96"/>
                  </a:lnTo>
                  <a:lnTo>
                    <a:pt x="36" y="96"/>
                  </a:lnTo>
                  <a:lnTo>
                    <a:pt x="30" y="96"/>
                  </a:lnTo>
                  <a:lnTo>
                    <a:pt x="24" y="96"/>
                  </a:lnTo>
                  <a:lnTo>
                    <a:pt x="24" y="102"/>
                  </a:lnTo>
                  <a:lnTo>
                    <a:pt x="24" y="96"/>
                  </a:lnTo>
                  <a:lnTo>
                    <a:pt x="18" y="96"/>
                  </a:lnTo>
                  <a:lnTo>
                    <a:pt x="18" y="102"/>
                  </a:lnTo>
                  <a:lnTo>
                    <a:pt x="12" y="102"/>
                  </a:lnTo>
                  <a:lnTo>
                    <a:pt x="6" y="102"/>
                  </a:lnTo>
                  <a:lnTo>
                    <a:pt x="0" y="102"/>
                  </a:lnTo>
                  <a:lnTo>
                    <a:pt x="0" y="96"/>
                  </a:lnTo>
                  <a:lnTo>
                    <a:pt x="0" y="90"/>
                  </a:lnTo>
                  <a:lnTo>
                    <a:pt x="0" y="84"/>
                  </a:lnTo>
                  <a:lnTo>
                    <a:pt x="0" y="78"/>
                  </a:lnTo>
                  <a:lnTo>
                    <a:pt x="0" y="72"/>
                  </a:lnTo>
                  <a:lnTo>
                    <a:pt x="0" y="66"/>
                  </a:lnTo>
                  <a:lnTo>
                    <a:pt x="0" y="60"/>
                  </a:lnTo>
                  <a:lnTo>
                    <a:pt x="0" y="54"/>
                  </a:lnTo>
                  <a:lnTo>
                    <a:pt x="6" y="54"/>
                  </a:lnTo>
                  <a:lnTo>
                    <a:pt x="6" y="48"/>
                  </a:lnTo>
                  <a:lnTo>
                    <a:pt x="12" y="48"/>
                  </a:lnTo>
                  <a:lnTo>
                    <a:pt x="12" y="42"/>
                  </a:lnTo>
                  <a:lnTo>
                    <a:pt x="18" y="42"/>
                  </a:lnTo>
                  <a:lnTo>
                    <a:pt x="18" y="36"/>
                  </a:lnTo>
                  <a:lnTo>
                    <a:pt x="18" y="30"/>
                  </a:lnTo>
                  <a:lnTo>
                    <a:pt x="24" y="30"/>
                  </a:lnTo>
                  <a:lnTo>
                    <a:pt x="24" y="24"/>
                  </a:lnTo>
                  <a:lnTo>
                    <a:pt x="30" y="24"/>
                  </a:lnTo>
                  <a:lnTo>
                    <a:pt x="30" y="18"/>
                  </a:lnTo>
                  <a:lnTo>
                    <a:pt x="36" y="1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0" name="Freeform 32"/>
            <p:cNvSpPr>
              <a:spLocks/>
            </p:cNvSpPr>
            <p:nvPr>
              <p:custDataLst>
                <p:tags r:id="rId83"/>
              </p:custDataLst>
            </p:nvPr>
          </p:nvSpPr>
          <p:spPr bwMode="gray">
            <a:xfrm>
              <a:off x="5464175" y="2557463"/>
              <a:ext cx="1036638" cy="803275"/>
            </a:xfrm>
            <a:custGeom>
              <a:avLst/>
              <a:gdLst>
                <a:gd name="T0" fmla="*/ 163454 w 834"/>
                <a:gd name="T1" fmla="*/ 218751 h 648"/>
                <a:gd name="T2" fmla="*/ 154698 w 834"/>
                <a:gd name="T3" fmla="*/ 214878 h 648"/>
                <a:gd name="T4" fmla="*/ 142049 w 834"/>
                <a:gd name="T5" fmla="*/ 218751 h 648"/>
                <a:gd name="T6" fmla="*/ 128428 w 834"/>
                <a:gd name="T7" fmla="*/ 229398 h 648"/>
                <a:gd name="T8" fmla="*/ 117726 w 834"/>
                <a:gd name="T9" fmla="*/ 227461 h 648"/>
                <a:gd name="T10" fmla="*/ 103132 w 834"/>
                <a:gd name="T11" fmla="*/ 225525 h 648"/>
                <a:gd name="T12" fmla="*/ 90484 w 834"/>
                <a:gd name="T13" fmla="*/ 218751 h 648"/>
                <a:gd name="T14" fmla="*/ 76862 w 834"/>
                <a:gd name="T15" fmla="*/ 210039 h 648"/>
                <a:gd name="T16" fmla="*/ 62268 w 834"/>
                <a:gd name="T17" fmla="*/ 210039 h 648"/>
                <a:gd name="T18" fmla="*/ 56430 w 834"/>
                <a:gd name="T19" fmla="*/ 197456 h 648"/>
                <a:gd name="T20" fmla="*/ 53512 w 834"/>
                <a:gd name="T21" fmla="*/ 191648 h 648"/>
                <a:gd name="T22" fmla="*/ 42809 w 834"/>
                <a:gd name="T23" fmla="*/ 184873 h 648"/>
                <a:gd name="T24" fmla="*/ 38918 w 834"/>
                <a:gd name="T25" fmla="*/ 174226 h 648"/>
                <a:gd name="T26" fmla="*/ 34053 w 834"/>
                <a:gd name="T27" fmla="*/ 165514 h 648"/>
                <a:gd name="T28" fmla="*/ 30161 w 834"/>
                <a:gd name="T29" fmla="*/ 161643 h 648"/>
                <a:gd name="T30" fmla="*/ 21405 w 834"/>
                <a:gd name="T31" fmla="*/ 150996 h 648"/>
                <a:gd name="T32" fmla="*/ 10702 w 834"/>
                <a:gd name="T33" fmla="*/ 144220 h 648"/>
                <a:gd name="T34" fmla="*/ 0 w 834"/>
                <a:gd name="T35" fmla="*/ 142284 h 648"/>
                <a:gd name="T36" fmla="*/ 3891 w 834"/>
                <a:gd name="T37" fmla="*/ 129702 h 648"/>
                <a:gd name="T38" fmla="*/ 17513 w 834"/>
                <a:gd name="T39" fmla="*/ 129702 h 648"/>
                <a:gd name="T40" fmla="*/ 23351 w 834"/>
                <a:gd name="T41" fmla="*/ 119054 h 648"/>
                <a:gd name="T42" fmla="*/ 23351 w 834"/>
                <a:gd name="T43" fmla="*/ 101632 h 648"/>
                <a:gd name="T44" fmla="*/ 26270 w 834"/>
                <a:gd name="T45" fmla="*/ 90985 h 648"/>
                <a:gd name="T46" fmla="*/ 32107 w 834"/>
                <a:gd name="T47" fmla="*/ 83241 h 648"/>
                <a:gd name="T48" fmla="*/ 38918 w 834"/>
                <a:gd name="T49" fmla="*/ 80338 h 648"/>
                <a:gd name="T50" fmla="*/ 42809 w 834"/>
                <a:gd name="T51" fmla="*/ 65818 h 648"/>
                <a:gd name="T52" fmla="*/ 47674 w 834"/>
                <a:gd name="T53" fmla="*/ 57108 h 648"/>
                <a:gd name="T54" fmla="*/ 53512 w 834"/>
                <a:gd name="T55" fmla="*/ 44524 h 648"/>
                <a:gd name="T56" fmla="*/ 62268 w 834"/>
                <a:gd name="T57" fmla="*/ 40653 h 648"/>
                <a:gd name="T58" fmla="*/ 68105 w 834"/>
                <a:gd name="T59" fmla="*/ 27101 h 648"/>
                <a:gd name="T60" fmla="*/ 71024 w 834"/>
                <a:gd name="T61" fmla="*/ 14519 h 648"/>
                <a:gd name="T62" fmla="*/ 83672 w 834"/>
                <a:gd name="T63" fmla="*/ 10647 h 648"/>
                <a:gd name="T64" fmla="*/ 90484 w 834"/>
                <a:gd name="T65" fmla="*/ 12583 h 648"/>
                <a:gd name="T66" fmla="*/ 97294 w 834"/>
                <a:gd name="T67" fmla="*/ 6776 h 648"/>
                <a:gd name="T68" fmla="*/ 105077 w 834"/>
                <a:gd name="T69" fmla="*/ 3872 h 648"/>
                <a:gd name="T70" fmla="*/ 113834 w 834"/>
                <a:gd name="T71" fmla="*/ 8711 h 648"/>
                <a:gd name="T72" fmla="*/ 124536 w 834"/>
                <a:gd name="T73" fmla="*/ 10647 h 648"/>
                <a:gd name="T74" fmla="*/ 135238 w 834"/>
                <a:gd name="T75" fmla="*/ 8711 h 648"/>
                <a:gd name="T76" fmla="*/ 145941 w 834"/>
                <a:gd name="T77" fmla="*/ 10647 h 648"/>
                <a:gd name="T78" fmla="*/ 156643 w 834"/>
                <a:gd name="T79" fmla="*/ 17423 h 648"/>
                <a:gd name="T80" fmla="*/ 165399 w 834"/>
                <a:gd name="T81" fmla="*/ 27101 h 648"/>
                <a:gd name="T82" fmla="*/ 176102 w 834"/>
                <a:gd name="T83" fmla="*/ 36781 h 648"/>
                <a:gd name="T84" fmla="*/ 186804 w 834"/>
                <a:gd name="T85" fmla="*/ 46460 h 648"/>
                <a:gd name="T86" fmla="*/ 181940 w 834"/>
                <a:gd name="T87" fmla="*/ 57108 h 648"/>
                <a:gd name="T88" fmla="*/ 176102 w 834"/>
                <a:gd name="T89" fmla="*/ 67755 h 648"/>
                <a:gd name="T90" fmla="*/ 180966 w 834"/>
                <a:gd name="T91" fmla="*/ 80338 h 648"/>
                <a:gd name="T92" fmla="*/ 191669 w 834"/>
                <a:gd name="T93" fmla="*/ 78402 h 648"/>
                <a:gd name="T94" fmla="*/ 195561 w 834"/>
                <a:gd name="T95" fmla="*/ 83241 h 648"/>
                <a:gd name="T96" fmla="*/ 197507 w 834"/>
                <a:gd name="T97" fmla="*/ 95825 h 648"/>
                <a:gd name="T98" fmla="*/ 206263 w 834"/>
                <a:gd name="T99" fmla="*/ 108407 h 648"/>
                <a:gd name="T100" fmla="*/ 216965 w 834"/>
                <a:gd name="T101" fmla="*/ 115183 h 648"/>
                <a:gd name="T102" fmla="*/ 231560 w 834"/>
                <a:gd name="T103" fmla="*/ 123894 h 648"/>
                <a:gd name="T104" fmla="*/ 251018 w 834"/>
                <a:gd name="T105" fmla="*/ 129702 h 648"/>
                <a:gd name="T106" fmla="*/ 268531 w 834"/>
                <a:gd name="T107" fmla="*/ 135509 h 648"/>
                <a:gd name="T108" fmla="*/ 286044 w 834"/>
                <a:gd name="T109" fmla="*/ 138413 h 648"/>
                <a:gd name="T110" fmla="*/ 286044 w 834"/>
                <a:gd name="T111" fmla="*/ 152931 h 648"/>
                <a:gd name="T112" fmla="*/ 238370 w 834"/>
                <a:gd name="T113" fmla="*/ 199391 h 648"/>
                <a:gd name="T114" fmla="*/ 208209 w 834"/>
                <a:gd name="T115" fmla="*/ 202295 h 648"/>
                <a:gd name="T116" fmla="*/ 197507 w 834"/>
                <a:gd name="T117" fmla="*/ 210039 h 648"/>
                <a:gd name="T118" fmla="*/ 184859 w 834"/>
                <a:gd name="T119" fmla="*/ 214878 h 6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4" h="648">
                  <a:moveTo>
                    <a:pt x="498" y="618"/>
                  </a:moveTo>
                  <a:lnTo>
                    <a:pt x="492" y="618"/>
                  </a:lnTo>
                  <a:lnTo>
                    <a:pt x="486" y="618"/>
                  </a:lnTo>
                  <a:lnTo>
                    <a:pt x="480" y="618"/>
                  </a:lnTo>
                  <a:lnTo>
                    <a:pt x="474" y="618"/>
                  </a:lnTo>
                  <a:lnTo>
                    <a:pt x="468" y="618"/>
                  </a:lnTo>
                  <a:lnTo>
                    <a:pt x="462" y="618"/>
                  </a:lnTo>
                  <a:lnTo>
                    <a:pt x="456" y="618"/>
                  </a:lnTo>
                  <a:lnTo>
                    <a:pt x="450" y="618"/>
                  </a:lnTo>
                  <a:lnTo>
                    <a:pt x="450" y="612"/>
                  </a:lnTo>
                  <a:lnTo>
                    <a:pt x="444" y="612"/>
                  </a:lnTo>
                  <a:lnTo>
                    <a:pt x="444" y="606"/>
                  </a:lnTo>
                  <a:lnTo>
                    <a:pt x="438" y="606"/>
                  </a:lnTo>
                  <a:lnTo>
                    <a:pt x="438" y="600"/>
                  </a:lnTo>
                  <a:lnTo>
                    <a:pt x="432" y="600"/>
                  </a:lnTo>
                  <a:lnTo>
                    <a:pt x="432" y="606"/>
                  </a:lnTo>
                  <a:lnTo>
                    <a:pt x="426" y="606"/>
                  </a:lnTo>
                  <a:lnTo>
                    <a:pt x="420" y="606"/>
                  </a:lnTo>
                  <a:lnTo>
                    <a:pt x="414" y="606"/>
                  </a:lnTo>
                  <a:lnTo>
                    <a:pt x="414" y="612"/>
                  </a:lnTo>
                  <a:lnTo>
                    <a:pt x="408" y="612"/>
                  </a:lnTo>
                  <a:lnTo>
                    <a:pt x="402" y="612"/>
                  </a:lnTo>
                  <a:lnTo>
                    <a:pt x="402" y="618"/>
                  </a:lnTo>
                  <a:lnTo>
                    <a:pt x="396" y="618"/>
                  </a:lnTo>
                  <a:lnTo>
                    <a:pt x="390" y="618"/>
                  </a:lnTo>
                  <a:lnTo>
                    <a:pt x="384" y="624"/>
                  </a:lnTo>
                  <a:lnTo>
                    <a:pt x="378" y="630"/>
                  </a:lnTo>
                  <a:lnTo>
                    <a:pt x="378" y="636"/>
                  </a:lnTo>
                  <a:lnTo>
                    <a:pt x="372" y="636"/>
                  </a:lnTo>
                  <a:lnTo>
                    <a:pt x="372" y="642"/>
                  </a:lnTo>
                  <a:lnTo>
                    <a:pt x="366" y="648"/>
                  </a:lnTo>
                  <a:lnTo>
                    <a:pt x="360" y="648"/>
                  </a:lnTo>
                  <a:lnTo>
                    <a:pt x="354" y="648"/>
                  </a:lnTo>
                  <a:lnTo>
                    <a:pt x="354" y="642"/>
                  </a:lnTo>
                  <a:lnTo>
                    <a:pt x="354" y="648"/>
                  </a:lnTo>
                  <a:lnTo>
                    <a:pt x="348" y="648"/>
                  </a:lnTo>
                  <a:lnTo>
                    <a:pt x="348" y="642"/>
                  </a:lnTo>
                  <a:lnTo>
                    <a:pt x="342" y="642"/>
                  </a:lnTo>
                  <a:lnTo>
                    <a:pt x="336" y="642"/>
                  </a:lnTo>
                  <a:lnTo>
                    <a:pt x="330" y="642"/>
                  </a:lnTo>
                  <a:lnTo>
                    <a:pt x="324" y="642"/>
                  </a:lnTo>
                  <a:lnTo>
                    <a:pt x="318" y="642"/>
                  </a:lnTo>
                  <a:lnTo>
                    <a:pt x="318" y="636"/>
                  </a:lnTo>
                  <a:lnTo>
                    <a:pt x="312" y="636"/>
                  </a:lnTo>
                  <a:lnTo>
                    <a:pt x="306" y="636"/>
                  </a:lnTo>
                  <a:lnTo>
                    <a:pt x="300" y="636"/>
                  </a:lnTo>
                  <a:lnTo>
                    <a:pt x="294" y="636"/>
                  </a:lnTo>
                  <a:lnTo>
                    <a:pt x="288" y="636"/>
                  </a:lnTo>
                  <a:lnTo>
                    <a:pt x="282" y="636"/>
                  </a:lnTo>
                  <a:lnTo>
                    <a:pt x="282" y="630"/>
                  </a:lnTo>
                  <a:lnTo>
                    <a:pt x="276" y="630"/>
                  </a:lnTo>
                  <a:lnTo>
                    <a:pt x="270" y="630"/>
                  </a:lnTo>
                  <a:lnTo>
                    <a:pt x="270" y="624"/>
                  </a:lnTo>
                  <a:lnTo>
                    <a:pt x="264" y="624"/>
                  </a:lnTo>
                  <a:lnTo>
                    <a:pt x="258" y="618"/>
                  </a:lnTo>
                  <a:lnTo>
                    <a:pt x="252" y="618"/>
                  </a:lnTo>
                  <a:lnTo>
                    <a:pt x="252" y="612"/>
                  </a:lnTo>
                  <a:lnTo>
                    <a:pt x="246" y="606"/>
                  </a:lnTo>
                  <a:lnTo>
                    <a:pt x="240" y="606"/>
                  </a:lnTo>
                  <a:lnTo>
                    <a:pt x="234" y="600"/>
                  </a:lnTo>
                  <a:lnTo>
                    <a:pt x="228" y="600"/>
                  </a:lnTo>
                  <a:lnTo>
                    <a:pt x="228" y="594"/>
                  </a:lnTo>
                  <a:lnTo>
                    <a:pt x="222" y="594"/>
                  </a:lnTo>
                  <a:lnTo>
                    <a:pt x="216" y="594"/>
                  </a:lnTo>
                  <a:lnTo>
                    <a:pt x="210" y="594"/>
                  </a:lnTo>
                  <a:lnTo>
                    <a:pt x="204" y="594"/>
                  </a:lnTo>
                  <a:lnTo>
                    <a:pt x="198" y="594"/>
                  </a:lnTo>
                  <a:lnTo>
                    <a:pt x="192" y="594"/>
                  </a:lnTo>
                  <a:lnTo>
                    <a:pt x="186" y="594"/>
                  </a:lnTo>
                  <a:lnTo>
                    <a:pt x="180" y="588"/>
                  </a:lnTo>
                  <a:lnTo>
                    <a:pt x="180" y="594"/>
                  </a:lnTo>
                  <a:lnTo>
                    <a:pt x="174" y="594"/>
                  </a:lnTo>
                  <a:lnTo>
                    <a:pt x="168" y="594"/>
                  </a:lnTo>
                  <a:lnTo>
                    <a:pt x="168" y="588"/>
                  </a:lnTo>
                  <a:lnTo>
                    <a:pt x="168" y="582"/>
                  </a:lnTo>
                  <a:lnTo>
                    <a:pt x="162" y="576"/>
                  </a:lnTo>
                  <a:lnTo>
                    <a:pt x="156" y="576"/>
                  </a:lnTo>
                  <a:lnTo>
                    <a:pt x="156" y="570"/>
                  </a:lnTo>
                  <a:lnTo>
                    <a:pt x="156" y="564"/>
                  </a:lnTo>
                  <a:lnTo>
                    <a:pt x="156" y="558"/>
                  </a:lnTo>
                  <a:lnTo>
                    <a:pt x="156" y="552"/>
                  </a:lnTo>
                  <a:lnTo>
                    <a:pt x="162" y="552"/>
                  </a:lnTo>
                  <a:lnTo>
                    <a:pt x="162" y="546"/>
                  </a:lnTo>
                  <a:lnTo>
                    <a:pt x="156" y="546"/>
                  </a:lnTo>
                  <a:lnTo>
                    <a:pt x="162" y="546"/>
                  </a:lnTo>
                  <a:lnTo>
                    <a:pt x="162" y="540"/>
                  </a:lnTo>
                  <a:lnTo>
                    <a:pt x="156" y="540"/>
                  </a:lnTo>
                  <a:lnTo>
                    <a:pt x="150" y="540"/>
                  </a:lnTo>
                  <a:lnTo>
                    <a:pt x="144" y="540"/>
                  </a:lnTo>
                  <a:lnTo>
                    <a:pt x="138" y="540"/>
                  </a:lnTo>
                  <a:lnTo>
                    <a:pt x="132" y="540"/>
                  </a:lnTo>
                  <a:lnTo>
                    <a:pt x="132" y="534"/>
                  </a:lnTo>
                  <a:lnTo>
                    <a:pt x="126" y="534"/>
                  </a:lnTo>
                  <a:lnTo>
                    <a:pt x="126" y="528"/>
                  </a:lnTo>
                  <a:lnTo>
                    <a:pt x="120" y="528"/>
                  </a:lnTo>
                  <a:lnTo>
                    <a:pt x="120" y="522"/>
                  </a:lnTo>
                  <a:lnTo>
                    <a:pt x="114" y="516"/>
                  </a:lnTo>
                  <a:lnTo>
                    <a:pt x="114" y="510"/>
                  </a:lnTo>
                  <a:lnTo>
                    <a:pt x="114" y="504"/>
                  </a:lnTo>
                  <a:lnTo>
                    <a:pt x="114" y="498"/>
                  </a:lnTo>
                  <a:lnTo>
                    <a:pt x="108" y="498"/>
                  </a:lnTo>
                  <a:lnTo>
                    <a:pt x="114" y="498"/>
                  </a:lnTo>
                  <a:lnTo>
                    <a:pt x="114" y="492"/>
                  </a:lnTo>
                  <a:lnTo>
                    <a:pt x="108" y="492"/>
                  </a:lnTo>
                  <a:lnTo>
                    <a:pt x="108" y="486"/>
                  </a:lnTo>
                  <a:lnTo>
                    <a:pt x="114" y="486"/>
                  </a:lnTo>
                  <a:lnTo>
                    <a:pt x="114" y="480"/>
                  </a:lnTo>
                  <a:lnTo>
                    <a:pt x="114" y="474"/>
                  </a:lnTo>
                  <a:lnTo>
                    <a:pt x="108" y="474"/>
                  </a:lnTo>
                  <a:lnTo>
                    <a:pt x="102" y="468"/>
                  </a:lnTo>
                  <a:lnTo>
                    <a:pt x="102" y="474"/>
                  </a:lnTo>
                  <a:lnTo>
                    <a:pt x="96" y="468"/>
                  </a:lnTo>
                  <a:lnTo>
                    <a:pt x="96" y="462"/>
                  </a:lnTo>
                  <a:lnTo>
                    <a:pt x="90" y="462"/>
                  </a:lnTo>
                  <a:lnTo>
                    <a:pt x="84" y="462"/>
                  </a:lnTo>
                  <a:lnTo>
                    <a:pt x="90" y="462"/>
                  </a:lnTo>
                  <a:lnTo>
                    <a:pt x="84" y="462"/>
                  </a:lnTo>
                  <a:lnTo>
                    <a:pt x="90" y="462"/>
                  </a:lnTo>
                  <a:lnTo>
                    <a:pt x="90" y="456"/>
                  </a:lnTo>
                  <a:lnTo>
                    <a:pt x="84" y="456"/>
                  </a:lnTo>
                  <a:lnTo>
                    <a:pt x="84" y="450"/>
                  </a:lnTo>
                  <a:lnTo>
                    <a:pt x="78" y="450"/>
                  </a:lnTo>
                  <a:lnTo>
                    <a:pt x="72" y="450"/>
                  </a:lnTo>
                  <a:lnTo>
                    <a:pt x="66" y="444"/>
                  </a:lnTo>
                  <a:lnTo>
                    <a:pt x="66" y="438"/>
                  </a:lnTo>
                  <a:lnTo>
                    <a:pt x="60" y="438"/>
                  </a:lnTo>
                  <a:lnTo>
                    <a:pt x="60" y="432"/>
                  </a:lnTo>
                  <a:lnTo>
                    <a:pt x="60" y="426"/>
                  </a:lnTo>
                  <a:lnTo>
                    <a:pt x="54" y="426"/>
                  </a:lnTo>
                  <a:lnTo>
                    <a:pt x="54" y="420"/>
                  </a:lnTo>
                  <a:lnTo>
                    <a:pt x="48" y="420"/>
                  </a:lnTo>
                  <a:lnTo>
                    <a:pt x="48" y="414"/>
                  </a:lnTo>
                  <a:lnTo>
                    <a:pt x="42" y="414"/>
                  </a:lnTo>
                  <a:lnTo>
                    <a:pt x="42" y="408"/>
                  </a:lnTo>
                  <a:lnTo>
                    <a:pt x="36" y="408"/>
                  </a:lnTo>
                  <a:lnTo>
                    <a:pt x="30" y="408"/>
                  </a:lnTo>
                  <a:lnTo>
                    <a:pt x="24" y="408"/>
                  </a:lnTo>
                  <a:lnTo>
                    <a:pt x="18" y="408"/>
                  </a:lnTo>
                  <a:lnTo>
                    <a:pt x="12" y="408"/>
                  </a:lnTo>
                  <a:lnTo>
                    <a:pt x="12" y="402"/>
                  </a:lnTo>
                  <a:lnTo>
                    <a:pt x="6" y="402"/>
                  </a:lnTo>
                  <a:lnTo>
                    <a:pt x="6" y="408"/>
                  </a:lnTo>
                  <a:lnTo>
                    <a:pt x="6" y="402"/>
                  </a:lnTo>
                  <a:lnTo>
                    <a:pt x="0" y="402"/>
                  </a:lnTo>
                  <a:lnTo>
                    <a:pt x="0" y="396"/>
                  </a:lnTo>
                  <a:lnTo>
                    <a:pt x="6" y="396"/>
                  </a:lnTo>
                  <a:lnTo>
                    <a:pt x="6" y="390"/>
                  </a:lnTo>
                  <a:lnTo>
                    <a:pt x="6" y="384"/>
                  </a:lnTo>
                  <a:lnTo>
                    <a:pt x="12" y="384"/>
                  </a:lnTo>
                  <a:lnTo>
                    <a:pt x="12" y="378"/>
                  </a:lnTo>
                  <a:lnTo>
                    <a:pt x="12" y="372"/>
                  </a:lnTo>
                  <a:lnTo>
                    <a:pt x="12" y="366"/>
                  </a:lnTo>
                  <a:lnTo>
                    <a:pt x="18" y="366"/>
                  </a:lnTo>
                  <a:lnTo>
                    <a:pt x="24" y="366"/>
                  </a:lnTo>
                  <a:lnTo>
                    <a:pt x="30" y="366"/>
                  </a:lnTo>
                  <a:lnTo>
                    <a:pt x="36" y="366"/>
                  </a:lnTo>
                  <a:lnTo>
                    <a:pt x="42" y="366"/>
                  </a:lnTo>
                  <a:lnTo>
                    <a:pt x="42" y="372"/>
                  </a:lnTo>
                  <a:lnTo>
                    <a:pt x="48" y="372"/>
                  </a:lnTo>
                  <a:lnTo>
                    <a:pt x="48" y="366"/>
                  </a:lnTo>
                  <a:lnTo>
                    <a:pt x="54" y="366"/>
                  </a:lnTo>
                  <a:lnTo>
                    <a:pt x="60" y="366"/>
                  </a:lnTo>
                  <a:lnTo>
                    <a:pt x="60" y="360"/>
                  </a:lnTo>
                  <a:lnTo>
                    <a:pt x="66" y="360"/>
                  </a:lnTo>
                  <a:lnTo>
                    <a:pt x="66" y="354"/>
                  </a:lnTo>
                  <a:lnTo>
                    <a:pt x="66" y="348"/>
                  </a:lnTo>
                  <a:lnTo>
                    <a:pt x="66" y="342"/>
                  </a:lnTo>
                  <a:lnTo>
                    <a:pt x="66" y="336"/>
                  </a:lnTo>
                  <a:lnTo>
                    <a:pt x="66" y="330"/>
                  </a:lnTo>
                  <a:lnTo>
                    <a:pt x="66" y="324"/>
                  </a:lnTo>
                  <a:lnTo>
                    <a:pt x="66" y="318"/>
                  </a:lnTo>
                  <a:lnTo>
                    <a:pt x="66" y="312"/>
                  </a:lnTo>
                  <a:lnTo>
                    <a:pt x="66" y="306"/>
                  </a:lnTo>
                  <a:lnTo>
                    <a:pt x="66" y="300"/>
                  </a:lnTo>
                  <a:lnTo>
                    <a:pt x="66" y="294"/>
                  </a:lnTo>
                  <a:lnTo>
                    <a:pt x="66" y="288"/>
                  </a:lnTo>
                  <a:lnTo>
                    <a:pt x="72" y="288"/>
                  </a:lnTo>
                  <a:lnTo>
                    <a:pt x="72" y="282"/>
                  </a:lnTo>
                  <a:lnTo>
                    <a:pt x="72" y="276"/>
                  </a:lnTo>
                  <a:lnTo>
                    <a:pt x="78" y="276"/>
                  </a:lnTo>
                  <a:lnTo>
                    <a:pt x="78" y="270"/>
                  </a:lnTo>
                  <a:lnTo>
                    <a:pt x="78" y="264"/>
                  </a:lnTo>
                  <a:lnTo>
                    <a:pt x="72" y="264"/>
                  </a:lnTo>
                  <a:lnTo>
                    <a:pt x="72" y="258"/>
                  </a:lnTo>
                  <a:lnTo>
                    <a:pt x="72" y="252"/>
                  </a:lnTo>
                  <a:lnTo>
                    <a:pt x="78" y="252"/>
                  </a:lnTo>
                  <a:lnTo>
                    <a:pt x="72" y="252"/>
                  </a:lnTo>
                  <a:lnTo>
                    <a:pt x="72" y="246"/>
                  </a:lnTo>
                  <a:lnTo>
                    <a:pt x="78" y="246"/>
                  </a:lnTo>
                  <a:lnTo>
                    <a:pt x="78" y="240"/>
                  </a:lnTo>
                  <a:lnTo>
                    <a:pt x="84" y="234"/>
                  </a:lnTo>
                  <a:lnTo>
                    <a:pt x="90" y="234"/>
                  </a:lnTo>
                  <a:lnTo>
                    <a:pt x="90" y="228"/>
                  </a:lnTo>
                  <a:lnTo>
                    <a:pt x="96" y="234"/>
                  </a:lnTo>
                  <a:lnTo>
                    <a:pt x="102" y="234"/>
                  </a:lnTo>
                  <a:lnTo>
                    <a:pt x="102" y="240"/>
                  </a:lnTo>
                  <a:lnTo>
                    <a:pt x="108" y="234"/>
                  </a:lnTo>
                  <a:lnTo>
                    <a:pt x="108" y="228"/>
                  </a:lnTo>
                  <a:lnTo>
                    <a:pt x="114" y="228"/>
                  </a:lnTo>
                  <a:lnTo>
                    <a:pt x="108" y="228"/>
                  </a:lnTo>
                  <a:lnTo>
                    <a:pt x="114" y="222"/>
                  </a:lnTo>
                  <a:lnTo>
                    <a:pt x="114" y="216"/>
                  </a:lnTo>
                  <a:lnTo>
                    <a:pt x="114" y="210"/>
                  </a:lnTo>
                  <a:lnTo>
                    <a:pt x="108" y="210"/>
                  </a:lnTo>
                  <a:lnTo>
                    <a:pt x="114" y="204"/>
                  </a:lnTo>
                  <a:lnTo>
                    <a:pt x="114" y="198"/>
                  </a:lnTo>
                  <a:lnTo>
                    <a:pt x="120" y="192"/>
                  </a:lnTo>
                  <a:lnTo>
                    <a:pt x="120" y="186"/>
                  </a:lnTo>
                  <a:lnTo>
                    <a:pt x="114" y="186"/>
                  </a:lnTo>
                  <a:lnTo>
                    <a:pt x="114" y="180"/>
                  </a:lnTo>
                  <a:lnTo>
                    <a:pt x="120" y="180"/>
                  </a:lnTo>
                  <a:lnTo>
                    <a:pt x="120" y="174"/>
                  </a:lnTo>
                  <a:lnTo>
                    <a:pt x="126" y="174"/>
                  </a:lnTo>
                  <a:lnTo>
                    <a:pt x="126" y="168"/>
                  </a:lnTo>
                  <a:lnTo>
                    <a:pt x="132" y="168"/>
                  </a:lnTo>
                  <a:lnTo>
                    <a:pt x="132" y="162"/>
                  </a:lnTo>
                  <a:lnTo>
                    <a:pt x="132" y="156"/>
                  </a:lnTo>
                  <a:lnTo>
                    <a:pt x="138" y="156"/>
                  </a:lnTo>
                  <a:lnTo>
                    <a:pt x="138" y="150"/>
                  </a:lnTo>
                  <a:lnTo>
                    <a:pt x="138" y="144"/>
                  </a:lnTo>
                  <a:lnTo>
                    <a:pt x="144" y="144"/>
                  </a:lnTo>
                  <a:lnTo>
                    <a:pt x="144" y="138"/>
                  </a:lnTo>
                  <a:lnTo>
                    <a:pt x="150" y="132"/>
                  </a:lnTo>
                  <a:lnTo>
                    <a:pt x="150" y="126"/>
                  </a:lnTo>
                  <a:lnTo>
                    <a:pt x="156" y="126"/>
                  </a:lnTo>
                  <a:lnTo>
                    <a:pt x="162" y="126"/>
                  </a:lnTo>
                  <a:lnTo>
                    <a:pt x="168" y="126"/>
                  </a:lnTo>
                  <a:lnTo>
                    <a:pt x="174" y="126"/>
                  </a:lnTo>
                  <a:lnTo>
                    <a:pt x="180" y="126"/>
                  </a:lnTo>
                  <a:lnTo>
                    <a:pt x="180" y="120"/>
                  </a:lnTo>
                  <a:lnTo>
                    <a:pt x="180" y="114"/>
                  </a:lnTo>
                  <a:lnTo>
                    <a:pt x="174" y="114"/>
                  </a:lnTo>
                  <a:lnTo>
                    <a:pt x="180" y="114"/>
                  </a:lnTo>
                  <a:lnTo>
                    <a:pt x="180" y="108"/>
                  </a:lnTo>
                  <a:lnTo>
                    <a:pt x="180" y="102"/>
                  </a:lnTo>
                  <a:lnTo>
                    <a:pt x="180" y="96"/>
                  </a:lnTo>
                  <a:lnTo>
                    <a:pt x="186" y="90"/>
                  </a:lnTo>
                  <a:lnTo>
                    <a:pt x="186" y="84"/>
                  </a:lnTo>
                  <a:lnTo>
                    <a:pt x="186" y="78"/>
                  </a:lnTo>
                  <a:lnTo>
                    <a:pt x="192" y="78"/>
                  </a:lnTo>
                  <a:lnTo>
                    <a:pt x="192" y="72"/>
                  </a:lnTo>
                  <a:lnTo>
                    <a:pt x="192" y="66"/>
                  </a:lnTo>
                  <a:lnTo>
                    <a:pt x="198" y="66"/>
                  </a:lnTo>
                  <a:lnTo>
                    <a:pt x="198" y="60"/>
                  </a:lnTo>
                  <a:lnTo>
                    <a:pt x="192" y="60"/>
                  </a:lnTo>
                  <a:lnTo>
                    <a:pt x="192" y="54"/>
                  </a:lnTo>
                  <a:lnTo>
                    <a:pt x="198" y="48"/>
                  </a:lnTo>
                  <a:lnTo>
                    <a:pt x="198" y="42"/>
                  </a:lnTo>
                  <a:lnTo>
                    <a:pt x="198" y="36"/>
                  </a:lnTo>
                  <a:lnTo>
                    <a:pt x="204" y="36"/>
                  </a:lnTo>
                  <a:lnTo>
                    <a:pt x="210" y="36"/>
                  </a:lnTo>
                  <a:lnTo>
                    <a:pt x="216" y="36"/>
                  </a:lnTo>
                  <a:lnTo>
                    <a:pt x="222" y="36"/>
                  </a:lnTo>
                  <a:lnTo>
                    <a:pt x="228" y="36"/>
                  </a:lnTo>
                  <a:lnTo>
                    <a:pt x="228" y="30"/>
                  </a:lnTo>
                  <a:lnTo>
                    <a:pt x="234" y="30"/>
                  </a:lnTo>
                  <a:lnTo>
                    <a:pt x="234" y="24"/>
                  </a:lnTo>
                  <a:lnTo>
                    <a:pt x="240" y="24"/>
                  </a:lnTo>
                  <a:lnTo>
                    <a:pt x="240" y="30"/>
                  </a:lnTo>
                  <a:lnTo>
                    <a:pt x="240" y="24"/>
                  </a:lnTo>
                  <a:lnTo>
                    <a:pt x="240" y="30"/>
                  </a:lnTo>
                  <a:lnTo>
                    <a:pt x="246" y="30"/>
                  </a:lnTo>
                  <a:lnTo>
                    <a:pt x="246" y="36"/>
                  </a:lnTo>
                  <a:lnTo>
                    <a:pt x="252" y="36"/>
                  </a:lnTo>
                  <a:lnTo>
                    <a:pt x="252" y="42"/>
                  </a:lnTo>
                  <a:lnTo>
                    <a:pt x="252" y="48"/>
                  </a:lnTo>
                  <a:lnTo>
                    <a:pt x="258" y="48"/>
                  </a:lnTo>
                  <a:lnTo>
                    <a:pt x="258" y="42"/>
                  </a:lnTo>
                  <a:lnTo>
                    <a:pt x="258" y="36"/>
                  </a:lnTo>
                  <a:lnTo>
                    <a:pt x="264" y="30"/>
                  </a:lnTo>
                  <a:lnTo>
                    <a:pt x="264" y="24"/>
                  </a:lnTo>
                  <a:lnTo>
                    <a:pt x="270" y="18"/>
                  </a:lnTo>
                  <a:lnTo>
                    <a:pt x="270" y="12"/>
                  </a:lnTo>
                  <a:lnTo>
                    <a:pt x="270" y="6"/>
                  </a:lnTo>
                  <a:lnTo>
                    <a:pt x="276" y="0"/>
                  </a:lnTo>
                  <a:lnTo>
                    <a:pt x="276" y="6"/>
                  </a:lnTo>
                  <a:lnTo>
                    <a:pt x="282" y="6"/>
                  </a:lnTo>
                  <a:lnTo>
                    <a:pt x="282" y="12"/>
                  </a:lnTo>
                  <a:lnTo>
                    <a:pt x="288" y="12"/>
                  </a:lnTo>
                  <a:lnTo>
                    <a:pt x="294" y="12"/>
                  </a:lnTo>
                  <a:lnTo>
                    <a:pt x="294" y="18"/>
                  </a:lnTo>
                  <a:lnTo>
                    <a:pt x="300" y="18"/>
                  </a:lnTo>
                  <a:lnTo>
                    <a:pt x="300" y="24"/>
                  </a:lnTo>
                  <a:lnTo>
                    <a:pt x="306" y="24"/>
                  </a:lnTo>
                  <a:lnTo>
                    <a:pt x="306" y="30"/>
                  </a:lnTo>
                  <a:lnTo>
                    <a:pt x="312" y="30"/>
                  </a:lnTo>
                  <a:lnTo>
                    <a:pt x="318" y="30"/>
                  </a:lnTo>
                  <a:lnTo>
                    <a:pt x="318" y="24"/>
                  </a:lnTo>
                  <a:lnTo>
                    <a:pt x="324" y="24"/>
                  </a:lnTo>
                  <a:lnTo>
                    <a:pt x="330" y="24"/>
                  </a:lnTo>
                  <a:lnTo>
                    <a:pt x="336" y="24"/>
                  </a:lnTo>
                  <a:lnTo>
                    <a:pt x="336" y="18"/>
                  </a:lnTo>
                  <a:lnTo>
                    <a:pt x="342" y="18"/>
                  </a:lnTo>
                  <a:lnTo>
                    <a:pt x="348" y="18"/>
                  </a:lnTo>
                  <a:lnTo>
                    <a:pt x="348" y="24"/>
                  </a:lnTo>
                  <a:lnTo>
                    <a:pt x="348" y="30"/>
                  </a:lnTo>
                  <a:lnTo>
                    <a:pt x="348" y="24"/>
                  </a:lnTo>
                  <a:lnTo>
                    <a:pt x="354" y="24"/>
                  </a:lnTo>
                  <a:lnTo>
                    <a:pt x="360" y="24"/>
                  </a:lnTo>
                  <a:lnTo>
                    <a:pt x="366" y="24"/>
                  </a:lnTo>
                  <a:lnTo>
                    <a:pt x="366" y="18"/>
                  </a:lnTo>
                  <a:lnTo>
                    <a:pt x="366" y="24"/>
                  </a:lnTo>
                  <a:lnTo>
                    <a:pt x="372" y="24"/>
                  </a:lnTo>
                  <a:lnTo>
                    <a:pt x="378" y="24"/>
                  </a:lnTo>
                  <a:lnTo>
                    <a:pt x="384" y="24"/>
                  </a:lnTo>
                  <a:lnTo>
                    <a:pt x="384" y="30"/>
                  </a:lnTo>
                  <a:lnTo>
                    <a:pt x="390" y="30"/>
                  </a:lnTo>
                  <a:lnTo>
                    <a:pt x="390" y="24"/>
                  </a:lnTo>
                  <a:lnTo>
                    <a:pt x="396" y="24"/>
                  </a:lnTo>
                  <a:lnTo>
                    <a:pt x="402" y="24"/>
                  </a:lnTo>
                  <a:lnTo>
                    <a:pt x="402" y="30"/>
                  </a:lnTo>
                  <a:lnTo>
                    <a:pt x="408" y="30"/>
                  </a:lnTo>
                  <a:lnTo>
                    <a:pt x="414" y="30"/>
                  </a:lnTo>
                  <a:lnTo>
                    <a:pt x="414" y="36"/>
                  </a:lnTo>
                  <a:lnTo>
                    <a:pt x="420" y="36"/>
                  </a:lnTo>
                  <a:lnTo>
                    <a:pt x="420" y="42"/>
                  </a:lnTo>
                  <a:lnTo>
                    <a:pt x="426" y="42"/>
                  </a:lnTo>
                  <a:lnTo>
                    <a:pt x="432" y="42"/>
                  </a:lnTo>
                  <a:lnTo>
                    <a:pt x="438" y="42"/>
                  </a:lnTo>
                  <a:lnTo>
                    <a:pt x="438" y="48"/>
                  </a:lnTo>
                  <a:lnTo>
                    <a:pt x="444" y="48"/>
                  </a:lnTo>
                  <a:lnTo>
                    <a:pt x="444" y="54"/>
                  </a:lnTo>
                  <a:lnTo>
                    <a:pt x="450" y="54"/>
                  </a:lnTo>
                  <a:lnTo>
                    <a:pt x="450" y="60"/>
                  </a:lnTo>
                  <a:lnTo>
                    <a:pt x="456" y="66"/>
                  </a:lnTo>
                  <a:lnTo>
                    <a:pt x="456" y="72"/>
                  </a:lnTo>
                  <a:lnTo>
                    <a:pt x="462" y="72"/>
                  </a:lnTo>
                  <a:lnTo>
                    <a:pt x="462" y="78"/>
                  </a:lnTo>
                  <a:lnTo>
                    <a:pt x="468" y="78"/>
                  </a:lnTo>
                  <a:lnTo>
                    <a:pt x="468" y="84"/>
                  </a:lnTo>
                  <a:lnTo>
                    <a:pt x="474" y="84"/>
                  </a:lnTo>
                  <a:lnTo>
                    <a:pt x="480" y="90"/>
                  </a:lnTo>
                  <a:lnTo>
                    <a:pt x="486" y="90"/>
                  </a:lnTo>
                  <a:lnTo>
                    <a:pt x="486" y="96"/>
                  </a:lnTo>
                  <a:lnTo>
                    <a:pt x="492" y="96"/>
                  </a:lnTo>
                  <a:lnTo>
                    <a:pt x="492" y="102"/>
                  </a:lnTo>
                  <a:lnTo>
                    <a:pt x="498" y="108"/>
                  </a:lnTo>
                  <a:lnTo>
                    <a:pt x="498" y="114"/>
                  </a:lnTo>
                  <a:lnTo>
                    <a:pt x="504" y="120"/>
                  </a:lnTo>
                  <a:lnTo>
                    <a:pt x="510" y="120"/>
                  </a:lnTo>
                  <a:lnTo>
                    <a:pt x="510" y="126"/>
                  </a:lnTo>
                  <a:lnTo>
                    <a:pt x="516" y="126"/>
                  </a:lnTo>
                  <a:lnTo>
                    <a:pt x="516" y="132"/>
                  </a:lnTo>
                  <a:lnTo>
                    <a:pt x="522" y="132"/>
                  </a:lnTo>
                  <a:lnTo>
                    <a:pt x="522" y="138"/>
                  </a:lnTo>
                  <a:lnTo>
                    <a:pt x="528" y="138"/>
                  </a:lnTo>
                  <a:lnTo>
                    <a:pt x="522" y="144"/>
                  </a:lnTo>
                  <a:lnTo>
                    <a:pt x="522" y="150"/>
                  </a:lnTo>
                  <a:lnTo>
                    <a:pt x="516" y="150"/>
                  </a:lnTo>
                  <a:lnTo>
                    <a:pt x="516" y="156"/>
                  </a:lnTo>
                  <a:lnTo>
                    <a:pt x="510" y="156"/>
                  </a:lnTo>
                  <a:lnTo>
                    <a:pt x="510" y="162"/>
                  </a:lnTo>
                  <a:lnTo>
                    <a:pt x="510" y="168"/>
                  </a:lnTo>
                  <a:lnTo>
                    <a:pt x="504" y="168"/>
                  </a:lnTo>
                  <a:lnTo>
                    <a:pt x="504" y="174"/>
                  </a:lnTo>
                  <a:lnTo>
                    <a:pt x="498" y="174"/>
                  </a:lnTo>
                  <a:lnTo>
                    <a:pt x="498" y="180"/>
                  </a:lnTo>
                  <a:lnTo>
                    <a:pt x="492" y="180"/>
                  </a:lnTo>
                  <a:lnTo>
                    <a:pt x="492" y="186"/>
                  </a:lnTo>
                  <a:lnTo>
                    <a:pt x="492" y="192"/>
                  </a:lnTo>
                  <a:lnTo>
                    <a:pt x="492" y="198"/>
                  </a:lnTo>
                  <a:lnTo>
                    <a:pt x="492" y="204"/>
                  </a:lnTo>
                  <a:lnTo>
                    <a:pt x="492" y="210"/>
                  </a:lnTo>
                  <a:lnTo>
                    <a:pt x="492" y="216"/>
                  </a:lnTo>
                  <a:lnTo>
                    <a:pt x="492" y="222"/>
                  </a:lnTo>
                  <a:lnTo>
                    <a:pt x="492" y="228"/>
                  </a:lnTo>
                  <a:lnTo>
                    <a:pt x="498" y="228"/>
                  </a:lnTo>
                  <a:lnTo>
                    <a:pt x="504" y="228"/>
                  </a:lnTo>
                  <a:lnTo>
                    <a:pt x="510" y="228"/>
                  </a:lnTo>
                  <a:lnTo>
                    <a:pt x="510" y="222"/>
                  </a:lnTo>
                  <a:lnTo>
                    <a:pt x="516" y="222"/>
                  </a:lnTo>
                  <a:lnTo>
                    <a:pt x="516" y="228"/>
                  </a:lnTo>
                  <a:lnTo>
                    <a:pt x="516" y="222"/>
                  </a:lnTo>
                  <a:lnTo>
                    <a:pt x="522" y="222"/>
                  </a:lnTo>
                  <a:lnTo>
                    <a:pt x="528" y="222"/>
                  </a:lnTo>
                  <a:lnTo>
                    <a:pt x="534" y="222"/>
                  </a:lnTo>
                  <a:lnTo>
                    <a:pt x="540" y="216"/>
                  </a:lnTo>
                  <a:lnTo>
                    <a:pt x="540" y="222"/>
                  </a:lnTo>
                  <a:lnTo>
                    <a:pt x="546" y="222"/>
                  </a:lnTo>
                  <a:lnTo>
                    <a:pt x="552" y="222"/>
                  </a:lnTo>
                  <a:lnTo>
                    <a:pt x="558" y="222"/>
                  </a:lnTo>
                  <a:lnTo>
                    <a:pt x="552" y="228"/>
                  </a:lnTo>
                  <a:lnTo>
                    <a:pt x="552" y="234"/>
                  </a:lnTo>
                  <a:lnTo>
                    <a:pt x="546" y="234"/>
                  </a:lnTo>
                  <a:lnTo>
                    <a:pt x="546" y="240"/>
                  </a:lnTo>
                  <a:lnTo>
                    <a:pt x="540" y="246"/>
                  </a:lnTo>
                  <a:lnTo>
                    <a:pt x="540" y="252"/>
                  </a:lnTo>
                  <a:lnTo>
                    <a:pt x="546" y="252"/>
                  </a:lnTo>
                  <a:lnTo>
                    <a:pt x="546" y="258"/>
                  </a:lnTo>
                  <a:lnTo>
                    <a:pt x="546" y="264"/>
                  </a:lnTo>
                  <a:lnTo>
                    <a:pt x="552" y="264"/>
                  </a:lnTo>
                  <a:lnTo>
                    <a:pt x="552" y="270"/>
                  </a:lnTo>
                  <a:lnTo>
                    <a:pt x="558" y="276"/>
                  </a:lnTo>
                  <a:lnTo>
                    <a:pt x="558" y="282"/>
                  </a:lnTo>
                  <a:lnTo>
                    <a:pt x="564" y="282"/>
                  </a:lnTo>
                  <a:lnTo>
                    <a:pt x="564" y="288"/>
                  </a:lnTo>
                  <a:lnTo>
                    <a:pt x="570" y="288"/>
                  </a:lnTo>
                  <a:lnTo>
                    <a:pt x="576" y="294"/>
                  </a:lnTo>
                  <a:lnTo>
                    <a:pt x="576" y="300"/>
                  </a:lnTo>
                  <a:lnTo>
                    <a:pt x="576" y="306"/>
                  </a:lnTo>
                  <a:lnTo>
                    <a:pt x="582" y="306"/>
                  </a:lnTo>
                  <a:lnTo>
                    <a:pt x="582" y="312"/>
                  </a:lnTo>
                  <a:lnTo>
                    <a:pt x="588" y="312"/>
                  </a:lnTo>
                  <a:lnTo>
                    <a:pt x="588" y="318"/>
                  </a:lnTo>
                  <a:lnTo>
                    <a:pt x="594" y="318"/>
                  </a:lnTo>
                  <a:lnTo>
                    <a:pt x="600" y="318"/>
                  </a:lnTo>
                  <a:lnTo>
                    <a:pt x="600" y="324"/>
                  </a:lnTo>
                  <a:lnTo>
                    <a:pt x="606" y="324"/>
                  </a:lnTo>
                  <a:lnTo>
                    <a:pt x="606" y="330"/>
                  </a:lnTo>
                  <a:lnTo>
                    <a:pt x="612" y="336"/>
                  </a:lnTo>
                  <a:lnTo>
                    <a:pt x="618" y="336"/>
                  </a:lnTo>
                  <a:lnTo>
                    <a:pt x="624" y="342"/>
                  </a:lnTo>
                  <a:lnTo>
                    <a:pt x="630" y="342"/>
                  </a:lnTo>
                  <a:lnTo>
                    <a:pt x="636" y="342"/>
                  </a:lnTo>
                  <a:lnTo>
                    <a:pt x="642" y="348"/>
                  </a:lnTo>
                  <a:lnTo>
                    <a:pt x="648" y="348"/>
                  </a:lnTo>
                  <a:lnTo>
                    <a:pt x="654" y="348"/>
                  </a:lnTo>
                  <a:lnTo>
                    <a:pt x="660" y="354"/>
                  </a:lnTo>
                  <a:lnTo>
                    <a:pt x="666" y="354"/>
                  </a:lnTo>
                  <a:lnTo>
                    <a:pt x="672" y="354"/>
                  </a:lnTo>
                  <a:lnTo>
                    <a:pt x="678" y="360"/>
                  </a:lnTo>
                  <a:lnTo>
                    <a:pt x="684" y="360"/>
                  </a:lnTo>
                  <a:lnTo>
                    <a:pt x="696" y="366"/>
                  </a:lnTo>
                  <a:lnTo>
                    <a:pt x="702" y="366"/>
                  </a:lnTo>
                  <a:lnTo>
                    <a:pt x="708" y="366"/>
                  </a:lnTo>
                  <a:lnTo>
                    <a:pt x="714" y="372"/>
                  </a:lnTo>
                  <a:lnTo>
                    <a:pt x="720" y="372"/>
                  </a:lnTo>
                  <a:lnTo>
                    <a:pt x="726" y="372"/>
                  </a:lnTo>
                  <a:lnTo>
                    <a:pt x="732" y="378"/>
                  </a:lnTo>
                  <a:lnTo>
                    <a:pt x="738" y="378"/>
                  </a:lnTo>
                  <a:lnTo>
                    <a:pt x="744" y="378"/>
                  </a:lnTo>
                  <a:lnTo>
                    <a:pt x="750" y="384"/>
                  </a:lnTo>
                  <a:lnTo>
                    <a:pt x="756" y="384"/>
                  </a:lnTo>
                  <a:lnTo>
                    <a:pt x="762" y="384"/>
                  </a:lnTo>
                  <a:lnTo>
                    <a:pt x="768" y="390"/>
                  </a:lnTo>
                  <a:lnTo>
                    <a:pt x="774" y="390"/>
                  </a:lnTo>
                  <a:lnTo>
                    <a:pt x="780" y="390"/>
                  </a:lnTo>
                  <a:lnTo>
                    <a:pt x="786" y="390"/>
                  </a:lnTo>
                  <a:lnTo>
                    <a:pt x="792" y="390"/>
                  </a:lnTo>
                  <a:lnTo>
                    <a:pt x="798" y="390"/>
                  </a:lnTo>
                  <a:lnTo>
                    <a:pt x="804" y="390"/>
                  </a:lnTo>
                  <a:lnTo>
                    <a:pt x="810" y="390"/>
                  </a:lnTo>
                  <a:lnTo>
                    <a:pt x="816" y="390"/>
                  </a:lnTo>
                  <a:lnTo>
                    <a:pt x="822" y="390"/>
                  </a:lnTo>
                  <a:lnTo>
                    <a:pt x="828" y="390"/>
                  </a:lnTo>
                  <a:lnTo>
                    <a:pt x="834" y="390"/>
                  </a:lnTo>
                  <a:lnTo>
                    <a:pt x="810" y="420"/>
                  </a:lnTo>
                  <a:lnTo>
                    <a:pt x="798" y="432"/>
                  </a:lnTo>
                  <a:lnTo>
                    <a:pt x="774" y="456"/>
                  </a:lnTo>
                  <a:lnTo>
                    <a:pt x="768" y="462"/>
                  </a:lnTo>
                  <a:lnTo>
                    <a:pt x="756" y="474"/>
                  </a:lnTo>
                  <a:lnTo>
                    <a:pt x="750" y="480"/>
                  </a:lnTo>
                  <a:lnTo>
                    <a:pt x="702" y="534"/>
                  </a:lnTo>
                  <a:lnTo>
                    <a:pt x="672" y="558"/>
                  </a:lnTo>
                  <a:lnTo>
                    <a:pt x="672" y="564"/>
                  </a:lnTo>
                  <a:lnTo>
                    <a:pt x="666" y="564"/>
                  </a:lnTo>
                  <a:lnTo>
                    <a:pt x="648" y="564"/>
                  </a:lnTo>
                  <a:lnTo>
                    <a:pt x="630" y="564"/>
                  </a:lnTo>
                  <a:lnTo>
                    <a:pt x="618" y="564"/>
                  </a:lnTo>
                  <a:lnTo>
                    <a:pt x="612" y="564"/>
                  </a:lnTo>
                  <a:lnTo>
                    <a:pt x="606" y="564"/>
                  </a:lnTo>
                  <a:lnTo>
                    <a:pt x="594" y="570"/>
                  </a:lnTo>
                  <a:lnTo>
                    <a:pt x="588" y="570"/>
                  </a:lnTo>
                  <a:lnTo>
                    <a:pt x="582" y="570"/>
                  </a:lnTo>
                  <a:lnTo>
                    <a:pt x="576" y="576"/>
                  </a:lnTo>
                  <a:lnTo>
                    <a:pt x="570" y="576"/>
                  </a:lnTo>
                  <a:lnTo>
                    <a:pt x="570" y="582"/>
                  </a:lnTo>
                  <a:lnTo>
                    <a:pt x="564" y="582"/>
                  </a:lnTo>
                  <a:lnTo>
                    <a:pt x="558" y="582"/>
                  </a:lnTo>
                  <a:lnTo>
                    <a:pt x="558" y="588"/>
                  </a:lnTo>
                  <a:lnTo>
                    <a:pt x="558" y="594"/>
                  </a:lnTo>
                  <a:lnTo>
                    <a:pt x="552" y="594"/>
                  </a:lnTo>
                  <a:lnTo>
                    <a:pt x="552" y="600"/>
                  </a:lnTo>
                  <a:lnTo>
                    <a:pt x="546" y="600"/>
                  </a:lnTo>
                  <a:lnTo>
                    <a:pt x="540" y="600"/>
                  </a:lnTo>
                  <a:lnTo>
                    <a:pt x="540" y="606"/>
                  </a:lnTo>
                  <a:lnTo>
                    <a:pt x="534" y="606"/>
                  </a:lnTo>
                  <a:lnTo>
                    <a:pt x="528" y="606"/>
                  </a:lnTo>
                  <a:lnTo>
                    <a:pt x="522" y="606"/>
                  </a:lnTo>
                  <a:lnTo>
                    <a:pt x="516" y="606"/>
                  </a:lnTo>
                  <a:lnTo>
                    <a:pt x="510" y="606"/>
                  </a:lnTo>
                  <a:lnTo>
                    <a:pt x="504" y="606"/>
                  </a:lnTo>
                  <a:lnTo>
                    <a:pt x="504" y="612"/>
                  </a:lnTo>
                  <a:lnTo>
                    <a:pt x="498" y="612"/>
                  </a:lnTo>
                  <a:lnTo>
                    <a:pt x="498" y="618"/>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1" name="Freeform 33"/>
            <p:cNvSpPr>
              <a:spLocks/>
            </p:cNvSpPr>
            <p:nvPr>
              <p:custDataLst>
                <p:tags r:id="rId84"/>
              </p:custDataLst>
            </p:nvPr>
          </p:nvSpPr>
          <p:spPr bwMode="gray">
            <a:xfrm>
              <a:off x="5227638" y="3309938"/>
              <a:ext cx="377825" cy="395288"/>
            </a:xfrm>
            <a:custGeom>
              <a:avLst/>
              <a:gdLst>
                <a:gd name="T0" fmla="*/ 79935 w 306"/>
                <a:gd name="T1" fmla="*/ 103219 h 318"/>
                <a:gd name="T2" fmla="*/ 71268 w 306"/>
                <a:gd name="T3" fmla="*/ 103219 h 318"/>
                <a:gd name="T4" fmla="*/ 63563 w 306"/>
                <a:gd name="T5" fmla="*/ 103219 h 318"/>
                <a:gd name="T6" fmla="*/ 54896 w 306"/>
                <a:gd name="T7" fmla="*/ 103219 h 318"/>
                <a:gd name="T8" fmla="*/ 46227 w 306"/>
                <a:gd name="T9" fmla="*/ 103219 h 318"/>
                <a:gd name="T10" fmla="*/ 37560 w 306"/>
                <a:gd name="T11" fmla="*/ 103219 h 318"/>
                <a:gd name="T12" fmla="*/ 29855 w 306"/>
                <a:gd name="T13" fmla="*/ 103219 h 318"/>
                <a:gd name="T14" fmla="*/ 23114 w 306"/>
                <a:gd name="T15" fmla="*/ 105167 h 318"/>
                <a:gd name="T16" fmla="*/ 14446 w 306"/>
                <a:gd name="T17" fmla="*/ 105167 h 318"/>
                <a:gd name="T18" fmla="*/ 12520 w 306"/>
                <a:gd name="T19" fmla="*/ 111983 h 318"/>
                <a:gd name="T20" fmla="*/ 8668 w 306"/>
                <a:gd name="T21" fmla="*/ 111983 h 318"/>
                <a:gd name="T22" fmla="*/ 3852 w 306"/>
                <a:gd name="T23" fmla="*/ 111983 h 318"/>
                <a:gd name="T24" fmla="*/ 1926 w 306"/>
                <a:gd name="T25" fmla="*/ 107115 h 318"/>
                <a:gd name="T26" fmla="*/ 1926 w 306"/>
                <a:gd name="T27" fmla="*/ 105167 h 318"/>
                <a:gd name="T28" fmla="*/ 1926 w 306"/>
                <a:gd name="T29" fmla="*/ 97377 h 318"/>
                <a:gd name="T30" fmla="*/ 3852 w 306"/>
                <a:gd name="T31" fmla="*/ 87639 h 318"/>
                <a:gd name="T32" fmla="*/ 3852 w 306"/>
                <a:gd name="T33" fmla="*/ 79849 h 318"/>
                <a:gd name="T34" fmla="*/ 8668 w 306"/>
                <a:gd name="T35" fmla="*/ 74980 h 318"/>
                <a:gd name="T36" fmla="*/ 8668 w 306"/>
                <a:gd name="T37" fmla="*/ 67190 h 318"/>
                <a:gd name="T38" fmla="*/ 14446 w 306"/>
                <a:gd name="T39" fmla="*/ 64269 h 318"/>
                <a:gd name="T40" fmla="*/ 17335 w 306"/>
                <a:gd name="T41" fmla="*/ 60374 h 318"/>
                <a:gd name="T42" fmla="*/ 23114 w 306"/>
                <a:gd name="T43" fmla="*/ 56478 h 318"/>
                <a:gd name="T44" fmla="*/ 26966 w 306"/>
                <a:gd name="T45" fmla="*/ 49662 h 318"/>
                <a:gd name="T46" fmla="*/ 33707 w 306"/>
                <a:gd name="T47" fmla="*/ 42846 h 318"/>
                <a:gd name="T48" fmla="*/ 31782 w 306"/>
                <a:gd name="T49" fmla="*/ 38950 h 318"/>
                <a:gd name="T50" fmla="*/ 26003 w 306"/>
                <a:gd name="T51" fmla="*/ 37003 h 318"/>
                <a:gd name="T52" fmla="*/ 26003 w 306"/>
                <a:gd name="T53" fmla="*/ 32134 h 318"/>
                <a:gd name="T54" fmla="*/ 26966 w 306"/>
                <a:gd name="T55" fmla="*/ 26291 h 318"/>
                <a:gd name="T56" fmla="*/ 26003 w 306"/>
                <a:gd name="T57" fmla="*/ 23371 h 318"/>
                <a:gd name="T58" fmla="*/ 26966 w 306"/>
                <a:gd name="T59" fmla="*/ 17528 h 318"/>
                <a:gd name="T60" fmla="*/ 26003 w 306"/>
                <a:gd name="T61" fmla="*/ 14606 h 318"/>
                <a:gd name="T62" fmla="*/ 29855 w 306"/>
                <a:gd name="T63" fmla="*/ 8764 h 318"/>
                <a:gd name="T64" fmla="*/ 37560 w 306"/>
                <a:gd name="T65" fmla="*/ 8764 h 318"/>
                <a:gd name="T66" fmla="*/ 42375 w 306"/>
                <a:gd name="T67" fmla="*/ 8764 h 318"/>
                <a:gd name="T68" fmla="*/ 46227 w 306"/>
                <a:gd name="T69" fmla="*/ 8764 h 318"/>
                <a:gd name="T70" fmla="*/ 51043 w 306"/>
                <a:gd name="T71" fmla="*/ 12659 h 318"/>
                <a:gd name="T72" fmla="*/ 56821 w 306"/>
                <a:gd name="T73" fmla="*/ 8764 h 318"/>
                <a:gd name="T74" fmla="*/ 65489 w 306"/>
                <a:gd name="T75" fmla="*/ 8764 h 318"/>
                <a:gd name="T76" fmla="*/ 71268 w 306"/>
                <a:gd name="T77" fmla="*/ 8764 h 318"/>
                <a:gd name="T78" fmla="*/ 79935 w 306"/>
                <a:gd name="T79" fmla="*/ 8764 h 318"/>
                <a:gd name="T80" fmla="*/ 86676 w 306"/>
                <a:gd name="T81" fmla="*/ 0 h 318"/>
                <a:gd name="T82" fmla="*/ 90529 w 306"/>
                <a:gd name="T83" fmla="*/ 3895 h 318"/>
                <a:gd name="T84" fmla="*/ 93418 w 306"/>
                <a:gd name="T85" fmla="*/ 6816 h 318"/>
                <a:gd name="T86" fmla="*/ 93418 w 306"/>
                <a:gd name="T87" fmla="*/ 10712 h 318"/>
                <a:gd name="T88" fmla="*/ 97270 w 306"/>
                <a:gd name="T89" fmla="*/ 10712 h 318"/>
                <a:gd name="T90" fmla="*/ 95345 w 306"/>
                <a:gd name="T91" fmla="*/ 17528 h 318"/>
                <a:gd name="T92" fmla="*/ 99197 w 306"/>
                <a:gd name="T93" fmla="*/ 21423 h 318"/>
                <a:gd name="T94" fmla="*/ 101123 w 306"/>
                <a:gd name="T95" fmla="*/ 28240 h 318"/>
                <a:gd name="T96" fmla="*/ 104975 w 306"/>
                <a:gd name="T97" fmla="*/ 32134 h 318"/>
                <a:gd name="T98" fmla="*/ 104975 w 306"/>
                <a:gd name="T99" fmla="*/ 40898 h 318"/>
                <a:gd name="T100" fmla="*/ 107865 w 306"/>
                <a:gd name="T101" fmla="*/ 49662 h 318"/>
                <a:gd name="T102" fmla="*/ 104012 w 306"/>
                <a:gd name="T103" fmla="*/ 53557 h 318"/>
                <a:gd name="T104" fmla="*/ 101123 w 306"/>
                <a:gd name="T105" fmla="*/ 60374 h 318"/>
                <a:gd name="T106" fmla="*/ 97270 w 306"/>
                <a:gd name="T107" fmla="*/ 64269 h 318"/>
                <a:gd name="T108" fmla="*/ 93418 w 306"/>
                <a:gd name="T109" fmla="*/ 69137 h 318"/>
                <a:gd name="T110" fmla="*/ 90529 w 306"/>
                <a:gd name="T111" fmla="*/ 74980 h 318"/>
                <a:gd name="T112" fmla="*/ 88603 w 306"/>
                <a:gd name="T113" fmla="*/ 77902 h 318"/>
                <a:gd name="T114" fmla="*/ 86676 w 306"/>
                <a:gd name="T115" fmla="*/ 83744 h 318"/>
                <a:gd name="T116" fmla="*/ 86676 w 306"/>
                <a:gd name="T117" fmla="*/ 92508 h 318"/>
                <a:gd name="T118" fmla="*/ 86676 w 306"/>
                <a:gd name="T119" fmla="*/ 101272 h 3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 h="318">
                  <a:moveTo>
                    <a:pt x="246" y="288"/>
                  </a:moveTo>
                  <a:lnTo>
                    <a:pt x="240" y="288"/>
                  </a:lnTo>
                  <a:lnTo>
                    <a:pt x="234" y="288"/>
                  </a:lnTo>
                  <a:lnTo>
                    <a:pt x="228" y="288"/>
                  </a:lnTo>
                  <a:lnTo>
                    <a:pt x="222" y="288"/>
                  </a:lnTo>
                  <a:lnTo>
                    <a:pt x="216" y="288"/>
                  </a:lnTo>
                  <a:lnTo>
                    <a:pt x="210" y="288"/>
                  </a:lnTo>
                  <a:lnTo>
                    <a:pt x="204" y="288"/>
                  </a:lnTo>
                  <a:lnTo>
                    <a:pt x="198" y="288"/>
                  </a:lnTo>
                  <a:lnTo>
                    <a:pt x="192" y="288"/>
                  </a:lnTo>
                  <a:lnTo>
                    <a:pt x="186" y="288"/>
                  </a:lnTo>
                  <a:lnTo>
                    <a:pt x="180" y="288"/>
                  </a:lnTo>
                  <a:lnTo>
                    <a:pt x="174" y="288"/>
                  </a:lnTo>
                  <a:lnTo>
                    <a:pt x="168" y="288"/>
                  </a:lnTo>
                  <a:lnTo>
                    <a:pt x="162" y="288"/>
                  </a:lnTo>
                  <a:lnTo>
                    <a:pt x="156" y="288"/>
                  </a:lnTo>
                  <a:lnTo>
                    <a:pt x="150" y="288"/>
                  </a:lnTo>
                  <a:lnTo>
                    <a:pt x="144" y="288"/>
                  </a:lnTo>
                  <a:lnTo>
                    <a:pt x="138" y="288"/>
                  </a:lnTo>
                  <a:lnTo>
                    <a:pt x="132" y="288"/>
                  </a:lnTo>
                  <a:lnTo>
                    <a:pt x="126" y="288"/>
                  </a:lnTo>
                  <a:lnTo>
                    <a:pt x="120" y="288"/>
                  </a:lnTo>
                  <a:lnTo>
                    <a:pt x="114" y="288"/>
                  </a:lnTo>
                  <a:lnTo>
                    <a:pt x="108" y="288"/>
                  </a:lnTo>
                  <a:lnTo>
                    <a:pt x="102" y="288"/>
                  </a:lnTo>
                  <a:lnTo>
                    <a:pt x="96" y="288"/>
                  </a:lnTo>
                  <a:lnTo>
                    <a:pt x="90" y="288"/>
                  </a:lnTo>
                  <a:lnTo>
                    <a:pt x="84" y="288"/>
                  </a:lnTo>
                  <a:lnTo>
                    <a:pt x="78" y="288"/>
                  </a:lnTo>
                  <a:lnTo>
                    <a:pt x="72" y="288"/>
                  </a:lnTo>
                  <a:lnTo>
                    <a:pt x="66" y="288"/>
                  </a:lnTo>
                  <a:lnTo>
                    <a:pt x="66" y="294"/>
                  </a:lnTo>
                  <a:lnTo>
                    <a:pt x="60" y="294"/>
                  </a:lnTo>
                  <a:lnTo>
                    <a:pt x="54" y="294"/>
                  </a:lnTo>
                  <a:lnTo>
                    <a:pt x="48" y="294"/>
                  </a:lnTo>
                  <a:lnTo>
                    <a:pt x="42" y="294"/>
                  </a:lnTo>
                  <a:lnTo>
                    <a:pt x="42" y="300"/>
                  </a:lnTo>
                  <a:lnTo>
                    <a:pt x="42" y="306"/>
                  </a:lnTo>
                  <a:lnTo>
                    <a:pt x="36" y="306"/>
                  </a:lnTo>
                  <a:lnTo>
                    <a:pt x="36" y="312"/>
                  </a:lnTo>
                  <a:lnTo>
                    <a:pt x="36" y="306"/>
                  </a:lnTo>
                  <a:lnTo>
                    <a:pt x="36" y="312"/>
                  </a:lnTo>
                  <a:lnTo>
                    <a:pt x="30" y="312"/>
                  </a:lnTo>
                  <a:lnTo>
                    <a:pt x="24" y="312"/>
                  </a:lnTo>
                  <a:lnTo>
                    <a:pt x="24" y="318"/>
                  </a:lnTo>
                  <a:lnTo>
                    <a:pt x="18" y="312"/>
                  </a:lnTo>
                  <a:lnTo>
                    <a:pt x="18" y="306"/>
                  </a:lnTo>
                  <a:lnTo>
                    <a:pt x="12" y="312"/>
                  </a:lnTo>
                  <a:lnTo>
                    <a:pt x="12" y="306"/>
                  </a:lnTo>
                  <a:lnTo>
                    <a:pt x="6" y="312"/>
                  </a:lnTo>
                  <a:lnTo>
                    <a:pt x="6" y="306"/>
                  </a:lnTo>
                  <a:lnTo>
                    <a:pt x="6" y="300"/>
                  </a:lnTo>
                  <a:lnTo>
                    <a:pt x="0" y="300"/>
                  </a:lnTo>
                  <a:lnTo>
                    <a:pt x="6" y="300"/>
                  </a:lnTo>
                  <a:lnTo>
                    <a:pt x="0" y="294"/>
                  </a:lnTo>
                  <a:lnTo>
                    <a:pt x="6" y="294"/>
                  </a:lnTo>
                  <a:lnTo>
                    <a:pt x="6" y="288"/>
                  </a:lnTo>
                  <a:lnTo>
                    <a:pt x="6" y="282"/>
                  </a:lnTo>
                  <a:lnTo>
                    <a:pt x="6" y="276"/>
                  </a:lnTo>
                  <a:lnTo>
                    <a:pt x="6" y="270"/>
                  </a:lnTo>
                  <a:lnTo>
                    <a:pt x="6" y="264"/>
                  </a:lnTo>
                  <a:lnTo>
                    <a:pt x="6" y="258"/>
                  </a:lnTo>
                  <a:lnTo>
                    <a:pt x="6" y="252"/>
                  </a:lnTo>
                  <a:lnTo>
                    <a:pt x="12" y="246"/>
                  </a:lnTo>
                  <a:lnTo>
                    <a:pt x="12" y="240"/>
                  </a:lnTo>
                  <a:lnTo>
                    <a:pt x="12" y="234"/>
                  </a:lnTo>
                  <a:lnTo>
                    <a:pt x="12" y="228"/>
                  </a:lnTo>
                  <a:lnTo>
                    <a:pt x="12" y="222"/>
                  </a:lnTo>
                  <a:lnTo>
                    <a:pt x="18" y="222"/>
                  </a:lnTo>
                  <a:lnTo>
                    <a:pt x="18" y="216"/>
                  </a:lnTo>
                  <a:lnTo>
                    <a:pt x="18" y="210"/>
                  </a:lnTo>
                  <a:lnTo>
                    <a:pt x="24" y="210"/>
                  </a:lnTo>
                  <a:lnTo>
                    <a:pt x="24" y="204"/>
                  </a:lnTo>
                  <a:lnTo>
                    <a:pt x="24" y="198"/>
                  </a:lnTo>
                  <a:lnTo>
                    <a:pt x="24" y="192"/>
                  </a:lnTo>
                  <a:lnTo>
                    <a:pt x="24" y="186"/>
                  </a:lnTo>
                  <a:lnTo>
                    <a:pt x="30" y="186"/>
                  </a:lnTo>
                  <a:lnTo>
                    <a:pt x="36" y="186"/>
                  </a:lnTo>
                  <a:lnTo>
                    <a:pt x="36" y="180"/>
                  </a:lnTo>
                  <a:lnTo>
                    <a:pt x="42" y="180"/>
                  </a:lnTo>
                  <a:lnTo>
                    <a:pt x="36" y="180"/>
                  </a:lnTo>
                  <a:lnTo>
                    <a:pt x="42" y="174"/>
                  </a:lnTo>
                  <a:lnTo>
                    <a:pt x="42" y="168"/>
                  </a:lnTo>
                  <a:lnTo>
                    <a:pt x="48" y="168"/>
                  </a:lnTo>
                  <a:lnTo>
                    <a:pt x="54" y="168"/>
                  </a:lnTo>
                  <a:lnTo>
                    <a:pt x="54" y="162"/>
                  </a:lnTo>
                  <a:lnTo>
                    <a:pt x="60" y="156"/>
                  </a:lnTo>
                  <a:lnTo>
                    <a:pt x="66" y="156"/>
                  </a:lnTo>
                  <a:lnTo>
                    <a:pt x="66" y="150"/>
                  </a:lnTo>
                  <a:lnTo>
                    <a:pt x="72" y="144"/>
                  </a:lnTo>
                  <a:lnTo>
                    <a:pt x="78" y="144"/>
                  </a:lnTo>
                  <a:lnTo>
                    <a:pt x="78" y="138"/>
                  </a:lnTo>
                  <a:lnTo>
                    <a:pt x="84" y="138"/>
                  </a:lnTo>
                  <a:lnTo>
                    <a:pt x="84" y="132"/>
                  </a:lnTo>
                  <a:lnTo>
                    <a:pt x="90" y="126"/>
                  </a:lnTo>
                  <a:lnTo>
                    <a:pt x="96" y="120"/>
                  </a:lnTo>
                  <a:lnTo>
                    <a:pt x="102" y="114"/>
                  </a:lnTo>
                  <a:lnTo>
                    <a:pt x="96" y="114"/>
                  </a:lnTo>
                  <a:lnTo>
                    <a:pt x="96" y="108"/>
                  </a:lnTo>
                  <a:lnTo>
                    <a:pt x="90" y="108"/>
                  </a:lnTo>
                  <a:lnTo>
                    <a:pt x="84" y="108"/>
                  </a:lnTo>
                  <a:lnTo>
                    <a:pt x="84" y="102"/>
                  </a:lnTo>
                  <a:lnTo>
                    <a:pt x="78" y="102"/>
                  </a:lnTo>
                  <a:lnTo>
                    <a:pt x="72" y="102"/>
                  </a:lnTo>
                  <a:lnTo>
                    <a:pt x="72" y="96"/>
                  </a:lnTo>
                  <a:lnTo>
                    <a:pt x="66" y="96"/>
                  </a:lnTo>
                  <a:lnTo>
                    <a:pt x="66" y="90"/>
                  </a:lnTo>
                  <a:lnTo>
                    <a:pt x="72" y="90"/>
                  </a:lnTo>
                  <a:lnTo>
                    <a:pt x="72" y="84"/>
                  </a:lnTo>
                  <a:lnTo>
                    <a:pt x="72" y="78"/>
                  </a:lnTo>
                  <a:lnTo>
                    <a:pt x="78" y="78"/>
                  </a:lnTo>
                  <a:lnTo>
                    <a:pt x="78" y="72"/>
                  </a:lnTo>
                  <a:lnTo>
                    <a:pt x="72" y="72"/>
                  </a:lnTo>
                  <a:lnTo>
                    <a:pt x="72" y="66"/>
                  </a:lnTo>
                  <a:lnTo>
                    <a:pt x="66" y="66"/>
                  </a:lnTo>
                  <a:lnTo>
                    <a:pt x="72" y="66"/>
                  </a:lnTo>
                  <a:lnTo>
                    <a:pt x="72" y="60"/>
                  </a:lnTo>
                  <a:lnTo>
                    <a:pt x="72" y="54"/>
                  </a:lnTo>
                  <a:lnTo>
                    <a:pt x="72" y="48"/>
                  </a:lnTo>
                  <a:lnTo>
                    <a:pt x="78" y="48"/>
                  </a:lnTo>
                  <a:lnTo>
                    <a:pt x="78" y="42"/>
                  </a:lnTo>
                  <a:lnTo>
                    <a:pt x="78" y="36"/>
                  </a:lnTo>
                  <a:lnTo>
                    <a:pt x="78" y="42"/>
                  </a:lnTo>
                  <a:lnTo>
                    <a:pt x="72" y="42"/>
                  </a:lnTo>
                  <a:lnTo>
                    <a:pt x="78" y="36"/>
                  </a:lnTo>
                  <a:lnTo>
                    <a:pt x="78" y="30"/>
                  </a:lnTo>
                  <a:lnTo>
                    <a:pt x="84" y="30"/>
                  </a:lnTo>
                  <a:lnTo>
                    <a:pt x="84" y="24"/>
                  </a:lnTo>
                  <a:lnTo>
                    <a:pt x="90" y="24"/>
                  </a:lnTo>
                  <a:lnTo>
                    <a:pt x="96" y="24"/>
                  </a:lnTo>
                  <a:lnTo>
                    <a:pt x="102" y="24"/>
                  </a:lnTo>
                  <a:lnTo>
                    <a:pt x="108" y="24"/>
                  </a:lnTo>
                  <a:lnTo>
                    <a:pt x="108" y="30"/>
                  </a:lnTo>
                  <a:lnTo>
                    <a:pt x="114" y="30"/>
                  </a:lnTo>
                  <a:lnTo>
                    <a:pt x="120" y="30"/>
                  </a:lnTo>
                  <a:lnTo>
                    <a:pt x="120" y="24"/>
                  </a:lnTo>
                  <a:lnTo>
                    <a:pt x="126" y="24"/>
                  </a:lnTo>
                  <a:lnTo>
                    <a:pt x="126" y="18"/>
                  </a:lnTo>
                  <a:lnTo>
                    <a:pt x="126" y="24"/>
                  </a:lnTo>
                  <a:lnTo>
                    <a:pt x="132" y="24"/>
                  </a:lnTo>
                  <a:lnTo>
                    <a:pt x="132" y="30"/>
                  </a:lnTo>
                  <a:lnTo>
                    <a:pt x="138" y="30"/>
                  </a:lnTo>
                  <a:lnTo>
                    <a:pt x="138" y="36"/>
                  </a:lnTo>
                  <a:lnTo>
                    <a:pt x="144" y="36"/>
                  </a:lnTo>
                  <a:lnTo>
                    <a:pt x="150" y="36"/>
                  </a:lnTo>
                  <a:lnTo>
                    <a:pt x="150" y="30"/>
                  </a:lnTo>
                  <a:lnTo>
                    <a:pt x="156" y="30"/>
                  </a:lnTo>
                  <a:lnTo>
                    <a:pt x="162" y="24"/>
                  </a:lnTo>
                  <a:lnTo>
                    <a:pt x="168" y="24"/>
                  </a:lnTo>
                  <a:lnTo>
                    <a:pt x="174" y="24"/>
                  </a:lnTo>
                  <a:lnTo>
                    <a:pt x="180" y="24"/>
                  </a:lnTo>
                  <a:lnTo>
                    <a:pt x="186" y="24"/>
                  </a:lnTo>
                  <a:lnTo>
                    <a:pt x="186" y="18"/>
                  </a:lnTo>
                  <a:lnTo>
                    <a:pt x="192" y="18"/>
                  </a:lnTo>
                  <a:lnTo>
                    <a:pt x="198" y="18"/>
                  </a:lnTo>
                  <a:lnTo>
                    <a:pt x="204" y="24"/>
                  </a:lnTo>
                  <a:lnTo>
                    <a:pt x="210" y="24"/>
                  </a:lnTo>
                  <a:lnTo>
                    <a:pt x="216" y="24"/>
                  </a:lnTo>
                  <a:lnTo>
                    <a:pt x="222" y="24"/>
                  </a:lnTo>
                  <a:lnTo>
                    <a:pt x="228" y="24"/>
                  </a:lnTo>
                  <a:lnTo>
                    <a:pt x="228" y="18"/>
                  </a:lnTo>
                  <a:lnTo>
                    <a:pt x="234" y="12"/>
                  </a:lnTo>
                  <a:lnTo>
                    <a:pt x="240" y="6"/>
                  </a:lnTo>
                  <a:lnTo>
                    <a:pt x="246" y="0"/>
                  </a:lnTo>
                  <a:lnTo>
                    <a:pt x="252" y="0"/>
                  </a:lnTo>
                  <a:lnTo>
                    <a:pt x="252" y="6"/>
                  </a:lnTo>
                  <a:lnTo>
                    <a:pt x="252" y="12"/>
                  </a:lnTo>
                  <a:lnTo>
                    <a:pt x="258" y="12"/>
                  </a:lnTo>
                  <a:lnTo>
                    <a:pt x="258" y="18"/>
                  </a:lnTo>
                  <a:lnTo>
                    <a:pt x="252" y="18"/>
                  </a:lnTo>
                  <a:lnTo>
                    <a:pt x="258" y="18"/>
                  </a:lnTo>
                  <a:lnTo>
                    <a:pt x="264" y="18"/>
                  </a:lnTo>
                  <a:lnTo>
                    <a:pt x="258" y="18"/>
                  </a:lnTo>
                  <a:lnTo>
                    <a:pt x="258" y="24"/>
                  </a:lnTo>
                  <a:lnTo>
                    <a:pt x="264" y="24"/>
                  </a:lnTo>
                  <a:lnTo>
                    <a:pt x="264" y="30"/>
                  </a:lnTo>
                  <a:lnTo>
                    <a:pt x="264" y="24"/>
                  </a:lnTo>
                  <a:lnTo>
                    <a:pt x="270" y="24"/>
                  </a:lnTo>
                  <a:lnTo>
                    <a:pt x="270" y="30"/>
                  </a:lnTo>
                  <a:lnTo>
                    <a:pt x="276" y="30"/>
                  </a:lnTo>
                  <a:lnTo>
                    <a:pt x="276" y="36"/>
                  </a:lnTo>
                  <a:lnTo>
                    <a:pt x="270" y="36"/>
                  </a:lnTo>
                  <a:lnTo>
                    <a:pt x="270" y="42"/>
                  </a:lnTo>
                  <a:lnTo>
                    <a:pt x="270" y="48"/>
                  </a:lnTo>
                  <a:lnTo>
                    <a:pt x="276" y="48"/>
                  </a:lnTo>
                  <a:lnTo>
                    <a:pt x="276" y="54"/>
                  </a:lnTo>
                  <a:lnTo>
                    <a:pt x="276" y="60"/>
                  </a:lnTo>
                  <a:lnTo>
                    <a:pt x="282" y="60"/>
                  </a:lnTo>
                  <a:lnTo>
                    <a:pt x="282" y="66"/>
                  </a:lnTo>
                  <a:lnTo>
                    <a:pt x="282" y="72"/>
                  </a:lnTo>
                  <a:lnTo>
                    <a:pt x="288" y="72"/>
                  </a:lnTo>
                  <a:lnTo>
                    <a:pt x="288" y="78"/>
                  </a:lnTo>
                  <a:lnTo>
                    <a:pt x="294" y="78"/>
                  </a:lnTo>
                  <a:lnTo>
                    <a:pt x="294" y="84"/>
                  </a:lnTo>
                  <a:lnTo>
                    <a:pt x="294" y="90"/>
                  </a:lnTo>
                  <a:lnTo>
                    <a:pt x="300" y="90"/>
                  </a:lnTo>
                  <a:lnTo>
                    <a:pt x="300" y="96"/>
                  </a:lnTo>
                  <a:lnTo>
                    <a:pt x="300" y="102"/>
                  </a:lnTo>
                  <a:lnTo>
                    <a:pt x="300" y="108"/>
                  </a:lnTo>
                  <a:lnTo>
                    <a:pt x="300" y="114"/>
                  </a:lnTo>
                  <a:lnTo>
                    <a:pt x="306" y="120"/>
                  </a:lnTo>
                  <a:lnTo>
                    <a:pt x="306" y="126"/>
                  </a:lnTo>
                  <a:lnTo>
                    <a:pt x="306" y="132"/>
                  </a:lnTo>
                  <a:lnTo>
                    <a:pt x="306" y="138"/>
                  </a:lnTo>
                  <a:lnTo>
                    <a:pt x="306" y="144"/>
                  </a:lnTo>
                  <a:lnTo>
                    <a:pt x="300" y="144"/>
                  </a:lnTo>
                  <a:lnTo>
                    <a:pt x="300" y="150"/>
                  </a:lnTo>
                  <a:lnTo>
                    <a:pt x="294" y="150"/>
                  </a:lnTo>
                  <a:lnTo>
                    <a:pt x="294" y="156"/>
                  </a:lnTo>
                  <a:lnTo>
                    <a:pt x="294" y="162"/>
                  </a:lnTo>
                  <a:lnTo>
                    <a:pt x="294" y="168"/>
                  </a:lnTo>
                  <a:lnTo>
                    <a:pt x="288" y="168"/>
                  </a:lnTo>
                  <a:lnTo>
                    <a:pt x="282" y="168"/>
                  </a:lnTo>
                  <a:lnTo>
                    <a:pt x="282" y="174"/>
                  </a:lnTo>
                  <a:lnTo>
                    <a:pt x="276" y="174"/>
                  </a:lnTo>
                  <a:lnTo>
                    <a:pt x="276" y="180"/>
                  </a:lnTo>
                  <a:lnTo>
                    <a:pt x="276" y="186"/>
                  </a:lnTo>
                  <a:lnTo>
                    <a:pt x="270" y="186"/>
                  </a:lnTo>
                  <a:lnTo>
                    <a:pt x="270" y="192"/>
                  </a:lnTo>
                  <a:lnTo>
                    <a:pt x="264" y="192"/>
                  </a:lnTo>
                  <a:lnTo>
                    <a:pt x="264" y="198"/>
                  </a:lnTo>
                  <a:lnTo>
                    <a:pt x="258" y="198"/>
                  </a:lnTo>
                  <a:lnTo>
                    <a:pt x="258" y="204"/>
                  </a:lnTo>
                  <a:lnTo>
                    <a:pt x="258" y="210"/>
                  </a:lnTo>
                  <a:lnTo>
                    <a:pt x="252" y="210"/>
                  </a:lnTo>
                  <a:lnTo>
                    <a:pt x="258" y="210"/>
                  </a:lnTo>
                  <a:lnTo>
                    <a:pt x="252" y="210"/>
                  </a:lnTo>
                  <a:lnTo>
                    <a:pt x="252" y="216"/>
                  </a:lnTo>
                  <a:lnTo>
                    <a:pt x="252" y="222"/>
                  </a:lnTo>
                  <a:lnTo>
                    <a:pt x="246" y="222"/>
                  </a:lnTo>
                  <a:lnTo>
                    <a:pt x="246" y="228"/>
                  </a:lnTo>
                  <a:lnTo>
                    <a:pt x="246" y="234"/>
                  </a:lnTo>
                  <a:lnTo>
                    <a:pt x="246" y="240"/>
                  </a:lnTo>
                  <a:lnTo>
                    <a:pt x="246" y="246"/>
                  </a:lnTo>
                  <a:lnTo>
                    <a:pt x="246" y="252"/>
                  </a:lnTo>
                  <a:lnTo>
                    <a:pt x="246" y="258"/>
                  </a:lnTo>
                  <a:lnTo>
                    <a:pt x="246" y="264"/>
                  </a:lnTo>
                  <a:lnTo>
                    <a:pt x="246" y="270"/>
                  </a:lnTo>
                  <a:lnTo>
                    <a:pt x="246" y="276"/>
                  </a:lnTo>
                  <a:lnTo>
                    <a:pt x="246" y="282"/>
                  </a:lnTo>
                  <a:lnTo>
                    <a:pt x="246" y="288"/>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2" name="Freeform 34"/>
            <p:cNvSpPr>
              <a:spLocks noEditPoints="1"/>
            </p:cNvSpPr>
            <p:nvPr>
              <p:custDataLst>
                <p:tags r:id="rId85"/>
              </p:custDataLst>
            </p:nvPr>
          </p:nvSpPr>
          <p:spPr bwMode="gray">
            <a:xfrm>
              <a:off x="6015038" y="2767013"/>
              <a:ext cx="723900" cy="944563"/>
            </a:xfrm>
            <a:custGeom>
              <a:avLst/>
              <a:gdLst>
                <a:gd name="T0" fmla="*/ 1946 w 582"/>
                <a:gd name="T1" fmla="*/ 255544 h 762"/>
                <a:gd name="T2" fmla="*/ 0 w 582"/>
                <a:gd name="T3" fmla="*/ 238120 h 762"/>
                <a:gd name="T4" fmla="*/ 0 w 582"/>
                <a:gd name="T5" fmla="*/ 218761 h 762"/>
                <a:gd name="T6" fmla="*/ 0 w 582"/>
                <a:gd name="T7" fmla="*/ 199402 h 762"/>
                <a:gd name="T8" fmla="*/ 3893 w 582"/>
                <a:gd name="T9" fmla="*/ 179074 h 762"/>
                <a:gd name="T10" fmla="*/ 17519 w 582"/>
                <a:gd name="T11" fmla="*/ 163587 h 762"/>
                <a:gd name="T12" fmla="*/ 30172 w 582"/>
                <a:gd name="T13" fmla="*/ 154875 h 762"/>
                <a:gd name="T14" fmla="*/ 40879 w 582"/>
                <a:gd name="T15" fmla="*/ 146163 h 762"/>
                <a:gd name="T16" fmla="*/ 60345 w 582"/>
                <a:gd name="T17" fmla="*/ 140355 h 762"/>
                <a:gd name="T18" fmla="*/ 111930 w 582"/>
                <a:gd name="T19" fmla="*/ 108413 h 762"/>
                <a:gd name="T20" fmla="*/ 131395 w 582"/>
                <a:gd name="T21" fmla="*/ 78406 h 762"/>
                <a:gd name="T22" fmla="*/ 111930 w 582"/>
                <a:gd name="T23" fmla="*/ 76469 h 762"/>
                <a:gd name="T24" fmla="*/ 92464 w 582"/>
                <a:gd name="T25" fmla="*/ 70662 h 762"/>
                <a:gd name="T26" fmla="*/ 71051 w 582"/>
                <a:gd name="T27" fmla="*/ 63886 h 762"/>
                <a:gd name="T28" fmla="*/ 56452 w 582"/>
                <a:gd name="T29" fmla="*/ 53238 h 762"/>
                <a:gd name="T30" fmla="*/ 44772 w 582"/>
                <a:gd name="T31" fmla="*/ 42591 h 762"/>
                <a:gd name="T32" fmla="*/ 36985 w 582"/>
                <a:gd name="T33" fmla="*/ 30007 h 762"/>
                <a:gd name="T34" fmla="*/ 42826 w 582"/>
                <a:gd name="T35" fmla="*/ 17424 h 762"/>
                <a:gd name="T36" fmla="*/ 51585 w 582"/>
                <a:gd name="T37" fmla="*/ 12583 h 762"/>
                <a:gd name="T38" fmla="*/ 56452 w 582"/>
                <a:gd name="T39" fmla="*/ 23232 h 762"/>
                <a:gd name="T40" fmla="*/ 71051 w 582"/>
                <a:gd name="T41" fmla="*/ 31943 h 762"/>
                <a:gd name="T42" fmla="*/ 83704 w 582"/>
                <a:gd name="T43" fmla="*/ 30007 h 762"/>
                <a:gd name="T44" fmla="*/ 96357 w 582"/>
                <a:gd name="T45" fmla="*/ 23232 h 762"/>
                <a:gd name="T46" fmla="*/ 113876 w 582"/>
                <a:gd name="T47" fmla="*/ 23232 h 762"/>
                <a:gd name="T48" fmla="*/ 126529 w 582"/>
                <a:gd name="T49" fmla="*/ 17424 h 762"/>
                <a:gd name="T50" fmla="*/ 144049 w 582"/>
                <a:gd name="T51" fmla="*/ 14520 h 762"/>
                <a:gd name="T52" fmla="*/ 158648 w 582"/>
                <a:gd name="T53" fmla="*/ 14520 h 762"/>
                <a:gd name="T54" fmla="*/ 176168 w 582"/>
                <a:gd name="T55" fmla="*/ 10648 h 762"/>
                <a:gd name="T56" fmla="*/ 188821 w 582"/>
                <a:gd name="T57" fmla="*/ 3872 h 762"/>
                <a:gd name="T58" fmla="*/ 199527 w 582"/>
                <a:gd name="T59" fmla="*/ 1936 h 762"/>
                <a:gd name="T60" fmla="*/ 201474 w 582"/>
                <a:gd name="T61" fmla="*/ 10648 h 762"/>
                <a:gd name="T62" fmla="*/ 204394 w 582"/>
                <a:gd name="T63" fmla="*/ 26135 h 762"/>
                <a:gd name="T64" fmla="*/ 204394 w 582"/>
                <a:gd name="T65" fmla="*/ 30007 h 762"/>
                <a:gd name="T66" fmla="*/ 199527 w 582"/>
                <a:gd name="T67" fmla="*/ 31943 h 762"/>
                <a:gd name="T68" fmla="*/ 195633 w 582"/>
                <a:gd name="T69" fmla="*/ 48399 h 762"/>
                <a:gd name="T70" fmla="*/ 191740 w 582"/>
                <a:gd name="T71" fmla="*/ 60014 h 762"/>
                <a:gd name="T72" fmla="*/ 184928 w 582"/>
                <a:gd name="T73" fmla="*/ 71630 h 762"/>
                <a:gd name="T74" fmla="*/ 178114 w 582"/>
                <a:gd name="T75" fmla="*/ 80341 h 762"/>
                <a:gd name="T76" fmla="*/ 172275 w 582"/>
                <a:gd name="T77" fmla="*/ 95829 h 762"/>
                <a:gd name="T78" fmla="*/ 163514 w 582"/>
                <a:gd name="T79" fmla="*/ 106477 h 762"/>
                <a:gd name="T80" fmla="*/ 158648 w 582"/>
                <a:gd name="T81" fmla="*/ 120996 h 762"/>
                <a:gd name="T82" fmla="*/ 147942 w 582"/>
                <a:gd name="T83" fmla="*/ 135516 h 762"/>
                <a:gd name="T84" fmla="*/ 140156 w 582"/>
                <a:gd name="T85" fmla="*/ 151004 h 762"/>
                <a:gd name="T86" fmla="*/ 128476 w 582"/>
                <a:gd name="T87" fmla="*/ 161651 h 762"/>
                <a:gd name="T88" fmla="*/ 113876 w 582"/>
                <a:gd name="T89" fmla="*/ 176170 h 762"/>
                <a:gd name="T90" fmla="*/ 105117 w 582"/>
                <a:gd name="T91" fmla="*/ 186818 h 762"/>
                <a:gd name="T92" fmla="*/ 92464 w 582"/>
                <a:gd name="T93" fmla="*/ 195529 h 762"/>
                <a:gd name="T94" fmla="*/ 79811 w 582"/>
                <a:gd name="T95" fmla="*/ 202305 h 762"/>
                <a:gd name="T96" fmla="*/ 67158 w 582"/>
                <a:gd name="T97" fmla="*/ 210049 h 762"/>
                <a:gd name="T98" fmla="*/ 56452 w 582"/>
                <a:gd name="T99" fmla="*/ 218761 h 762"/>
                <a:gd name="T100" fmla="*/ 44772 w 582"/>
                <a:gd name="T101" fmla="*/ 229408 h 762"/>
                <a:gd name="T102" fmla="*/ 32119 w 582"/>
                <a:gd name="T103" fmla="*/ 241992 h 762"/>
                <a:gd name="T104" fmla="*/ 23359 w 582"/>
                <a:gd name="T105" fmla="*/ 255544 h 762"/>
                <a:gd name="T106" fmla="*/ 19466 w 582"/>
                <a:gd name="T107" fmla="*/ 257480 h 762"/>
                <a:gd name="T108" fmla="*/ 17519 w 582"/>
                <a:gd name="T109" fmla="*/ 261352 h 762"/>
                <a:gd name="T110" fmla="*/ 23359 w 582"/>
                <a:gd name="T111" fmla="*/ 252640 h 762"/>
                <a:gd name="T112" fmla="*/ 26279 w 582"/>
                <a:gd name="T113" fmla="*/ 250704 h 762"/>
                <a:gd name="T114" fmla="*/ 32119 w 582"/>
                <a:gd name="T115" fmla="*/ 246832 h 7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82" h="762">
                  <a:moveTo>
                    <a:pt x="36" y="762"/>
                  </a:moveTo>
                  <a:lnTo>
                    <a:pt x="30" y="756"/>
                  </a:lnTo>
                  <a:lnTo>
                    <a:pt x="30" y="750"/>
                  </a:lnTo>
                  <a:lnTo>
                    <a:pt x="24" y="750"/>
                  </a:lnTo>
                  <a:lnTo>
                    <a:pt x="24" y="744"/>
                  </a:lnTo>
                  <a:lnTo>
                    <a:pt x="18" y="738"/>
                  </a:lnTo>
                  <a:lnTo>
                    <a:pt x="12" y="732"/>
                  </a:lnTo>
                  <a:lnTo>
                    <a:pt x="6" y="726"/>
                  </a:lnTo>
                  <a:lnTo>
                    <a:pt x="6" y="720"/>
                  </a:lnTo>
                  <a:lnTo>
                    <a:pt x="0" y="720"/>
                  </a:lnTo>
                  <a:lnTo>
                    <a:pt x="0" y="714"/>
                  </a:lnTo>
                  <a:lnTo>
                    <a:pt x="0" y="708"/>
                  </a:lnTo>
                  <a:lnTo>
                    <a:pt x="0" y="702"/>
                  </a:lnTo>
                  <a:lnTo>
                    <a:pt x="0" y="696"/>
                  </a:lnTo>
                  <a:lnTo>
                    <a:pt x="0" y="690"/>
                  </a:lnTo>
                  <a:lnTo>
                    <a:pt x="0" y="684"/>
                  </a:lnTo>
                  <a:lnTo>
                    <a:pt x="0" y="678"/>
                  </a:lnTo>
                  <a:lnTo>
                    <a:pt x="0" y="672"/>
                  </a:lnTo>
                  <a:lnTo>
                    <a:pt x="0" y="666"/>
                  </a:lnTo>
                  <a:lnTo>
                    <a:pt x="0" y="660"/>
                  </a:lnTo>
                  <a:lnTo>
                    <a:pt x="0" y="654"/>
                  </a:lnTo>
                  <a:lnTo>
                    <a:pt x="0" y="648"/>
                  </a:lnTo>
                  <a:lnTo>
                    <a:pt x="0" y="642"/>
                  </a:lnTo>
                  <a:lnTo>
                    <a:pt x="0" y="636"/>
                  </a:lnTo>
                  <a:lnTo>
                    <a:pt x="0" y="630"/>
                  </a:lnTo>
                  <a:lnTo>
                    <a:pt x="0" y="624"/>
                  </a:lnTo>
                  <a:lnTo>
                    <a:pt x="0" y="618"/>
                  </a:lnTo>
                  <a:lnTo>
                    <a:pt x="0" y="612"/>
                  </a:lnTo>
                  <a:lnTo>
                    <a:pt x="0" y="606"/>
                  </a:lnTo>
                  <a:lnTo>
                    <a:pt x="0" y="600"/>
                  </a:lnTo>
                  <a:lnTo>
                    <a:pt x="0" y="594"/>
                  </a:lnTo>
                  <a:lnTo>
                    <a:pt x="0" y="588"/>
                  </a:lnTo>
                  <a:lnTo>
                    <a:pt x="0" y="582"/>
                  </a:lnTo>
                  <a:lnTo>
                    <a:pt x="0" y="576"/>
                  </a:lnTo>
                  <a:lnTo>
                    <a:pt x="0" y="570"/>
                  </a:lnTo>
                  <a:lnTo>
                    <a:pt x="0" y="564"/>
                  </a:lnTo>
                  <a:lnTo>
                    <a:pt x="0" y="558"/>
                  </a:lnTo>
                  <a:lnTo>
                    <a:pt x="0" y="552"/>
                  </a:lnTo>
                  <a:lnTo>
                    <a:pt x="0" y="546"/>
                  </a:lnTo>
                  <a:lnTo>
                    <a:pt x="0" y="540"/>
                  </a:lnTo>
                  <a:lnTo>
                    <a:pt x="0" y="528"/>
                  </a:lnTo>
                  <a:lnTo>
                    <a:pt x="0" y="522"/>
                  </a:lnTo>
                  <a:lnTo>
                    <a:pt x="0" y="516"/>
                  </a:lnTo>
                  <a:lnTo>
                    <a:pt x="6" y="510"/>
                  </a:lnTo>
                  <a:lnTo>
                    <a:pt x="12" y="504"/>
                  </a:lnTo>
                  <a:lnTo>
                    <a:pt x="18" y="498"/>
                  </a:lnTo>
                  <a:lnTo>
                    <a:pt x="24" y="498"/>
                  </a:lnTo>
                  <a:lnTo>
                    <a:pt x="24" y="492"/>
                  </a:lnTo>
                  <a:lnTo>
                    <a:pt x="30" y="486"/>
                  </a:lnTo>
                  <a:lnTo>
                    <a:pt x="30" y="480"/>
                  </a:lnTo>
                  <a:lnTo>
                    <a:pt x="36" y="474"/>
                  </a:lnTo>
                  <a:lnTo>
                    <a:pt x="42" y="468"/>
                  </a:lnTo>
                  <a:lnTo>
                    <a:pt x="42" y="462"/>
                  </a:lnTo>
                  <a:lnTo>
                    <a:pt x="48" y="462"/>
                  </a:lnTo>
                  <a:lnTo>
                    <a:pt x="48" y="456"/>
                  </a:lnTo>
                  <a:lnTo>
                    <a:pt x="54" y="450"/>
                  </a:lnTo>
                  <a:lnTo>
                    <a:pt x="54" y="444"/>
                  </a:lnTo>
                  <a:lnTo>
                    <a:pt x="60" y="444"/>
                  </a:lnTo>
                  <a:lnTo>
                    <a:pt x="60" y="438"/>
                  </a:lnTo>
                  <a:lnTo>
                    <a:pt x="66" y="438"/>
                  </a:lnTo>
                  <a:lnTo>
                    <a:pt x="72" y="438"/>
                  </a:lnTo>
                  <a:lnTo>
                    <a:pt x="78" y="438"/>
                  </a:lnTo>
                  <a:lnTo>
                    <a:pt x="84" y="438"/>
                  </a:lnTo>
                  <a:lnTo>
                    <a:pt x="90" y="438"/>
                  </a:lnTo>
                  <a:lnTo>
                    <a:pt x="96" y="438"/>
                  </a:lnTo>
                  <a:lnTo>
                    <a:pt x="96" y="432"/>
                  </a:lnTo>
                  <a:lnTo>
                    <a:pt x="102" y="432"/>
                  </a:lnTo>
                  <a:lnTo>
                    <a:pt x="108" y="432"/>
                  </a:lnTo>
                  <a:lnTo>
                    <a:pt x="108" y="426"/>
                  </a:lnTo>
                  <a:lnTo>
                    <a:pt x="114" y="426"/>
                  </a:lnTo>
                  <a:lnTo>
                    <a:pt x="114" y="420"/>
                  </a:lnTo>
                  <a:lnTo>
                    <a:pt x="114" y="414"/>
                  </a:lnTo>
                  <a:lnTo>
                    <a:pt x="120" y="414"/>
                  </a:lnTo>
                  <a:lnTo>
                    <a:pt x="126" y="414"/>
                  </a:lnTo>
                  <a:lnTo>
                    <a:pt x="126" y="408"/>
                  </a:lnTo>
                  <a:lnTo>
                    <a:pt x="132" y="408"/>
                  </a:lnTo>
                  <a:lnTo>
                    <a:pt x="138" y="402"/>
                  </a:lnTo>
                  <a:lnTo>
                    <a:pt x="144" y="402"/>
                  </a:lnTo>
                  <a:lnTo>
                    <a:pt x="150" y="402"/>
                  </a:lnTo>
                  <a:lnTo>
                    <a:pt x="162" y="396"/>
                  </a:lnTo>
                  <a:lnTo>
                    <a:pt x="168" y="396"/>
                  </a:lnTo>
                  <a:lnTo>
                    <a:pt x="174" y="396"/>
                  </a:lnTo>
                  <a:lnTo>
                    <a:pt x="186" y="396"/>
                  </a:lnTo>
                  <a:lnTo>
                    <a:pt x="204" y="396"/>
                  </a:lnTo>
                  <a:lnTo>
                    <a:pt x="222" y="396"/>
                  </a:lnTo>
                  <a:lnTo>
                    <a:pt x="228" y="396"/>
                  </a:lnTo>
                  <a:lnTo>
                    <a:pt x="228" y="390"/>
                  </a:lnTo>
                  <a:lnTo>
                    <a:pt x="258" y="366"/>
                  </a:lnTo>
                  <a:lnTo>
                    <a:pt x="306" y="312"/>
                  </a:lnTo>
                  <a:lnTo>
                    <a:pt x="312" y="306"/>
                  </a:lnTo>
                  <a:lnTo>
                    <a:pt x="324" y="294"/>
                  </a:lnTo>
                  <a:lnTo>
                    <a:pt x="330" y="288"/>
                  </a:lnTo>
                  <a:lnTo>
                    <a:pt x="354" y="264"/>
                  </a:lnTo>
                  <a:lnTo>
                    <a:pt x="366" y="252"/>
                  </a:lnTo>
                  <a:lnTo>
                    <a:pt x="390" y="222"/>
                  </a:lnTo>
                  <a:lnTo>
                    <a:pt x="384" y="222"/>
                  </a:lnTo>
                  <a:lnTo>
                    <a:pt x="378" y="222"/>
                  </a:lnTo>
                  <a:lnTo>
                    <a:pt x="372" y="222"/>
                  </a:lnTo>
                  <a:lnTo>
                    <a:pt x="366" y="222"/>
                  </a:lnTo>
                  <a:lnTo>
                    <a:pt x="360" y="222"/>
                  </a:lnTo>
                  <a:lnTo>
                    <a:pt x="354" y="222"/>
                  </a:lnTo>
                  <a:lnTo>
                    <a:pt x="348" y="222"/>
                  </a:lnTo>
                  <a:lnTo>
                    <a:pt x="342" y="222"/>
                  </a:lnTo>
                  <a:lnTo>
                    <a:pt x="336" y="222"/>
                  </a:lnTo>
                  <a:lnTo>
                    <a:pt x="330" y="222"/>
                  </a:lnTo>
                  <a:lnTo>
                    <a:pt x="324" y="222"/>
                  </a:lnTo>
                  <a:lnTo>
                    <a:pt x="318" y="216"/>
                  </a:lnTo>
                  <a:lnTo>
                    <a:pt x="312" y="216"/>
                  </a:lnTo>
                  <a:lnTo>
                    <a:pt x="306" y="216"/>
                  </a:lnTo>
                  <a:lnTo>
                    <a:pt x="300" y="210"/>
                  </a:lnTo>
                  <a:lnTo>
                    <a:pt x="294" y="210"/>
                  </a:lnTo>
                  <a:lnTo>
                    <a:pt x="288" y="210"/>
                  </a:lnTo>
                  <a:lnTo>
                    <a:pt x="282" y="204"/>
                  </a:lnTo>
                  <a:lnTo>
                    <a:pt x="276" y="204"/>
                  </a:lnTo>
                  <a:lnTo>
                    <a:pt x="270" y="204"/>
                  </a:lnTo>
                  <a:lnTo>
                    <a:pt x="264" y="198"/>
                  </a:lnTo>
                  <a:lnTo>
                    <a:pt x="258" y="198"/>
                  </a:lnTo>
                  <a:lnTo>
                    <a:pt x="252" y="198"/>
                  </a:lnTo>
                  <a:lnTo>
                    <a:pt x="240" y="192"/>
                  </a:lnTo>
                  <a:lnTo>
                    <a:pt x="234" y="192"/>
                  </a:lnTo>
                  <a:lnTo>
                    <a:pt x="228" y="186"/>
                  </a:lnTo>
                  <a:lnTo>
                    <a:pt x="222" y="186"/>
                  </a:lnTo>
                  <a:lnTo>
                    <a:pt x="216" y="186"/>
                  </a:lnTo>
                  <a:lnTo>
                    <a:pt x="210" y="180"/>
                  </a:lnTo>
                  <a:lnTo>
                    <a:pt x="204" y="180"/>
                  </a:lnTo>
                  <a:lnTo>
                    <a:pt x="198" y="180"/>
                  </a:lnTo>
                  <a:lnTo>
                    <a:pt x="192" y="174"/>
                  </a:lnTo>
                  <a:lnTo>
                    <a:pt x="186" y="174"/>
                  </a:lnTo>
                  <a:lnTo>
                    <a:pt x="180" y="174"/>
                  </a:lnTo>
                  <a:lnTo>
                    <a:pt x="174" y="168"/>
                  </a:lnTo>
                  <a:lnTo>
                    <a:pt x="168" y="168"/>
                  </a:lnTo>
                  <a:lnTo>
                    <a:pt x="162" y="162"/>
                  </a:lnTo>
                  <a:lnTo>
                    <a:pt x="162" y="156"/>
                  </a:lnTo>
                  <a:lnTo>
                    <a:pt x="156" y="156"/>
                  </a:lnTo>
                  <a:lnTo>
                    <a:pt x="156" y="150"/>
                  </a:lnTo>
                  <a:lnTo>
                    <a:pt x="150" y="150"/>
                  </a:lnTo>
                  <a:lnTo>
                    <a:pt x="144" y="150"/>
                  </a:lnTo>
                  <a:lnTo>
                    <a:pt x="144" y="144"/>
                  </a:lnTo>
                  <a:lnTo>
                    <a:pt x="138" y="144"/>
                  </a:lnTo>
                  <a:lnTo>
                    <a:pt x="138" y="138"/>
                  </a:lnTo>
                  <a:lnTo>
                    <a:pt x="132" y="138"/>
                  </a:lnTo>
                  <a:lnTo>
                    <a:pt x="132" y="132"/>
                  </a:lnTo>
                  <a:lnTo>
                    <a:pt x="132" y="126"/>
                  </a:lnTo>
                  <a:lnTo>
                    <a:pt x="126" y="120"/>
                  </a:lnTo>
                  <a:lnTo>
                    <a:pt x="120" y="120"/>
                  </a:lnTo>
                  <a:lnTo>
                    <a:pt x="120" y="114"/>
                  </a:lnTo>
                  <a:lnTo>
                    <a:pt x="114" y="114"/>
                  </a:lnTo>
                  <a:lnTo>
                    <a:pt x="114" y="108"/>
                  </a:lnTo>
                  <a:lnTo>
                    <a:pt x="108" y="102"/>
                  </a:lnTo>
                  <a:lnTo>
                    <a:pt x="108" y="96"/>
                  </a:lnTo>
                  <a:lnTo>
                    <a:pt x="102" y="96"/>
                  </a:lnTo>
                  <a:lnTo>
                    <a:pt x="102" y="90"/>
                  </a:lnTo>
                  <a:lnTo>
                    <a:pt x="102" y="84"/>
                  </a:lnTo>
                  <a:lnTo>
                    <a:pt x="96" y="84"/>
                  </a:lnTo>
                  <a:lnTo>
                    <a:pt x="96" y="78"/>
                  </a:lnTo>
                  <a:lnTo>
                    <a:pt x="102" y="72"/>
                  </a:lnTo>
                  <a:lnTo>
                    <a:pt x="102" y="66"/>
                  </a:lnTo>
                  <a:lnTo>
                    <a:pt x="108" y="66"/>
                  </a:lnTo>
                  <a:lnTo>
                    <a:pt x="108" y="60"/>
                  </a:lnTo>
                  <a:lnTo>
                    <a:pt x="114" y="54"/>
                  </a:lnTo>
                  <a:lnTo>
                    <a:pt x="114" y="48"/>
                  </a:lnTo>
                  <a:lnTo>
                    <a:pt x="120" y="48"/>
                  </a:lnTo>
                  <a:lnTo>
                    <a:pt x="120" y="42"/>
                  </a:lnTo>
                  <a:lnTo>
                    <a:pt x="120" y="36"/>
                  </a:lnTo>
                  <a:lnTo>
                    <a:pt x="126" y="36"/>
                  </a:lnTo>
                  <a:lnTo>
                    <a:pt x="126" y="30"/>
                  </a:lnTo>
                  <a:lnTo>
                    <a:pt x="132" y="30"/>
                  </a:lnTo>
                  <a:lnTo>
                    <a:pt x="138" y="36"/>
                  </a:lnTo>
                  <a:lnTo>
                    <a:pt x="144" y="36"/>
                  </a:lnTo>
                  <a:lnTo>
                    <a:pt x="138" y="36"/>
                  </a:lnTo>
                  <a:lnTo>
                    <a:pt x="144" y="36"/>
                  </a:lnTo>
                  <a:lnTo>
                    <a:pt x="144" y="42"/>
                  </a:lnTo>
                  <a:lnTo>
                    <a:pt x="144" y="48"/>
                  </a:lnTo>
                  <a:lnTo>
                    <a:pt x="144" y="42"/>
                  </a:lnTo>
                  <a:lnTo>
                    <a:pt x="144" y="48"/>
                  </a:lnTo>
                  <a:lnTo>
                    <a:pt x="150" y="48"/>
                  </a:lnTo>
                  <a:lnTo>
                    <a:pt x="150" y="54"/>
                  </a:lnTo>
                  <a:lnTo>
                    <a:pt x="150" y="60"/>
                  </a:lnTo>
                  <a:lnTo>
                    <a:pt x="156" y="60"/>
                  </a:lnTo>
                  <a:lnTo>
                    <a:pt x="156" y="66"/>
                  </a:lnTo>
                  <a:lnTo>
                    <a:pt x="162" y="66"/>
                  </a:lnTo>
                  <a:lnTo>
                    <a:pt x="168" y="72"/>
                  </a:lnTo>
                  <a:lnTo>
                    <a:pt x="174" y="78"/>
                  </a:lnTo>
                  <a:lnTo>
                    <a:pt x="180" y="78"/>
                  </a:lnTo>
                  <a:lnTo>
                    <a:pt x="180" y="84"/>
                  </a:lnTo>
                  <a:lnTo>
                    <a:pt x="186" y="84"/>
                  </a:lnTo>
                  <a:lnTo>
                    <a:pt x="186" y="90"/>
                  </a:lnTo>
                  <a:lnTo>
                    <a:pt x="192" y="90"/>
                  </a:lnTo>
                  <a:lnTo>
                    <a:pt x="198" y="90"/>
                  </a:lnTo>
                  <a:lnTo>
                    <a:pt x="204" y="90"/>
                  </a:lnTo>
                  <a:lnTo>
                    <a:pt x="210" y="90"/>
                  </a:lnTo>
                  <a:lnTo>
                    <a:pt x="216" y="90"/>
                  </a:lnTo>
                  <a:lnTo>
                    <a:pt x="222" y="90"/>
                  </a:lnTo>
                  <a:lnTo>
                    <a:pt x="228" y="90"/>
                  </a:lnTo>
                  <a:lnTo>
                    <a:pt x="228" y="84"/>
                  </a:lnTo>
                  <a:lnTo>
                    <a:pt x="222" y="84"/>
                  </a:lnTo>
                  <a:lnTo>
                    <a:pt x="228" y="84"/>
                  </a:lnTo>
                  <a:lnTo>
                    <a:pt x="234" y="84"/>
                  </a:lnTo>
                  <a:lnTo>
                    <a:pt x="240" y="78"/>
                  </a:lnTo>
                  <a:lnTo>
                    <a:pt x="246" y="72"/>
                  </a:lnTo>
                  <a:lnTo>
                    <a:pt x="252" y="72"/>
                  </a:lnTo>
                  <a:lnTo>
                    <a:pt x="258" y="72"/>
                  </a:lnTo>
                  <a:lnTo>
                    <a:pt x="258" y="66"/>
                  </a:lnTo>
                  <a:lnTo>
                    <a:pt x="264" y="66"/>
                  </a:lnTo>
                  <a:lnTo>
                    <a:pt x="270" y="66"/>
                  </a:lnTo>
                  <a:lnTo>
                    <a:pt x="270" y="60"/>
                  </a:lnTo>
                  <a:lnTo>
                    <a:pt x="270" y="66"/>
                  </a:lnTo>
                  <a:lnTo>
                    <a:pt x="276" y="66"/>
                  </a:lnTo>
                  <a:lnTo>
                    <a:pt x="282" y="66"/>
                  </a:lnTo>
                  <a:lnTo>
                    <a:pt x="288" y="66"/>
                  </a:lnTo>
                  <a:lnTo>
                    <a:pt x="294" y="66"/>
                  </a:lnTo>
                  <a:lnTo>
                    <a:pt x="300" y="72"/>
                  </a:lnTo>
                  <a:lnTo>
                    <a:pt x="306" y="72"/>
                  </a:lnTo>
                  <a:lnTo>
                    <a:pt x="312" y="72"/>
                  </a:lnTo>
                  <a:lnTo>
                    <a:pt x="318" y="72"/>
                  </a:lnTo>
                  <a:lnTo>
                    <a:pt x="318" y="66"/>
                  </a:lnTo>
                  <a:lnTo>
                    <a:pt x="324" y="66"/>
                  </a:lnTo>
                  <a:lnTo>
                    <a:pt x="330" y="66"/>
                  </a:lnTo>
                  <a:lnTo>
                    <a:pt x="330" y="60"/>
                  </a:lnTo>
                  <a:lnTo>
                    <a:pt x="336" y="60"/>
                  </a:lnTo>
                  <a:lnTo>
                    <a:pt x="342" y="60"/>
                  </a:lnTo>
                  <a:lnTo>
                    <a:pt x="342" y="54"/>
                  </a:lnTo>
                  <a:lnTo>
                    <a:pt x="348" y="54"/>
                  </a:lnTo>
                  <a:lnTo>
                    <a:pt x="348" y="48"/>
                  </a:lnTo>
                  <a:lnTo>
                    <a:pt x="354" y="48"/>
                  </a:lnTo>
                  <a:lnTo>
                    <a:pt x="360" y="48"/>
                  </a:lnTo>
                  <a:lnTo>
                    <a:pt x="366" y="48"/>
                  </a:lnTo>
                  <a:lnTo>
                    <a:pt x="372" y="48"/>
                  </a:lnTo>
                  <a:lnTo>
                    <a:pt x="378" y="48"/>
                  </a:lnTo>
                  <a:lnTo>
                    <a:pt x="384" y="48"/>
                  </a:lnTo>
                  <a:lnTo>
                    <a:pt x="390" y="48"/>
                  </a:lnTo>
                  <a:lnTo>
                    <a:pt x="396" y="48"/>
                  </a:lnTo>
                  <a:lnTo>
                    <a:pt x="402" y="48"/>
                  </a:lnTo>
                  <a:lnTo>
                    <a:pt x="402" y="42"/>
                  </a:lnTo>
                  <a:lnTo>
                    <a:pt x="408" y="42"/>
                  </a:lnTo>
                  <a:lnTo>
                    <a:pt x="414" y="42"/>
                  </a:lnTo>
                  <a:lnTo>
                    <a:pt x="420" y="42"/>
                  </a:lnTo>
                  <a:lnTo>
                    <a:pt x="420" y="36"/>
                  </a:lnTo>
                  <a:lnTo>
                    <a:pt x="426" y="36"/>
                  </a:lnTo>
                  <a:lnTo>
                    <a:pt x="432" y="36"/>
                  </a:lnTo>
                  <a:lnTo>
                    <a:pt x="438" y="36"/>
                  </a:lnTo>
                  <a:lnTo>
                    <a:pt x="438" y="42"/>
                  </a:lnTo>
                  <a:lnTo>
                    <a:pt x="444" y="42"/>
                  </a:lnTo>
                  <a:lnTo>
                    <a:pt x="450" y="42"/>
                  </a:lnTo>
                  <a:lnTo>
                    <a:pt x="456" y="42"/>
                  </a:lnTo>
                  <a:lnTo>
                    <a:pt x="456" y="36"/>
                  </a:lnTo>
                  <a:lnTo>
                    <a:pt x="462" y="36"/>
                  </a:lnTo>
                  <a:lnTo>
                    <a:pt x="468" y="36"/>
                  </a:lnTo>
                  <a:lnTo>
                    <a:pt x="474" y="36"/>
                  </a:lnTo>
                  <a:lnTo>
                    <a:pt x="480" y="30"/>
                  </a:lnTo>
                  <a:lnTo>
                    <a:pt x="486" y="30"/>
                  </a:lnTo>
                  <a:lnTo>
                    <a:pt x="492" y="30"/>
                  </a:lnTo>
                  <a:lnTo>
                    <a:pt x="498" y="30"/>
                  </a:lnTo>
                  <a:lnTo>
                    <a:pt x="498" y="24"/>
                  </a:lnTo>
                  <a:lnTo>
                    <a:pt x="504" y="24"/>
                  </a:lnTo>
                  <a:lnTo>
                    <a:pt x="510" y="24"/>
                  </a:lnTo>
                  <a:lnTo>
                    <a:pt x="516" y="24"/>
                  </a:lnTo>
                  <a:lnTo>
                    <a:pt x="522" y="24"/>
                  </a:lnTo>
                  <a:lnTo>
                    <a:pt x="522" y="18"/>
                  </a:lnTo>
                  <a:lnTo>
                    <a:pt x="528" y="18"/>
                  </a:lnTo>
                  <a:lnTo>
                    <a:pt x="528" y="12"/>
                  </a:lnTo>
                  <a:lnTo>
                    <a:pt x="534" y="12"/>
                  </a:lnTo>
                  <a:lnTo>
                    <a:pt x="534" y="6"/>
                  </a:lnTo>
                  <a:lnTo>
                    <a:pt x="534" y="12"/>
                  </a:lnTo>
                  <a:lnTo>
                    <a:pt x="534" y="6"/>
                  </a:lnTo>
                  <a:lnTo>
                    <a:pt x="540" y="0"/>
                  </a:lnTo>
                  <a:lnTo>
                    <a:pt x="546" y="0"/>
                  </a:lnTo>
                  <a:lnTo>
                    <a:pt x="552" y="0"/>
                  </a:lnTo>
                  <a:lnTo>
                    <a:pt x="558" y="0"/>
                  </a:lnTo>
                  <a:lnTo>
                    <a:pt x="558" y="6"/>
                  </a:lnTo>
                  <a:lnTo>
                    <a:pt x="564" y="6"/>
                  </a:lnTo>
                  <a:lnTo>
                    <a:pt x="570" y="6"/>
                  </a:lnTo>
                  <a:lnTo>
                    <a:pt x="576" y="6"/>
                  </a:lnTo>
                  <a:lnTo>
                    <a:pt x="576" y="12"/>
                  </a:lnTo>
                  <a:lnTo>
                    <a:pt x="576" y="18"/>
                  </a:lnTo>
                  <a:lnTo>
                    <a:pt x="570" y="18"/>
                  </a:lnTo>
                  <a:lnTo>
                    <a:pt x="570" y="24"/>
                  </a:lnTo>
                  <a:lnTo>
                    <a:pt x="564" y="24"/>
                  </a:lnTo>
                  <a:lnTo>
                    <a:pt x="564" y="30"/>
                  </a:lnTo>
                  <a:lnTo>
                    <a:pt x="564" y="36"/>
                  </a:lnTo>
                  <a:lnTo>
                    <a:pt x="564" y="42"/>
                  </a:lnTo>
                  <a:lnTo>
                    <a:pt x="564" y="48"/>
                  </a:lnTo>
                  <a:lnTo>
                    <a:pt x="570" y="48"/>
                  </a:lnTo>
                  <a:lnTo>
                    <a:pt x="564" y="54"/>
                  </a:lnTo>
                  <a:lnTo>
                    <a:pt x="564" y="60"/>
                  </a:lnTo>
                  <a:lnTo>
                    <a:pt x="564" y="66"/>
                  </a:lnTo>
                  <a:lnTo>
                    <a:pt x="564" y="72"/>
                  </a:lnTo>
                  <a:lnTo>
                    <a:pt x="570" y="72"/>
                  </a:lnTo>
                  <a:lnTo>
                    <a:pt x="570" y="78"/>
                  </a:lnTo>
                  <a:lnTo>
                    <a:pt x="564" y="78"/>
                  </a:lnTo>
                  <a:lnTo>
                    <a:pt x="564" y="84"/>
                  </a:lnTo>
                  <a:lnTo>
                    <a:pt x="558" y="84"/>
                  </a:lnTo>
                  <a:lnTo>
                    <a:pt x="564" y="90"/>
                  </a:lnTo>
                  <a:lnTo>
                    <a:pt x="558" y="90"/>
                  </a:lnTo>
                  <a:lnTo>
                    <a:pt x="564" y="90"/>
                  </a:lnTo>
                  <a:lnTo>
                    <a:pt x="570" y="90"/>
                  </a:lnTo>
                  <a:lnTo>
                    <a:pt x="570" y="84"/>
                  </a:lnTo>
                  <a:lnTo>
                    <a:pt x="570" y="78"/>
                  </a:lnTo>
                  <a:lnTo>
                    <a:pt x="570" y="84"/>
                  </a:lnTo>
                  <a:lnTo>
                    <a:pt x="576" y="84"/>
                  </a:lnTo>
                  <a:lnTo>
                    <a:pt x="582" y="84"/>
                  </a:lnTo>
                  <a:lnTo>
                    <a:pt x="582" y="90"/>
                  </a:lnTo>
                  <a:lnTo>
                    <a:pt x="576" y="90"/>
                  </a:lnTo>
                  <a:lnTo>
                    <a:pt x="570" y="90"/>
                  </a:lnTo>
                  <a:lnTo>
                    <a:pt x="564" y="90"/>
                  </a:lnTo>
                  <a:lnTo>
                    <a:pt x="558" y="90"/>
                  </a:lnTo>
                  <a:lnTo>
                    <a:pt x="552" y="96"/>
                  </a:lnTo>
                  <a:lnTo>
                    <a:pt x="552" y="102"/>
                  </a:lnTo>
                  <a:lnTo>
                    <a:pt x="552" y="108"/>
                  </a:lnTo>
                  <a:lnTo>
                    <a:pt x="552" y="114"/>
                  </a:lnTo>
                  <a:lnTo>
                    <a:pt x="552" y="120"/>
                  </a:lnTo>
                  <a:lnTo>
                    <a:pt x="552" y="126"/>
                  </a:lnTo>
                  <a:lnTo>
                    <a:pt x="552" y="132"/>
                  </a:lnTo>
                  <a:lnTo>
                    <a:pt x="546" y="132"/>
                  </a:lnTo>
                  <a:lnTo>
                    <a:pt x="546" y="138"/>
                  </a:lnTo>
                  <a:lnTo>
                    <a:pt x="552" y="138"/>
                  </a:lnTo>
                  <a:lnTo>
                    <a:pt x="552" y="144"/>
                  </a:lnTo>
                  <a:lnTo>
                    <a:pt x="546" y="144"/>
                  </a:lnTo>
                  <a:lnTo>
                    <a:pt x="546" y="150"/>
                  </a:lnTo>
                  <a:lnTo>
                    <a:pt x="546" y="156"/>
                  </a:lnTo>
                  <a:lnTo>
                    <a:pt x="540" y="156"/>
                  </a:lnTo>
                  <a:lnTo>
                    <a:pt x="540" y="162"/>
                  </a:lnTo>
                  <a:lnTo>
                    <a:pt x="540" y="168"/>
                  </a:lnTo>
                  <a:lnTo>
                    <a:pt x="534" y="168"/>
                  </a:lnTo>
                  <a:lnTo>
                    <a:pt x="534" y="174"/>
                  </a:lnTo>
                  <a:lnTo>
                    <a:pt x="528" y="174"/>
                  </a:lnTo>
                  <a:lnTo>
                    <a:pt x="528" y="180"/>
                  </a:lnTo>
                  <a:lnTo>
                    <a:pt x="528" y="186"/>
                  </a:lnTo>
                  <a:lnTo>
                    <a:pt x="522" y="186"/>
                  </a:lnTo>
                  <a:lnTo>
                    <a:pt x="522" y="192"/>
                  </a:lnTo>
                  <a:lnTo>
                    <a:pt x="522" y="198"/>
                  </a:lnTo>
                  <a:lnTo>
                    <a:pt x="516" y="198"/>
                  </a:lnTo>
                  <a:lnTo>
                    <a:pt x="516" y="204"/>
                  </a:lnTo>
                  <a:lnTo>
                    <a:pt x="510" y="204"/>
                  </a:lnTo>
                  <a:lnTo>
                    <a:pt x="510" y="210"/>
                  </a:lnTo>
                  <a:lnTo>
                    <a:pt x="510" y="216"/>
                  </a:lnTo>
                  <a:lnTo>
                    <a:pt x="504" y="216"/>
                  </a:lnTo>
                  <a:lnTo>
                    <a:pt x="504" y="222"/>
                  </a:lnTo>
                  <a:lnTo>
                    <a:pt x="498" y="222"/>
                  </a:lnTo>
                  <a:lnTo>
                    <a:pt x="498" y="228"/>
                  </a:lnTo>
                  <a:lnTo>
                    <a:pt x="492" y="228"/>
                  </a:lnTo>
                  <a:lnTo>
                    <a:pt x="498" y="228"/>
                  </a:lnTo>
                  <a:lnTo>
                    <a:pt x="492" y="228"/>
                  </a:lnTo>
                  <a:lnTo>
                    <a:pt x="492" y="234"/>
                  </a:lnTo>
                  <a:lnTo>
                    <a:pt x="492" y="240"/>
                  </a:lnTo>
                  <a:lnTo>
                    <a:pt x="492" y="246"/>
                  </a:lnTo>
                  <a:lnTo>
                    <a:pt x="492" y="252"/>
                  </a:lnTo>
                  <a:lnTo>
                    <a:pt x="486" y="252"/>
                  </a:lnTo>
                  <a:lnTo>
                    <a:pt x="486" y="258"/>
                  </a:lnTo>
                  <a:lnTo>
                    <a:pt x="480" y="264"/>
                  </a:lnTo>
                  <a:lnTo>
                    <a:pt x="480" y="270"/>
                  </a:lnTo>
                  <a:lnTo>
                    <a:pt x="474" y="270"/>
                  </a:lnTo>
                  <a:lnTo>
                    <a:pt x="474" y="276"/>
                  </a:lnTo>
                  <a:lnTo>
                    <a:pt x="468" y="276"/>
                  </a:lnTo>
                  <a:lnTo>
                    <a:pt x="468" y="282"/>
                  </a:lnTo>
                  <a:lnTo>
                    <a:pt x="468" y="288"/>
                  </a:lnTo>
                  <a:lnTo>
                    <a:pt x="462" y="288"/>
                  </a:lnTo>
                  <a:lnTo>
                    <a:pt x="462" y="294"/>
                  </a:lnTo>
                  <a:lnTo>
                    <a:pt x="462" y="300"/>
                  </a:lnTo>
                  <a:lnTo>
                    <a:pt x="456" y="300"/>
                  </a:lnTo>
                  <a:lnTo>
                    <a:pt x="456" y="306"/>
                  </a:lnTo>
                  <a:lnTo>
                    <a:pt x="456" y="312"/>
                  </a:lnTo>
                  <a:lnTo>
                    <a:pt x="450" y="312"/>
                  </a:lnTo>
                  <a:lnTo>
                    <a:pt x="450" y="318"/>
                  </a:lnTo>
                  <a:lnTo>
                    <a:pt x="450" y="324"/>
                  </a:lnTo>
                  <a:lnTo>
                    <a:pt x="450" y="330"/>
                  </a:lnTo>
                  <a:lnTo>
                    <a:pt x="450" y="336"/>
                  </a:lnTo>
                  <a:lnTo>
                    <a:pt x="444" y="336"/>
                  </a:lnTo>
                  <a:lnTo>
                    <a:pt x="444" y="342"/>
                  </a:lnTo>
                  <a:lnTo>
                    <a:pt x="438" y="348"/>
                  </a:lnTo>
                  <a:lnTo>
                    <a:pt x="438" y="354"/>
                  </a:lnTo>
                  <a:lnTo>
                    <a:pt x="432" y="360"/>
                  </a:lnTo>
                  <a:lnTo>
                    <a:pt x="432" y="366"/>
                  </a:lnTo>
                  <a:lnTo>
                    <a:pt x="426" y="366"/>
                  </a:lnTo>
                  <a:lnTo>
                    <a:pt x="426" y="372"/>
                  </a:lnTo>
                  <a:lnTo>
                    <a:pt x="420" y="372"/>
                  </a:lnTo>
                  <a:lnTo>
                    <a:pt x="420" y="378"/>
                  </a:lnTo>
                  <a:lnTo>
                    <a:pt x="414" y="384"/>
                  </a:lnTo>
                  <a:lnTo>
                    <a:pt x="408" y="390"/>
                  </a:lnTo>
                  <a:lnTo>
                    <a:pt x="408" y="396"/>
                  </a:lnTo>
                  <a:lnTo>
                    <a:pt x="402" y="396"/>
                  </a:lnTo>
                  <a:lnTo>
                    <a:pt x="402" y="402"/>
                  </a:lnTo>
                  <a:lnTo>
                    <a:pt x="396" y="408"/>
                  </a:lnTo>
                  <a:lnTo>
                    <a:pt x="396" y="414"/>
                  </a:lnTo>
                  <a:lnTo>
                    <a:pt x="396" y="420"/>
                  </a:lnTo>
                  <a:lnTo>
                    <a:pt x="390" y="420"/>
                  </a:lnTo>
                  <a:lnTo>
                    <a:pt x="390" y="426"/>
                  </a:lnTo>
                  <a:lnTo>
                    <a:pt x="384" y="426"/>
                  </a:lnTo>
                  <a:lnTo>
                    <a:pt x="384" y="432"/>
                  </a:lnTo>
                  <a:lnTo>
                    <a:pt x="378" y="432"/>
                  </a:lnTo>
                  <a:lnTo>
                    <a:pt x="378" y="438"/>
                  </a:lnTo>
                  <a:lnTo>
                    <a:pt x="372" y="438"/>
                  </a:lnTo>
                  <a:lnTo>
                    <a:pt x="372" y="444"/>
                  </a:lnTo>
                  <a:lnTo>
                    <a:pt x="366" y="444"/>
                  </a:lnTo>
                  <a:lnTo>
                    <a:pt x="366" y="450"/>
                  </a:lnTo>
                  <a:lnTo>
                    <a:pt x="360" y="456"/>
                  </a:lnTo>
                  <a:lnTo>
                    <a:pt x="354" y="462"/>
                  </a:lnTo>
                  <a:lnTo>
                    <a:pt x="348" y="468"/>
                  </a:lnTo>
                  <a:lnTo>
                    <a:pt x="342" y="474"/>
                  </a:lnTo>
                  <a:lnTo>
                    <a:pt x="336" y="480"/>
                  </a:lnTo>
                  <a:lnTo>
                    <a:pt x="330" y="486"/>
                  </a:lnTo>
                  <a:lnTo>
                    <a:pt x="330" y="492"/>
                  </a:lnTo>
                  <a:lnTo>
                    <a:pt x="324" y="492"/>
                  </a:lnTo>
                  <a:lnTo>
                    <a:pt x="324" y="498"/>
                  </a:lnTo>
                  <a:lnTo>
                    <a:pt x="318" y="498"/>
                  </a:lnTo>
                  <a:lnTo>
                    <a:pt x="318" y="504"/>
                  </a:lnTo>
                  <a:lnTo>
                    <a:pt x="312" y="504"/>
                  </a:lnTo>
                  <a:lnTo>
                    <a:pt x="312" y="510"/>
                  </a:lnTo>
                  <a:lnTo>
                    <a:pt x="306" y="510"/>
                  </a:lnTo>
                  <a:lnTo>
                    <a:pt x="306" y="516"/>
                  </a:lnTo>
                  <a:lnTo>
                    <a:pt x="300" y="516"/>
                  </a:lnTo>
                  <a:lnTo>
                    <a:pt x="300" y="522"/>
                  </a:lnTo>
                  <a:lnTo>
                    <a:pt x="294" y="522"/>
                  </a:lnTo>
                  <a:lnTo>
                    <a:pt x="294" y="528"/>
                  </a:lnTo>
                  <a:lnTo>
                    <a:pt x="288" y="528"/>
                  </a:lnTo>
                  <a:lnTo>
                    <a:pt x="288" y="534"/>
                  </a:lnTo>
                  <a:lnTo>
                    <a:pt x="282" y="534"/>
                  </a:lnTo>
                  <a:lnTo>
                    <a:pt x="282" y="540"/>
                  </a:lnTo>
                  <a:lnTo>
                    <a:pt x="276" y="540"/>
                  </a:lnTo>
                  <a:lnTo>
                    <a:pt x="270" y="540"/>
                  </a:lnTo>
                  <a:lnTo>
                    <a:pt x="270" y="546"/>
                  </a:lnTo>
                  <a:lnTo>
                    <a:pt x="264" y="546"/>
                  </a:lnTo>
                  <a:lnTo>
                    <a:pt x="258" y="552"/>
                  </a:lnTo>
                  <a:lnTo>
                    <a:pt x="252" y="552"/>
                  </a:lnTo>
                  <a:lnTo>
                    <a:pt x="252" y="558"/>
                  </a:lnTo>
                  <a:lnTo>
                    <a:pt x="246" y="558"/>
                  </a:lnTo>
                  <a:lnTo>
                    <a:pt x="240" y="558"/>
                  </a:lnTo>
                  <a:lnTo>
                    <a:pt x="240" y="564"/>
                  </a:lnTo>
                  <a:lnTo>
                    <a:pt x="234" y="564"/>
                  </a:lnTo>
                  <a:lnTo>
                    <a:pt x="228" y="564"/>
                  </a:lnTo>
                  <a:lnTo>
                    <a:pt x="228" y="570"/>
                  </a:lnTo>
                  <a:lnTo>
                    <a:pt x="222" y="570"/>
                  </a:lnTo>
                  <a:lnTo>
                    <a:pt x="216" y="570"/>
                  </a:lnTo>
                  <a:lnTo>
                    <a:pt x="216" y="576"/>
                  </a:lnTo>
                  <a:lnTo>
                    <a:pt x="210" y="576"/>
                  </a:lnTo>
                  <a:lnTo>
                    <a:pt x="210" y="582"/>
                  </a:lnTo>
                  <a:lnTo>
                    <a:pt x="204" y="582"/>
                  </a:lnTo>
                  <a:lnTo>
                    <a:pt x="198" y="588"/>
                  </a:lnTo>
                  <a:lnTo>
                    <a:pt x="192" y="588"/>
                  </a:lnTo>
                  <a:lnTo>
                    <a:pt x="192" y="594"/>
                  </a:lnTo>
                  <a:lnTo>
                    <a:pt x="186" y="594"/>
                  </a:lnTo>
                  <a:lnTo>
                    <a:pt x="186" y="600"/>
                  </a:lnTo>
                  <a:lnTo>
                    <a:pt x="180" y="600"/>
                  </a:lnTo>
                  <a:lnTo>
                    <a:pt x="180" y="606"/>
                  </a:lnTo>
                  <a:lnTo>
                    <a:pt x="174" y="606"/>
                  </a:lnTo>
                  <a:lnTo>
                    <a:pt x="174" y="612"/>
                  </a:lnTo>
                  <a:lnTo>
                    <a:pt x="168" y="612"/>
                  </a:lnTo>
                  <a:lnTo>
                    <a:pt x="168" y="618"/>
                  </a:lnTo>
                  <a:lnTo>
                    <a:pt x="162" y="618"/>
                  </a:lnTo>
                  <a:lnTo>
                    <a:pt x="156" y="618"/>
                  </a:lnTo>
                  <a:lnTo>
                    <a:pt x="156" y="624"/>
                  </a:lnTo>
                  <a:lnTo>
                    <a:pt x="150" y="624"/>
                  </a:lnTo>
                  <a:lnTo>
                    <a:pt x="150" y="630"/>
                  </a:lnTo>
                  <a:lnTo>
                    <a:pt x="144" y="630"/>
                  </a:lnTo>
                  <a:lnTo>
                    <a:pt x="144" y="636"/>
                  </a:lnTo>
                  <a:lnTo>
                    <a:pt x="138" y="636"/>
                  </a:lnTo>
                  <a:lnTo>
                    <a:pt x="138" y="642"/>
                  </a:lnTo>
                  <a:lnTo>
                    <a:pt x="132" y="648"/>
                  </a:lnTo>
                  <a:lnTo>
                    <a:pt x="126" y="648"/>
                  </a:lnTo>
                  <a:lnTo>
                    <a:pt x="126" y="654"/>
                  </a:lnTo>
                  <a:lnTo>
                    <a:pt x="120" y="654"/>
                  </a:lnTo>
                  <a:lnTo>
                    <a:pt x="120" y="660"/>
                  </a:lnTo>
                  <a:lnTo>
                    <a:pt x="114" y="660"/>
                  </a:lnTo>
                  <a:lnTo>
                    <a:pt x="114" y="666"/>
                  </a:lnTo>
                  <a:lnTo>
                    <a:pt x="108" y="672"/>
                  </a:lnTo>
                  <a:lnTo>
                    <a:pt x="102" y="678"/>
                  </a:lnTo>
                  <a:lnTo>
                    <a:pt x="96" y="684"/>
                  </a:lnTo>
                  <a:lnTo>
                    <a:pt x="90" y="684"/>
                  </a:lnTo>
                  <a:lnTo>
                    <a:pt x="90" y="690"/>
                  </a:lnTo>
                  <a:lnTo>
                    <a:pt x="84" y="696"/>
                  </a:lnTo>
                  <a:lnTo>
                    <a:pt x="84" y="702"/>
                  </a:lnTo>
                  <a:lnTo>
                    <a:pt x="78" y="702"/>
                  </a:lnTo>
                  <a:lnTo>
                    <a:pt x="78" y="708"/>
                  </a:lnTo>
                  <a:lnTo>
                    <a:pt x="72" y="708"/>
                  </a:lnTo>
                  <a:lnTo>
                    <a:pt x="72" y="714"/>
                  </a:lnTo>
                  <a:lnTo>
                    <a:pt x="66" y="714"/>
                  </a:lnTo>
                  <a:lnTo>
                    <a:pt x="66" y="720"/>
                  </a:lnTo>
                  <a:lnTo>
                    <a:pt x="60" y="720"/>
                  </a:lnTo>
                  <a:lnTo>
                    <a:pt x="60" y="714"/>
                  </a:lnTo>
                  <a:lnTo>
                    <a:pt x="66" y="714"/>
                  </a:lnTo>
                  <a:lnTo>
                    <a:pt x="60" y="714"/>
                  </a:lnTo>
                  <a:lnTo>
                    <a:pt x="60" y="720"/>
                  </a:lnTo>
                  <a:lnTo>
                    <a:pt x="66" y="720"/>
                  </a:lnTo>
                  <a:lnTo>
                    <a:pt x="60" y="720"/>
                  </a:lnTo>
                  <a:lnTo>
                    <a:pt x="60" y="726"/>
                  </a:lnTo>
                  <a:lnTo>
                    <a:pt x="54" y="726"/>
                  </a:lnTo>
                  <a:lnTo>
                    <a:pt x="60" y="726"/>
                  </a:lnTo>
                  <a:lnTo>
                    <a:pt x="54" y="726"/>
                  </a:lnTo>
                  <a:lnTo>
                    <a:pt x="60" y="720"/>
                  </a:lnTo>
                  <a:lnTo>
                    <a:pt x="54" y="720"/>
                  </a:lnTo>
                  <a:lnTo>
                    <a:pt x="54" y="726"/>
                  </a:lnTo>
                  <a:lnTo>
                    <a:pt x="60" y="726"/>
                  </a:lnTo>
                  <a:lnTo>
                    <a:pt x="54" y="732"/>
                  </a:lnTo>
                  <a:lnTo>
                    <a:pt x="54" y="738"/>
                  </a:lnTo>
                  <a:lnTo>
                    <a:pt x="48" y="738"/>
                  </a:lnTo>
                  <a:lnTo>
                    <a:pt x="48" y="732"/>
                  </a:lnTo>
                  <a:lnTo>
                    <a:pt x="48" y="738"/>
                  </a:lnTo>
                  <a:lnTo>
                    <a:pt x="42" y="738"/>
                  </a:lnTo>
                  <a:lnTo>
                    <a:pt x="48" y="738"/>
                  </a:lnTo>
                  <a:lnTo>
                    <a:pt x="48" y="744"/>
                  </a:lnTo>
                  <a:lnTo>
                    <a:pt x="42" y="750"/>
                  </a:lnTo>
                  <a:lnTo>
                    <a:pt x="42" y="756"/>
                  </a:lnTo>
                  <a:lnTo>
                    <a:pt x="36" y="762"/>
                  </a:lnTo>
                  <a:close/>
                  <a:moveTo>
                    <a:pt x="66" y="714"/>
                  </a:moveTo>
                  <a:lnTo>
                    <a:pt x="72" y="714"/>
                  </a:lnTo>
                  <a:lnTo>
                    <a:pt x="72" y="720"/>
                  </a:lnTo>
                  <a:lnTo>
                    <a:pt x="66" y="720"/>
                  </a:lnTo>
                  <a:lnTo>
                    <a:pt x="66" y="714"/>
                  </a:lnTo>
                  <a:close/>
                  <a:moveTo>
                    <a:pt x="54" y="732"/>
                  </a:moveTo>
                  <a:lnTo>
                    <a:pt x="54" y="738"/>
                  </a:lnTo>
                  <a:lnTo>
                    <a:pt x="55" y="738"/>
                  </a:lnTo>
                  <a:lnTo>
                    <a:pt x="54" y="732"/>
                  </a:lnTo>
                  <a:close/>
                  <a:moveTo>
                    <a:pt x="72" y="708"/>
                  </a:moveTo>
                  <a:lnTo>
                    <a:pt x="78" y="708"/>
                  </a:lnTo>
                  <a:lnTo>
                    <a:pt x="78" y="714"/>
                  </a:lnTo>
                  <a:lnTo>
                    <a:pt x="72" y="714"/>
                  </a:lnTo>
                  <a:lnTo>
                    <a:pt x="72" y="708"/>
                  </a:lnTo>
                  <a:close/>
                  <a:moveTo>
                    <a:pt x="54" y="732"/>
                  </a:moveTo>
                  <a:lnTo>
                    <a:pt x="60" y="732"/>
                  </a:lnTo>
                  <a:lnTo>
                    <a:pt x="54" y="732"/>
                  </a:lnTo>
                  <a:close/>
                  <a:moveTo>
                    <a:pt x="90" y="690"/>
                  </a:moveTo>
                  <a:lnTo>
                    <a:pt x="90" y="696"/>
                  </a:lnTo>
                  <a:lnTo>
                    <a:pt x="91" y="696"/>
                  </a:lnTo>
                  <a:lnTo>
                    <a:pt x="90" y="690"/>
                  </a:lnTo>
                  <a:close/>
                  <a:moveTo>
                    <a:pt x="138" y="24"/>
                  </a:moveTo>
                  <a:lnTo>
                    <a:pt x="138" y="30"/>
                  </a:lnTo>
                  <a:lnTo>
                    <a:pt x="139" y="30"/>
                  </a:lnTo>
                  <a:lnTo>
                    <a:pt x="138" y="2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3" name="Freeform 35"/>
            <p:cNvSpPr>
              <a:spLocks noEditPoints="1"/>
            </p:cNvSpPr>
            <p:nvPr>
              <p:custDataLst>
                <p:tags r:id="rId86"/>
              </p:custDataLst>
            </p:nvPr>
          </p:nvSpPr>
          <p:spPr bwMode="gray">
            <a:xfrm>
              <a:off x="4892675" y="1292226"/>
              <a:ext cx="766763" cy="765175"/>
            </a:xfrm>
            <a:custGeom>
              <a:avLst/>
              <a:gdLst>
                <a:gd name="T0" fmla="*/ 199555 w 618"/>
                <a:gd name="T1" fmla="*/ 44489 h 618"/>
                <a:gd name="T2" fmla="*/ 198586 w 618"/>
                <a:gd name="T3" fmla="*/ 61898 h 618"/>
                <a:gd name="T4" fmla="*/ 193742 w 618"/>
                <a:gd name="T5" fmla="*/ 81241 h 618"/>
                <a:gd name="T6" fmla="*/ 185024 w 618"/>
                <a:gd name="T7" fmla="*/ 87044 h 618"/>
                <a:gd name="T8" fmla="*/ 172431 w 618"/>
                <a:gd name="T9" fmla="*/ 71569 h 618"/>
                <a:gd name="T10" fmla="*/ 163713 w 618"/>
                <a:gd name="T11" fmla="*/ 55127 h 618"/>
                <a:gd name="T12" fmla="*/ 154995 w 618"/>
                <a:gd name="T13" fmla="*/ 37719 h 618"/>
                <a:gd name="T14" fmla="*/ 154995 w 618"/>
                <a:gd name="T15" fmla="*/ 53193 h 618"/>
                <a:gd name="T16" fmla="*/ 163713 w 618"/>
                <a:gd name="T17" fmla="*/ 70602 h 618"/>
                <a:gd name="T18" fmla="*/ 172431 w 618"/>
                <a:gd name="T19" fmla="*/ 83175 h 618"/>
                <a:gd name="T20" fmla="*/ 174368 w 618"/>
                <a:gd name="T21" fmla="*/ 89945 h 618"/>
                <a:gd name="T22" fmla="*/ 183087 w 618"/>
                <a:gd name="T23" fmla="*/ 104453 h 618"/>
                <a:gd name="T24" fmla="*/ 187931 w 618"/>
                <a:gd name="T25" fmla="*/ 118960 h 618"/>
                <a:gd name="T26" fmla="*/ 198586 w 618"/>
                <a:gd name="T27" fmla="*/ 138303 h 618"/>
                <a:gd name="T28" fmla="*/ 204399 w 618"/>
                <a:gd name="T29" fmla="*/ 152810 h 618"/>
                <a:gd name="T30" fmla="*/ 215055 w 618"/>
                <a:gd name="T31" fmla="*/ 168284 h 618"/>
                <a:gd name="T32" fmla="*/ 213117 w 618"/>
                <a:gd name="T33" fmla="*/ 174088 h 618"/>
                <a:gd name="T34" fmla="*/ 215055 w 618"/>
                <a:gd name="T35" fmla="*/ 180858 h 618"/>
                <a:gd name="T36" fmla="*/ 213117 w 618"/>
                <a:gd name="T37" fmla="*/ 191496 h 618"/>
                <a:gd name="T38" fmla="*/ 199555 w 618"/>
                <a:gd name="T39" fmla="*/ 199234 h 618"/>
                <a:gd name="T40" fmla="*/ 185024 w 618"/>
                <a:gd name="T41" fmla="*/ 214708 h 618"/>
                <a:gd name="T42" fmla="*/ 134651 w 618"/>
                <a:gd name="T43" fmla="*/ 212773 h 618"/>
                <a:gd name="T44" fmla="*/ 6781 w 618"/>
                <a:gd name="T45" fmla="*/ 76405 h 618"/>
                <a:gd name="T46" fmla="*/ 3875 w 618"/>
                <a:gd name="T47" fmla="*/ 51259 h 618"/>
                <a:gd name="T48" fmla="*/ 3875 w 618"/>
                <a:gd name="T49" fmla="*/ 27080 h 618"/>
                <a:gd name="T50" fmla="*/ 3875 w 618"/>
                <a:gd name="T51" fmla="*/ 6770 h 618"/>
                <a:gd name="T52" fmla="*/ 21311 w 618"/>
                <a:gd name="T53" fmla="*/ 1934 h 618"/>
                <a:gd name="T54" fmla="*/ 42624 w 618"/>
                <a:gd name="T55" fmla="*/ 3868 h 618"/>
                <a:gd name="T56" fmla="*/ 63935 w 618"/>
                <a:gd name="T57" fmla="*/ 8704 h 618"/>
                <a:gd name="T58" fmla="*/ 81372 w 618"/>
                <a:gd name="T59" fmla="*/ 17409 h 618"/>
                <a:gd name="T60" fmla="*/ 97840 w 618"/>
                <a:gd name="T61" fmla="*/ 12573 h 618"/>
                <a:gd name="T62" fmla="*/ 115277 w 618"/>
                <a:gd name="T63" fmla="*/ 3868 h 618"/>
                <a:gd name="T64" fmla="*/ 119152 w 618"/>
                <a:gd name="T65" fmla="*/ 6770 h 618"/>
                <a:gd name="T66" fmla="*/ 125932 w 618"/>
                <a:gd name="T67" fmla="*/ 3868 h 618"/>
                <a:gd name="T68" fmla="*/ 138526 w 618"/>
                <a:gd name="T69" fmla="*/ 3868 h 618"/>
                <a:gd name="T70" fmla="*/ 149182 w 618"/>
                <a:gd name="T71" fmla="*/ 8704 h 618"/>
                <a:gd name="T72" fmla="*/ 142401 w 618"/>
                <a:gd name="T73" fmla="*/ 6770 h 618"/>
                <a:gd name="T74" fmla="*/ 140464 w 618"/>
                <a:gd name="T75" fmla="*/ 8704 h 618"/>
                <a:gd name="T76" fmla="*/ 147245 w 618"/>
                <a:gd name="T77" fmla="*/ 12573 h 618"/>
                <a:gd name="T78" fmla="*/ 151120 w 618"/>
                <a:gd name="T79" fmla="*/ 8704 h 618"/>
                <a:gd name="T80" fmla="*/ 154995 w 618"/>
                <a:gd name="T81" fmla="*/ 12573 h 618"/>
                <a:gd name="T82" fmla="*/ 159838 w 618"/>
                <a:gd name="T83" fmla="*/ 14508 h 618"/>
                <a:gd name="T84" fmla="*/ 165650 w 618"/>
                <a:gd name="T85" fmla="*/ 10638 h 618"/>
                <a:gd name="T86" fmla="*/ 170494 w 618"/>
                <a:gd name="T87" fmla="*/ 12573 h 618"/>
                <a:gd name="T88" fmla="*/ 185024 w 618"/>
                <a:gd name="T89" fmla="*/ 10638 h 618"/>
                <a:gd name="T90" fmla="*/ 168556 w 618"/>
                <a:gd name="T91" fmla="*/ 10638 h 618"/>
                <a:gd name="T92" fmla="*/ 144338 w 618"/>
                <a:gd name="T93" fmla="*/ 8704 h 618"/>
                <a:gd name="T94" fmla="*/ 174368 w 618"/>
                <a:gd name="T95" fmla="*/ 10638 h 618"/>
                <a:gd name="T96" fmla="*/ 179212 w 618"/>
                <a:gd name="T97" fmla="*/ 89945 h 618"/>
                <a:gd name="T98" fmla="*/ 143370 w 618"/>
                <a:gd name="T99" fmla="*/ 3868 h 618"/>
                <a:gd name="T100" fmla="*/ 176306 w 618"/>
                <a:gd name="T101" fmla="*/ 89945 h 618"/>
                <a:gd name="T102" fmla="*/ 176306 w 618"/>
                <a:gd name="T103" fmla="*/ 89945 h 618"/>
                <a:gd name="T104" fmla="*/ 147245 w 618"/>
                <a:gd name="T105" fmla="*/ 8704 h 618"/>
                <a:gd name="T106" fmla="*/ 144338 w 618"/>
                <a:gd name="T107" fmla="*/ 8704 h 618"/>
                <a:gd name="T108" fmla="*/ 181149 w 618"/>
                <a:gd name="T109" fmla="*/ 89945 h 618"/>
                <a:gd name="T110" fmla="*/ 179212 w 618"/>
                <a:gd name="T111" fmla="*/ 89945 h 618"/>
                <a:gd name="T112" fmla="*/ 179212 w 618"/>
                <a:gd name="T113" fmla="*/ 93814 h 618"/>
                <a:gd name="T114" fmla="*/ 213117 w 618"/>
                <a:gd name="T115" fmla="*/ 174088 h 618"/>
                <a:gd name="T116" fmla="*/ 147245 w 618"/>
                <a:gd name="T117" fmla="*/ 8704 h 6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18" h="618">
                  <a:moveTo>
                    <a:pt x="534" y="24"/>
                  </a:moveTo>
                  <a:lnTo>
                    <a:pt x="534" y="30"/>
                  </a:lnTo>
                  <a:lnTo>
                    <a:pt x="540" y="42"/>
                  </a:lnTo>
                  <a:lnTo>
                    <a:pt x="540" y="54"/>
                  </a:lnTo>
                  <a:lnTo>
                    <a:pt x="546" y="66"/>
                  </a:lnTo>
                  <a:lnTo>
                    <a:pt x="546" y="72"/>
                  </a:lnTo>
                  <a:lnTo>
                    <a:pt x="552" y="78"/>
                  </a:lnTo>
                  <a:lnTo>
                    <a:pt x="552" y="84"/>
                  </a:lnTo>
                  <a:lnTo>
                    <a:pt x="552" y="90"/>
                  </a:lnTo>
                  <a:lnTo>
                    <a:pt x="558" y="102"/>
                  </a:lnTo>
                  <a:lnTo>
                    <a:pt x="564" y="108"/>
                  </a:lnTo>
                  <a:lnTo>
                    <a:pt x="564" y="126"/>
                  </a:lnTo>
                  <a:lnTo>
                    <a:pt x="570" y="132"/>
                  </a:lnTo>
                  <a:lnTo>
                    <a:pt x="570" y="138"/>
                  </a:lnTo>
                  <a:lnTo>
                    <a:pt x="570" y="144"/>
                  </a:lnTo>
                  <a:lnTo>
                    <a:pt x="564" y="144"/>
                  </a:lnTo>
                  <a:lnTo>
                    <a:pt x="564" y="150"/>
                  </a:lnTo>
                  <a:lnTo>
                    <a:pt x="558" y="150"/>
                  </a:lnTo>
                  <a:lnTo>
                    <a:pt x="558" y="156"/>
                  </a:lnTo>
                  <a:lnTo>
                    <a:pt x="558" y="162"/>
                  </a:lnTo>
                  <a:lnTo>
                    <a:pt x="558" y="168"/>
                  </a:lnTo>
                  <a:lnTo>
                    <a:pt x="558" y="174"/>
                  </a:lnTo>
                  <a:lnTo>
                    <a:pt x="552" y="174"/>
                  </a:lnTo>
                  <a:lnTo>
                    <a:pt x="558" y="174"/>
                  </a:lnTo>
                  <a:lnTo>
                    <a:pt x="558" y="180"/>
                  </a:lnTo>
                  <a:lnTo>
                    <a:pt x="552" y="180"/>
                  </a:lnTo>
                  <a:lnTo>
                    <a:pt x="552" y="186"/>
                  </a:lnTo>
                  <a:lnTo>
                    <a:pt x="552" y="192"/>
                  </a:lnTo>
                  <a:lnTo>
                    <a:pt x="552" y="198"/>
                  </a:lnTo>
                  <a:lnTo>
                    <a:pt x="546" y="198"/>
                  </a:lnTo>
                  <a:lnTo>
                    <a:pt x="546" y="204"/>
                  </a:lnTo>
                  <a:lnTo>
                    <a:pt x="546" y="210"/>
                  </a:lnTo>
                  <a:lnTo>
                    <a:pt x="540" y="216"/>
                  </a:lnTo>
                  <a:lnTo>
                    <a:pt x="540" y="222"/>
                  </a:lnTo>
                  <a:lnTo>
                    <a:pt x="546" y="222"/>
                  </a:lnTo>
                  <a:lnTo>
                    <a:pt x="546" y="228"/>
                  </a:lnTo>
                  <a:lnTo>
                    <a:pt x="546" y="234"/>
                  </a:lnTo>
                  <a:lnTo>
                    <a:pt x="540" y="234"/>
                  </a:lnTo>
                  <a:lnTo>
                    <a:pt x="546" y="234"/>
                  </a:lnTo>
                  <a:lnTo>
                    <a:pt x="540" y="234"/>
                  </a:lnTo>
                  <a:lnTo>
                    <a:pt x="540" y="240"/>
                  </a:lnTo>
                  <a:lnTo>
                    <a:pt x="540" y="246"/>
                  </a:lnTo>
                  <a:lnTo>
                    <a:pt x="534" y="246"/>
                  </a:lnTo>
                  <a:lnTo>
                    <a:pt x="528" y="246"/>
                  </a:lnTo>
                  <a:lnTo>
                    <a:pt x="534" y="252"/>
                  </a:lnTo>
                  <a:lnTo>
                    <a:pt x="528" y="252"/>
                  </a:lnTo>
                  <a:lnTo>
                    <a:pt x="528" y="246"/>
                  </a:lnTo>
                  <a:lnTo>
                    <a:pt x="522" y="246"/>
                  </a:lnTo>
                  <a:lnTo>
                    <a:pt x="516" y="240"/>
                  </a:lnTo>
                  <a:lnTo>
                    <a:pt x="510" y="240"/>
                  </a:lnTo>
                  <a:lnTo>
                    <a:pt x="510" y="234"/>
                  </a:lnTo>
                  <a:lnTo>
                    <a:pt x="504" y="234"/>
                  </a:lnTo>
                  <a:lnTo>
                    <a:pt x="504" y="228"/>
                  </a:lnTo>
                  <a:lnTo>
                    <a:pt x="498" y="228"/>
                  </a:lnTo>
                  <a:lnTo>
                    <a:pt x="498" y="222"/>
                  </a:lnTo>
                  <a:lnTo>
                    <a:pt x="498" y="216"/>
                  </a:lnTo>
                  <a:lnTo>
                    <a:pt x="492" y="216"/>
                  </a:lnTo>
                  <a:lnTo>
                    <a:pt x="492" y="210"/>
                  </a:lnTo>
                  <a:lnTo>
                    <a:pt x="486" y="210"/>
                  </a:lnTo>
                  <a:lnTo>
                    <a:pt x="486" y="204"/>
                  </a:lnTo>
                  <a:lnTo>
                    <a:pt x="480" y="204"/>
                  </a:lnTo>
                  <a:lnTo>
                    <a:pt x="480" y="198"/>
                  </a:lnTo>
                  <a:lnTo>
                    <a:pt x="474" y="198"/>
                  </a:lnTo>
                  <a:lnTo>
                    <a:pt x="474" y="192"/>
                  </a:lnTo>
                  <a:lnTo>
                    <a:pt x="474" y="186"/>
                  </a:lnTo>
                  <a:lnTo>
                    <a:pt x="474" y="180"/>
                  </a:lnTo>
                  <a:lnTo>
                    <a:pt x="474" y="174"/>
                  </a:lnTo>
                  <a:lnTo>
                    <a:pt x="474" y="168"/>
                  </a:lnTo>
                  <a:lnTo>
                    <a:pt x="468" y="168"/>
                  </a:lnTo>
                  <a:lnTo>
                    <a:pt x="468" y="162"/>
                  </a:lnTo>
                  <a:lnTo>
                    <a:pt x="462" y="162"/>
                  </a:lnTo>
                  <a:lnTo>
                    <a:pt x="462" y="156"/>
                  </a:lnTo>
                  <a:lnTo>
                    <a:pt x="456" y="156"/>
                  </a:lnTo>
                  <a:lnTo>
                    <a:pt x="456" y="150"/>
                  </a:lnTo>
                  <a:lnTo>
                    <a:pt x="456" y="144"/>
                  </a:lnTo>
                  <a:lnTo>
                    <a:pt x="450" y="144"/>
                  </a:lnTo>
                  <a:lnTo>
                    <a:pt x="450" y="138"/>
                  </a:lnTo>
                  <a:lnTo>
                    <a:pt x="450" y="132"/>
                  </a:lnTo>
                  <a:lnTo>
                    <a:pt x="444" y="132"/>
                  </a:lnTo>
                  <a:lnTo>
                    <a:pt x="444" y="126"/>
                  </a:lnTo>
                  <a:lnTo>
                    <a:pt x="444" y="120"/>
                  </a:lnTo>
                  <a:lnTo>
                    <a:pt x="444" y="114"/>
                  </a:lnTo>
                  <a:lnTo>
                    <a:pt x="438" y="114"/>
                  </a:lnTo>
                  <a:lnTo>
                    <a:pt x="438" y="108"/>
                  </a:lnTo>
                  <a:lnTo>
                    <a:pt x="432" y="114"/>
                  </a:lnTo>
                  <a:lnTo>
                    <a:pt x="438" y="114"/>
                  </a:lnTo>
                  <a:lnTo>
                    <a:pt x="438" y="120"/>
                  </a:lnTo>
                  <a:lnTo>
                    <a:pt x="432" y="120"/>
                  </a:lnTo>
                  <a:lnTo>
                    <a:pt x="432" y="126"/>
                  </a:lnTo>
                  <a:lnTo>
                    <a:pt x="426" y="126"/>
                  </a:lnTo>
                  <a:lnTo>
                    <a:pt x="426" y="132"/>
                  </a:lnTo>
                  <a:lnTo>
                    <a:pt x="426" y="138"/>
                  </a:lnTo>
                  <a:lnTo>
                    <a:pt x="432" y="138"/>
                  </a:lnTo>
                  <a:lnTo>
                    <a:pt x="432" y="144"/>
                  </a:lnTo>
                  <a:lnTo>
                    <a:pt x="438" y="144"/>
                  </a:lnTo>
                  <a:lnTo>
                    <a:pt x="438" y="150"/>
                  </a:lnTo>
                  <a:lnTo>
                    <a:pt x="444" y="150"/>
                  </a:lnTo>
                  <a:lnTo>
                    <a:pt x="444" y="156"/>
                  </a:lnTo>
                  <a:lnTo>
                    <a:pt x="444" y="162"/>
                  </a:lnTo>
                  <a:lnTo>
                    <a:pt x="444" y="168"/>
                  </a:lnTo>
                  <a:lnTo>
                    <a:pt x="444" y="174"/>
                  </a:lnTo>
                  <a:lnTo>
                    <a:pt x="444" y="180"/>
                  </a:lnTo>
                  <a:lnTo>
                    <a:pt x="450" y="180"/>
                  </a:lnTo>
                  <a:lnTo>
                    <a:pt x="450" y="186"/>
                  </a:lnTo>
                  <a:lnTo>
                    <a:pt x="456" y="186"/>
                  </a:lnTo>
                  <a:lnTo>
                    <a:pt x="456" y="192"/>
                  </a:lnTo>
                  <a:lnTo>
                    <a:pt x="456" y="198"/>
                  </a:lnTo>
                  <a:lnTo>
                    <a:pt x="462" y="198"/>
                  </a:lnTo>
                  <a:lnTo>
                    <a:pt x="462" y="204"/>
                  </a:lnTo>
                  <a:lnTo>
                    <a:pt x="468" y="204"/>
                  </a:lnTo>
                  <a:lnTo>
                    <a:pt x="468" y="210"/>
                  </a:lnTo>
                  <a:lnTo>
                    <a:pt x="468" y="216"/>
                  </a:lnTo>
                  <a:lnTo>
                    <a:pt x="474" y="216"/>
                  </a:lnTo>
                  <a:lnTo>
                    <a:pt x="474" y="222"/>
                  </a:lnTo>
                  <a:lnTo>
                    <a:pt x="480" y="222"/>
                  </a:lnTo>
                  <a:lnTo>
                    <a:pt x="474" y="222"/>
                  </a:lnTo>
                  <a:lnTo>
                    <a:pt x="474" y="228"/>
                  </a:lnTo>
                  <a:lnTo>
                    <a:pt x="480" y="228"/>
                  </a:lnTo>
                  <a:lnTo>
                    <a:pt x="480" y="234"/>
                  </a:lnTo>
                  <a:lnTo>
                    <a:pt x="486" y="234"/>
                  </a:lnTo>
                  <a:lnTo>
                    <a:pt x="492" y="234"/>
                  </a:lnTo>
                  <a:lnTo>
                    <a:pt x="492" y="240"/>
                  </a:lnTo>
                  <a:lnTo>
                    <a:pt x="492" y="246"/>
                  </a:lnTo>
                  <a:lnTo>
                    <a:pt x="498" y="246"/>
                  </a:lnTo>
                  <a:lnTo>
                    <a:pt x="492" y="246"/>
                  </a:lnTo>
                  <a:lnTo>
                    <a:pt x="492" y="252"/>
                  </a:lnTo>
                  <a:lnTo>
                    <a:pt x="498" y="252"/>
                  </a:lnTo>
                  <a:lnTo>
                    <a:pt x="498" y="258"/>
                  </a:lnTo>
                  <a:lnTo>
                    <a:pt x="492" y="258"/>
                  </a:lnTo>
                  <a:lnTo>
                    <a:pt x="498" y="258"/>
                  </a:lnTo>
                  <a:lnTo>
                    <a:pt x="492" y="258"/>
                  </a:lnTo>
                  <a:lnTo>
                    <a:pt x="492" y="252"/>
                  </a:lnTo>
                  <a:lnTo>
                    <a:pt x="492" y="258"/>
                  </a:lnTo>
                  <a:lnTo>
                    <a:pt x="498" y="264"/>
                  </a:lnTo>
                  <a:lnTo>
                    <a:pt x="492" y="264"/>
                  </a:lnTo>
                  <a:lnTo>
                    <a:pt x="498" y="264"/>
                  </a:lnTo>
                  <a:lnTo>
                    <a:pt x="498" y="270"/>
                  </a:lnTo>
                  <a:lnTo>
                    <a:pt x="504" y="270"/>
                  </a:lnTo>
                  <a:lnTo>
                    <a:pt x="504" y="276"/>
                  </a:lnTo>
                  <a:lnTo>
                    <a:pt x="504" y="282"/>
                  </a:lnTo>
                  <a:lnTo>
                    <a:pt x="510" y="282"/>
                  </a:lnTo>
                  <a:lnTo>
                    <a:pt x="510" y="288"/>
                  </a:lnTo>
                  <a:lnTo>
                    <a:pt x="510" y="294"/>
                  </a:lnTo>
                  <a:lnTo>
                    <a:pt x="516" y="294"/>
                  </a:lnTo>
                  <a:lnTo>
                    <a:pt x="510" y="294"/>
                  </a:lnTo>
                  <a:lnTo>
                    <a:pt x="516" y="294"/>
                  </a:lnTo>
                  <a:lnTo>
                    <a:pt x="516" y="300"/>
                  </a:lnTo>
                  <a:lnTo>
                    <a:pt x="516" y="306"/>
                  </a:lnTo>
                  <a:lnTo>
                    <a:pt x="522" y="306"/>
                  </a:lnTo>
                  <a:lnTo>
                    <a:pt x="516" y="306"/>
                  </a:lnTo>
                  <a:lnTo>
                    <a:pt x="516" y="312"/>
                  </a:lnTo>
                  <a:lnTo>
                    <a:pt x="516" y="318"/>
                  </a:lnTo>
                  <a:lnTo>
                    <a:pt x="522" y="324"/>
                  </a:lnTo>
                  <a:lnTo>
                    <a:pt x="522" y="330"/>
                  </a:lnTo>
                  <a:lnTo>
                    <a:pt x="522" y="336"/>
                  </a:lnTo>
                  <a:lnTo>
                    <a:pt x="528" y="336"/>
                  </a:lnTo>
                  <a:lnTo>
                    <a:pt x="528" y="342"/>
                  </a:lnTo>
                  <a:lnTo>
                    <a:pt x="534" y="348"/>
                  </a:lnTo>
                  <a:lnTo>
                    <a:pt x="534" y="354"/>
                  </a:lnTo>
                  <a:lnTo>
                    <a:pt x="540" y="360"/>
                  </a:lnTo>
                  <a:lnTo>
                    <a:pt x="540" y="366"/>
                  </a:lnTo>
                  <a:lnTo>
                    <a:pt x="546" y="366"/>
                  </a:lnTo>
                  <a:lnTo>
                    <a:pt x="546" y="372"/>
                  </a:lnTo>
                  <a:lnTo>
                    <a:pt x="552" y="378"/>
                  </a:lnTo>
                  <a:lnTo>
                    <a:pt x="552" y="384"/>
                  </a:lnTo>
                  <a:lnTo>
                    <a:pt x="558" y="390"/>
                  </a:lnTo>
                  <a:lnTo>
                    <a:pt x="552" y="390"/>
                  </a:lnTo>
                  <a:lnTo>
                    <a:pt x="558" y="390"/>
                  </a:lnTo>
                  <a:lnTo>
                    <a:pt x="558" y="396"/>
                  </a:lnTo>
                  <a:lnTo>
                    <a:pt x="558" y="402"/>
                  </a:lnTo>
                  <a:lnTo>
                    <a:pt x="564" y="402"/>
                  </a:lnTo>
                  <a:lnTo>
                    <a:pt x="564" y="408"/>
                  </a:lnTo>
                  <a:lnTo>
                    <a:pt x="564" y="414"/>
                  </a:lnTo>
                  <a:lnTo>
                    <a:pt x="570" y="414"/>
                  </a:lnTo>
                  <a:lnTo>
                    <a:pt x="570" y="420"/>
                  </a:lnTo>
                  <a:lnTo>
                    <a:pt x="570" y="426"/>
                  </a:lnTo>
                  <a:lnTo>
                    <a:pt x="576" y="426"/>
                  </a:lnTo>
                  <a:lnTo>
                    <a:pt x="570" y="426"/>
                  </a:lnTo>
                  <a:lnTo>
                    <a:pt x="576" y="426"/>
                  </a:lnTo>
                  <a:lnTo>
                    <a:pt x="576" y="432"/>
                  </a:lnTo>
                  <a:lnTo>
                    <a:pt x="576" y="438"/>
                  </a:lnTo>
                  <a:lnTo>
                    <a:pt x="582" y="438"/>
                  </a:lnTo>
                  <a:lnTo>
                    <a:pt x="582" y="444"/>
                  </a:lnTo>
                  <a:lnTo>
                    <a:pt x="582" y="450"/>
                  </a:lnTo>
                  <a:lnTo>
                    <a:pt x="582" y="456"/>
                  </a:lnTo>
                  <a:lnTo>
                    <a:pt x="588" y="456"/>
                  </a:lnTo>
                  <a:lnTo>
                    <a:pt x="588" y="462"/>
                  </a:lnTo>
                  <a:lnTo>
                    <a:pt x="594" y="462"/>
                  </a:lnTo>
                  <a:lnTo>
                    <a:pt x="594" y="468"/>
                  </a:lnTo>
                  <a:lnTo>
                    <a:pt x="600" y="468"/>
                  </a:lnTo>
                  <a:lnTo>
                    <a:pt x="600" y="474"/>
                  </a:lnTo>
                  <a:lnTo>
                    <a:pt x="606" y="474"/>
                  </a:lnTo>
                  <a:lnTo>
                    <a:pt x="600" y="474"/>
                  </a:lnTo>
                  <a:lnTo>
                    <a:pt x="606" y="474"/>
                  </a:lnTo>
                  <a:lnTo>
                    <a:pt x="606" y="480"/>
                  </a:lnTo>
                  <a:lnTo>
                    <a:pt x="612" y="480"/>
                  </a:lnTo>
                  <a:lnTo>
                    <a:pt x="612" y="486"/>
                  </a:lnTo>
                  <a:lnTo>
                    <a:pt x="618" y="486"/>
                  </a:lnTo>
                  <a:lnTo>
                    <a:pt x="618" y="492"/>
                  </a:lnTo>
                  <a:lnTo>
                    <a:pt x="618" y="486"/>
                  </a:lnTo>
                  <a:lnTo>
                    <a:pt x="612" y="486"/>
                  </a:lnTo>
                  <a:lnTo>
                    <a:pt x="606" y="486"/>
                  </a:lnTo>
                  <a:lnTo>
                    <a:pt x="600" y="486"/>
                  </a:lnTo>
                  <a:lnTo>
                    <a:pt x="600" y="492"/>
                  </a:lnTo>
                  <a:lnTo>
                    <a:pt x="600" y="498"/>
                  </a:lnTo>
                  <a:lnTo>
                    <a:pt x="600" y="492"/>
                  </a:lnTo>
                  <a:lnTo>
                    <a:pt x="600" y="498"/>
                  </a:lnTo>
                  <a:lnTo>
                    <a:pt x="606" y="498"/>
                  </a:lnTo>
                  <a:lnTo>
                    <a:pt x="600" y="498"/>
                  </a:lnTo>
                  <a:lnTo>
                    <a:pt x="606" y="498"/>
                  </a:lnTo>
                  <a:lnTo>
                    <a:pt x="606" y="504"/>
                  </a:lnTo>
                  <a:lnTo>
                    <a:pt x="600" y="504"/>
                  </a:lnTo>
                  <a:lnTo>
                    <a:pt x="600" y="510"/>
                  </a:lnTo>
                  <a:lnTo>
                    <a:pt x="606" y="510"/>
                  </a:lnTo>
                  <a:lnTo>
                    <a:pt x="606" y="504"/>
                  </a:lnTo>
                  <a:lnTo>
                    <a:pt x="606" y="510"/>
                  </a:lnTo>
                  <a:lnTo>
                    <a:pt x="600" y="510"/>
                  </a:lnTo>
                  <a:lnTo>
                    <a:pt x="606" y="510"/>
                  </a:lnTo>
                  <a:lnTo>
                    <a:pt x="600" y="510"/>
                  </a:lnTo>
                  <a:lnTo>
                    <a:pt x="600" y="516"/>
                  </a:lnTo>
                  <a:lnTo>
                    <a:pt x="606" y="516"/>
                  </a:lnTo>
                  <a:lnTo>
                    <a:pt x="606" y="522"/>
                  </a:lnTo>
                  <a:lnTo>
                    <a:pt x="606" y="528"/>
                  </a:lnTo>
                  <a:lnTo>
                    <a:pt x="606" y="534"/>
                  </a:lnTo>
                  <a:lnTo>
                    <a:pt x="612" y="534"/>
                  </a:lnTo>
                  <a:lnTo>
                    <a:pt x="606" y="534"/>
                  </a:lnTo>
                  <a:lnTo>
                    <a:pt x="606" y="540"/>
                  </a:lnTo>
                  <a:lnTo>
                    <a:pt x="600" y="540"/>
                  </a:lnTo>
                  <a:lnTo>
                    <a:pt x="600" y="546"/>
                  </a:lnTo>
                  <a:lnTo>
                    <a:pt x="594" y="546"/>
                  </a:lnTo>
                  <a:lnTo>
                    <a:pt x="594" y="552"/>
                  </a:lnTo>
                  <a:lnTo>
                    <a:pt x="588" y="552"/>
                  </a:lnTo>
                  <a:lnTo>
                    <a:pt x="588" y="558"/>
                  </a:lnTo>
                  <a:lnTo>
                    <a:pt x="582" y="558"/>
                  </a:lnTo>
                  <a:lnTo>
                    <a:pt x="582" y="552"/>
                  </a:lnTo>
                  <a:lnTo>
                    <a:pt x="576" y="552"/>
                  </a:lnTo>
                  <a:lnTo>
                    <a:pt x="570" y="552"/>
                  </a:lnTo>
                  <a:lnTo>
                    <a:pt x="570" y="558"/>
                  </a:lnTo>
                  <a:lnTo>
                    <a:pt x="570" y="564"/>
                  </a:lnTo>
                  <a:lnTo>
                    <a:pt x="564" y="564"/>
                  </a:lnTo>
                  <a:lnTo>
                    <a:pt x="564" y="570"/>
                  </a:lnTo>
                  <a:lnTo>
                    <a:pt x="564" y="576"/>
                  </a:lnTo>
                  <a:lnTo>
                    <a:pt x="558" y="582"/>
                  </a:lnTo>
                  <a:lnTo>
                    <a:pt x="558" y="588"/>
                  </a:lnTo>
                  <a:lnTo>
                    <a:pt x="552" y="588"/>
                  </a:lnTo>
                  <a:lnTo>
                    <a:pt x="546" y="588"/>
                  </a:lnTo>
                  <a:lnTo>
                    <a:pt x="540" y="588"/>
                  </a:lnTo>
                  <a:lnTo>
                    <a:pt x="534" y="588"/>
                  </a:lnTo>
                  <a:lnTo>
                    <a:pt x="528" y="588"/>
                  </a:lnTo>
                  <a:lnTo>
                    <a:pt x="528" y="594"/>
                  </a:lnTo>
                  <a:lnTo>
                    <a:pt x="528" y="600"/>
                  </a:lnTo>
                  <a:lnTo>
                    <a:pt x="522" y="606"/>
                  </a:lnTo>
                  <a:lnTo>
                    <a:pt x="522" y="612"/>
                  </a:lnTo>
                  <a:lnTo>
                    <a:pt x="522" y="618"/>
                  </a:lnTo>
                  <a:lnTo>
                    <a:pt x="516" y="618"/>
                  </a:lnTo>
                  <a:lnTo>
                    <a:pt x="510" y="618"/>
                  </a:lnTo>
                  <a:lnTo>
                    <a:pt x="504" y="618"/>
                  </a:lnTo>
                  <a:lnTo>
                    <a:pt x="498" y="618"/>
                  </a:lnTo>
                  <a:lnTo>
                    <a:pt x="492" y="618"/>
                  </a:lnTo>
                  <a:lnTo>
                    <a:pt x="474" y="600"/>
                  </a:lnTo>
                  <a:lnTo>
                    <a:pt x="432" y="606"/>
                  </a:lnTo>
                  <a:lnTo>
                    <a:pt x="378" y="606"/>
                  </a:lnTo>
                  <a:lnTo>
                    <a:pt x="372" y="600"/>
                  </a:lnTo>
                  <a:lnTo>
                    <a:pt x="378" y="600"/>
                  </a:lnTo>
                  <a:lnTo>
                    <a:pt x="378" y="594"/>
                  </a:lnTo>
                  <a:lnTo>
                    <a:pt x="378" y="588"/>
                  </a:lnTo>
                  <a:lnTo>
                    <a:pt x="378" y="594"/>
                  </a:lnTo>
                  <a:lnTo>
                    <a:pt x="372" y="594"/>
                  </a:lnTo>
                  <a:lnTo>
                    <a:pt x="372" y="600"/>
                  </a:lnTo>
                  <a:lnTo>
                    <a:pt x="372" y="606"/>
                  </a:lnTo>
                  <a:lnTo>
                    <a:pt x="18" y="606"/>
                  </a:lnTo>
                  <a:lnTo>
                    <a:pt x="18" y="258"/>
                  </a:lnTo>
                  <a:lnTo>
                    <a:pt x="18" y="234"/>
                  </a:lnTo>
                  <a:lnTo>
                    <a:pt x="18" y="228"/>
                  </a:lnTo>
                  <a:lnTo>
                    <a:pt x="18" y="222"/>
                  </a:lnTo>
                  <a:lnTo>
                    <a:pt x="18" y="216"/>
                  </a:lnTo>
                  <a:lnTo>
                    <a:pt x="18" y="210"/>
                  </a:lnTo>
                  <a:lnTo>
                    <a:pt x="18" y="204"/>
                  </a:lnTo>
                  <a:lnTo>
                    <a:pt x="18" y="198"/>
                  </a:lnTo>
                  <a:lnTo>
                    <a:pt x="18" y="192"/>
                  </a:lnTo>
                  <a:lnTo>
                    <a:pt x="18" y="186"/>
                  </a:lnTo>
                  <a:lnTo>
                    <a:pt x="18" y="180"/>
                  </a:lnTo>
                  <a:lnTo>
                    <a:pt x="18" y="174"/>
                  </a:lnTo>
                  <a:lnTo>
                    <a:pt x="18" y="168"/>
                  </a:lnTo>
                  <a:lnTo>
                    <a:pt x="18" y="162"/>
                  </a:lnTo>
                  <a:lnTo>
                    <a:pt x="18" y="156"/>
                  </a:lnTo>
                  <a:lnTo>
                    <a:pt x="18" y="150"/>
                  </a:lnTo>
                  <a:lnTo>
                    <a:pt x="12" y="144"/>
                  </a:lnTo>
                  <a:lnTo>
                    <a:pt x="12" y="138"/>
                  </a:lnTo>
                  <a:lnTo>
                    <a:pt x="12" y="132"/>
                  </a:lnTo>
                  <a:lnTo>
                    <a:pt x="12" y="126"/>
                  </a:lnTo>
                  <a:lnTo>
                    <a:pt x="6" y="120"/>
                  </a:lnTo>
                  <a:lnTo>
                    <a:pt x="6" y="114"/>
                  </a:lnTo>
                  <a:lnTo>
                    <a:pt x="6" y="108"/>
                  </a:lnTo>
                  <a:lnTo>
                    <a:pt x="6" y="102"/>
                  </a:lnTo>
                  <a:lnTo>
                    <a:pt x="0" y="96"/>
                  </a:lnTo>
                  <a:lnTo>
                    <a:pt x="6" y="90"/>
                  </a:lnTo>
                  <a:lnTo>
                    <a:pt x="6" y="84"/>
                  </a:lnTo>
                  <a:lnTo>
                    <a:pt x="12" y="84"/>
                  </a:lnTo>
                  <a:lnTo>
                    <a:pt x="12" y="78"/>
                  </a:lnTo>
                  <a:lnTo>
                    <a:pt x="12" y="72"/>
                  </a:lnTo>
                  <a:lnTo>
                    <a:pt x="18" y="72"/>
                  </a:lnTo>
                  <a:lnTo>
                    <a:pt x="18" y="66"/>
                  </a:lnTo>
                  <a:lnTo>
                    <a:pt x="18" y="60"/>
                  </a:lnTo>
                  <a:lnTo>
                    <a:pt x="18" y="54"/>
                  </a:lnTo>
                  <a:lnTo>
                    <a:pt x="18" y="48"/>
                  </a:lnTo>
                  <a:lnTo>
                    <a:pt x="18" y="42"/>
                  </a:lnTo>
                  <a:lnTo>
                    <a:pt x="12" y="42"/>
                  </a:lnTo>
                  <a:lnTo>
                    <a:pt x="12" y="36"/>
                  </a:lnTo>
                  <a:lnTo>
                    <a:pt x="12" y="30"/>
                  </a:lnTo>
                  <a:lnTo>
                    <a:pt x="12" y="24"/>
                  </a:lnTo>
                  <a:lnTo>
                    <a:pt x="12" y="18"/>
                  </a:lnTo>
                  <a:lnTo>
                    <a:pt x="12" y="12"/>
                  </a:lnTo>
                  <a:lnTo>
                    <a:pt x="18" y="12"/>
                  </a:lnTo>
                  <a:lnTo>
                    <a:pt x="24" y="6"/>
                  </a:lnTo>
                  <a:lnTo>
                    <a:pt x="24" y="0"/>
                  </a:lnTo>
                  <a:lnTo>
                    <a:pt x="30" y="6"/>
                  </a:lnTo>
                  <a:lnTo>
                    <a:pt x="30" y="12"/>
                  </a:lnTo>
                  <a:lnTo>
                    <a:pt x="36" y="12"/>
                  </a:lnTo>
                  <a:lnTo>
                    <a:pt x="42" y="12"/>
                  </a:lnTo>
                  <a:lnTo>
                    <a:pt x="48" y="12"/>
                  </a:lnTo>
                  <a:lnTo>
                    <a:pt x="48" y="6"/>
                  </a:lnTo>
                  <a:lnTo>
                    <a:pt x="54" y="6"/>
                  </a:lnTo>
                  <a:lnTo>
                    <a:pt x="60" y="6"/>
                  </a:lnTo>
                  <a:lnTo>
                    <a:pt x="66" y="0"/>
                  </a:lnTo>
                  <a:lnTo>
                    <a:pt x="72" y="0"/>
                  </a:lnTo>
                  <a:lnTo>
                    <a:pt x="72" y="6"/>
                  </a:lnTo>
                  <a:lnTo>
                    <a:pt x="78" y="6"/>
                  </a:lnTo>
                  <a:lnTo>
                    <a:pt x="84" y="6"/>
                  </a:lnTo>
                  <a:lnTo>
                    <a:pt x="90" y="6"/>
                  </a:lnTo>
                  <a:lnTo>
                    <a:pt x="96" y="6"/>
                  </a:lnTo>
                  <a:lnTo>
                    <a:pt x="96" y="12"/>
                  </a:lnTo>
                  <a:lnTo>
                    <a:pt x="102" y="12"/>
                  </a:lnTo>
                  <a:lnTo>
                    <a:pt x="108" y="12"/>
                  </a:lnTo>
                  <a:lnTo>
                    <a:pt x="114" y="12"/>
                  </a:lnTo>
                  <a:lnTo>
                    <a:pt x="120" y="12"/>
                  </a:lnTo>
                  <a:lnTo>
                    <a:pt x="126" y="12"/>
                  </a:lnTo>
                  <a:lnTo>
                    <a:pt x="132" y="18"/>
                  </a:lnTo>
                  <a:lnTo>
                    <a:pt x="138" y="18"/>
                  </a:lnTo>
                  <a:lnTo>
                    <a:pt x="144" y="18"/>
                  </a:lnTo>
                  <a:lnTo>
                    <a:pt x="150" y="18"/>
                  </a:lnTo>
                  <a:lnTo>
                    <a:pt x="150" y="24"/>
                  </a:lnTo>
                  <a:lnTo>
                    <a:pt x="150" y="30"/>
                  </a:lnTo>
                  <a:lnTo>
                    <a:pt x="156" y="30"/>
                  </a:lnTo>
                  <a:lnTo>
                    <a:pt x="162" y="30"/>
                  </a:lnTo>
                  <a:lnTo>
                    <a:pt x="168" y="30"/>
                  </a:lnTo>
                  <a:lnTo>
                    <a:pt x="174" y="30"/>
                  </a:lnTo>
                  <a:lnTo>
                    <a:pt x="180" y="24"/>
                  </a:lnTo>
                  <a:lnTo>
                    <a:pt x="180" y="30"/>
                  </a:lnTo>
                  <a:lnTo>
                    <a:pt x="180" y="36"/>
                  </a:lnTo>
                  <a:lnTo>
                    <a:pt x="186" y="36"/>
                  </a:lnTo>
                  <a:lnTo>
                    <a:pt x="192" y="36"/>
                  </a:lnTo>
                  <a:lnTo>
                    <a:pt x="198" y="36"/>
                  </a:lnTo>
                  <a:lnTo>
                    <a:pt x="204" y="36"/>
                  </a:lnTo>
                  <a:lnTo>
                    <a:pt x="210" y="36"/>
                  </a:lnTo>
                  <a:lnTo>
                    <a:pt x="210" y="42"/>
                  </a:lnTo>
                  <a:lnTo>
                    <a:pt x="216" y="42"/>
                  </a:lnTo>
                  <a:lnTo>
                    <a:pt x="222" y="42"/>
                  </a:lnTo>
                  <a:lnTo>
                    <a:pt x="228" y="42"/>
                  </a:lnTo>
                  <a:lnTo>
                    <a:pt x="228" y="48"/>
                  </a:lnTo>
                  <a:lnTo>
                    <a:pt x="234" y="48"/>
                  </a:lnTo>
                  <a:lnTo>
                    <a:pt x="234" y="54"/>
                  </a:lnTo>
                  <a:lnTo>
                    <a:pt x="240" y="54"/>
                  </a:lnTo>
                  <a:lnTo>
                    <a:pt x="246" y="54"/>
                  </a:lnTo>
                  <a:lnTo>
                    <a:pt x="252" y="54"/>
                  </a:lnTo>
                  <a:lnTo>
                    <a:pt x="258" y="54"/>
                  </a:lnTo>
                  <a:lnTo>
                    <a:pt x="258" y="48"/>
                  </a:lnTo>
                  <a:lnTo>
                    <a:pt x="264" y="48"/>
                  </a:lnTo>
                  <a:lnTo>
                    <a:pt x="270" y="48"/>
                  </a:lnTo>
                  <a:lnTo>
                    <a:pt x="270" y="42"/>
                  </a:lnTo>
                  <a:lnTo>
                    <a:pt x="276" y="42"/>
                  </a:lnTo>
                  <a:lnTo>
                    <a:pt x="276" y="36"/>
                  </a:lnTo>
                  <a:lnTo>
                    <a:pt x="282" y="36"/>
                  </a:lnTo>
                  <a:lnTo>
                    <a:pt x="288" y="36"/>
                  </a:lnTo>
                  <a:lnTo>
                    <a:pt x="288" y="30"/>
                  </a:lnTo>
                  <a:lnTo>
                    <a:pt x="294" y="30"/>
                  </a:lnTo>
                  <a:lnTo>
                    <a:pt x="294" y="24"/>
                  </a:lnTo>
                  <a:lnTo>
                    <a:pt x="300" y="24"/>
                  </a:lnTo>
                  <a:lnTo>
                    <a:pt x="306" y="24"/>
                  </a:lnTo>
                  <a:lnTo>
                    <a:pt x="312" y="24"/>
                  </a:lnTo>
                  <a:lnTo>
                    <a:pt x="312" y="18"/>
                  </a:lnTo>
                  <a:lnTo>
                    <a:pt x="318" y="18"/>
                  </a:lnTo>
                  <a:lnTo>
                    <a:pt x="318" y="12"/>
                  </a:lnTo>
                  <a:lnTo>
                    <a:pt x="324" y="12"/>
                  </a:lnTo>
                  <a:lnTo>
                    <a:pt x="330" y="12"/>
                  </a:lnTo>
                  <a:lnTo>
                    <a:pt x="336" y="12"/>
                  </a:lnTo>
                  <a:lnTo>
                    <a:pt x="342" y="6"/>
                  </a:lnTo>
                  <a:lnTo>
                    <a:pt x="348" y="6"/>
                  </a:lnTo>
                  <a:lnTo>
                    <a:pt x="342" y="6"/>
                  </a:lnTo>
                  <a:lnTo>
                    <a:pt x="342" y="12"/>
                  </a:lnTo>
                  <a:lnTo>
                    <a:pt x="336" y="12"/>
                  </a:lnTo>
                  <a:lnTo>
                    <a:pt x="330" y="12"/>
                  </a:lnTo>
                  <a:lnTo>
                    <a:pt x="330" y="18"/>
                  </a:lnTo>
                  <a:lnTo>
                    <a:pt x="324" y="18"/>
                  </a:lnTo>
                  <a:lnTo>
                    <a:pt x="330" y="18"/>
                  </a:lnTo>
                  <a:lnTo>
                    <a:pt x="336" y="18"/>
                  </a:lnTo>
                  <a:lnTo>
                    <a:pt x="342" y="18"/>
                  </a:lnTo>
                  <a:lnTo>
                    <a:pt x="342" y="12"/>
                  </a:lnTo>
                  <a:lnTo>
                    <a:pt x="342" y="18"/>
                  </a:lnTo>
                  <a:lnTo>
                    <a:pt x="342" y="12"/>
                  </a:lnTo>
                  <a:lnTo>
                    <a:pt x="342" y="18"/>
                  </a:lnTo>
                  <a:lnTo>
                    <a:pt x="342" y="12"/>
                  </a:lnTo>
                  <a:lnTo>
                    <a:pt x="342" y="18"/>
                  </a:lnTo>
                  <a:lnTo>
                    <a:pt x="342" y="12"/>
                  </a:lnTo>
                  <a:lnTo>
                    <a:pt x="348" y="12"/>
                  </a:lnTo>
                  <a:lnTo>
                    <a:pt x="348" y="18"/>
                  </a:lnTo>
                  <a:lnTo>
                    <a:pt x="348" y="12"/>
                  </a:lnTo>
                  <a:lnTo>
                    <a:pt x="354" y="12"/>
                  </a:lnTo>
                  <a:lnTo>
                    <a:pt x="360" y="12"/>
                  </a:lnTo>
                  <a:lnTo>
                    <a:pt x="360" y="6"/>
                  </a:lnTo>
                  <a:lnTo>
                    <a:pt x="354" y="6"/>
                  </a:lnTo>
                  <a:lnTo>
                    <a:pt x="348" y="6"/>
                  </a:lnTo>
                  <a:lnTo>
                    <a:pt x="354" y="6"/>
                  </a:lnTo>
                  <a:lnTo>
                    <a:pt x="360" y="6"/>
                  </a:lnTo>
                  <a:lnTo>
                    <a:pt x="366" y="6"/>
                  </a:lnTo>
                  <a:lnTo>
                    <a:pt x="372" y="6"/>
                  </a:lnTo>
                  <a:lnTo>
                    <a:pt x="372" y="12"/>
                  </a:lnTo>
                  <a:lnTo>
                    <a:pt x="378" y="12"/>
                  </a:lnTo>
                  <a:lnTo>
                    <a:pt x="384" y="12"/>
                  </a:lnTo>
                  <a:lnTo>
                    <a:pt x="390" y="12"/>
                  </a:lnTo>
                  <a:lnTo>
                    <a:pt x="396" y="12"/>
                  </a:lnTo>
                  <a:lnTo>
                    <a:pt x="396" y="6"/>
                  </a:lnTo>
                  <a:lnTo>
                    <a:pt x="396" y="12"/>
                  </a:lnTo>
                  <a:lnTo>
                    <a:pt x="396" y="6"/>
                  </a:lnTo>
                  <a:lnTo>
                    <a:pt x="402" y="12"/>
                  </a:lnTo>
                  <a:lnTo>
                    <a:pt x="402" y="6"/>
                  </a:lnTo>
                  <a:lnTo>
                    <a:pt x="402" y="12"/>
                  </a:lnTo>
                  <a:lnTo>
                    <a:pt x="408" y="12"/>
                  </a:lnTo>
                  <a:lnTo>
                    <a:pt x="408" y="18"/>
                  </a:lnTo>
                  <a:lnTo>
                    <a:pt x="414" y="18"/>
                  </a:lnTo>
                  <a:lnTo>
                    <a:pt x="414" y="24"/>
                  </a:lnTo>
                  <a:lnTo>
                    <a:pt x="420" y="24"/>
                  </a:lnTo>
                  <a:lnTo>
                    <a:pt x="414" y="24"/>
                  </a:lnTo>
                  <a:lnTo>
                    <a:pt x="414" y="18"/>
                  </a:lnTo>
                  <a:lnTo>
                    <a:pt x="408" y="18"/>
                  </a:lnTo>
                  <a:lnTo>
                    <a:pt x="408" y="12"/>
                  </a:lnTo>
                  <a:lnTo>
                    <a:pt x="402" y="12"/>
                  </a:lnTo>
                  <a:lnTo>
                    <a:pt x="402" y="6"/>
                  </a:lnTo>
                  <a:lnTo>
                    <a:pt x="402" y="12"/>
                  </a:lnTo>
                  <a:lnTo>
                    <a:pt x="402" y="18"/>
                  </a:lnTo>
                  <a:lnTo>
                    <a:pt x="402" y="12"/>
                  </a:lnTo>
                  <a:lnTo>
                    <a:pt x="396" y="12"/>
                  </a:lnTo>
                  <a:lnTo>
                    <a:pt x="402" y="12"/>
                  </a:lnTo>
                  <a:lnTo>
                    <a:pt x="402" y="18"/>
                  </a:lnTo>
                  <a:lnTo>
                    <a:pt x="396" y="18"/>
                  </a:lnTo>
                  <a:lnTo>
                    <a:pt x="402" y="18"/>
                  </a:lnTo>
                  <a:lnTo>
                    <a:pt x="396" y="18"/>
                  </a:lnTo>
                  <a:lnTo>
                    <a:pt x="402" y="18"/>
                  </a:lnTo>
                  <a:lnTo>
                    <a:pt x="396" y="18"/>
                  </a:lnTo>
                  <a:lnTo>
                    <a:pt x="402" y="18"/>
                  </a:lnTo>
                  <a:lnTo>
                    <a:pt x="396" y="18"/>
                  </a:lnTo>
                  <a:lnTo>
                    <a:pt x="396" y="24"/>
                  </a:lnTo>
                  <a:lnTo>
                    <a:pt x="402" y="24"/>
                  </a:lnTo>
                  <a:lnTo>
                    <a:pt x="396" y="24"/>
                  </a:lnTo>
                  <a:lnTo>
                    <a:pt x="402" y="24"/>
                  </a:lnTo>
                  <a:lnTo>
                    <a:pt x="396" y="24"/>
                  </a:lnTo>
                  <a:lnTo>
                    <a:pt x="402" y="30"/>
                  </a:lnTo>
                  <a:lnTo>
                    <a:pt x="402" y="24"/>
                  </a:lnTo>
                  <a:lnTo>
                    <a:pt x="402" y="30"/>
                  </a:lnTo>
                  <a:lnTo>
                    <a:pt x="408" y="30"/>
                  </a:lnTo>
                  <a:lnTo>
                    <a:pt x="408" y="24"/>
                  </a:lnTo>
                  <a:lnTo>
                    <a:pt x="408" y="30"/>
                  </a:lnTo>
                  <a:lnTo>
                    <a:pt x="408" y="36"/>
                  </a:lnTo>
                  <a:lnTo>
                    <a:pt x="414" y="36"/>
                  </a:lnTo>
                  <a:lnTo>
                    <a:pt x="408" y="36"/>
                  </a:lnTo>
                  <a:lnTo>
                    <a:pt x="414" y="36"/>
                  </a:lnTo>
                  <a:lnTo>
                    <a:pt x="414" y="42"/>
                  </a:lnTo>
                  <a:lnTo>
                    <a:pt x="414" y="36"/>
                  </a:lnTo>
                  <a:lnTo>
                    <a:pt x="420" y="36"/>
                  </a:lnTo>
                  <a:lnTo>
                    <a:pt x="414" y="36"/>
                  </a:lnTo>
                  <a:lnTo>
                    <a:pt x="414" y="30"/>
                  </a:lnTo>
                  <a:lnTo>
                    <a:pt x="420" y="30"/>
                  </a:lnTo>
                  <a:lnTo>
                    <a:pt x="420" y="36"/>
                  </a:lnTo>
                  <a:lnTo>
                    <a:pt x="426" y="36"/>
                  </a:lnTo>
                  <a:lnTo>
                    <a:pt x="420" y="30"/>
                  </a:lnTo>
                  <a:lnTo>
                    <a:pt x="426" y="30"/>
                  </a:lnTo>
                  <a:lnTo>
                    <a:pt x="420" y="24"/>
                  </a:lnTo>
                  <a:lnTo>
                    <a:pt x="426" y="24"/>
                  </a:lnTo>
                  <a:lnTo>
                    <a:pt x="420" y="24"/>
                  </a:lnTo>
                  <a:lnTo>
                    <a:pt x="426" y="24"/>
                  </a:lnTo>
                  <a:lnTo>
                    <a:pt x="420" y="24"/>
                  </a:lnTo>
                  <a:lnTo>
                    <a:pt x="426" y="24"/>
                  </a:lnTo>
                  <a:lnTo>
                    <a:pt x="426" y="30"/>
                  </a:lnTo>
                  <a:lnTo>
                    <a:pt x="426" y="36"/>
                  </a:lnTo>
                  <a:lnTo>
                    <a:pt x="426" y="30"/>
                  </a:lnTo>
                  <a:lnTo>
                    <a:pt x="432" y="30"/>
                  </a:lnTo>
                  <a:lnTo>
                    <a:pt x="426" y="30"/>
                  </a:lnTo>
                  <a:lnTo>
                    <a:pt x="432" y="30"/>
                  </a:lnTo>
                  <a:lnTo>
                    <a:pt x="426" y="30"/>
                  </a:lnTo>
                  <a:lnTo>
                    <a:pt x="432" y="30"/>
                  </a:lnTo>
                  <a:lnTo>
                    <a:pt x="432" y="36"/>
                  </a:lnTo>
                  <a:lnTo>
                    <a:pt x="438" y="36"/>
                  </a:lnTo>
                  <a:lnTo>
                    <a:pt x="438" y="42"/>
                  </a:lnTo>
                  <a:lnTo>
                    <a:pt x="444" y="42"/>
                  </a:lnTo>
                  <a:lnTo>
                    <a:pt x="450" y="36"/>
                  </a:lnTo>
                  <a:lnTo>
                    <a:pt x="456" y="36"/>
                  </a:lnTo>
                  <a:lnTo>
                    <a:pt x="462" y="36"/>
                  </a:lnTo>
                  <a:lnTo>
                    <a:pt x="456" y="36"/>
                  </a:lnTo>
                  <a:lnTo>
                    <a:pt x="450" y="36"/>
                  </a:lnTo>
                  <a:lnTo>
                    <a:pt x="450" y="42"/>
                  </a:lnTo>
                  <a:lnTo>
                    <a:pt x="444" y="42"/>
                  </a:lnTo>
                  <a:lnTo>
                    <a:pt x="450" y="42"/>
                  </a:lnTo>
                  <a:lnTo>
                    <a:pt x="444" y="42"/>
                  </a:lnTo>
                  <a:lnTo>
                    <a:pt x="450" y="42"/>
                  </a:lnTo>
                  <a:lnTo>
                    <a:pt x="456" y="36"/>
                  </a:lnTo>
                  <a:lnTo>
                    <a:pt x="462" y="36"/>
                  </a:lnTo>
                  <a:lnTo>
                    <a:pt x="456" y="36"/>
                  </a:lnTo>
                  <a:lnTo>
                    <a:pt x="462" y="36"/>
                  </a:lnTo>
                  <a:lnTo>
                    <a:pt x="456" y="36"/>
                  </a:lnTo>
                  <a:lnTo>
                    <a:pt x="462" y="36"/>
                  </a:lnTo>
                  <a:lnTo>
                    <a:pt x="462" y="42"/>
                  </a:lnTo>
                  <a:lnTo>
                    <a:pt x="462" y="36"/>
                  </a:lnTo>
                  <a:lnTo>
                    <a:pt x="468" y="36"/>
                  </a:lnTo>
                  <a:lnTo>
                    <a:pt x="462" y="36"/>
                  </a:lnTo>
                  <a:lnTo>
                    <a:pt x="468" y="36"/>
                  </a:lnTo>
                  <a:lnTo>
                    <a:pt x="468" y="30"/>
                  </a:lnTo>
                  <a:lnTo>
                    <a:pt x="468" y="36"/>
                  </a:lnTo>
                  <a:lnTo>
                    <a:pt x="474" y="36"/>
                  </a:lnTo>
                  <a:lnTo>
                    <a:pt x="468" y="36"/>
                  </a:lnTo>
                  <a:lnTo>
                    <a:pt x="474" y="36"/>
                  </a:lnTo>
                  <a:lnTo>
                    <a:pt x="468" y="42"/>
                  </a:lnTo>
                  <a:lnTo>
                    <a:pt x="474" y="42"/>
                  </a:lnTo>
                  <a:lnTo>
                    <a:pt x="474" y="36"/>
                  </a:lnTo>
                  <a:lnTo>
                    <a:pt x="480" y="36"/>
                  </a:lnTo>
                  <a:lnTo>
                    <a:pt x="474" y="36"/>
                  </a:lnTo>
                  <a:lnTo>
                    <a:pt x="480" y="36"/>
                  </a:lnTo>
                  <a:lnTo>
                    <a:pt x="480" y="42"/>
                  </a:lnTo>
                  <a:lnTo>
                    <a:pt x="480" y="36"/>
                  </a:lnTo>
                  <a:lnTo>
                    <a:pt x="486" y="36"/>
                  </a:lnTo>
                  <a:lnTo>
                    <a:pt x="480" y="36"/>
                  </a:lnTo>
                  <a:lnTo>
                    <a:pt x="486" y="36"/>
                  </a:lnTo>
                  <a:lnTo>
                    <a:pt x="492" y="36"/>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close/>
                  <a:moveTo>
                    <a:pt x="516" y="264"/>
                  </a:moveTo>
                  <a:lnTo>
                    <a:pt x="522" y="264"/>
                  </a:lnTo>
                  <a:lnTo>
                    <a:pt x="522" y="270"/>
                  </a:lnTo>
                  <a:lnTo>
                    <a:pt x="516" y="270"/>
                  </a:lnTo>
                  <a:lnTo>
                    <a:pt x="516" y="264"/>
                  </a:lnTo>
                  <a:close/>
                  <a:moveTo>
                    <a:pt x="462" y="36"/>
                  </a:moveTo>
                  <a:lnTo>
                    <a:pt x="462" y="30"/>
                  </a:lnTo>
                  <a:lnTo>
                    <a:pt x="468" y="30"/>
                  </a:lnTo>
                  <a:lnTo>
                    <a:pt x="474" y="30"/>
                  </a:lnTo>
                  <a:lnTo>
                    <a:pt x="480" y="30"/>
                  </a:lnTo>
                  <a:lnTo>
                    <a:pt x="474" y="30"/>
                  </a:lnTo>
                  <a:lnTo>
                    <a:pt x="468" y="30"/>
                  </a:lnTo>
                  <a:lnTo>
                    <a:pt x="462" y="30"/>
                  </a:lnTo>
                  <a:lnTo>
                    <a:pt x="462" y="36"/>
                  </a:lnTo>
                  <a:close/>
                  <a:moveTo>
                    <a:pt x="504" y="258"/>
                  </a:moveTo>
                  <a:lnTo>
                    <a:pt x="510" y="258"/>
                  </a:lnTo>
                  <a:lnTo>
                    <a:pt x="510" y="264"/>
                  </a:lnTo>
                  <a:lnTo>
                    <a:pt x="504" y="264"/>
                  </a:lnTo>
                  <a:lnTo>
                    <a:pt x="504" y="258"/>
                  </a:lnTo>
                  <a:close/>
                  <a:moveTo>
                    <a:pt x="402" y="24"/>
                  </a:moveTo>
                  <a:lnTo>
                    <a:pt x="408" y="24"/>
                  </a:lnTo>
                  <a:lnTo>
                    <a:pt x="402" y="24"/>
                  </a:lnTo>
                  <a:close/>
                  <a:moveTo>
                    <a:pt x="516" y="282"/>
                  </a:moveTo>
                  <a:lnTo>
                    <a:pt x="516" y="288"/>
                  </a:lnTo>
                  <a:lnTo>
                    <a:pt x="517" y="288"/>
                  </a:lnTo>
                  <a:lnTo>
                    <a:pt x="516" y="282"/>
                  </a:lnTo>
                  <a:close/>
                  <a:moveTo>
                    <a:pt x="606" y="528"/>
                  </a:moveTo>
                  <a:lnTo>
                    <a:pt x="618" y="528"/>
                  </a:lnTo>
                  <a:lnTo>
                    <a:pt x="618" y="534"/>
                  </a:lnTo>
                  <a:lnTo>
                    <a:pt x="606" y="534"/>
                  </a:lnTo>
                  <a:lnTo>
                    <a:pt x="606" y="528"/>
                  </a:lnTo>
                  <a:close/>
                  <a:moveTo>
                    <a:pt x="480" y="30"/>
                  </a:moveTo>
                  <a:lnTo>
                    <a:pt x="492" y="30"/>
                  </a:lnTo>
                  <a:lnTo>
                    <a:pt x="492" y="36"/>
                  </a:lnTo>
                  <a:lnTo>
                    <a:pt x="480" y="36"/>
                  </a:lnTo>
                  <a:lnTo>
                    <a:pt x="480" y="30"/>
                  </a:lnTo>
                  <a:close/>
                  <a:moveTo>
                    <a:pt x="516" y="312"/>
                  </a:moveTo>
                  <a:lnTo>
                    <a:pt x="522" y="312"/>
                  </a:lnTo>
                  <a:lnTo>
                    <a:pt x="522" y="318"/>
                  </a:lnTo>
                  <a:lnTo>
                    <a:pt x="516" y="318"/>
                  </a:lnTo>
                  <a:lnTo>
                    <a:pt x="516" y="312"/>
                  </a:lnTo>
                  <a:close/>
                  <a:moveTo>
                    <a:pt x="504" y="252"/>
                  </a:moveTo>
                  <a:lnTo>
                    <a:pt x="504" y="258"/>
                  </a:lnTo>
                  <a:lnTo>
                    <a:pt x="505" y="258"/>
                  </a:lnTo>
                  <a:lnTo>
                    <a:pt x="504" y="252"/>
                  </a:lnTo>
                  <a:close/>
                  <a:moveTo>
                    <a:pt x="402" y="12"/>
                  </a:moveTo>
                  <a:lnTo>
                    <a:pt x="408" y="12"/>
                  </a:lnTo>
                  <a:lnTo>
                    <a:pt x="408" y="18"/>
                  </a:lnTo>
                  <a:lnTo>
                    <a:pt x="402" y="18"/>
                  </a:lnTo>
                  <a:lnTo>
                    <a:pt x="402" y="12"/>
                  </a:lnTo>
                  <a:close/>
                  <a:moveTo>
                    <a:pt x="426" y="24"/>
                  </a:moveTo>
                  <a:lnTo>
                    <a:pt x="426" y="30"/>
                  </a:lnTo>
                  <a:lnTo>
                    <a:pt x="427" y="30"/>
                  </a:lnTo>
                  <a:lnTo>
                    <a:pt x="426" y="24"/>
                  </a:lnTo>
                  <a:close/>
                  <a:moveTo>
                    <a:pt x="402" y="6"/>
                  </a:moveTo>
                  <a:lnTo>
                    <a:pt x="402" y="12"/>
                  </a:lnTo>
                  <a:lnTo>
                    <a:pt x="403" y="12"/>
                  </a:lnTo>
                  <a:lnTo>
                    <a:pt x="402" y="6"/>
                  </a:lnTo>
                  <a:close/>
                  <a:moveTo>
                    <a:pt x="420" y="30"/>
                  </a:moveTo>
                  <a:lnTo>
                    <a:pt x="426" y="30"/>
                  </a:lnTo>
                  <a:lnTo>
                    <a:pt x="420" y="30"/>
                  </a:lnTo>
                  <a:close/>
                  <a:moveTo>
                    <a:pt x="594" y="456"/>
                  </a:moveTo>
                  <a:lnTo>
                    <a:pt x="594" y="462"/>
                  </a:lnTo>
                  <a:lnTo>
                    <a:pt x="595" y="462"/>
                  </a:lnTo>
                  <a:lnTo>
                    <a:pt x="594" y="456"/>
                  </a:lnTo>
                  <a:close/>
                  <a:moveTo>
                    <a:pt x="402" y="18"/>
                  </a:moveTo>
                  <a:lnTo>
                    <a:pt x="408" y="18"/>
                  </a:lnTo>
                  <a:lnTo>
                    <a:pt x="402" y="18"/>
                  </a:lnTo>
                  <a:close/>
                  <a:moveTo>
                    <a:pt x="498" y="252"/>
                  </a:moveTo>
                  <a:lnTo>
                    <a:pt x="504" y="252"/>
                  </a:lnTo>
                  <a:lnTo>
                    <a:pt x="498" y="252"/>
                  </a:lnTo>
                  <a:close/>
                  <a:moveTo>
                    <a:pt x="414" y="24"/>
                  </a:moveTo>
                  <a:lnTo>
                    <a:pt x="420" y="24"/>
                  </a:lnTo>
                  <a:lnTo>
                    <a:pt x="420" y="30"/>
                  </a:lnTo>
                  <a:lnTo>
                    <a:pt x="414" y="30"/>
                  </a:lnTo>
                  <a:lnTo>
                    <a:pt x="414" y="24"/>
                  </a:lnTo>
                  <a:close/>
                  <a:moveTo>
                    <a:pt x="582" y="444"/>
                  </a:moveTo>
                  <a:lnTo>
                    <a:pt x="588" y="444"/>
                  </a:lnTo>
                  <a:lnTo>
                    <a:pt x="582" y="444"/>
                  </a:lnTo>
                  <a:close/>
                  <a:moveTo>
                    <a:pt x="498" y="246"/>
                  </a:moveTo>
                  <a:lnTo>
                    <a:pt x="498" y="252"/>
                  </a:lnTo>
                  <a:lnTo>
                    <a:pt x="499" y="252"/>
                  </a:lnTo>
                  <a:lnTo>
                    <a:pt x="498" y="246"/>
                  </a:lnTo>
                  <a:close/>
                  <a:moveTo>
                    <a:pt x="516" y="282"/>
                  </a:moveTo>
                  <a:lnTo>
                    <a:pt x="516" y="288"/>
                  </a:lnTo>
                  <a:lnTo>
                    <a:pt x="517" y="288"/>
                  </a:lnTo>
                  <a:lnTo>
                    <a:pt x="516" y="282"/>
                  </a:lnTo>
                  <a:close/>
                  <a:moveTo>
                    <a:pt x="414" y="30"/>
                  </a:moveTo>
                  <a:lnTo>
                    <a:pt x="420" y="30"/>
                  </a:lnTo>
                  <a:lnTo>
                    <a:pt x="414" y="30"/>
                  </a:lnTo>
                  <a:close/>
                  <a:moveTo>
                    <a:pt x="408" y="18"/>
                  </a:moveTo>
                  <a:lnTo>
                    <a:pt x="414" y="18"/>
                  </a:lnTo>
                  <a:lnTo>
                    <a:pt x="414" y="24"/>
                  </a:lnTo>
                  <a:lnTo>
                    <a:pt x="408" y="24"/>
                  </a:lnTo>
                  <a:lnTo>
                    <a:pt x="408" y="18"/>
                  </a:lnTo>
                  <a:close/>
                  <a:moveTo>
                    <a:pt x="414" y="24"/>
                  </a:moveTo>
                  <a:lnTo>
                    <a:pt x="414" y="30"/>
                  </a:lnTo>
                  <a:lnTo>
                    <a:pt x="415" y="30"/>
                  </a:lnTo>
                  <a:lnTo>
                    <a:pt x="414" y="24"/>
                  </a:lnTo>
                  <a:close/>
                  <a:moveTo>
                    <a:pt x="498" y="252"/>
                  </a:moveTo>
                  <a:lnTo>
                    <a:pt x="498" y="258"/>
                  </a:lnTo>
                  <a:lnTo>
                    <a:pt x="499" y="258"/>
                  </a:lnTo>
                  <a:lnTo>
                    <a:pt x="498" y="252"/>
                  </a:lnTo>
                  <a:close/>
                  <a:moveTo>
                    <a:pt x="402" y="24"/>
                  </a:moveTo>
                  <a:lnTo>
                    <a:pt x="408" y="24"/>
                  </a:lnTo>
                  <a:lnTo>
                    <a:pt x="402" y="24"/>
                  </a:lnTo>
                  <a:close/>
                  <a:moveTo>
                    <a:pt x="594" y="462"/>
                  </a:moveTo>
                  <a:lnTo>
                    <a:pt x="600" y="462"/>
                  </a:lnTo>
                  <a:lnTo>
                    <a:pt x="594" y="462"/>
                  </a:lnTo>
                  <a:close/>
                  <a:moveTo>
                    <a:pt x="510" y="258"/>
                  </a:moveTo>
                  <a:lnTo>
                    <a:pt x="510" y="264"/>
                  </a:lnTo>
                  <a:lnTo>
                    <a:pt x="511" y="264"/>
                  </a:lnTo>
                  <a:lnTo>
                    <a:pt x="510" y="258"/>
                  </a:lnTo>
                  <a:close/>
                  <a:moveTo>
                    <a:pt x="510" y="252"/>
                  </a:moveTo>
                  <a:lnTo>
                    <a:pt x="510" y="258"/>
                  </a:lnTo>
                  <a:lnTo>
                    <a:pt x="511" y="258"/>
                  </a:lnTo>
                  <a:lnTo>
                    <a:pt x="510" y="252"/>
                  </a:lnTo>
                  <a:close/>
                  <a:moveTo>
                    <a:pt x="498" y="258"/>
                  </a:moveTo>
                  <a:lnTo>
                    <a:pt x="504" y="258"/>
                  </a:lnTo>
                  <a:lnTo>
                    <a:pt x="498" y="258"/>
                  </a:lnTo>
                  <a:close/>
                  <a:moveTo>
                    <a:pt x="594" y="462"/>
                  </a:moveTo>
                  <a:lnTo>
                    <a:pt x="600" y="462"/>
                  </a:lnTo>
                  <a:lnTo>
                    <a:pt x="594" y="462"/>
                  </a:lnTo>
                  <a:close/>
                  <a:moveTo>
                    <a:pt x="402" y="18"/>
                  </a:moveTo>
                  <a:lnTo>
                    <a:pt x="402" y="24"/>
                  </a:lnTo>
                  <a:lnTo>
                    <a:pt x="403" y="24"/>
                  </a:lnTo>
                  <a:lnTo>
                    <a:pt x="402" y="18"/>
                  </a:lnTo>
                  <a:close/>
                  <a:moveTo>
                    <a:pt x="504" y="246"/>
                  </a:moveTo>
                  <a:lnTo>
                    <a:pt x="504" y="252"/>
                  </a:lnTo>
                  <a:lnTo>
                    <a:pt x="505" y="252"/>
                  </a:lnTo>
                  <a:lnTo>
                    <a:pt x="504" y="246"/>
                  </a:lnTo>
                  <a:close/>
                  <a:moveTo>
                    <a:pt x="504" y="246"/>
                  </a:moveTo>
                  <a:lnTo>
                    <a:pt x="504" y="252"/>
                  </a:lnTo>
                  <a:lnTo>
                    <a:pt x="505" y="252"/>
                  </a:lnTo>
                  <a:lnTo>
                    <a:pt x="504" y="246"/>
                  </a:lnTo>
                  <a:close/>
                  <a:moveTo>
                    <a:pt x="348" y="6"/>
                  </a:moveTo>
                  <a:lnTo>
                    <a:pt x="354" y="6"/>
                  </a:lnTo>
                  <a:lnTo>
                    <a:pt x="348" y="6"/>
                  </a:lnTo>
                  <a:close/>
                  <a:moveTo>
                    <a:pt x="504" y="264"/>
                  </a:moveTo>
                  <a:lnTo>
                    <a:pt x="510" y="264"/>
                  </a:lnTo>
                  <a:lnTo>
                    <a:pt x="504" y="264"/>
                  </a:lnTo>
                  <a:close/>
                  <a:moveTo>
                    <a:pt x="414" y="24"/>
                  </a:moveTo>
                  <a:lnTo>
                    <a:pt x="420" y="24"/>
                  </a:lnTo>
                  <a:lnTo>
                    <a:pt x="414" y="24"/>
                  </a:lnTo>
                  <a:close/>
                  <a:moveTo>
                    <a:pt x="408" y="18"/>
                  </a:moveTo>
                  <a:lnTo>
                    <a:pt x="408" y="24"/>
                  </a:lnTo>
                  <a:lnTo>
                    <a:pt x="409" y="24"/>
                  </a:lnTo>
                  <a:lnTo>
                    <a:pt x="408" y="18"/>
                  </a:lnTo>
                  <a:close/>
                  <a:moveTo>
                    <a:pt x="576" y="420"/>
                  </a:moveTo>
                  <a:lnTo>
                    <a:pt x="576" y="426"/>
                  </a:lnTo>
                  <a:lnTo>
                    <a:pt x="577" y="426"/>
                  </a:lnTo>
                  <a:lnTo>
                    <a:pt x="576" y="420"/>
                  </a:lnTo>
                  <a:close/>
                  <a:moveTo>
                    <a:pt x="600" y="492"/>
                  </a:moveTo>
                  <a:lnTo>
                    <a:pt x="606" y="492"/>
                  </a:lnTo>
                  <a:lnTo>
                    <a:pt x="600" y="492"/>
                  </a:lnTo>
                  <a:close/>
                  <a:moveTo>
                    <a:pt x="408" y="24"/>
                  </a:moveTo>
                  <a:lnTo>
                    <a:pt x="408" y="30"/>
                  </a:lnTo>
                  <a:lnTo>
                    <a:pt x="409" y="30"/>
                  </a:lnTo>
                  <a:lnTo>
                    <a:pt x="408" y="24"/>
                  </a:lnTo>
                  <a:close/>
                  <a:moveTo>
                    <a:pt x="348" y="6"/>
                  </a:moveTo>
                  <a:lnTo>
                    <a:pt x="348" y="12"/>
                  </a:lnTo>
                  <a:lnTo>
                    <a:pt x="349" y="12"/>
                  </a:lnTo>
                  <a:lnTo>
                    <a:pt x="348" y="6"/>
                  </a:lnTo>
                  <a:close/>
                  <a:moveTo>
                    <a:pt x="408" y="24"/>
                  </a:moveTo>
                  <a:lnTo>
                    <a:pt x="414" y="24"/>
                  </a:lnTo>
                  <a:lnTo>
                    <a:pt x="408" y="2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4" name="Freeform 36"/>
            <p:cNvSpPr>
              <a:spLocks/>
            </p:cNvSpPr>
            <p:nvPr>
              <p:custDataLst>
                <p:tags r:id="rId87"/>
              </p:custDataLst>
            </p:nvPr>
          </p:nvSpPr>
          <p:spPr bwMode="gray">
            <a:xfrm>
              <a:off x="3833813" y="1165226"/>
              <a:ext cx="1089025" cy="1057275"/>
            </a:xfrm>
            <a:custGeom>
              <a:avLst/>
              <a:gdLst>
                <a:gd name="T0" fmla="*/ 14583 w 876"/>
                <a:gd name="T1" fmla="*/ 62083 h 852"/>
                <a:gd name="T2" fmla="*/ 17500 w 876"/>
                <a:gd name="T3" fmla="*/ 49473 h 852"/>
                <a:gd name="T4" fmla="*/ 17500 w 876"/>
                <a:gd name="T5" fmla="*/ 37832 h 852"/>
                <a:gd name="T6" fmla="*/ 26250 w 876"/>
                <a:gd name="T7" fmla="*/ 30072 h 852"/>
                <a:gd name="T8" fmla="*/ 37916 w 876"/>
                <a:gd name="T9" fmla="*/ 21341 h 852"/>
                <a:gd name="T10" fmla="*/ 42778 w 876"/>
                <a:gd name="T11" fmla="*/ 12611 h 852"/>
                <a:gd name="T12" fmla="*/ 46667 w 876"/>
                <a:gd name="T13" fmla="*/ 1940 h 852"/>
                <a:gd name="T14" fmla="*/ 56389 w 876"/>
                <a:gd name="T15" fmla="*/ 6791 h 852"/>
                <a:gd name="T16" fmla="*/ 68056 w 876"/>
                <a:gd name="T17" fmla="*/ 10671 h 852"/>
                <a:gd name="T18" fmla="*/ 81666 w 876"/>
                <a:gd name="T19" fmla="*/ 8731 h 852"/>
                <a:gd name="T20" fmla="*/ 92361 w 876"/>
                <a:gd name="T21" fmla="*/ 10671 h 852"/>
                <a:gd name="T22" fmla="*/ 105000 w 876"/>
                <a:gd name="T23" fmla="*/ 17461 h 852"/>
                <a:gd name="T24" fmla="*/ 117639 w 876"/>
                <a:gd name="T25" fmla="*/ 21341 h 852"/>
                <a:gd name="T26" fmla="*/ 121528 w 876"/>
                <a:gd name="T27" fmla="*/ 33952 h 852"/>
                <a:gd name="T28" fmla="*/ 131250 w 876"/>
                <a:gd name="T29" fmla="*/ 44623 h 852"/>
                <a:gd name="T30" fmla="*/ 147777 w 876"/>
                <a:gd name="T31" fmla="*/ 46563 h 852"/>
                <a:gd name="T32" fmla="*/ 160416 w 876"/>
                <a:gd name="T33" fmla="*/ 51413 h 852"/>
                <a:gd name="T34" fmla="*/ 174027 w 876"/>
                <a:gd name="T35" fmla="*/ 55294 h 852"/>
                <a:gd name="T36" fmla="*/ 181805 w 876"/>
                <a:gd name="T37" fmla="*/ 64024 h 852"/>
                <a:gd name="T38" fmla="*/ 197360 w 876"/>
                <a:gd name="T39" fmla="*/ 67904 h 852"/>
                <a:gd name="T40" fmla="*/ 206111 w 876"/>
                <a:gd name="T41" fmla="*/ 62083 h 852"/>
                <a:gd name="T42" fmla="*/ 214861 w 876"/>
                <a:gd name="T43" fmla="*/ 53353 h 852"/>
                <a:gd name="T44" fmla="*/ 210000 w 876"/>
                <a:gd name="T45" fmla="*/ 37832 h 852"/>
                <a:gd name="T46" fmla="*/ 211944 w 876"/>
                <a:gd name="T47" fmla="*/ 23281 h 852"/>
                <a:gd name="T48" fmla="*/ 222638 w 876"/>
                <a:gd name="T49" fmla="*/ 14551 h 852"/>
                <a:gd name="T50" fmla="*/ 238194 w 876"/>
                <a:gd name="T51" fmla="*/ 10671 h 852"/>
                <a:gd name="T52" fmla="*/ 250832 w 876"/>
                <a:gd name="T53" fmla="*/ 6791 h 852"/>
                <a:gd name="T54" fmla="*/ 263472 w 876"/>
                <a:gd name="T55" fmla="*/ 10671 h 852"/>
                <a:gd name="T56" fmla="*/ 272221 w 876"/>
                <a:gd name="T57" fmla="*/ 14551 h 852"/>
                <a:gd name="T58" fmla="*/ 274166 w 876"/>
                <a:gd name="T59" fmla="*/ 21341 h 852"/>
                <a:gd name="T60" fmla="*/ 280972 w 876"/>
                <a:gd name="T61" fmla="*/ 23281 h 852"/>
                <a:gd name="T62" fmla="*/ 291666 w 876"/>
                <a:gd name="T63" fmla="*/ 26191 h 852"/>
                <a:gd name="T64" fmla="*/ 306249 w 876"/>
                <a:gd name="T65" fmla="*/ 27161 h 852"/>
                <a:gd name="T66" fmla="*/ 313055 w 876"/>
                <a:gd name="T67" fmla="*/ 33952 h 852"/>
                <a:gd name="T68" fmla="*/ 309166 w 876"/>
                <a:gd name="T69" fmla="*/ 49473 h 852"/>
                <a:gd name="T70" fmla="*/ 309166 w 876"/>
                <a:gd name="T71" fmla="*/ 62083 h 852"/>
                <a:gd name="T72" fmla="*/ 306249 w 876"/>
                <a:gd name="T73" fmla="*/ 76635 h 852"/>
                <a:gd name="T74" fmla="*/ 310138 w 876"/>
                <a:gd name="T75" fmla="*/ 94096 h 852"/>
                <a:gd name="T76" fmla="*/ 310138 w 876"/>
                <a:gd name="T77" fmla="*/ 110586 h 852"/>
                <a:gd name="T78" fmla="*/ 291666 w 876"/>
                <a:gd name="T79" fmla="*/ 292958 h 852"/>
                <a:gd name="T80" fmla="*/ 184722 w 876"/>
                <a:gd name="T81" fmla="*/ 245425 h 852"/>
                <a:gd name="T82" fmla="*/ 171111 w 876"/>
                <a:gd name="T83" fmla="*/ 238634 h 852"/>
                <a:gd name="T84" fmla="*/ 154583 w 876"/>
                <a:gd name="T85" fmla="*/ 229904 h 852"/>
                <a:gd name="T86" fmla="*/ 137083 w 876"/>
                <a:gd name="T87" fmla="*/ 222143 h 852"/>
                <a:gd name="T88" fmla="*/ 121528 w 876"/>
                <a:gd name="T89" fmla="*/ 224083 h 852"/>
                <a:gd name="T90" fmla="*/ 96250 w 876"/>
                <a:gd name="T91" fmla="*/ 236694 h 852"/>
                <a:gd name="T92" fmla="*/ 87499 w 876"/>
                <a:gd name="T93" fmla="*/ 228934 h 852"/>
                <a:gd name="T94" fmla="*/ 74861 w 876"/>
                <a:gd name="T95" fmla="*/ 224083 h 852"/>
                <a:gd name="T96" fmla="*/ 57361 w 876"/>
                <a:gd name="T97" fmla="*/ 220203 h 852"/>
                <a:gd name="T98" fmla="*/ 46667 w 876"/>
                <a:gd name="T99" fmla="*/ 211473 h 852"/>
                <a:gd name="T100" fmla="*/ 36945 w 876"/>
                <a:gd name="T101" fmla="*/ 200802 h 852"/>
                <a:gd name="T102" fmla="*/ 19444 w 876"/>
                <a:gd name="T103" fmla="*/ 195952 h 852"/>
                <a:gd name="T104" fmla="*/ 12639 w 876"/>
                <a:gd name="T105" fmla="*/ 185281 h 852"/>
                <a:gd name="T106" fmla="*/ 8750 w 876"/>
                <a:gd name="T107" fmla="*/ 172671 h 852"/>
                <a:gd name="T108" fmla="*/ 1944 w 876"/>
                <a:gd name="T109" fmla="*/ 158120 h 852"/>
                <a:gd name="T110" fmla="*/ 10694 w 876"/>
                <a:gd name="T111" fmla="*/ 147449 h 852"/>
                <a:gd name="T112" fmla="*/ 8750 w 876"/>
                <a:gd name="T113" fmla="*/ 131928 h 852"/>
                <a:gd name="T114" fmla="*/ 10694 w 876"/>
                <a:gd name="T115" fmla="*/ 121257 h 852"/>
                <a:gd name="T116" fmla="*/ 10694 w 876"/>
                <a:gd name="T117" fmla="*/ 101856 h 852"/>
                <a:gd name="T118" fmla="*/ 8750 w 876"/>
                <a:gd name="T119" fmla="*/ 85365 h 852"/>
                <a:gd name="T120" fmla="*/ 0 w 876"/>
                <a:gd name="T121" fmla="*/ 72754 h 8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852">
                  <a:moveTo>
                    <a:pt x="12" y="192"/>
                  </a:moveTo>
                  <a:lnTo>
                    <a:pt x="18" y="192"/>
                  </a:lnTo>
                  <a:lnTo>
                    <a:pt x="24" y="186"/>
                  </a:lnTo>
                  <a:lnTo>
                    <a:pt x="30" y="186"/>
                  </a:lnTo>
                  <a:lnTo>
                    <a:pt x="30" y="180"/>
                  </a:lnTo>
                  <a:lnTo>
                    <a:pt x="36" y="180"/>
                  </a:lnTo>
                  <a:lnTo>
                    <a:pt x="36" y="174"/>
                  </a:lnTo>
                  <a:lnTo>
                    <a:pt x="42" y="174"/>
                  </a:lnTo>
                  <a:lnTo>
                    <a:pt x="42" y="168"/>
                  </a:lnTo>
                  <a:lnTo>
                    <a:pt x="48" y="162"/>
                  </a:lnTo>
                  <a:lnTo>
                    <a:pt x="48" y="156"/>
                  </a:lnTo>
                  <a:lnTo>
                    <a:pt x="54" y="156"/>
                  </a:lnTo>
                  <a:lnTo>
                    <a:pt x="54" y="150"/>
                  </a:lnTo>
                  <a:lnTo>
                    <a:pt x="54" y="144"/>
                  </a:lnTo>
                  <a:lnTo>
                    <a:pt x="48" y="144"/>
                  </a:lnTo>
                  <a:lnTo>
                    <a:pt x="48" y="138"/>
                  </a:lnTo>
                  <a:lnTo>
                    <a:pt x="54" y="138"/>
                  </a:lnTo>
                  <a:lnTo>
                    <a:pt x="48" y="138"/>
                  </a:lnTo>
                  <a:lnTo>
                    <a:pt x="48" y="132"/>
                  </a:lnTo>
                  <a:lnTo>
                    <a:pt x="48" y="126"/>
                  </a:lnTo>
                  <a:lnTo>
                    <a:pt x="42" y="120"/>
                  </a:lnTo>
                  <a:lnTo>
                    <a:pt x="42" y="114"/>
                  </a:lnTo>
                  <a:lnTo>
                    <a:pt x="42" y="108"/>
                  </a:lnTo>
                  <a:lnTo>
                    <a:pt x="48" y="108"/>
                  </a:lnTo>
                  <a:lnTo>
                    <a:pt x="48" y="102"/>
                  </a:lnTo>
                  <a:lnTo>
                    <a:pt x="54" y="102"/>
                  </a:lnTo>
                  <a:lnTo>
                    <a:pt x="54" y="96"/>
                  </a:lnTo>
                  <a:lnTo>
                    <a:pt x="60" y="96"/>
                  </a:lnTo>
                  <a:lnTo>
                    <a:pt x="66" y="96"/>
                  </a:lnTo>
                  <a:lnTo>
                    <a:pt x="66" y="90"/>
                  </a:lnTo>
                  <a:lnTo>
                    <a:pt x="72" y="90"/>
                  </a:lnTo>
                  <a:lnTo>
                    <a:pt x="72" y="84"/>
                  </a:lnTo>
                  <a:lnTo>
                    <a:pt x="72" y="78"/>
                  </a:lnTo>
                  <a:lnTo>
                    <a:pt x="78" y="78"/>
                  </a:lnTo>
                  <a:lnTo>
                    <a:pt x="84" y="78"/>
                  </a:lnTo>
                  <a:lnTo>
                    <a:pt x="84" y="72"/>
                  </a:lnTo>
                  <a:lnTo>
                    <a:pt x="90" y="66"/>
                  </a:lnTo>
                  <a:lnTo>
                    <a:pt x="96" y="66"/>
                  </a:lnTo>
                  <a:lnTo>
                    <a:pt x="102" y="60"/>
                  </a:lnTo>
                  <a:lnTo>
                    <a:pt x="108" y="60"/>
                  </a:lnTo>
                  <a:lnTo>
                    <a:pt x="114" y="60"/>
                  </a:lnTo>
                  <a:lnTo>
                    <a:pt x="114" y="54"/>
                  </a:lnTo>
                  <a:lnTo>
                    <a:pt x="120" y="54"/>
                  </a:lnTo>
                  <a:lnTo>
                    <a:pt x="120" y="48"/>
                  </a:lnTo>
                  <a:lnTo>
                    <a:pt x="126" y="48"/>
                  </a:lnTo>
                  <a:lnTo>
                    <a:pt x="126" y="42"/>
                  </a:lnTo>
                  <a:lnTo>
                    <a:pt x="120" y="42"/>
                  </a:lnTo>
                  <a:lnTo>
                    <a:pt x="120" y="36"/>
                  </a:lnTo>
                  <a:lnTo>
                    <a:pt x="120" y="30"/>
                  </a:lnTo>
                  <a:lnTo>
                    <a:pt x="120" y="24"/>
                  </a:lnTo>
                  <a:lnTo>
                    <a:pt x="120" y="18"/>
                  </a:lnTo>
                  <a:lnTo>
                    <a:pt x="120" y="12"/>
                  </a:lnTo>
                  <a:lnTo>
                    <a:pt x="120" y="6"/>
                  </a:lnTo>
                  <a:lnTo>
                    <a:pt x="120" y="0"/>
                  </a:lnTo>
                  <a:lnTo>
                    <a:pt x="126" y="6"/>
                  </a:lnTo>
                  <a:lnTo>
                    <a:pt x="132" y="6"/>
                  </a:lnTo>
                  <a:lnTo>
                    <a:pt x="138" y="6"/>
                  </a:lnTo>
                  <a:lnTo>
                    <a:pt x="132" y="6"/>
                  </a:lnTo>
                  <a:lnTo>
                    <a:pt x="138" y="6"/>
                  </a:lnTo>
                  <a:lnTo>
                    <a:pt x="138" y="12"/>
                  </a:lnTo>
                  <a:lnTo>
                    <a:pt x="144" y="12"/>
                  </a:lnTo>
                  <a:lnTo>
                    <a:pt x="150" y="12"/>
                  </a:lnTo>
                  <a:lnTo>
                    <a:pt x="150" y="18"/>
                  </a:lnTo>
                  <a:lnTo>
                    <a:pt x="156" y="18"/>
                  </a:lnTo>
                  <a:lnTo>
                    <a:pt x="156" y="24"/>
                  </a:lnTo>
                  <a:lnTo>
                    <a:pt x="162" y="24"/>
                  </a:lnTo>
                  <a:lnTo>
                    <a:pt x="168" y="24"/>
                  </a:lnTo>
                  <a:lnTo>
                    <a:pt x="174" y="24"/>
                  </a:lnTo>
                  <a:lnTo>
                    <a:pt x="180" y="24"/>
                  </a:lnTo>
                  <a:lnTo>
                    <a:pt x="180" y="30"/>
                  </a:lnTo>
                  <a:lnTo>
                    <a:pt x="186" y="30"/>
                  </a:lnTo>
                  <a:lnTo>
                    <a:pt x="192" y="30"/>
                  </a:lnTo>
                  <a:lnTo>
                    <a:pt x="192" y="24"/>
                  </a:lnTo>
                  <a:lnTo>
                    <a:pt x="198" y="24"/>
                  </a:lnTo>
                  <a:lnTo>
                    <a:pt x="204" y="24"/>
                  </a:lnTo>
                  <a:lnTo>
                    <a:pt x="210" y="24"/>
                  </a:lnTo>
                  <a:lnTo>
                    <a:pt x="210" y="18"/>
                  </a:lnTo>
                  <a:lnTo>
                    <a:pt x="216" y="18"/>
                  </a:lnTo>
                  <a:lnTo>
                    <a:pt x="222" y="18"/>
                  </a:lnTo>
                  <a:lnTo>
                    <a:pt x="228" y="24"/>
                  </a:lnTo>
                  <a:lnTo>
                    <a:pt x="234" y="24"/>
                  </a:lnTo>
                  <a:lnTo>
                    <a:pt x="234" y="30"/>
                  </a:lnTo>
                  <a:lnTo>
                    <a:pt x="240" y="30"/>
                  </a:lnTo>
                  <a:lnTo>
                    <a:pt x="246" y="30"/>
                  </a:lnTo>
                  <a:lnTo>
                    <a:pt x="246" y="24"/>
                  </a:lnTo>
                  <a:lnTo>
                    <a:pt x="246" y="30"/>
                  </a:lnTo>
                  <a:lnTo>
                    <a:pt x="252" y="30"/>
                  </a:lnTo>
                  <a:lnTo>
                    <a:pt x="258" y="30"/>
                  </a:lnTo>
                  <a:lnTo>
                    <a:pt x="264" y="30"/>
                  </a:lnTo>
                  <a:lnTo>
                    <a:pt x="270" y="30"/>
                  </a:lnTo>
                  <a:lnTo>
                    <a:pt x="270" y="36"/>
                  </a:lnTo>
                  <a:lnTo>
                    <a:pt x="276" y="36"/>
                  </a:lnTo>
                  <a:lnTo>
                    <a:pt x="276" y="42"/>
                  </a:lnTo>
                  <a:lnTo>
                    <a:pt x="282" y="42"/>
                  </a:lnTo>
                  <a:lnTo>
                    <a:pt x="288" y="48"/>
                  </a:lnTo>
                  <a:lnTo>
                    <a:pt x="294" y="48"/>
                  </a:lnTo>
                  <a:lnTo>
                    <a:pt x="300" y="48"/>
                  </a:lnTo>
                  <a:lnTo>
                    <a:pt x="306" y="48"/>
                  </a:lnTo>
                  <a:lnTo>
                    <a:pt x="312" y="48"/>
                  </a:lnTo>
                  <a:lnTo>
                    <a:pt x="312" y="54"/>
                  </a:lnTo>
                  <a:lnTo>
                    <a:pt x="318" y="54"/>
                  </a:lnTo>
                  <a:lnTo>
                    <a:pt x="324" y="54"/>
                  </a:lnTo>
                  <a:lnTo>
                    <a:pt x="330" y="54"/>
                  </a:lnTo>
                  <a:lnTo>
                    <a:pt x="330" y="60"/>
                  </a:lnTo>
                  <a:lnTo>
                    <a:pt x="330" y="66"/>
                  </a:lnTo>
                  <a:lnTo>
                    <a:pt x="336" y="66"/>
                  </a:lnTo>
                  <a:lnTo>
                    <a:pt x="336" y="72"/>
                  </a:lnTo>
                  <a:lnTo>
                    <a:pt x="336" y="78"/>
                  </a:lnTo>
                  <a:lnTo>
                    <a:pt x="336" y="84"/>
                  </a:lnTo>
                  <a:lnTo>
                    <a:pt x="336" y="90"/>
                  </a:lnTo>
                  <a:lnTo>
                    <a:pt x="336" y="96"/>
                  </a:lnTo>
                  <a:lnTo>
                    <a:pt x="342" y="96"/>
                  </a:lnTo>
                  <a:lnTo>
                    <a:pt x="342" y="102"/>
                  </a:lnTo>
                  <a:lnTo>
                    <a:pt x="342" y="108"/>
                  </a:lnTo>
                  <a:lnTo>
                    <a:pt x="348" y="108"/>
                  </a:lnTo>
                  <a:lnTo>
                    <a:pt x="348" y="114"/>
                  </a:lnTo>
                  <a:lnTo>
                    <a:pt x="354" y="114"/>
                  </a:lnTo>
                  <a:lnTo>
                    <a:pt x="354" y="120"/>
                  </a:lnTo>
                  <a:lnTo>
                    <a:pt x="360" y="120"/>
                  </a:lnTo>
                  <a:lnTo>
                    <a:pt x="366" y="126"/>
                  </a:lnTo>
                  <a:lnTo>
                    <a:pt x="372" y="126"/>
                  </a:lnTo>
                  <a:lnTo>
                    <a:pt x="378" y="126"/>
                  </a:lnTo>
                  <a:lnTo>
                    <a:pt x="384" y="132"/>
                  </a:lnTo>
                  <a:lnTo>
                    <a:pt x="390" y="132"/>
                  </a:lnTo>
                  <a:lnTo>
                    <a:pt x="396" y="132"/>
                  </a:lnTo>
                  <a:lnTo>
                    <a:pt x="402" y="132"/>
                  </a:lnTo>
                  <a:lnTo>
                    <a:pt x="408" y="132"/>
                  </a:lnTo>
                  <a:lnTo>
                    <a:pt x="414" y="132"/>
                  </a:lnTo>
                  <a:lnTo>
                    <a:pt x="420" y="132"/>
                  </a:lnTo>
                  <a:lnTo>
                    <a:pt x="426" y="132"/>
                  </a:lnTo>
                  <a:lnTo>
                    <a:pt x="426" y="138"/>
                  </a:lnTo>
                  <a:lnTo>
                    <a:pt x="432" y="138"/>
                  </a:lnTo>
                  <a:lnTo>
                    <a:pt x="438" y="138"/>
                  </a:lnTo>
                  <a:lnTo>
                    <a:pt x="444" y="138"/>
                  </a:lnTo>
                  <a:lnTo>
                    <a:pt x="450" y="138"/>
                  </a:lnTo>
                  <a:lnTo>
                    <a:pt x="450" y="144"/>
                  </a:lnTo>
                  <a:lnTo>
                    <a:pt x="456" y="144"/>
                  </a:lnTo>
                  <a:lnTo>
                    <a:pt x="462" y="144"/>
                  </a:lnTo>
                  <a:lnTo>
                    <a:pt x="462" y="150"/>
                  </a:lnTo>
                  <a:lnTo>
                    <a:pt x="468" y="150"/>
                  </a:lnTo>
                  <a:lnTo>
                    <a:pt x="474" y="150"/>
                  </a:lnTo>
                  <a:lnTo>
                    <a:pt x="474" y="156"/>
                  </a:lnTo>
                  <a:lnTo>
                    <a:pt x="480" y="156"/>
                  </a:lnTo>
                  <a:lnTo>
                    <a:pt x="486" y="156"/>
                  </a:lnTo>
                  <a:lnTo>
                    <a:pt x="492" y="156"/>
                  </a:lnTo>
                  <a:lnTo>
                    <a:pt x="492" y="162"/>
                  </a:lnTo>
                  <a:lnTo>
                    <a:pt x="498" y="162"/>
                  </a:lnTo>
                  <a:lnTo>
                    <a:pt x="498" y="168"/>
                  </a:lnTo>
                  <a:lnTo>
                    <a:pt x="504" y="168"/>
                  </a:lnTo>
                  <a:lnTo>
                    <a:pt x="504" y="174"/>
                  </a:lnTo>
                  <a:lnTo>
                    <a:pt x="510" y="174"/>
                  </a:lnTo>
                  <a:lnTo>
                    <a:pt x="510" y="180"/>
                  </a:lnTo>
                  <a:lnTo>
                    <a:pt x="516" y="180"/>
                  </a:lnTo>
                  <a:lnTo>
                    <a:pt x="516" y="186"/>
                  </a:lnTo>
                  <a:lnTo>
                    <a:pt x="522" y="186"/>
                  </a:lnTo>
                  <a:lnTo>
                    <a:pt x="528" y="186"/>
                  </a:lnTo>
                  <a:lnTo>
                    <a:pt x="534" y="192"/>
                  </a:lnTo>
                  <a:lnTo>
                    <a:pt x="540" y="192"/>
                  </a:lnTo>
                  <a:lnTo>
                    <a:pt x="546" y="192"/>
                  </a:lnTo>
                  <a:lnTo>
                    <a:pt x="552" y="192"/>
                  </a:lnTo>
                  <a:lnTo>
                    <a:pt x="558" y="192"/>
                  </a:lnTo>
                  <a:lnTo>
                    <a:pt x="558" y="186"/>
                  </a:lnTo>
                  <a:lnTo>
                    <a:pt x="564" y="186"/>
                  </a:lnTo>
                  <a:lnTo>
                    <a:pt x="570" y="180"/>
                  </a:lnTo>
                  <a:lnTo>
                    <a:pt x="570" y="186"/>
                  </a:lnTo>
                  <a:lnTo>
                    <a:pt x="570" y="180"/>
                  </a:lnTo>
                  <a:lnTo>
                    <a:pt x="576" y="180"/>
                  </a:lnTo>
                  <a:lnTo>
                    <a:pt x="576" y="174"/>
                  </a:lnTo>
                  <a:lnTo>
                    <a:pt x="582" y="174"/>
                  </a:lnTo>
                  <a:lnTo>
                    <a:pt x="582" y="168"/>
                  </a:lnTo>
                  <a:lnTo>
                    <a:pt x="588" y="168"/>
                  </a:lnTo>
                  <a:lnTo>
                    <a:pt x="588" y="162"/>
                  </a:lnTo>
                  <a:lnTo>
                    <a:pt x="594" y="162"/>
                  </a:lnTo>
                  <a:lnTo>
                    <a:pt x="594" y="156"/>
                  </a:lnTo>
                  <a:lnTo>
                    <a:pt x="594" y="150"/>
                  </a:lnTo>
                  <a:lnTo>
                    <a:pt x="600" y="150"/>
                  </a:lnTo>
                  <a:lnTo>
                    <a:pt x="600" y="144"/>
                  </a:lnTo>
                  <a:lnTo>
                    <a:pt x="600" y="138"/>
                  </a:lnTo>
                  <a:lnTo>
                    <a:pt x="600" y="132"/>
                  </a:lnTo>
                  <a:lnTo>
                    <a:pt x="600" y="126"/>
                  </a:lnTo>
                  <a:lnTo>
                    <a:pt x="594" y="120"/>
                  </a:lnTo>
                  <a:lnTo>
                    <a:pt x="594" y="114"/>
                  </a:lnTo>
                  <a:lnTo>
                    <a:pt x="594" y="108"/>
                  </a:lnTo>
                  <a:lnTo>
                    <a:pt x="588" y="108"/>
                  </a:lnTo>
                  <a:lnTo>
                    <a:pt x="588" y="102"/>
                  </a:lnTo>
                  <a:lnTo>
                    <a:pt x="588" y="96"/>
                  </a:lnTo>
                  <a:lnTo>
                    <a:pt x="588" y="90"/>
                  </a:lnTo>
                  <a:lnTo>
                    <a:pt x="588" y="84"/>
                  </a:lnTo>
                  <a:lnTo>
                    <a:pt x="588" y="78"/>
                  </a:lnTo>
                  <a:lnTo>
                    <a:pt x="594" y="78"/>
                  </a:lnTo>
                  <a:lnTo>
                    <a:pt x="594" y="72"/>
                  </a:lnTo>
                  <a:lnTo>
                    <a:pt x="594" y="66"/>
                  </a:lnTo>
                  <a:lnTo>
                    <a:pt x="600" y="66"/>
                  </a:lnTo>
                  <a:lnTo>
                    <a:pt x="600" y="60"/>
                  </a:lnTo>
                  <a:lnTo>
                    <a:pt x="606" y="60"/>
                  </a:lnTo>
                  <a:lnTo>
                    <a:pt x="606" y="54"/>
                  </a:lnTo>
                  <a:lnTo>
                    <a:pt x="612" y="54"/>
                  </a:lnTo>
                  <a:lnTo>
                    <a:pt x="612" y="48"/>
                  </a:lnTo>
                  <a:lnTo>
                    <a:pt x="618" y="48"/>
                  </a:lnTo>
                  <a:lnTo>
                    <a:pt x="624" y="42"/>
                  </a:lnTo>
                  <a:lnTo>
                    <a:pt x="630" y="42"/>
                  </a:lnTo>
                  <a:lnTo>
                    <a:pt x="636" y="36"/>
                  </a:lnTo>
                  <a:lnTo>
                    <a:pt x="642" y="36"/>
                  </a:lnTo>
                  <a:lnTo>
                    <a:pt x="642" y="30"/>
                  </a:lnTo>
                  <a:lnTo>
                    <a:pt x="648" y="30"/>
                  </a:lnTo>
                  <a:lnTo>
                    <a:pt x="654" y="30"/>
                  </a:lnTo>
                  <a:lnTo>
                    <a:pt x="660" y="30"/>
                  </a:lnTo>
                  <a:lnTo>
                    <a:pt x="666" y="30"/>
                  </a:lnTo>
                  <a:lnTo>
                    <a:pt x="672" y="30"/>
                  </a:lnTo>
                  <a:lnTo>
                    <a:pt x="672" y="24"/>
                  </a:lnTo>
                  <a:lnTo>
                    <a:pt x="678" y="24"/>
                  </a:lnTo>
                  <a:lnTo>
                    <a:pt x="678" y="18"/>
                  </a:lnTo>
                  <a:lnTo>
                    <a:pt x="684" y="18"/>
                  </a:lnTo>
                  <a:lnTo>
                    <a:pt x="690" y="18"/>
                  </a:lnTo>
                  <a:lnTo>
                    <a:pt x="696" y="18"/>
                  </a:lnTo>
                  <a:lnTo>
                    <a:pt x="702" y="18"/>
                  </a:lnTo>
                  <a:lnTo>
                    <a:pt x="708" y="18"/>
                  </a:lnTo>
                  <a:lnTo>
                    <a:pt x="714" y="18"/>
                  </a:lnTo>
                  <a:lnTo>
                    <a:pt x="714" y="24"/>
                  </a:lnTo>
                  <a:lnTo>
                    <a:pt x="720" y="24"/>
                  </a:lnTo>
                  <a:lnTo>
                    <a:pt x="726" y="24"/>
                  </a:lnTo>
                  <a:lnTo>
                    <a:pt x="732" y="24"/>
                  </a:lnTo>
                  <a:lnTo>
                    <a:pt x="732" y="30"/>
                  </a:lnTo>
                  <a:lnTo>
                    <a:pt x="738" y="30"/>
                  </a:lnTo>
                  <a:lnTo>
                    <a:pt x="744" y="30"/>
                  </a:lnTo>
                  <a:lnTo>
                    <a:pt x="750" y="30"/>
                  </a:lnTo>
                  <a:lnTo>
                    <a:pt x="750" y="36"/>
                  </a:lnTo>
                  <a:lnTo>
                    <a:pt x="756" y="36"/>
                  </a:lnTo>
                  <a:lnTo>
                    <a:pt x="762" y="36"/>
                  </a:lnTo>
                  <a:lnTo>
                    <a:pt x="768" y="36"/>
                  </a:lnTo>
                  <a:lnTo>
                    <a:pt x="768" y="42"/>
                  </a:lnTo>
                  <a:lnTo>
                    <a:pt x="762" y="42"/>
                  </a:lnTo>
                  <a:lnTo>
                    <a:pt x="762" y="48"/>
                  </a:lnTo>
                  <a:lnTo>
                    <a:pt x="768" y="48"/>
                  </a:lnTo>
                  <a:lnTo>
                    <a:pt x="768" y="54"/>
                  </a:lnTo>
                  <a:lnTo>
                    <a:pt x="762" y="54"/>
                  </a:lnTo>
                  <a:lnTo>
                    <a:pt x="762" y="48"/>
                  </a:lnTo>
                  <a:lnTo>
                    <a:pt x="762" y="54"/>
                  </a:lnTo>
                  <a:lnTo>
                    <a:pt x="762" y="60"/>
                  </a:lnTo>
                  <a:lnTo>
                    <a:pt x="768" y="60"/>
                  </a:lnTo>
                  <a:lnTo>
                    <a:pt x="774" y="60"/>
                  </a:lnTo>
                  <a:lnTo>
                    <a:pt x="774" y="66"/>
                  </a:lnTo>
                  <a:lnTo>
                    <a:pt x="774" y="72"/>
                  </a:lnTo>
                  <a:lnTo>
                    <a:pt x="780" y="72"/>
                  </a:lnTo>
                  <a:lnTo>
                    <a:pt x="780" y="66"/>
                  </a:lnTo>
                  <a:lnTo>
                    <a:pt x="774" y="66"/>
                  </a:lnTo>
                  <a:lnTo>
                    <a:pt x="780" y="66"/>
                  </a:lnTo>
                  <a:lnTo>
                    <a:pt x="786" y="66"/>
                  </a:lnTo>
                  <a:lnTo>
                    <a:pt x="792" y="66"/>
                  </a:lnTo>
                  <a:lnTo>
                    <a:pt x="798" y="66"/>
                  </a:lnTo>
                  <a:lnTo>
                    <a:pt x="804" y="66"/>
                  </a:lnTo>
                  <a:lnTo>
                    <a:pt x="804" y="72"/>
                  </a:lnTo>
                  <a:lnTo>
                    <a:pt x="810" y="72"/>
                  </a:lnTo>
                  <a:lnTo>
                    <a:pt x="816" y="72"/>
                  </a:lnTo>
                  <a:lnTo>
                    <a:pt x="810" y="72"/>
                  </a:lnTo>
                  <a:lnTo>
                    <a:pt x="816" y="72"/>
                  </a:lnTo>
                  <a:lnTo>
                    <a:pt x="816" y="78"/>
                  </a:lnTo>
                  <a:lnTo>
                    <a:pt x="822" y="78"/>
                  </a:lnTo>
                  <a:lnTo>
                    <a:pt x="828" y="78"/>
                  </a:lnTo>
                  <a:lnTo>
                    <a:pt x="834" y="78"/>
                  </a:lnTo>
                  <a:lnTo>
                    <a:pt x="840" y="78"/>
                  </a:lnTo>
                  <a:lnTo>
                    <a:pt x="846" y="78"/>
                  </a:lnTo>
                  <a:lnTo>
                    <a:pt x="852" y="78"/>
                  </a:lnTo>
                  <a:lnTo>
                    <a:pt x="858" y="78"/>
                  </a:lnTo>
                  <a:lnTo>
                    <a:pt x="864" y="78"/>
                  </a:lnTo>
                  <a:lnTo>
                    <a:pt x="864" y="84"/>
                  </a:lnTo>
                  <a:lnTo>
                    <a:pt x="864" y="78"/>
                  </a:lnTo>
                  <a:lnTo>
                    <a:pt x="864" y="84"/>
                  </a:lnTo>
                  <a:lnTo>
                    <a:pt x="870" y="84"/>
                  </a:lnTo>
                  <a:lnTo>
                    <a:pt x="870" y="90"/>
                  </a:lnTo>
                  <a:lnTo>
                    <a:pt x="876" y="90"/>
                  </a:lnTo>
                  <a:lnTo>
                    <a:pt x="876" y="96"/>
                  </a:lnTo>
                  <a:lnTo>
                    <a:pt x="876" y="102"/>
                  </a:lnTo>
                  <a:lnTo>
                    <a:pt x="876" y="108"/>
                  </a:lnTo>
                  <a:lnTo>
                    <a:pt x="870" y="114"/>
                  </a:lnTo>
                  <a:lnTo>
                    <a:pt x="864" y="114"/>
                  </a:lnTo>
                  <a:lnTo>
                    <a:pt x="864" y="120"/>
                  </a:lnTo>
                  <a:lnTo>
                    <a:pt x="864" y="126"/>
                  </a:lnTo>
                  <a:lnTo>
                    <a:pt x="864" y="132"/>
                  </a:lnTo>
                  <a:lnTo>
                    <a:pt x="864" y="138"/>
                  </a:lnTo>
                  <a:lnTo>
                    <a:pt x="864" y="144"/>
                  </a:lnTo>
                  <a:lnTo>
                    <a:pt x="870" y="144"/>
                  </a:lnTo>
                  <a:lnTo>
                    <a:pt x="870" y="150"/>
                  </a:lnTo>
                  <a:lnTo>
                    <a:pt x="870" y="156"/>
                  </a:lnTo>
                  <a:lnTo>
                    <a:pt x="870" y="162"/>
                  </a:lnTo>
                  <a:lnTo>
                    <a:pt x="870" y="168"/>
                  </a:lnTo>
                  <a:lnTo>
                    <a:pt x="870" y="174"/>
                  </a:lnTo>
                  <a:lnTo>
                    <a:pt x="864" y="174"/>
                  </a:lnTo>
                  <a:lnTo>
                    <a:pt x="864" y="180"/>
                  </a:lnTo>
                  <a:lnTo>
                    <a:pt x="864" y="186"/>
                  </a:lnTo>
                  <a:lnTo>
                    <a:pt x="858" y="186"/>
                  </a:lnTo>
                  <a:lnTo>
                    <a:pt x="858" y="192"/>
                  </a:lnTo>
                  <a:lnTo>
                    <a:pt x="852" y="198"/>
                  </a:lnTo>
                  <a:lnTo>
                    <a:pt x="858" y="204"/>
                  </a:lnTo>
                  <a:lnTo>
                    <a:pt x="858" y="210"/>
                  </a:lnTo>
                  <a:lnTo>
                    <a:pt x="858" y="216"/>
                  </a:lnTo>
                  <a:lnTo>
                    <a:pt x="858" y="222"/>
                  </a:lnTo>
                  <a:lnTo>
                    <a:pt x="864" y="228"/>
                  </a:lnTo>
                  <a:lnTo>
                    <a:pt x="864" y="234"/>
                  </a:lnTo>
                  <a:lnTo>
                    <a:pt x="864" y="240"/>
                  </a:lnTo>
                  <a:lnTo>
                    <a:pt x="864" y="246"/>
                  </a:lnTo>
                  <a:lnTo>
                    <a:pt x="870" y="252"/>
                  </a:lnTo>
                  <a:lnTo>
                    <a:pt x="870" y="258"/>
                  </a:lnTo>
                  <a:lnTo>
                    <a:pt x="870" y="264"/>
                  </a:lnTo>
                  <a:lnTo>
                    <a:pt x="870" y="270"/>
                  </a:lnTo>
                  <a:lnTo>
                    <a:pt x="870" y="276"/>
                  </a:lnTo>
                  <a:lnTo>
                    <a:pt x="870" y="282"/>
                  </a:lnTo>
                  <a:lnTo>
                    <a:pt x="870" y="288"/>
                  </a:lnTo>
                  <a:lnTo>
                    <a:pt x="870" y="294"/>
                  </a:lnTo>
                  <a:lnTo>
                    <a:pt x="870" y="300"/>
                  </a:lnTo>
                  <a:lnTo>
                    <a:pt x="870" y="306"/>
                  </a:lnTo>
                  <a:lnTo>
                    <a:pt x="870" y="312"/>
                  </a:lnTo>
                  <a:lnTo>
                    <a:pt x="870" y="318"/>
                  </a:lnTo>
                  <a:lnTo>
                    <a:pt x="870" y="324"/>
                  </a:lnTo>
                  <a:lnTo>
                    <a:pt x="870" y="330"/>
                  </a:lnTo>
                  <a:lnTo>
                    <a:pt x="870" y="336"/>
                  </a:lnTo>
                  <a:lnTo>
                    <a:pt x="870" y="360"/>
                  </a:lnTo>
                  <a:lnTo>
                    <a:pt x="870" y="708"/>
                  </a:lnTo>
                  <a:lnTo>
                    <a:pt x="870" y="822"/>
                  </a:lnTo>
                  <a:lnTo>
                    <a:pt x="816" y="822"/>
                  </a:lnTo>
                  <a:lnTo>
                    <a:pt x="816" y="828"/>
                  </a:lnTo>
                  <a:lnTo>
                    <a:pt x="816" y="834"/>
                  </a:lnTo>
                  <a:lnTo>
                    <a:pt x="816" y="840"/>
                  </a:lnTo>
                  <a:lnTo>
                    <a:pt x="816" y="846"/>
                  </a:lnTo>
                  <a:lnTo>
                    <a:pt x="816" y="852"/>
                  </a:lnTo>
                  <a:lnTo>
                    <a:pt x="534" y="702"/>
                  </a:lnTo>
                  <a:lnTo>
                    <a:pt x="516" y="696"/>
                  </a:lnTo>
                  <a:lnTo>
                    <a:pt x="516" y="690"/>
                  </a:lnTo>
                  <a:lnTo>
                    <a:pt x="510" y="690"/>
                  </a:lnTo>
                  <a:lnTo>
                    <a:pt x="504" y="684"/>
                  </a:lnTo>
                  <a:lnTo>
                    <a:pt x="498" y="684"/>
                  </a:lnTo>
                  <a:lnTo>
                    <a:pt x="492" y="684"/>
                  </a:lnTo>
                  <a:lnTo>
                    <a:pt x="492" y="678"/>
                  </a:lnTo>
                  <a:lnTo>
                    <a:pt x="486" y="678"/>
                  </a:lnTo>
                  <a:lnTo>
                    <a:pt x="480" y="678"/>
                  </a:lnTo>
                  <a:lnTo>
                    <a:pt x="480" y="672"/>
                  </a:lnTo>
                  <a:lnTo>
                    <a:pt x="474" y="672"/>
                  </a:lnTo>
                  <a:lnTo>
                    <a:pt x="468" y="666"/>
                  </a:lnTo>
                  <a:lnTo>
                    <a:pt x="462" y="666"/>
                  </a:lnTo>
                  <a:lnTo>
                    <a:pt x="456" y="660"/>
                  </a:lnTo>
                  <a:lnTo>
                    <a:pt x="450" y="660"/>
                  </a:lnTo>
                  <a:lnTo>
                    <a:pt x="444" y="654"/>
                  </a:lnTo>
                  <a:lnTo>
                    <a:pt x="438" y="654"/>
                  </a:lnTo>
                  <a:lnTo>
                    <a:pt x="432" y="648"/>
                  </a:lnTo>
                  <a:lnTo>
                    <a:pt x="426" y="648"/>
                  </a:lnTo>
                  <a:lnTo>
                    <a:pt x="420" y="642"/>
                  </a:lnTo>
                  <a:lnTo>
                    <a:pt x="414" y="642"/>
                  </a:lnTo>
                  <a:lnTo>
                    <a:pt x="408" y="636"/>
                  </a:lnTo>
                  <a:lnTo>
                    <a:pt x="402" y="636"/>
                  </a:lnTo>
                  <a:lnTo>
                    <a:pt x="396" y="630"/>
                  </a:lnTo>
                  <a:lnTo>
                    <a:pt x="390" y="630"/>
                  </a:lnTo>
                  <a:lnTo>
                    <a:pt x="384" y="624"/>
                  </a:lnTo>
                  <a:lnTo>
                    <a:pt x="378" y="624"/>
                  </a:lnTo>
                  <a:lnTo>
                    <a:pt x="372" y="618"/>
                  </a:lnTo>
                  <a:lnTo>
                    <a:pt x="366" y="618"/>
                  </a:lnTo>
                  <a:lnTo>
                    <a:pt x="360" y="624"/>
                  </a:lnTo>
                  <a:lnTo>
                    <a:pt x="354" y="624"/>
                  </a:lnTo>
                  <a:lnTo>
                    <a:pt x="348" y="624"/>
                  </a:lnTo>
                  <a:lnTo>
                    <a:pt x="348" y="630"/>
                  </a:lnTo>
                  <a:lnTo>
                    <a:pt x="342" y="630"/>
                  </a:lnTo>
                  <a:lnTo>
                    <a:pt x="336" y="630"/>
                  </a:lnTo>
                  <a:lnTo>
                    <a:pt x="336" y="636"/>
                  </a:lnTo>
                  <a:lnTo>
                    <a:pt x="330" y="636"/>
                  </a:lnTo>
                  <a:lnTo>
                    <a:pt x="324" y="636"/>
                  </a:lnTo>
                  <a:lnTo>
                    <a:pt x="324" y="642"/>
                  </a:lnTo>
                  <a:lnTo>
                    <a:pt x="318" y="642"/>
                  </a:lnTo>
                  <a:lnTo>
                    <a:pt x="312" y="642"/>
                  </a:lnTo>
                  <a:lnTo>
                    <a:pt x="270" y="666"/>
                  </a:lnTo>
                  <a:lnTo>
                    <a:pt x="264" y="666"/>
                  </a:lnTo>
                  <a:lnTo>
                    <a:pt x="264" y="660"/>
                  </a:lnTo>
                  <a:lnTo>
                    <a:pt x="258" y="660"/>
                  </a:lnTo>
                  <a:lnTo>
                    <a:pt x="258" y="654"/>
                  </a:lnTo>
                  <a:lnTo>
                    <a:pt x="252" y="654"/>
                  </a:lnTo>
                  <a:lnTo>
                    <a:pt x="252" y="648"/>
                  </a:lnTo>
                  <a:lnTo>
                    <a:pt x="246" y="648"/>
                  </a:lnTo>
                  <a:lnTo>
                    <a:pt x="246" y="642"/>
                  </a:lnTo>
                  <a:lnTo>
                    <a:pt x="240" y="642"/>
                  </a:lnTo>
                  <a:lnTo>
                    <a:pt x="240" y="636"/>
                  </a:lnTo>
                  <a:lnTo>
                    <a:pt x="234" y="636"/>
                  </a:lnTo>
                  <a:lnTo>
                    <a:pt x="228" y="636"/>
                  </a:lnTo>
                  <a:lnTo>
                    <a:pt x="228" y="630"/>
                  </a:lnTo>
                  <a:lnTo>
                    <a:pt x="222" y="630"/>
                  </a:lnTo>
                  <a:lnTo>
                    <a:pt x="216" y="630"/>
                  </a:lnTo>
                  <a:lnTo>
                    <a:pt x="210" y="630"/>
                  </a:lnTo>
                  <a:lnTo>
                    <a:pt x="204" y="630"/>
                  </a:lnTo>
                  <a:lnTo>
                    <a:pt x="198" y="624"/>
                  </a:lnTo>
                  <a:lnTo>
                    <a:pt x="192" y="624"/>
                  </a:lnTo>
                  <a:lnTo>
                    <a:pt x="186" y="624"/>
                  </a:lnTo>
                  <a:lnTo>
                    <a:pt x="180" y="624"/>
                  </a:lnTo>
                  <a:lnTo>
                    <a:pt x="174" y="618"/>
                  </a:lnTo>
                  <a:lnTo>
                    <a:pt x="168" y="618"/>
                  </a:lnTo>
                  <a:lnTo>
                    <a:pt x="162" y="618"/>
                  </a:lnTo>
                  <a:lnTo>
                    <a:pt x="156" y="618"/>
                  </a:lnTo>
                  <a:lnTo>
                    <a:pt x="150" y="618"/>
                  </a:lnTo>
                  <a:lnTo>
                    <a:pt x="144" y="612"/>
                  </a:lnTo>
                  <a:lnTo>
                    <a:pt x="144" y="606"/>
                  </a:lnTo>
                  <a:lnTo>
                    <a:pt x="138" y="606"/>
                  </a:lnTo>
                  <a:lnTo>
                    <a:pt x="138" y="600"/>
                  </a:lnTo>
                  <a:lnTo>
                    <a:pt x="138" y="594"/>
                  </a:lnTo>
                  <a:lnTo>
                    <a:pt x="132" y="594"/>
                  </a:lnTo>
                  <a:lnTo>
                    <a:pt x="132" y="588"/>
                  </a:lnTo>
                  <a:lnTo>
                    <a:pt x="132" y="582"/>
                  </a:lnTo>
                  <a:lnTo>
                    <a:pt x="126" y="576"/>
                  </a:lnTo>
                  <a:lnTo>
                    <a:pt x="126" y="570"/>
                  </a:lnTo>
                  <a:lnTo>
                    <a:pt x="120" y="570"/>
                  </a:lnTo>
                  <a:lnTo>
                    <a:pt x="114" y="570"/>
                  </a:lnTo>
                  <a:lnTo>
                    <a:pt x="108" y="570"/>
                  </a:lnTo>
                  <a:lnTo>
                    <a:pt x="102" y="564"/>
                  </a:lnTo>
                  <a:lnTo>
                    <a:pt x="96" y="558"/>
                  </a:lnTo>
                  <a:lnTo>
                    <a:pt x="90" y="558"/>
                  </a:lnTo>
                  <a:lnTo>
                    <a:pt x="84" y="552"/>
                  </a:lnTo>
                  <a:lnTo>
                    <a:pt x="78" y="552"/>
                  </a:lnTo>
                  <a:lnTo>
                    <a:pt x="72" y="552"/>
                  </a:lnTo>
                  <a:lnTo>
                    <a:pt x="66" y="552"/>
                  </a:lnTo>
                  <a:lnTo>
                    <a:pt x="60" y="552"/>
                  </a:lnTo>
                  <a:lnTo>
                    <a:pt x="54" y="552"/>
                  </a:lnTo>
                  <a:lnTo>
                    <a:pt x="48" y="552"/>
                  </a:lnTo>
                  <a:lnTo>
                    <a:pt x="48" y="546"/>
                  </a:lnTo>
                  <a:lnTo>
                    <a:pt x="48" y="540"/>
                  </a:lnTo>
                  <a:lnTo>
                    <a:pt x="48" y="534"/>
                  </a:lnTo>
                  <a:lnTo>
                    <a:pt x="42" y="534"/>
                  </a:lnTo>
                  <a:lnTo>
                    <a:pt x="36" y="534"/>
                  </a:lnTo>
                  <a:lnTo>
                    <a:pt x="36" y="528"/>
                  </a:lnTo>
                  <a:lnTo>
                    <a:pt x="36" y="522"/>
                  </a:lnTo>
                  <a:lnTo>
                    <a:pt x="36" y="516"/>
                  </a:lnTo>
                  <a:lnTo>
                    <a:pt x="36" y="510"/>
                  </a:lnTo>
                  <a:lnTo>
                    <a:pt x="36" y="504"/>
                  </a:lnTo>
                  <a:lnTo>
                    <a:pt x="36" y="498"/>
                  </a:lnTo>
                  <a:lnTo>
                    <a:pt x="30" y="498"/>
                  </a:lnTo>
                  <a:lnTo>
                    <a:pt x="30" y="492"/>
                  </a:lnTo>
                  <a:lnTo>
                    <a:pt x="30" y="486"/>
                  </a:lnTo>
                  <a:lnTo>
                    <a:pt x="24" y="486"/>
                  </a:lnTo>
                  <a:lnTo>
                    <a:pt x="24" y="480"/>
                  </a:lnTo>
                  <a:lnTo>
                    <a:pt x="18" y="474"/>
                  </a:lnTo>
                  <a:lnTo>
                    <a:pt x="12" y="468"/>
                  </a:lnTo>
                  <a:lnTo>
                    <a:pt x="12" y="462"/>
                  </a:lnTo>
                  <a:lnTo>
                    <a:pt x="6" y="462"/>
                  </a:lnTo>
                  <a:lnTo>
                    <a:pt x="6" y="456"/>
                  </a:lnTo>
                  <a:lnTo>
                    <a:pt x="0" y="450"/>
                  </a:lnTo>
                  <a:lnTo>
                    <a:pt x="6" y="444"/>
                  </a:lnTo>
                  <a:lnTo>
                    <a:pt x="6" y="438"/>
                  </a:lnTo>
                  <a:lnTo>
                    <a:pt x="12" y="438"/>
                  </a:lnTo>
                  <a:lnTo>
                    <a:pt x="18" y="432"/>
                  </a:lnTo>
                  <a:lnTo>
                    <a:pt x="24" y="432"/>
                  </a:lnTo>
                  <a:lnTo>
                    <a:pt x="30" y="432"/>
                  </a:lnTo>
                  <a:lnTo>
                    <a:pt x="30" y="426"/>
                  </a:lnTo>
                  <a:lnTo>
                    <a:pt x="30" y="420"/>
                  </a:lnTo>
                  <a:lnTo>
                    <a:pt x="30" y="414"/>
                  </a:lnTo>
                  <a:lnTo>
                    <a:pt x="30" y="408"/>
                  </a:lnTo>
                  <a:lnTo>
                    <a:pt x="30" y="402"/>
                  </a:lnTo>
                  <a:lnTo>
                    <a:pt x="24" y="402"/>
                  </a:lnTo>
                  <a:lnTo>
                    <a:pt x="24" y="396"/>
                  </a:lnTo>
                  <a:lnTo>
                    <a:pt x="24" y="390"/>
                  </a:lnTo>
                  <a:lnTo>
                    <a:pt x="24" y="384"/>
                  </a:lnTo>
                  <a:lnTo>
                    <a:pt x="24" y="378"/>
                  </a:lnTo>
                  <a:lnTo>
                    <a:pt x="24" y="372"/>
                  </a:lnTo>
                  <a:lnTo>
                    <a:pt x="24" y="366"/>
                  </a:lnTo>
                  <a:lnTo>
                    <a:pt x="30" y="366"/>
                  </a:lnTo>
                  <a:lnTo>
                    <a:pt x="24" y="366"/>
                  </a:lnTo>
                  <a:lnTo>
                    <a:pt x="24" y="360"/>
                  </a:lnTo>
                  <a:lnTo>
                    <a:pt x="30" y="360"/>
                  </a:lnTo>
                  <a:lnTo>
                    <a:pt x="30" y="354"/>
                  </a:lnTo>
                  <a:lnTo>
                    <a:pt x="30" y="348"/>
                  </a:lnTo>
                  <a:lnTo>
                    <a:pt x="30" y="342"/>
                  </a:lnTo>
                  <a:lnTo>
                    <a:pt x="30" y="336"/>
                  </a:lnTo>
                  <a:lnTo>
                    <a:pt x="30" y="330"/>
                  </a:lnTo>
                  <a:lnTo>
                    <a:pt x="24" y="318"/>
                  </a:lnTo>
                  <a:lnTo>
                    <a:pt x="24" y="312"/>
                  </a:lnTo>
                  <a:lnTo>
                    <a:pt x="30" y="306"/>
                  </a:lnTo>
                  <a:lnTo>
                    <a:pt x="30" y="300"/>
                  </a:lnTo>
                  <a:lnTo>
                    <a:pt x="30" y="294"/>
                  </a:lnTo>
                  <a:lnTo>
                    <a:pt x="30" y="288"/>
                  </a:lnTo>
                  <a:lnTo>
                    <a:pt x="30" y="282"/>
                  </a:lnTo>
                  <a:lnTo>
                    <a:pt x="30" y="276"/>
                  </a:lnTo>
                  <a:lnTo>
                    <a:pt x="30" y="270"/>
                  </a:lnTo>
                  <a:lnTo>
                    <a:pt x="30" y="264"/>
                  </a:lnTo>
                  <a:lnTo>
                    <a:pt x="24" y="264"/>
                  </a:lnTo>
                  <a:lnTo>
                    <a:pt x="24" y="258"/>
                  </a:lnTo>
                  <a:lnTo>
                    <a:pt x="24" y="246"/>
                  </a:lnTo>
                  <a:lnTo>
                    <a:pt x="24" y="240"/>
                  </a:lnTo>
                  <a:lnTo>
                    <a:pt x="18" y="240"/>
                  </a:lnTo>
                  <a:lnTo>
                    <a:pt x="18" y="234"/>
                  </a:lnTo>
                  <a:lnTo>
                    <a:pt x="18" y="228"/>
                  </a:lnTo>
                  <a:lnTo>
                    <a:pt x="12" y="228"/>
                  </a:lnTo>
                  <a:lnTo>
                    <a:pt x="12" y="222"/>
                  </a:lnTo>
                  <a:lnTo>
                    <a:pt x="12" y="216"/>
                  </a:lnTo>
                  <a:lnTo>
                    <a:pt x="6" y="210"/>
                  </a:lnTo>
                  <a:lnTo>
                    <a:pt x="0" y="204"/>
                  </a:lnTo>
                  <a:lnTo>
                    <a:pt x="0" y="198"/>
                  </a:lnTo>
                  <a:lnTo>
                    <a:pt x="6" y="198"/>
                  </a:lnTo>
                  <a:lnTo>
                    <a:pt x="6" y="192"/>
                  </a:lnTo>
                  <a:lnTo>
                    <a:pt x="12" y="19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5" name="Freeform 37"/>
            <p:cNvSpPr>
              <a:spLocks/>
            </p:cNvSpPr>
            <p:nvPr>
              <p:custDataLst>
                <p:tags r:id="rId88"/>
              </p:custDataLst>
            </p:nvPr>
          </p:nvSpPr>
          <p:spPr bwMode="gray">
            <a:xfrm>
              <a:off x="2590800" y="836613"/>
              <a:ext cx="1423988" cy="1430338"/>
            </a:xfrm>
            <a:custGeom>
              <a:avLst/>
              <a:gdLst>
                <a:gd name="T0" fmla="*/ 236248 w 1146"/>
                <a:gd name="T1" fmla="*/ 407828 h 1152"/>
                <a:gd name="T2" fmla="*/ 229443 w 1146"/>
                <a:gd name="T3" fmla="*/ 389379 h 1152"/>
                <a:gd name="T4" fmla="*/ 208054 w 1146"/>
                <a:gd name="T5" fmla="*/ 382582 h 1152"/>
                <a:gd name="T6" fmla="*/ 195415 w 1146"/>
                <a:gd name="T7" fmla="*/ 372872 h 1152"/>
                <a:gd name="T8" fmla="*/ 177915 w 1146"/>
                <a:gd name="T9" fmla="*/ 353452 h 1152"/>
                <a:gd name="T10" fmla="*/ 161387 w 1146"/>
                <a:gd name="T11" fmla="*/ 339857 h 1152"/>
                <a:gd name="T12" fmla="*/ 141944 w 1146"/>
                <a:gd name="T13" fmla="*/ 327234 h 1152"/>
                <a:gd name="T14" fmla="*/ 122499 w 1146"/>
                <a:gd name="T15" fmla="*/ 314611 h 1152"/>
                <a:gd name="T16" fmla="*/ 103055 w 1146"/>
                <a:gd name="T17" fmla="*/ 299074 h 1152"/>
                <a:gd name="T18" fmla="*/ 79722 w 1146"/>
                <a:gd name="T19" fmla="*/ 284509 h 1152"/>
                <a:gd name="T20" fmla="*/ 57361 w 1146"/>
                <a:gd name="T21" fmla="*/ 267031 h 1152"/>
                <a:gd name="T22" fmla="*/ 28194 w 1146"/>
                <a:gd name="T23" fmla="*/ 248581 h 1152"/>
                <a:gd name="T24" fmla="*/ 0 w 1146"/>
                <a:gd name="T25" fmla="*/ 231103 h 1152"/>
                <a:gd name="T26" fmla="*/ 12639 w 1146"/>
                <a:gd name="T27" fmla="*/ 188378 h 1152"/>
                <a:gd name="T28" fmla="*/ 30139 w 1146"/>
                <a:gd name="T29" fmla="*/ 177696 h 1152"/>
                <a:gd name="T30" fmla="*/ 56388 w 1146"/>
                <a:gd name="T31" fmla="*/ 172842 h 1152"/>
                <a:gd name="T32" fmla="*/ 72916 w 1146"/>
                <a:gd name="T33" fmla="*/ 160218 h 1152"/>
                <a:gd name="T34" fmla="*/ 90416 w 1146"/>
                <a:gd name="T35" fmla="*/ 149537 h 1152"/>
                <a:gd name="T36" fmla="*/ 96249 w 1146"/>
                <a:gd name="T37" fmla="*/ 138856 h 1152"/>
                <a:gd name="T38" fmla="*/ 113749 w 1146"/>
                <a:gd name="T39" fmla="*/ 128175 h 1152"/>
                <a:gd name="T40" fmla="*/ 128332 w 1146"/>
                <a:gd name="T41" fmla="*/ 117494 h 1152"/>
                <a:gd name="T42" fmla="*/ 147776 w 1146"/>
                <a:gd name="T43" fmla="*/ 115552 h 1152"/>
                <a:gd name="T44" fmla="*/ 143888 w 1146"/>
                <a:gd name="T45" fmla="*/ 102928 h 1152"/>
                <a:gd name="T46" fmla="*/ 137082 w 1146"/>
                <a:gd name="T47" fmla="*/ 79624 h 1152"/>
                <a:gd name="T48" fmla="*/ 131249 w 1146"/>
                <a:gd name="T49" fmla="*/ 53406 h 1152"/>
                <a:gd name="T50" fmla="*/ 143888 w 1146"/>
                <a:gd name="T51" fmla="*/ 42725 h 1152"/>
                <a:gd name="T52" fmla="*/ 158471 w 1146"/>
                <a:gd name="T53" fmla="*/ 33985 h 1152"/>
                <a:gd name="T54" fmla="*/ 177915 w 1146"/>
                <a:gd name="T55" fmla="*/ 23305 h 1152"/>
                <a:gd name="T56" fmla="*/ 197360 w 1146"/>
                <a:gd name="T57" fmla="*/ 14565 h 1152"/>
                <a:gd name="T58" fmla="*/ 218748 w 1146"/>
                <a:gd name="T59" fmla="*/ 12623 h 1152"/>
                <a:gd name="T60" fmla="*/ 236248 w 1146"/>
                <a:gd name="T61" fmla="*/ 6797 h 1152"/>
                <a:gd name="T62" fmla="*/ 255693 w 1146"/>
                <a:gd name="T63" fmla="*/ 3884 h 1152"/>
                <a:gd name="T64" fmla="*/ 275136 w 1146"/>
                <a:gd name="T65" fmla="*/ 10681 h 1152"/>
                <a:gd name="T66" fmla="*/ 295553 w 1146"/>
                <a:gd name="T67" fmla="*/ 3884 h 1152"/>
                <a:gd name="T68" fmla="*/ 313053 w 1146"/>
                <a:gd name="T69" fmla="*/ 3884 h 1152"/>
                <a:gd name="T70" fmla="*/ 330553 w 1146"/>
                <a:gd name="T71" fmla="*/ 6797 h 1152"/>
                <a:gd name="T72" fmla="*/ 341247 w 1146"/>
                <a:gd name="T73" fmla="*/ 8739 h 1152"/>
                <a:gd name="T74" fmla="*/ 336386 w 1146"/>
                <a:gd name="T75" fmla="*/ 19421 h 1152"/>
                <a:gd name="T76" fmla="*/ 339303 w 1146"/>
                <a:gd name="T77" fmla="*/ 37870 h 1152"/>
                <a:gd name="T78" fmla="*/ 336386 w 1146"/>
                <a:gd name="T79" fmla="*/ 56320 h 1152"/>
                <a:gd name="T80" fmla="*/ 323747 w 1146"/>
                <a:gd name="T81" fmla="*/ 72827 h 1152"/>
                <a:gd name="T82" fmla="*/ 332497 w 1146"/>
                <a:gd name="T83" fmla="*/ 96131 h 1152"/>
                <a:gd name="T84" fmla="*/ 353886 w 1146"/>
                <a:gd name="T85" fmla="*/ 121378 h 1152"/>
                <a:gd name="T86" fmla="*/ 360692 w 1146"/>
                <a:gd name="T87" fmla="*/ 151479 h 1152"/>
                <a:gd name="T88" fmla="*/ 362636 w 1146"/>
                <a:gd name="T89" fmla="*/ 175754 h 1152"/>
                <a:gd name="T90" fmla="*/ 369441 w 1146"/>
                <a:gd name="T91" fmla="*/ 199059 h 1152"/>
                <a:gd name="T92" fmla="*/ 369441 w 1146"/>
                <a:gd name="T93" fmla="*/ 224306 h 1152"/>
                <a:gd name="T94" fmla="*/ 369441 w 1146"/>
                <a:gd name="T95" fmla="*/ 248581 h 1152"/>
                <a:gd name="T96" fmla="*/ 366525 w 1146"/>
                <a:gd name="T97" fmla="*/ 267031 h 1152"/>
                <a:gd name="T98" fmla="*/ 375275 w 1146"/>
                <a:gd name="T99" fmla="*/ 286451 h 1152"/>
                <a:gd name="T100" fmla="*/ 399580 w 1146"/>
                <a:gd name="T101" fmla="*/ 297132 h 1152"/>
                <a:gd name="T102" fmla="*/ 407358 w 1146"/>
                <a:gd name="T103" fmla="*/ 314611 h 1152"/>
                <a:gd name="T104" fmla="*/ 385969 w 1146"/>
                <a:gd name="T105" fmla="*/ 327234 h 1152"/>
                <a:gd name="T106" fmla="*/ 366525 w 1146"/>
                <a:gd name="T107" fmla="*/ 339857 h 1152"/>
                <a:gd name="T108" fmla="*/ 345136 w 1146"/>
                <a:gd name="T109" fmla="*/ 353452 h 1152"/>
                <a:gd name="T110" fmla="*/ 328609 w 1146"/>
                <a:gd name="T111" fmla="*/ 366075 h 1152"/>
                <a:gd name="T112" fmla="*/ 309164 w 1146"/>
                <a:gd name="T113" fmla="*/ 380640 h 1152"/>
                <a:gd name="T114" fmla="*/ 289720 w 1146"/>
                <a:gd name="T115" fmla="*/ 398118 h 1152"/>
                <a:gd name="T116" fmla="*/ 261526 w 1146"/>
                <a:gd name="T117" fmla="*/ 403944 h 11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152">
                  <a:moveTo>
                    <a:pt x="714" y="1140"/>
                  </a:moveTo>
                  <a:lnTo>
                    <a:pt x="708" y="1140"/>
                  </a:lnTo>
                  <a:lnTo>
                    <a:pt x="702" y="1140"/>
                  </a:lnTo>
                  <a:lnTo>
                    <a:pt x="702" y="1146"/>
                  </a:lnTo>
                  <a:lnTo>
                    <a:pt x="696" y="1146"/>
                  </a:lnTo>
                  <a:lnTo>
                    <a:pt x="690" y="1146"/>
                  </a:lnTo>
                  <a:lnTo>
                    <a:pt x="684" y="1146"/>
                  </a:lnTo>
                  <a:lnTo>
                    <a:pt x="678" y="1146"/>
                  </a:lnTo>
                  <a:lnTo>
                    <a:pt x="672" y="1146"/>
                  </a:lnTo>
                  <a:lnTo>
                    <a:pt x="672" y="1152"/>
                  </a:lnTo>
                  <a:lnTo>
                    <a:pt x="666" y="1152"/>
                  </a:lnTo>
                  <a:lnTo>
                    <a:pt x="666" y="1146"/>
                  </a:lnTo>
                  <a:lnTo>
                    <a:pt x="660" y="1146"/>
                  </a:lnTo>
                  <a:lnTo>
                    <a:pt x="654" y="1140"/>
                  </a:lnTo>
                  <a:lnTo>
                    <a:pt x="654" y="1134"/>
                  </a:lnTo>
                  <a:lnTo>
                    <a:pt x="660" y="1134"/>
                  </a:lnTo>
                  <a:lnTo>
                    <a:pt x="660" y="1128"/>
                  </a:lnTo>
                  <a:lnTo>
                    <a:pt x="660" y="1122"/>
                  </a:lnTo>
                  <a:lnTo>
                    <a:pt x="660" y="1116"/>
                  </a:lnTo>
                  <a:lnTo>
                    <a:pt x="660" y="1110"/>
                  </a:lnTo>
                  <a:lnTo>
                    <a:pt x="660" y="1104"/>
                  </a:lnTo>
                  <a:lnTo>
                    <a:pt x="660" y="1098"/>
                  </a:lnTo>
                  <a:lnTo>
                    <a:pt x="654" y="1098"/>
                  </a:lnTo>
                  <a:lnTo>
                    <a:pt x="654" y="1092"/>
                  </a:lnTo>
                  <a:lnTo>
                    <a:pt x="648" y="1092"/>
                  </a:lnTo>
                  <a:lnTo>
                    <a:pt x="642" y="1092"/>
                  </a:lnTo>
                  <a:lnTo>
                    <a:pt x="636" y="1092"/>
                  </a:lnTo>
                  <a:lnTo>
                    <a:pt x="636" y="1086"/>
                  </a:lnTo>
                  <a:lnTo>
                    <a:pt x="630" y="1086"/>
                  </a:lnTo>
                  <a:lnTo>
                    <a:pt x="624" y="1086"/>
                  </a:lnTo>
                  <a:lnTo>
                    <a:pt x="618" y="1086"/>
                  </a:lnTo>
                  <a:lnTo>
                    <a:pt x="612" y="1086"/>
                  </a:lnTo>
                  <a:lnTo>
                    <a:pt x="612" y="1080"/>
                  </a:lnTo>
                  <a:lnTo>
                    <a:pt x="612" y="1074"/>
                  </a:lnTo>
                  <a:lnTo>
                    <a:pt x="606" y="1074"/>
                  </a:lnTo>
                  <a:lnTo>
                    <a:pt x="600" y="1074"/>
                  </a:lnTo>
                  <a:lnTo>
                    <a:pt x="594" y="1074"/>
                  </a:lnTo>
                  <a:lnTo>
                    <a:pt x="588" y="1074"/>
                  </a:lnTo>
                  <a:lnTo>
                    <a:pt x="582" y="1074"/>
                  </a:lnTo>
                  <a:lnTo>
                    <a:pt x="582" y="1068"/>
                  </a:lnTo>
                  <a:lnTo>
                    <a:pt x="582" y="1074"/>
                  </a:lnTo>
                  <a:lnTo>
                    <a:pt x="582" y="1068"/>
                  </a:lnTo>
                  <a:lnTo>
                    <a:pt x="576" y="1068"/>
                  </a:lnTo>
                  <a:lnTo>
                    <a:pt x="576" y="1062"/>
                  </a:lnTo>
                  <a:lnTo>
                    <a:pt x="570" y="1062"/>
                  </a:lnTo>
                  <a:lnTo>
                    <a:pt x="570" y="1056"/>
                  </a:lnTo>
                  <a:lnTo>
                    <a:pt x="570" y="1050"/>
                  </a:lnTo>
                  <a:lnTo>
                    <a:pt x="564" y="1050"/>
                  </a:lnTo>
                  <a:lnTo>
                    <a:pt x="558" y="1050"/>
                  </a:lnTo>
                  <a:lnTo>
                    <a:pt x="558" y="1044"/>
                  </a:lnTo>
                  <a:lnTo>
                    <a:pt x="552" y="1044"/>
                  </a:lnTo>
                  <a:lnTo>
                    <a:pt x="546" y="1044"/>
                  </a:lnTo>
                  <a:lnTo>
                    <a:pt x="546" y="1038"/>
                  </a:lnTo>
                  <a:lnTo>
                    <a:pt x="546" y="1032"/>
                  </a:lnTo>
                  <a:lnTo>
                    <a:pt x="546" y="1026"/>
                  </a:lnTo>
                  <a:lnTo>
                    <a:pt x="546" y="1020"/>
                  </a:lnTo>
                  <a:lnTo>
                    <a:pt x="540" y="1020"/>
                  </a:lnTo>
                  <a:lnTo>
                    <a:pt x="534" y="1014"/>
                  </a:lnTo>
                  <a:lnTo>
                    <a:pt x="528" y="1008"/>
                  </a:lnTo>
                  <a:lnTo>
                    <a:pt x="522" y="1008"/>
                  </a:lnTo>
                  <a:lnTo>
                    <a:pt x="516" y="1002"/>
                  </a:lnTo>
                  <a:lnTo>
                    <a:pt x="510" y="1002"/>
                  </a:lnTo>
                  <a:lnTo>
                    <a:pt x="510" y="996"/>
                  </a:lnTo>
                  <a:lnTo>
                    <a:pt x="504" y="996"/>
                  </a:lnTo>
                  <a:lnTo>
                    <a:pt x="498" y="990"/>
                  </a:lnTo>
                  <a:lnTo>
                    <a:pt x="492" y="990"/>
                  </a:lnTo>
                  <a:lnTo>
                    <a:pt x="492" y="984"/>
                  </a:lnTo>
                  <a:lnTo>
                    <a:pt x="486" y="984"/>
                  </a:lnTo>
                  <a:lnTo>
                    <a:pt x="480" y="978"/>
                  </a:lnTo>
                  <a:lnTo>
                    <a:pt x="480" y="972"/>
                  </a:lnTo>
                  <a:lnTo>
                    <a:pt x="474" y="972"/>
                  </a:lnTo>
                  <a:lnTo>
                    <a:pt x="474" y="966"/>
                  </a:lnTo>
                  <a:lnTo>
                    <a:pt x="468" y="966"/>
                  </a:lnTo>
                  <a:lnTo>
                    <a:pt x="462" y="966"/>
                  </a:lnTo>
                  <a:lnTo>
                    <a:pt x="462" y="960"/>
                  </a:lnTo>
                  <a:lnTo>
                    <a:pt x="456" y="960"/>
                  </a:lnTo>
                  <a:lnTo>
                    <a:pt x="456" y="954"/>
                  </a:lnTo>
                  <a:lnTo>
                    <a:pt x="450" y="954"/>
                  </a:lnTo>
                  <a:lnTo>
                    <a:pt x="444" y="954"/>
                  </a:lnTo>
                  <a:lnTo>
                    <a:pt x="444" y="948"/>
                  </a:lnTo>
                  <a:lnTo>
                    <a:pt x="438" y="948"/>
                  </a:lnTo>
                  <a:lnTo>
                    <a:pt x="438" y="942"/>
                  </a:lnTo>
                  <a:lnTo>
                    <a:pt x="432" y="942"/>
                  </a:lnTo>
                  <a:lnTo>
                    <a:pt x="426" y="936"/>
                  </a:lnTo>
                  <a:lnTo>
                    <a:pt x="420" y="936"/>
                  </a:lnTo>
                  <a:lnTo>
                    <a:pt x="420" y="930"/>
                  </a:lnTo>
                  <a:lnTo>
                    <a:pt x="414" y="930"/>
                  </a:lnTo>
                  <a:lnTo>
                    <a:pt x="408" y="924"/>
                  </a:lnTo>
                  <a:lnTo>
                    <a:pt x="402" y="924"/>
                  </a:lnTo>
                  <a:lnTo>
                    <a:pt x="402" y="918"/>
                  </a:lnTo>
                  <a:lnTo>
                    <a:pt x="396" y="918"/>
                  </a:lnTo>
                  <a:lnTo>
                    <a:pt x="390" y="912"/>
                  </a:lnTo>
                  <a:lnTo>
                    <a:pt x="384" y="912"/>
                  </a:lnTo>
                  <a:lnTo>
                    <a:pt x="384" y="906"/>
                  </a:lnTo>
                  <a:lnTo>
                    <a:pt x="378" y="906"/>
                  </a:lnTo>
                  <a:lnTo>
                    <a:pt x="378" y="900"/>
                  </a:lnTo>
                  <a:lnTo>
                    <a:pt x="372" y="900"/>
                  </a:lnTo>
                  <a:lnTo>
                    <a:pt x="366" y="894"/>
                  </a:lnTo>
                  <a:lnTo>
                    <a:pt x="360" y="894"/>
                  </a:lnTo>
                  <a:lnTo>
                    <a:pt x="360" y="888"/>
                  </a:lnTo>
                  <a:lnTo>
                    <a:pt x="354" y="888"/>
                  </a:lnTo>
                  <a:lnTo>
                    <a:pt x="354" y="882"/>
                  </a:lnTo>
                  <a:lnTo>
                    <a:pt x="348" y="882"/>
                  </a:lnTo>
                  <a:lnTo>
                    <a:pt x="342" y="882"/>
                  </a:lnTo>
                  <a:lnTo>
                    <a:pt x="342" y="876"/>
                  </a:lnTo>
                  <a:lnTo>
                    <a:pt x="336" y="876"/>
                  </a:lnTo>
                  <a:lnTo>
                    <a:pt x="336" y="870"/>
                  </a:lnTo>
                  <a:lnTo>
                    <a:pt x="330" y="870"/>
                  </a:lnTo>
                  <a:lnTo>
                    <a:pt x="324" y="864"/>
                  </a:lnTo>
                  <a:lnTo>
                    <a:pt x="318" y="864"/>
                  </a:lnTo>
                  <a:lnTo>
                    <a:pt x="318" y="858"/>
                  </a:lnTo>
                  <a:lnTo>
                    <a:pt x="312" y="858"/>
                  </a:lnTo>
                  <a:lnTo>
                    <a:pt x="306" y="852"/>
                  </a:lnTo>
                  <a:lnTo>
                    <a:pt x="300" y="852"/>
                  </a:lnTo>
                  <a:lnTo>
                    <a:pt x="300" y="846"/>
                  </a:lnTo>
                  <a:lnTo>
                    <a:pt x="294" y="846"/>
                  </a:lnTo>
                  <a:lnTo>
                    <a:pt x="288" y="840"/>
                  </a:lnTo>
                  <a:lnTo>
                    <a:pt x="282" y="840"/>
                  </a:lnTo>
                  <a:lnTo>
                    <a:pt x="282" y="834"/>
                  </a:lnTo>
                  <a:lnTo>
                    <a:pt x="276" y="834"/>
                  </a:lnTo>
                  <a:lnTo>
                    <a:pt x="276" y="828"/>
                  </a:lnTo>
                  <a:lnTo>
                    <a:pt x="270" y="828"/>
                  </a:lnTo>
                  <a:lnTo>
                    <a:pt x="264" y="822"/>
                  </a:lnTo>
                  <a:lnTo>
                    <a:pt x="258" y="822"/>
                  </a:lnTo>
                  <a:lnTo>
                    <a:pt x="252" y="816"/>
                  </a:lnTo>
                  <a:lnTo>
                    <a:pt x="246" y="810"/>
                  </a:lnTo>
                  <a:lnTo>
                    <a:pt x="240" y="810"/>
                  </a:lnTo>
                  <a:lnTo>
                    <a:pt x="234" y="804"/>
                  </a:lnTo>
                  <a:lnTo>
                    <a:pt x="228" y="798"/>
                  </a:lnTo>
                  <a:lnTo>
                    <a:pt x="222" y="798"/>
                  </a:lnTo>
                  <a:lnTo>
                    <a:pt x="222" y="792"/>
                  </a:lnTo>
                  <a:lnTo>
                    <a:pt x="216" y="792"/>
                  </a:lnTo>
                  <a:lnTo>
                    <a:pt x="210" y="786"/>
                  </a:lnTo>
                  <a:lnTo>
                    <a:pt x="204" y="786"/>
                  </a:lnTo>
                  <a:lnTo>
                    <a:pt x="204" y="780"/>
                  </a:lnTo>
                  <a:lnTo>
                    <a:pt x="198" y="780"/>
                  </a:lnTo>
                  <a:lnTo>
                    <a:pt x="192" y="774"/>
                  </a:lnTo>
                  <a:lnTo>
                    <a:pt x="186" y="768"/>
                  </a:lnTo>
                  <a:lnTo>
                    <a:pt x="180" y="768"/>
                  </a:lnTo>
                  <a:lnTo>
                    <a:pt x="180" y="762"/>
                  </a:lnTo>
                  <a:lnTo>
                    <a:pt x="174" y="762"/>
                  </a:lnTo>
                  <a:lnTo>
                    <a:pt x="168" y="756"/>
                  </a:lnTo>
                  <a:lnTo>
                    <a:pt x="162" y="750"/>
                  </a:lnTo>
                  <a:lnTo>
                    <a:pt x="156" y="750"/>
                  </a:lnTo>
                  <a:lnTo>
                    <a:pt x="150" y="744"/>
                  </a:lnTo>
                  <a:lnTo>
                    <a:pt x="144" y="738"/>
                  </a:lnTo>
                  <a:lnTo>
                    <a:pt x="138" y="738"/>
                  </a:lnTo>
                  <a:lnTo>
                    <a:pt x="126" y="732"/>
                  </a:lnTo>
                  <a:lnTo>
                    <a:pt x="126" y="726"/>
                  </a:lnTo>
                  <a:lnTo>
                    <a:pt x="120" y="726"/>
                  </a:lnTo>
                  <a:lnTo>
                    <a:pt x="114" y="720"/>
                  </a:lnTo>
                  <a:lnTo>
                    <a:pt x="108" y="714"/>
                  </a:lnTo>
                  <a:lnTo>
                    <a:pt x="96" y="708"/>
                  </a:lnTo>
                  <a:lnTo>
                    <a:pt x="90" y="702"/>
                  </a:lnTo>
                  <a:lnTo>
                    <a:pt x="84" y="702"/>
                  </a:lnTo>
                  <a:lnTo>
                    <a:pt x="78" y="696"/>
                  </a:lnTo>
                  <a:lnTo>
                    <a:pt x="72" y="690"/>
                  </a:lnTo>
                  <a:lnTo>
                    <a:pt x="66" y="690"/>
                  </a:lnTo>
                  <a:lnTo>
                    <a:pt x="60" y="684"/>
                  </a:lnTo>
                  <a:lnTo>
                    <a:pt x="48" y="678"/>
                  </a:lnTo>
                  <a:lnTo>
                    <a:pt x="42" y="672"/>
                  </a:lnTo>
                  <a:lnTo>
                    <a:pt x="36" y="672"/>
                  </a:lnTo>
                  <a:lnTo>
                    <a:pt x="30" y="666"/>
                  </a:lnTo>
                  <a:lnTo>
                    <a:pt x="24" y="660"/>
                  </a:lnTo>
                  <a:lnTo>
                    <a:pt x="18" y="660"/>
                  </a:lnTo>
                  <a:lnTo>
                    <a:pt x="18" y="654"/>
                  </a:lnTo>
                  <a:lnTo>
                    <a:pt x="12" y="654"/>
                  </a:lnTo>
                  <a:lnTo>
                    <a:pt x="6" y="648"/>
                  </a:lnTo>
                  <a:lnTo>
                    <a:pt x="0" y="648"/>
                  </a:lnTo>
                  <a:lnTo>
                    <a:pt x="0" y="618"/>
                  </a:lnTo>
                  <a:lnTo>
                    <a:pt x="0" y="582"/>
                  </a:lnTo>
                  <a:lnTo>
                    <a:pt x="0" y="576"/>
                  </a:lnTo>
                  <a:lnTo>
                    <a:pt x="0" y="564"/>
                  </a:lnTo>
                  <a:lnTo>
                    <a:pt x="0" y="558"/>
                  </a:lnTo>
                  <a:lnTo>
                    <a:pt x="0" y="552"/>
                  </a:lnTo>
                  <a:lnTo>
                    <a:pt x="6" y="552"/>
                  </a:lnTo>
                  <a:lnTo>
                    <a:pt x="6" y="546"/>
                  </a:lnTo>
                  <a:lnTo>
                    <a:pt x="12" y="546"/>
                  </a:lnTo>
                  <a:lnTo>
                    <a:pt x="18" y="540"/>
                  </a:lnTo>
                  <a:lnTo>
                    <a:pt x="24" y="534"/>
                  </a:lnTo>
                  <a:lnTo>
                    <a:pt x="30" y="534"/>
                  </a:lnTo>
                  <a:lnTo>
                    <a:pt x="36" y="528"/>
                  </a:lnTo>
                  <a:lnTo>
                    <a:pt x="42" y="528"/>
                  </a:lnTo>
                  <a:lnTo>
                    <a:pt x="42" y="522"/>
                  </a:lnTo>
                  <a:lnTo>
                    <a:pt x="48" y="522"/>
                  </a:lnTo>
                  <a:lnTo>
                    <a:pt x="48" y="516"/>
                  </a:lnTo>
                  <a:lnTo>
                    <a:pt x="54" y="516"/>
                  </a:lnTo>
                  <a:lnTo>
                    <a:pt x="60" y="510"/>
                  </a:lnTo>
                  <a:lnTo>
                    <a:pt x="66" y="516"/>
                  </a:lnTo>
                  <a:lnTo>
                    <a:pt x="66" y="510"/>
                  </a:lnTo>
                  <a:lnTo>
                    <a:pt x="72" y="510"/>
                  </a:lnTo>
                  <a:lnTo>
                    <a:pt x="72" y="504"/>
                  </a:lnTo>
                  <a:lnTo>
                    <a:pt x="78" y="504"/>
                  </a:lnTo>
                  <a:lnTo>
                    <a:pt x="78" y="498"/>
                  </a:lnTo>
                  <a:lnTo>
                    <a:pt x="84" y="498"/>
                  </a:lnTo>
                  <a:lnTo>
                    <a:pt x="90" y="498"/>
                  </a:lnTo>
                  <a:lnTo>
                    <a:pt x="96" y="498"/>
                  </a:lnTo>
                  <a:lnTo>
                    <a:pt x="102" y="498"/>
                  </a:lnTo>
                  <a:lnTo>
                    <a:pt x="108" y="498"/>
                  </a:lnTo>
                  <a:lnTo>
                    <a:pt x="114" y="498"/>
                  </a:lnTo>
                  <a:lnTo>
                    <a:pt x="120" y="498"/>
                  </a:lnTo>
                  <a:lnTo>
                    <a:pt x="120" y="492"/>
                  </a:lnTo>
                  <a:lnTo>
                    <a:pt x="126" y="492"/>
                  </a:lnTo>
                  <a:lnTo>
                    <a:pt x="132" y="492"/>
                  </a:lnTo>
                  <a:lnTo>
                    <a:pt x="138" y="492"/>
                  </a:lnTo>
                  <a:lnTo>
                    <a:pt x="144" y="492"/>
                  </a:lnTo>
                  <a:lnTo>
                    <a:pt x="150" y="486"/>
                  </a:lnTo>
                  <a:lnTo>
                    <a:pt x="156" y="486"/>
                  </a:lnTo>
                  <a:lnTo>
                    <a:pt x="162" y="486"/>
                  </a:lnTo>
                  <a:lnTo>
                    <a:pt x="168" y="486"/>
                  </a:lnTo>
                  <a:lnTo>
                    <a:pt x="174" y="480"/>
                  </a:lnTo>
                  <a:lnTo>
                    <a:pt x="180" y="480"/>
                  </a:lnTo>
                  <a:lnTo>
                    <a:pt x="186" y="480"/>
                  </a:lnTo>
                  <a:lnTo>
                    <a:pt x="186" y="474"/>
                  </a:lnTo>
                  <a:lnTo>
                    <a:pt x="192" y="474"/>
                  </a:lnTo>
                  <a:lnTo>
                    <a:pt x="198" y="474"/>
                  </a:lnTo>
                  <a:lnTo>
                    <a:pt x="198" y="468"/>
                  </a:lnTo>
                  <a:lnTo>
                    <a:pt x="198" y="462"/>
                  </a:lnTo>
                  <a:lnTo>
                    <a:pt x="204" y="462"/>
                  </a:lnTo>
                  <a:lnTo>
                    <a:pt x="204" y="456"/>
                  </a:lnTo>
                  <a:lnTo>
                    <a:pt x="204" y="450"/>
                  </a:lnTo>
                  <a:lnTo>
                    <a:pt x="204" y="444"/>
                  </a:lnTo>
                  <a:lnTo>
                    <a:pt x="210" y="444"/>
                  </a:lnTo>
                  <a:lnTo>
                    <a:pt x="210" y="438"/>
                  </a:lnTo>
                  <a:lnTo>
                    <a:pt x="210" y="432"/>
                  </a:lnTo>
                  <a:lnTo>
                    <a:pt x="216" y="432"/>
                  </a:lnTo>
                  <a:lnTo>
                    <a:pt x="222" y="432"/>
                  </a:lnTo>
                  <a:lnTo>
                    <a:pt x="222" y="426"/>
                  </a:lnTo>
                  <a:lnTo>
                    <a:pt x="228" y="426"/>
                  </a:lnTo>
                  <a:lnTo>
                    <a:pt x="234" y="426"/>
                  </a:lnTo>
                  <a:lnTo>
                    <a:pt x="240" y="426"/>
                  </a:lnTo>
                  <a:lnTo>
                    <a:pt x="246" y="426"/>
                  </a:lnTo>
                  <a:lnTo>
                    <a:pt x="252" y="426"/>
                  </a:lnTo>
                  <a:lnTo>
                    <a:pt x="252" y="420"/>
                  </a:lnTo>
                  <a:lnTo>
                    <a:pt x="258" y="420"/>
                  </a:lnTo>
                  <a:lnTo>
                    <a:pt x="264" y="414"/>
                  </a:lnTo>
                  <a:lnTo>
                    <a:pt x="270" y="414"/>
                  </a:lnTo>
                  <a:lnTo>
                    <a:pt x="270" y="420"/>
                  </a:lnTo>
                  <a:lnTo>
                    <a:pt x="270" y="414"/>
                  </a:lnTo>
                  <a:lnTo>
                    <a:pt x="276" y="414"/>
                  </a:lnTo>
                  <a:lnTo>
                    <a:pt x="282" y="414"/>
                  </a:lnTo>
                  <a:lnTo>
                    <a:pt x="282" y="408"/>
                  </a:lnTo>
                  <a:lnTo>
                    <a:pt x="282" y="402"/>
                  </a:lnTo>
                  <a:lnTo>
                    <a:pt x="276" y="402"/>
                  </a:lnTo>
                  <a:lnTo>
                    <a:pt x="270" y="402"/>
                  </a:lnTo>
                  <a:lnTo>
                    <a:pt x="270" y="396"/>
                  </a:lnTo>
                  <a:lnTo>
                    <a:pt x="270" y="390"/>
                  </a:lnTo>
                  <a:lnTo>
                    <a:pt x="270" y="384"/>
                  </a:lnTo>
                  <a:lnTo>
                    <a:pt x="276" y="384"/>
                  </a:lnTo>
                  <a:lnTo>
                    <a:pt x="276" y="378"/>
                  </a:lnTo>
                  <a:lnTo>
                    <a:pt x="276" y="372"/>
                  </a:lnTo>
                  <a:lnTo>
                    <a:pt x="276" y="366"/>
                  </a:lnTo>
                  <a:lnTo>
                    <a:pt x="282" y="366"/>
                  </a:lnTo>
                  <a:lnTo>
                    <a:pt x="288" y="366"/>
                  </a:lnTo>
                  <a:lnTo>
                    <a:pt x="294" y="366"/>
                  </a:lnTo>
                  <a:lnTo>
                    <a:pt x="300" y="366"/>
                  </a:lnTo>
                  <a:lnTo>
                    <a:pt x="300" y="360"/>
                  </a:lnTo>
                  <a:lnTo>
                    <a:pt x="306" y="360"/>
                  </a:lnTo>
                  <a:lnTo>
                    <a:pt x="312" y="360"/>
                  </a:lnTo>
                  <a:lnTo>
                    <a:pt x="318" y="360"/>
                  </a:lnTo>
                  <a:lnTo>
                    <a:pt x="324" y="360"/>
                  </a:lnTo>
                  <a:lnTo>
                    <a:pt x="324" y="354"/>
                  </a:lnTo>
                  <a:lnTo>
                    <a:pt x="324" y="348"/>
                  </a:lnTo>
                  <a:lnTo>
                    <a:pt x="318" y="348"/>
                  </a:lnTo>
                  <a:lnTo>
                    <a:pt x="318" y="342"/>
                  </a:lnTo>
                  <a:lnTo>
                    <a:pt x="318" y="336"/>
                  </a:lnTo>
                  <a:lnTo>
                    <a:pt x="324" y="336"/>
                  </a:lnTo>
                  <a:lnTo>
                    <a:pt x="330" y="336"/>
                  </a:lnTo>
                  <a:lnTo>
                    <a:pt x="336" y="336"/>
                  </a:lnTo>
                  <a:lnTo>
                    <a:pt x="342" y="330"/>
                  </a:lnTo>
                  <a:lnTo>
                    <a:pt x="348" y="330"/>
                  </a:lnTo>
                  <a:lnTo>
                    <a:pt x="354" y="330"/>
                  </a:lnTo>
                  <a:lnTo>
                    <a:pt x="360" y="330"/>
                  </a:lnTo>
                  <a:lnTo>
                    <a:pt x="366" y="336"/>
                  </a:lnTo>
                  <a:lnTo>
                    <a:pt x="372" y="336"/>
                  </a:lnTo>
                  <a:lnTo>
                    <a:pt x="378" y="336"/>
                  </a:lnTo>
                  <a:lnTo>
                    <a:pt x="384" y="336"/>
                  </a:lnTo>
                  <a:lnTo>
                    <a:pt x="390" y="336"/>
                  </a:lnTo>
                  <a:lnTo>
                    <a:pt x="396" y="336"/>
                  </a:lnTo>
                  <a:lnTo>
                    <a:pt x="402" y="336"/>
                  </a:lnTo>
                  <a:lnTo>
                    <a:pt x="408" y="336"/>
                  </a:lnTo>
                  <a:lnTo>
                    <a:pt x="414" y="336"/>
                  </a:lnTo>
                  <a:lnTo>
                    <a:pt x="414" y="330"/>
                  </a:lnTo>
                  <a:lnTo>
                    <a:pt x="408" y="330"/>
                  </a:lnTo>
                  <a:lnTo>
                    <a:pt x="408" y="324"/>
                  </a:lnTo>
                  <a:lnTo>
                    <a:pt x="414" y="324"/>
                  </a:lnTo>
                  <a:lnTo>
                    <a:pt x="408" y="324"/>
                  </a:lnTo>
                  <a:lnTo>
                    <a:pt x="414" y="324"/>
                  </a:lnTo>
                  <a:lnTo>
                    <a:pt x="414" y="318"/>
                  </a:lnTo>
                  <a:lnTo>
                    <a:pt x="420" y="318"/>
                  </a:lnTo>
                  <a:lnTo>
                    <a:pt x="420" y="312"/>
                  </a:lnTo>
                  <a:lnTo>
                    <a:pt x="426" y="312"/>
                  </a:lnTo>
                  <a:lnTo>
                    <a:pt x="426" y="306"/>
                  </a:lnTo>
                  <a:lnTo>
                    <a:pt x="420" y="306"/>
                  </a:lnTo>
                  <a:lnTo>
                    <a:pt x="414" y="300"/>
                  </a:lnTo>
                  <a:lnTo>
                    <a:pt x="408" y="300"/>
                  </a:lnTo>
                  <a:lnTo>
                    <a:pt x="408" y="294"/>
                  </a:lnTo>
                  <a:lnTo>
                    <a:pt x="402" y="294"/>
                  </a:lnTo>
                  <a:lnTo>
                    <a:pt x="402" y="288"/>
                  </a:lnTo>
                  <a:lnTo>
                    <a:pt x="396" y="282"/>
                  </a:lnTo>
                  <a:lnTo>
                    <a:pt x="396" y="276"/>
                  </a:lnTo>
                  <a:lnTo>
                    <a:pt x="396" y="270"/>
                  </a:lnTo>
                  <a:lnTo>
                    <a:pt x="390" y="264"/>
                  </a:lnTo>
                  <a:lnTo>
                    <a:pt x="390" y="258"/>
                  </a:lnTo>
                  <a:lnTo>
                    <a:pt x="390" y="252"/>
                  </a:lnTo>
                  <a:lnTo>
                    <a:pt x="390" y="246"/>
                  </a:lnTo>
                  <a:lnTo>
                    <a:pt x="390" y="240"/>
                  </a:lnTo>
                  <a:lnTo>
                    <a:pt x="390" y="234"/>
                  </a:lnTo>
                  <a:lnTo>
                    <a:pt x="384" y="234"/>
                  </a:lnTo>
                  <a:lnTo>
                    <a:pt x="384" y="228"/>
                  </a:lnTo>
                  <a:lnTo>
                    <a:pt x="390" y="228"/>
                  </a:lnTo>
                  <a:lnTo>
                    <a:pt x="384" y="222"/>
                  </a:lnTo>
                  <a:lnTo>
                    <a:pt x="384" y="210"/>
                  </a:lnTo>
                  <a:lnTo>
                    <a:pt x="390" y="210"/>
                  </a:lnTo>
                  <a:lnTo>
                    <a:pt x="390" y="204"/>
                  </a:lnTo>
                  <a:lnTo>
                    <a:pt x="384" y="198"/>
                  </a:lnTo>
                  <a:lnTo>
                    <a:pt x="384" y="186"/>
                  </a:lnTo>
                  <a:lnTo>
                    <a:pt x="384" y="180"/>
                  </a:lnTo>
                  <a:lnTo>
                    <a:pt x="384" y="174"/>
                  </a:lnTo>
                  <a:lnTo>
                    <a:pt x="378" y="168"/>
                  </a:lnTo>
                  <a:lnTo>
                    <a:pt x="384" y="162"/>
                  </a:lnTo>
                  <a:lnTo>
                    <a:pt x="378" y="156"/>
                  </a:lnTo>
                  <a:lnTo>
                    <a:pt x="372" y="156"/>
                  </a:lnTo>
                  <a:lnTo>
                    <a:pt x="372" y="150"/>
                  </a:lnTo>
                  <a:lnTo>
                    <a:pt x="366" y="150"/>
                  </a:lnTo>
                  <a:lnTo>
                    <a:pt x="366" y="144"/>
                  </a:lnTo>
                  <a:lnTo>
                    <a:pt x="360" y="144"/>
                  </a:lnTo>
                  <a:lnTo>
                    <a:pt x="360" y="138"/>
                  </a:lnTo>
                  <a:lnTo>
                    <a:pt x="366" y="138"/>
                  </a:lnTo>
                  <a:lnTo>
                    <a:pt x="372" y="138"/>
                  </a:lnTo>
                  <a:lnTo>
                    <a:pt x="378" y="138"/>
                  </a:lnTo>
                  <a:lnTo>
                    <a:pt x="378" y="132"/>
                  </a:lnTo>
                  <a:lnTo>
                    <a:pt x="384" y="132"/>
                  </a:lnTo>
                  <a:lnTo>
                    <a:pt x="390" y="132"/>
                  </a:lnTo>
                  <a:lnTo>
                    <a:pt x="390" y="126"/>
                  </a:lnTo>
                  <a:lnTo>
                    <a:pt x="396" y="126"/>
                  </a:lnTo>
                  <a:lnTo>
                    <a:pt x="396" y="120"/>
                  </a:lnTo>
                  <a:lnTo>
                    <a:pt x="402" y="120"/>
                  </a:lnTo>
                  <a:lnTo>
                    <a:pt x="408" y="120"/>
                  </a:lnTo>
                  <a:lnTo>
                    <a:pt x="408" y="114"/>
                  </a:lnTo>
                  <a:lnTo>
                    <a:pt x="414" y="114"/>
                  </a:lnTo>
                  <a:lnTo>
                    <a:pt x="414" y="108"/>
                  </a:lnTo>
                  <a:lnTo>
                    <a:pt x="414" y="102"/>
                  </a:lnTo>
                  <a:lnTo>
                    <a:pt x="420" y="102"/>
                  </a:lnTo>
                  <a:lnTo>
                    <a:pt x="420" y="96"/>
                  </a:lnTo>
                  <a:lnTo>
                    <a:pt x="426" y="96"/>
                  </a:lnTo>
                  <a:lnTo>
                    <a:pt x="432" y="96"/>
                  </a:lnTo>
                  <a:lnTo>
                    <a:pt x="432" y="90"/>
                  </a:lnTo>
                  <a:lnTo>
                    <a:pt x="438" y="90"/>
                  </a:lnTo>
                  <a:lnTo>
                    <a:pt x="444" y="90"/>
                  </a:lnTo>
                  <a:lnTo>
                    <a:pt x="444" y="96"/>
                  </a:lnTo>
                  <a:lnTo>
                    <a:pt x="450" y="90"/>
                  </a:lnTo>
                  <a:lnTo>
                    <a:pt x="456" y="84"/>
                  </a:lnTo>
                  <a:lnTo>
                    <a:pt x="462" y="84"/>
                  </a:lnTo>
                  <a:lnTo>
                    <a:pt x="462" y="78"/>
                  </a:lnTo>
                  <a:lnTo>
                    <a:pt x="462" y="84"/>
                  </a:lnTo>
                  <a:lnTo>
                    <a:pt x="468" y="90"/>
                  </a:lnTo>
                  <a:lnTo>
                    <a:pt x="474" y="90"/>
                  </a:lnTo>
                  <a:lnTo>
                    <a:pt x="480" y="84"/>
                  </a:lnTo>
                  <a:lnTo>
                    <a:pt x="486" y="78"/>
                  </a:lnTo>
                  <a:lnTo>
                    <a:pt x="486" y="72"/>
                  </a:lnTo>
                  <a:lnTo>
                    <a:pt x="492" y="72"/>
                  </a:lnTo>
                  <a:lnTo>
                    <a:pt x="492" y="66"/>
                  </a:lnTo>
                  <a:lnTo>
                    <a:pt x="498" y="66"/>
                  </a:lnTo>
                  <a:lnTo>
                    <a:pt x="498" y="60"/>
                  </a:lnTo>
                  <a:lnTo>
                    <a:pt x="504" y="60"/>
                  </a:lnTo>
                  <a:lnTo>
                    <a:pt x="510" y="60"/>
                  </a:lnTo>
                  <a:lnTo>
                    <a:pt x="510" y="54"/>
                  </a:lnTo>
                  <a:lnTo>
                    <a:pt x="516" y="54"/>
                  </a:lnTo>
                  <a:lnTo>
                    <a:pt x="522" y="54"/>
                  </a:lnTo>
                  <a:lnTo>
                    <a:pt x="522" y="48"/>
                  </a:lnTo>
                  <a:lnTo>
                    <a:pt x="528" y="48"/>
                  </a:lnTo>
                  <a:lnTo>
                    <a:pt x="534" y="48"/>
                  </a:lnTo>
                  <a:lnTo>
                    <a:pt x="534" y="42"/>
                  </a:lnTo>
                  <a:lnTo>
                    <a:pt x="540" y="42"/>
                  </a:lnTo>
                  <a:lnTo>
                    <a:pt x="546" y="42"/>
                  </a:lnTo>
                  <a:lnTo>
                    <a:pt x="552" y="42"/>
                  </a:lnTo>
                  <a:lnTo>
                    <a:pt x="552" y="36"/>
                  </a:lnTo>
                  <a:lnTo>
                    <a:pt x="558" y="36"/>
                  </a:lnTo>
                  <a:lnTo>
                    <a:pt x="564" y="36"/>
                  </a:lnTo>
                  <a:lnTo>
                    <a:pt x="570" y="36"/>
                  </a:lnTo>
                  <a:lnTo>
                    <a:pt x="576" y="36"/>
                  </a:lnTo>
                  <a:lnTo>
                    <a:pt x="582" y="36"/>
                  </a:lnTo>
                  <a:lnTo>
                    <a:pt x="588" y="36"/>
                  </a:lnTo>
                  <a:lnTo>
                    <a:pt x="594" y="36"/>
                  </a:lnTo>
                  <a:lnTo>
                    <a:pt x="600" y="36"/>
                  </a:lnTo>
                  <a:lnTo>
                    <a:pt x="600" y="30"/>
                  </a:lnTo>
                  <a:lnTo>
                    <a:pt x="606" y="30"/>
                  </a:lnTo>
                  <a:lnTo>
                    <a:pt x="612" y="30"/>
                  </a:lnTo>
                  <a:lnTo>
                    <a:pt x="612" y="36"/>
                  </a:lnTo>
                  <a:lnTo>
                    <a:pt x="618" y="36"/>
                  </a:lnTo>
                  <a:lnTo>
                    <a:pt x="624" y="36"/>
                  </a:lnTo>
                  <a:lnTo>
                    <a:pt x="624" y="30"/>
                  </a:lnTo>
                  <a:lnTo>
                    <a:pt x="630" y="30"/>
                  </a:lnTo>
                  <a:lnTo>
                    <a:pt x="636" y="30"/>
                  </a:lnTo>
                  <a:lnTo>
                    <a:pt x="636" y="24"/>
                  </a:lnTo>
                  <a:lnTo>
                    <a:pt x="642" y="24"/>
                  </a:lnTo>
                  <a:lnTo>
                    <a:pt x="642" y="18"/>
                  </a:lnTo>
                  <a:lnTo>
                    <a:pt x="648" y="18"/>
                  </a:lnTo>
                  <a:lnTo>
                    <a:pt x="648" y="24"/>
                  </a:lnTo>
                  <a:lnTo>
                    <a:pt x="654" y="24"/>
                  </a:lnTo>
                  <a:lnTo>
                    <a:pt x="660" y="24"/>
                  </a:lnTo>
                  <a:lnTo>
                    <a:pt x="660" y="18"/>
                  </a:lnTo>
                  <a:lnTo>
                    <a:pt x="666" y="18"/>
                  </a:lnTo>
                  <a:lnTo>
                    <a:pt x="666" y="24"/>
                  </a:lnTo>
                  <a:lnTo>
                    <a:pt x="666" y="18"/>
                  </a:lnTo>
                  <a:lnTo>
                    <a:pt x="666" y="24"/>
                  </a:lnTo>
                  <a:lnTo>
                    <a:pt x="672" y="24"/>
                  </a:lnTo>
                  <a:lnTo>
                    <a:pt x="678" y="18"/>
                  </a:lnTo>
                  <a:lnTo>
                    <a:pt x="684" y="18"/>
                  </a:lnTo>
                  <a:lnTo>
                    <a:pt x="684" y="12"/>
                  </a:lnTo>
                  <a:lnTo>
                    <a:pt x="690" y="12"/>
                  </a:lnTo>
                  <a:lnTo>
                    <a:pt x="696" y="12"/>
                  </a:lnTo>
                  <a:lnTo>
                    <a:pt x="702" y="12"/>
                  </a:lnTo>
                  <a:lnTo>
                    <a:pt x="708" y="12"/>
                  </a:lnTo>
                  <a:lnTo>
                    <a:pt x="714" y="12"/>
                  </a:lnTo>
                  <a:lnTo>
                    <a:pt x="720" y="12"/>
                  </a:lnTo>
                  <a:lnTo>
                    <a:pt x="726" y="12"/>
                  </a:lnTo>
                  <a:lnTo>
                    <a:pt x="732" y="12"/>
                  </a:lnTo>
                  <a:lnTo>
                    <a:pt x="738" y="12"/>
                  </a:lnTo>
                  <a:lnTo>
                    <a:pt x="744" y="12"/>
                  </a:lnTo>
                  <a:lnTo>
                    <a:pt x="750" y="12"/>
                  </a:lnTo>
                  <a:lnTo>
                    <a:pt x="750" y="18"/>
                  </a:lnTo>
                  <a:lnTo>
                    <a:pt x="756" y="18"/>
                  </a:lnTo>
                  <a:lnTo>
                    <a:pt x="762" y="18"/>
                  </a:lnTo>
                  <a:lnTo>
                    <a:pt x="762" y="24"/>
                  </a:lnTo>
                  <a:lnTo>
                    <a:pt x="762" y="18"/>
                  </a:lnTo>
                  <a:lnTo>
                    <a:pt x="762" y="24"/>
                  </a:lnTo>
                  <a:lnTo>
                    <a:pt x="768" y="30"/>
                  </a:lnTo>
                  <a:lnTo>
                    <a:pt x="774" y="30"/>
                  </a:lnTo>
                  <a:lnTo>
                    <a:pt x="780" y="30"/>
                  </a:lnTo>
                  <a:lnTo>
                    <a:pt x="786" y="30"/>
                  </a:lnTo>
                  <a:lnTo>
                    <a:pt x="786" y="24"/>
                  </a:lnTo>
                  <a:lnTo>
                    <a:pt x="792" y="24"/>
                  </a:lnTo>
                  <a:lnTo>
                    <a:pt x="792" y="18"/>
                  </a:lnTo>
                  <a:lnTo>
                    <a:pt x="798" y="18"/>
                  </a:lnTo>
                  <a:lnTo>
                    <a:pt x="804" y="18"/>
                  </a:lnTo>
                  <a:lnTo>
                    <a:pt x="810" y="18"/>
                  </a:lnTo>
                  <a:lnTo>
                    <a:pt x="816" y="18"/>
                  </a:lnTo>
                  <a:lnTo>
                    <a:pt x="816" y="12"/>
                  </a:lnTo>
                  <a:lnTo>
                    <a:pt x="822" y="12"/>
                  </a:lnTo>
                  <a:lnTo>
                    <a:pt x="828" y="12"/>
                  </a:lnTo>
                  <a:lnTo>
                    <a:pt x="828" y="6"/>
                  </a:lnTo>
                  <a:lnTo>
                    <a:pt x="834" y="0"/>
                  </a:lnTo>
                  <a:lnTo>
                    <a:pt x="840" y="0"/>
                  </a:lnTo>
                  <a:lnTo>
                    <a:pt x="846" y="0"/>
                  </a:lnTo>
                  <a:lnTo>
                    <a:pt x="846" y="6"/>
                  </a:lnTo>
                  <a:lnTo>
                    <a:pt x="852" y="6"/>
                  </a:lnTo>
                  <a:lnTo>
                    <a:pt x="858" y="6"/>
                  </a:lnTo>
                  <a:lnTo>
                    <a:pt x="858" y="12"/>
                  </a:lnTo>
                  <a:lnTo>
                    <a:pt x="858" y="6"/>
                  </a:lnTo>
                  <a:lnTo>
                    <a:pt x="864" y="6"/>
                  </a:lnTo>
                  <a:lnTo>
                    <a:pt x="864" y="12"/>
                  </a:lnTo>
                  <a:lnTo>
                    <a:pt x="870" y="12"/>
                  </a:lnTo>
                  <a:lnTo>
                    <a:pt x="876" y="12"/>
                  </a:lnTo>
                  <a:lnTo>
                    <a:pt x="882" y="12"/>
                  </a:lnTo>
                  <a:lnTo>
                    <a:pt x="882" y="6"/>
                  </a:lnTo>
                  <a:lnTo>
                    <a:pt x="882" y="0"/>
                  </a:lnTo>
                  <a:lnTo>
                    <a:pt x="888" y="0"/>
                  </a:lnTo>
                  <a:lnTo>
                    <a:pt x="894" y="0"/>
                  </a:lnTo>
                  <a:lnTo>
                    <a:pt x="900" y="0"/>
                  </a:lnTo>
                  <a:lnTo>
                    <a:pt x="900" y="6"/>
                  </a:lnTo>
                  <a:lnTo>
                    <a:pt x="906" y="6"/>
                  </a:lnTo>
                  <a:lnTo>
                    <a:pt x="912" y="6"/>
                  </a:lnTo>
                  <a:lnTo>
                    <a:pt x="912" y="12"/>
                  </a:lnTo>
                  <a:lnTo>
                    <a:pt x="912" y="18"/>
                  </a:lnTo>
                  <a:lnTo>
                    <a:pt x="918" y="18"/>
                  </a:lnTo>
                  <a:lnTo>
                    <a:pt x="924" y="18"/>
                  </a:lnTo>
                  <a:lnTo>
                    <a:pt x="930" y="12"/>
                  </a:lnTo>
                  <a:lnTo>
                    <a:pt x="936" y="12"/>
                  </a:lnTo>
                  <a:lnTo>
                    <a:pt x="936" y="6"/>
                  </a:lnTo>
                  <a:lnTo>
                    <a:pt x="942" y="6"/>
                  </a:lnTo>
                  <a:lnTo>
                    <a:pt x="942" y="12"/>
                  </a:lnTo>
                  <a:lnTo>
                    <a:pt x="948" y="12"/>
                  </a:lnTo>
                  <a:lnTo>
                    <a:pt x="954" y="12"/>
                  </a:lnTo>
                  <a:lnTo>
                    <a:pt x="960" y="12"/>
                  </a:lnTo>
                  <a:lnTo>
                    <a:pt x="960" y="18"/>
                  </a:lnTo>
                  <a:lnTo>
                    <a:pt x="966" y="18"/>
                  </a:lnTo>
                  <a:lnTo>
                    <a:pt x="960" y="18"/>
                  </a:lnTo>
                  <a:lnTo>
                    <a:pt x="954" y="18"/>
                  </a:lnTo>
                  <a:lnTo>
                    <a:pt x="954" y="24"/>
                  </a:lnTo>
                  <a:lnTo>
                    <a:pt x="948" y="24"/>
                  </a:lnTo>
                  <a:lnTo>
                    <a:pt x="954" y="24"/>
                  </a:lnTo>
                  <a:lnTo>
                    <a:pt x="954" y="30"/>
                  </a:lnTo>
                  <a:lnTo>
                    <a:pt x="948" y="30"/>
                  </a:lnTo>
                  <a:lnTo>
                    <a:pt x="948" y="36"/>
                  </a:lnTo>
                  <a:lnTo>
                    <a:pt x="942" y="36"/>
                  </a:lnTo>
                  <a:lnTo>
                    <a:pt x="936" y="36"/>
                  </a:lnTo>
                  <a:lnTo>
                    <a:pt x="936" y="42"/>
                  </a:lnTo>
                  <a:lnTo>
                    <a:pt x="942" y="42"/>
                  </a:lnTo>
                  <a:lnTo>
                    <a:pt x="948" y="42"/>
                  </a:lnTo>
                  <a:lnTo>
                    <a:pt x="948" y="48"/>
                  </a:lnTo>
                  <a:lnTo>
                    <a:pt x="948" y="54"/>
                  </a:lnTo>
                  <a:lnTo>
                    <a:pt x="942" y="54"/>
                  </a:lnTo>
                  <a:lnTo>
                    <a:pt x="948" y="60"/>
                  </a:lnTo>
                  <a:lnTo>
                    <a:pt x="942" y="60"/>
                  </a:lnTo>
                  <a:lnTo>
                    <a:pt x="942" y="66"/>
                  </a:lnTo>
                  <a:lnTo>
                    <a:pt x="948" y="66"/>
                  </a:lnTo>
                  <a:lnTo>
                    <a:pt x="942" y="66"/>
                  </a:lnTo>
                  <a:lnTo>
                    <a:pt x="942" y="72"/>
                  </a:lnTo>
                  <a:lnTo>
                    <a:pt x="942" y="78"/>
                  </a:lnTo>
                  <a:lnTo>
                    <a:pt x="942" y="84"/>
                  </a:lnTo>
                  <a:lnTo>
                    <a:pt x="942" y="90"/>
                  </a:lnTo>
                  <a:lnTo>
                    <a:pt x="942" y="96"/>
                  </a:lnTo>
                  <a:lnTo>
                    <a:pt x="948" y="96"/>
                  </a:lnTo>
                  <a:lnTo>
                    <a:pt x="948" y="102"/>
                  </a:lnTo>
                  <a:lnTo>
                    <a:pt x="948" y="108"/>
                  </a:lnTo>
                  <a:lnTo>
                    <a:pt x="948" y="114"/>
                  </a:lnTo>
                  <a:lnTo>
                    <a:pt x="942" y="114"/>
                  </a:lnTo>
                  <a:lnTo>
                    <a:pt x="942" y="120"/>
                  </a:lnTo>
                  <a:lnTo>
                    <a:pt x="942" y="126"/>
                  </a:lnTo>
                  <a:lnTo>
                    <a:pt x="948" y="126"/>
                  </a:lnTo>
                  <a:lnTo>
                    <a:pt x="954" y="126"/>
                  </a:lnTo>
                  <a:lnTo>
                    <a:pt x="948" y="126"/>
                  </a:lnTo>
                  <a:lnTo>
                    <a:pt x="948" y="132"/>
                  </a:lnTo>
                  <a:lnTo>
                    <a:pt x="948" y="138"/>
                  </a:lnTo>
                  <a:lnTo>
                    <a:pt x="942" y="138"/>
                  </a:lnTo>
                  <a:lnTo>
                    <a:pt x="942" y="144"/>
                  </a:lnTo>
                  <a:lnTo>
                    <a:pt x="942" y="150"/>
                  </a:lnTo>
                  <a:lnTo>
                    <a:pt x="942" y="156"/>
                  </a:lnTo>
                  <a:lnTo>
                    <a:pt x="942" y="162"/>
                  </a:lnTo>
                  <a:lnTo>
                    <a:pt x="942" y="168"/>
                  </a:lnTo>
                  <a:lnTo>
                    <a:pt x="936" y="168"/>
                  </a:lnTo>
                  <a:lnTo>
                    <a:pt x="936" y="174"/>
                  </a:lnTo>
                  <a:lnTo>
                    <a:pt x="930" y="174"/>
                  </a:lnTo>
                  <a:lnTo>
                    <a:pt x="930" y="180"/>
                  </a:lnTo>
                  <a:lnTo>
                    <a:pt x="924" y="180"/>
                  </a:lnTo>
                  <a:lnTo>
                    <a:pt x="918" y="186"/>
                  </a:lnTo>
                  <a:lnTo>
                    <a:pt x="918" y="192"/>
                  </a:lnTo>
                  <a:lnTo>
                    <a:pt x="912" y="192"/>
                  </a:lnTo>
                  <a:lnTo>
                    <a:pt x="912" y="198"/>
                  </a:lnTo>
                  <a:lnTo>
                    <a:pt x="906" y="198"/>
                  </a:lnTo>
                  <a:lnTo>
                    <a:pt x="906" y="204"/>
                  </a:lnTo>
                  <a:lnTo>
                    <a:pt x="900" y="204"/>
                  </a:lnTo>
                  <a:lnTo>
                    <a:pt x="900" y="210"/>
                  </a:lnTo>
                  <a:lnTo>
                    <a:pt x="900" y="216"/>
                  </a:lnTo>
                  <a:lnTo>
                    <a:pt x="900" y="222"/>
                  </a:lnTo>
                  <a:lnTo>
                    <a:pt x="900" y="228"/>
                  </a:lnTo>
                  <a:lnTo>
                    <a:pt x="906" y="234"/>
                  </a:lnTo>
                  <a:lnTo>
                    <a:pt x="906" y="240"/>
                  </a:lnTo>
                  <a:lnTo>
                    <a:pt x="906" y="246"/>
                  </a:lnTo>
                  <a:lnTo>
                    <a:pt x="912" y="252"/>
                  </a:lnTo>
                  <a:lnTo>
                    <a:pt x="912" y="258"/>
                  </a:lnTo>
                  <a:lnTo>
                    <a:pt x="918" y="264"/>
                  </a:lnTo>
                  <a:lnTo>
                    <a:pt x="924" y="270"/>
                  </a:lnTo>
                  <a:lnTo>
                    <a:pt x="930" y="270"/>
                  </a:lnTo>
                  <a:lnTo>
                    <a:pt x="936" y="276"/>
                  </a:lnTo>
                  <a:lnTo>
                    <a:pt x="942" y="288"/>
                  </a:lnTo>
                  <a:lnTo>
                    <a:pt x="942" y="294"/>
                  </a:lnTo>
                  <a:lnTo>
                    <a:pt x="942" y="300"/>
                  </a:lnTo>
                  <a:lnTo>
                    <a:pt x="948" y="312"/>
                  </a:lnTo>
                  <a:lnTo>
                    <a:pt x="954" y="312"/>
                  </a:lnTo>
                  <a:lnTo>
                    <a:pt x="960" y="318"/>
                  </a:lnTo>
                  <a:lnTo>
                    <a:pt x="966" y="324"/>
                  </a:lnTo>
                  <a:lnTo>
                    <a:pt x="972" y="330"/>
                  </a:lnTo>
                  <a:lnTo>
                    <a:pt x="978" y="330"/>
                  </a:lnTo>
                  <a:lnTo>
                    <a:pt x="978" y="336"/>
                  </a:lnTo>
                  <a:lnTo>
                    <a:pt x="984" y="336"/>
                  </a:lnTo>
                  <a:lnTo>
                    <a:pt x="990" y="342"/>
                  </a:lnTo>
                  <a:lnTo>
                    <a:pt x="990" y="354"/>
                  </a:lnTo>
                  <a:lnTo>
                    <a:pt x="990" y="360"/>
                  </a:lnTo>
                  <a:lnTo>
                    <a:pt x="990" y="366"/>
                  </a:lnTo>
                  <a:lnTo>
                    <a:pt x="996" y="372"/>
                  </a:lnTo>
                  <a:lnTo>
                    <a:pt x="996" y="378"/>
                  </a:lnTo>
                  <a:lnTo>
                    <a:pt x="996" y="384"/>
                  </a:lnTo>
                  <a:lnTo>
                    <a:pt x="996" y="390"/>
                  </a:lnTo>
                  <a:lnTo>
                    <a:pt x="996" y="396"/>
                  </a:lnTo>
                  <a:lnTo>
                    <a:pt x="1002" y="402"/>
                  </a:lnTo>
                  <a:lnTo>
                    <a:pt x="1002" y="408"/>
                  </a:lnTo>
                  <a:lnTo>
                    <a:pt x="1002" y="414"/>
                  </a:lnTo>
                  <a:lnTo>
                    <a:pt x="1008" y="420"/>
                  </a:lnTo>
                  <a:lnTo>
                    <a:pt x="1008" y="426"/>
                  </a:lnTo>
                  <a:lnTo>
                    <a:pt x="1008" y="432"/>
                  </a:lnTo>
                  <a:lnTo>
                    <a:pt x="1008" y="438"/>
                  </a:lnTo>
                  <a:lnTo>
                    <a:pt x="1008" y="444"/>
                  </a:lnTo>
                  <a:lnTo>
                    <a:pt x="1014" y="450"/>
                  </a:lnTo>
                  <a:lnTo>
                    <a:pt x="1014" y="456"/>
                  </a:lnTo>
                  <a:lnTo>
                    <a:pt x="1008" y="456"/>
                  </a:lnTo>
                  <a:lnTo>
                    <a:pt x="1008" y="462"/>
                  </a:lnTo>
                  <a:lnTo>
                    <a:pt x="1002" y="462"/>
                  </a:lnTo>
                  <a:lnTo>
                    <a:pt x="1002" y="468"/>
                  </a:lnTo>
                  <a:lnTo>
                    <a:pt x="1008" y="474"/>
                  </a:lnTo>
                  <a:lnTo>
                    <a:pt x="1014" y="480"/>
                  </a:lnTo>
                  <a:lnTo>
                    <a:pt x="1014" y="486"/>
                  </a:lnTo>
                  <a:lnTo>
                    <a:pt x="1014" y="492"/>
                  </a:lnTo>
                  <a:lnTo>
                    <a:pt x="1020" y="492"/>
                  </a:lnTo>
                  <a:lnTo>
                    <a:pt x="1020" y="498"/>
                  </a:lnTo>
                  <a:lnTo>
                    <a:pt x="1020" y="504"/>
                  </a:lnTo>
                  <a:lnTo>
                    <a:pt x="1026" y="504"/>
                  </a:lnTo>
                  <a:lnTo>
                    <a:pt x="1026" y="510"/>
                  </a:lnTo>
                  <a:lnTo>
                    <a:pt x="1026" y="522"/>
                  </a:lnTo>
                  <a:lnTo>
                    <a:pt x="1026" y="528"/>
                  </a:lnTo>
                  <a:lnTo>
                    <a:pt x="1032" y="528"/>
                  </a:lnTo>
                  <a:lnTo>
                    <a:pt x="1032" y="534"/>
                  </a:lnTo>
                  <a:lnTo>
                    <a:pt x="1032" y="540"/>
                  </a:lnTo>
                  <a:lnTo>
                    <a:pt x="1032" y="546"/>
                  </a:lnTo>
                  <a:lnTo>
                    <a:pt x="1032" y="552"/>
                  </a:lnTo>
                  <a:lnTo>
                    <a:pt x="1032" y="558"/>
                  </a:lnTo>
                  <a:lnTo>
                    <a:pt x="1032" y="564"/>
                  </a:lnTo>
                  <a:lnTo>
                    <a:pt x="1032" y="570"/>
                  </a:lnTo>
                  <a:lnTo>
                    <a:pt x="1026" y="576"/>
                  </a:lnTo>
                  <a:lnTo>
                    <a:pt x="1026" y="582"/>
                  </a:lnTo>
                  <a:lnTo>
                    <a:pt x="1032" y="594"/>
                  </a:lnTo>
                  <a:lnTo>
                    <a:pt x="1032" y="600"/>
                  </a:lnTo>
                  <a:lnTo>
                    <a:pt x="1032" y="606"/>
                  </a:lnTo>
                  <a:lnTo>
                    <a:pt x="1032" y="612"/>
                  </a:lnTo>
                  <a:lnTo>
                    <a:pt x="1032" y="618"/>
                  </a:lnTo>
                  <a:lnTo>
                    <a:pt x="1032" y="624"/>
                  </a:lnTo>
                  <a:lnTo>
                    <a:pt x="1026" y="624"/>
                  </a:lnTo>
                  <a:lnTo>
                    <a:pt x="1026" y="630"/>
                  </a:lnTo>
                  <a:lnTo>
                    <a:pt x="1032" y="630"/>
                  </a:lnTo>
                  <a:lnTo>
                    <a:pt x="1026" y="630"/>
                  </a:lnTo>
                  <a:lnTo>
                    <a:pt x="1026" y="636"/>
                  </a:lnTo>
                  <a:lnTo>
                    <a:pt x="1026" y="642"/>
                  </a:lnTo>
                  <a:lnTo>
                    <a:pt x="1026" y="648"/>
                  </a:lnTo>
                  <a:lnTo>
                    <a:pt x="1026" y="654"/>
                  </a:lnTo>
                  <a:lnTo>
                    <a:pt x="1026" y="660"/>
                  </a:lnTo>
                  <a:lnTo>
                    <a:pt x="1026" y="666"/>
                  </a:lnTo>
                  <a:lnTo>
                    <a:pt x="1032" y="666"/>
                  </a:lnTo>
                  <a:lnTo>
                    <a:pt x="1032" y="672"/>
                  </a:lnTo>
                  <a:lnTo>
                    <a:pt x="1032" y="678"/>
                  </a:lnTo>
                  <a:lnTo>
                    <a:pt x="1032" y="684"/>
                  </a:lnTo>
                  <a:lnTo>
                    <a:pt x="1032" y="690"/>
                  </a:lnTo>
                  <a:lnTo>
                    <a:pt x="1032" y="696"/>
                  </a:lnTo>
                  <a:lnTo>
                    <a:pt x="1026" y="696"/>
                  </a:lnTo>
                  <a:lnTo>
                    <a:pt x="1020" y="696"/>
                  </a:lnTo>
                  <a:lnTo>
                    <a:pt x="1014" y="702"/>
                  </a:lnTo>
                  <a:lnTo>
                    <a:pt x="1008" y="702"/>
                  </a:lnTo>
                  <a:lnTo>
                    <a:pt x="1008" y="708"/>
                  </a:lnTo>
                  <a:lnTo>
                    <a:pt x="1002" y="714"/>
                  </a:lnTo>
                  <a:lnTo>
                    <a:pt x="1008" y="720"/>
                  </a:lnTo>
                  <a:lnTo>
                    <a:pt x="1008" y="726"/>
                  </a:lnTo>
                  <a:lnTo>
                    <a:pt x="1014" y="726"/>
                  </a:lnTo>
                  <a:lnTo>
                    <a:pt x="1014" y="732"/>
                  </a:lnTo>
                  <a:lnTo>
                    <a:pt x="1020" y="738"/>
                  </a:lnTo>
                  <a:lnTo>
                    <a:pt x="1026" y="744"/>
                  </a:lnTo>
                  <a:lnTo>
                    <a:pt x="1026" y="750"/>
                  </a:lnTo>
                  <a:lnTo>
                    <a:pt x="1032" y="750"/>
                  </a:lnTo>
                  <a:lnTo>
                    <a:pt x="1032" y="756"/>
                  </a:lnTo>
                  <a:lnTo>
                    <a:pt x="1032" y="762"/>
                  </a:lnTo>
                  <a:lnTo>
                    <a:pt x="1038" y="762"/>
                  </a:lnTo>
                  <a:lnTo>
                    <a:pt x="1038" y="768"/>
                  </a:lnTo>
                  <a:lnTo>
                    <a:pt x="1038" y="774"/>
                  </a:lnTo>
                  <a:lnTo>
                    <a:pt x="1038" y="780"/>
                  </a:lnTo>
                  <a:lnTo>
                    <a:pt x="1038" y="786"/>
                  </a:lnTo>
                  <a:lnTo>
                    <a:pt x="1038" y="792"/>
                  </a:lnTo>
                  <a:lnTo>
                    <a:pt x="1038" y="798"/>
                  </a:lnTo>
                  <a:lnTo>
                    <a:pt x="1044" y="798"/>
                  </a:lnTo>
                  <a:lnTo>
                    <a:pt x="1050" y="798"/>
                  </a:lnTo>
                  <a:lnTo>
                    <a:pt x="1050" y="804"/>
                  </a:lnTo>
                  <a:lnTo>
                    <a:pt x="1050" y="810"/>
                  </a:lnTo>
                  <a:lnTo>
                    <a:pt x="1050" y="816"/>
                  </a:lnTo>
                  <a:lnTo>
                    <a:pt x="1056" y="816"/>
                  </a:lnTo>
                  <a:lnTo>
                    <a:pt x="1062" y="816"/>
                  </a:lnTo>
                  <a:lnTo>
                    <a:pt x="1068" y="816"/>
                  </a:lnTo>
                  <a:lnTo>
                    <a:pt x="1074" y="816"/>
                  </a:lnTo>
                  <a:lnTo>
                    <a:pt x="1080" y="816"/>
                  </a:lnTo>
                  <a:lnTo>
                    <a:pt x="1086" y="816"/>
                  </a:lnTo>
                  <a:lnTo>
                    <a:pt x="1092" y="822"/>
                  </a:lnTo>
                  <a:lnTo>
                    <a:pt x="1098" y="822"/>
                  </a:lnTo>
                  <a:lnTo>
                    <a:pt x="1104" y="828"/>
                  </a:lnTo>
                  <a:lnTo>
                    <a:pt x="1110" y="834"/>
                  </a:lnTo>
                  <a:lnTo>
                    <a:pt x="1116" y="834"/>
                  </a:lnTo>
                  <a:lnTo>
                    <a:pt x="1122" y="834"/>
                  </a:lnTo>
                  <a:lnTo>
                    <a:pt x="1128" y="834"/>
                  </a:lnTo>
                  <a:lnTo>
                    <a:pt x="1128" y="840"/>
                  </a:lnTo>
                  <a:lnTo>
                    <a:pt x="1134" y="846"/>
                  </a:lnTo>
                  <a:lnTo>
                    <a:pt x="1134" y="852"/>
                  </a:lnTo>
                  <a:lnTo>
                    <a:pt x="1134" y="858"/>
                  </a:lnTo>
                  <a:lnTo>
                    <a:pt x="1140" y="858"/>
                  </a:lnTo>
                  <a:lnTo>
                    <a:pt x="1140" y="864"/>
                  </a:lnTo>
                  <a:lnTo>
                    <a:pt x="1140" y="870"/>
                  </a:lnTo>
                  <a:lnTo>
                    <a:pt x="1146" y="870"/>
                  </a:lnTo>
                  <a:lnTo>
                    <a:pt x="1146" y="876"/>
                  </a:lnTo>
                  <a:lnTo>
                    <a:pt x="1146" y="882"/>
                  </a:lnTo>
                  <a:lnTo>
                    <a:pt x="1140" y="882"/>
                  </a:lnTo>
                  <a:lnTo>
                    <a:pt x="1134" y="882"/>
                  </a:lnTo>
                  <a:lnTo>
                    <a:pt x="1134" y="888"/>
                  </a:lnTo>
                  <a:lnTo>
                    <a:pt x="1128" y="888"/>
                  </a:lnTo>
                  <a:lnTo>
                    <a:pt x="1122" y="894"/>
                  </a:lnTo>
                  <a:lnTo>
                    <a:pt x="1116" y="894"/>
                  </a:lnTo>
                  <a:lnTo>
                    <a:pt x="1116" y="900"/>
                  </a:lnTo>
                  <a:lnTo>
                    <a:pt x="1110" y="900"/>
                  </a:lnTo>
                  <a:lnTo>
                    <a:pt x="1104" y="906"/>
                  </a:lnTo>
                  <a:lnTo>
                    <a:pt x="1098" y="906"/>
                  </a:lnTo>
                  <a:lnTo>
                    <a:pt x="1098" y="912"/>
                  </a:lnTo>
                  <a:lnTo>
                    <a:pt x="1092" y="912"/>
                  </a:lnTo>
                  <a:lnTo>
                    <a:pt x="1086" y="912"/>
                  </a:lnTo>
                  <a:lnTo>
                    <a:pt x="1080" y="918"/>
                  </a:lnTo>
                  <a:lnTo>
                    <a:pt x="1080" y="924"/>
                  </a:lnTo>
                  <a:lnTo>
                    <a:pt x="1074" y="924"/>
                  </a:lnTo>
                  <a:lnTo>
                    <a:pt x="1068" y="924"/>
                  </a:lnTo>
                  <a:lnTo>
                    <a:pt x="1068" y="930"/>
                  </a:lnTo>
                  <a:lnTo>
                    <a:pt x="1062" y="930"/>
                  </a:lnTo>
                  <a:lnTo>
                    <a:pt x="1056" y="936"/>
                  </a:lnTo>
                  <a:lnTo>
                    <a:pt x="1050" y="936"/>
                  </a:lnTo>
                  <a:lnTo>
                    <a:pt x="1050" y="942"/>
                  </a:lnTo>
                  <a:lnTo>
                    <a:pt x="1044" y="942"/>
                  </a:lnTo>
                  <a:lnTo>
                    <a:pt x="1038" y="948"/>
                  </a:lnTo>
                  <a:lnTo>
                    <a:pt x="1032" y="948"/>
                  </a:lnTo>
                  <a:lnTo>
                    <a:pt x="1032" y="954"/>
                  </a:lnTo>
                  <a:lnTo>
                    <a:pt x="1026" y="954"/>
                  </a:lnTo>
                  <a:lnTo>
                    <a:pt x="1020" y="954"/>
                  </a:lnTo>
                  <a:lnTo>
                    <a:pt x="1020" y="960"/>
                  </a:lnTo>
                  <a:lnTo>
                    <a:pt x="1014" y="960"/>
                  </a:lnTo>
                  <a:lnTo>
                    <a:pt x="1008" y="966"/>
                  </a:lnTo>
                  <a:lnTo>
                    <a:pt x="1002" y="966"/>
                  </a:lnTo>
                  <a:lnTo>
                    <a:pt x="1002" y="972"/>
                  </a:lnTo>
                  <a:lnTo>
                    <a:pt x="996" y="972"/>
                  </a:lnTo>
                  <a:lnTo>
                    <a:pt x="990" y="978"/>
                  </a:lnTo>
                  <a:lnTo>
                    <a:pt x="984" y="978"/>
                  </a:lnTo>
                  <a:lnTo>
                    <a:pt x="984" y="984"/>
                  </a:lnTo>
                  <a:lnTo>
                    <a:pt x="978" y="984"/>
                  </a:lnTo>
                  <a:lnTo>
                    <a:pt x="972" y="990"/>
                  </a:lnTo>
                  <a:lnTo>
                    <a:pt x="966" y="990"/>
                  </a:lnTo>
                  <a:lnTo>
                    <a:pt x="966" y="996"/>
                  </a:lnTo>
                  <a:lnTo>
                    <a:pt x="960" y="996"/>
                  </a:lnTo>
                  <a:lnTo>
                    <a:pt x="954" y="996"/>
                  </a:lnTo>
                  <a:lnTo>
                    <a:pt x="954" y="1002"/>
                  </a:lnTo>
                  <a:lnTo>
                    <a:pt x="948" y="1002"/>
                  </a:lnTo>
                  <a:lnTo>
                    <a:pt x="948" y="1008"/>
                  </a:lnTo>
                  <a:lnTo>
                    <a:pt x="942" y="1008"/>
                  </a:lnTo>
                  <a:lnTo>
                    <a:pt x="936" y="1014"/>
                  </a:lnTo>
                  <a:lnTo>
                    <a:pt x="930" y="1014"/>
                  </a:lnTo>
                  <a:lnTo>
                    <a:pt x="930" y="1020"/>
                  </a:lnTo>
                  <a:lnTo>
                    <a:pt x="924" y="1020"/>
                  </a:lnTo>
                  <a:lnTo>
                    <a:pt x="918" y="1020"/>
                  </a:lnTo>
                  <a:lnTo>
                    <a:pt x="918" y="1026"/>
                  </a:lnTo>
                  <a:lnTo>
                    <a:pt x="912" y="1026"/>
                  </a:lnTo>
                  <a:lnTo>
                    <a:pt x="912" y="1032"/>
                  </a:lnTo>
                  <a:lnTo>
                    <a:pt x="906" y="1032"/>
                  </a:lnTo>
                  <a:lnTo>
                    <a:pt x="900" y="1032"/>
                  </a:lnTo>
                  <a:lnTo>
                    <a:pt x="900" y="1038"/>
                  </a:lnTo>
                  <a:lnTo>
                    <a:pt x="894" y="1038"/>
                  </a:lnTo>
                  <a:lnTo>
                    <a:pt x="888" y="1044"/>
                  </a:lnTo>
                  <a:lnTo>
                    <a:pt x="882" y="1050"/>
                  </a:lnTo>
                  <a:lnTo>
                    <a:pt x="876" y="1050"/>
                  </a:lnTo>
                  <a:lnTo>
                    <a:pt x="876" y="1056"/>
                  </a:lnTo>
                  <a:lnTo>
                    <a:pt x="870" y="1062"/>
                  </a:lnTo>
                  <a:lnTo>
                    <a:pt x="864" y="1062"/>
                  </a:lnTo>
                  <a:lnTo>
                    <a:pt x="864" y="1068"/>
                  </a:lnTo>
                  <a:lnTo>
                    <a:pt x="858" y="1068"/>
                  </a:lnTo>
                  <a:lnTo>
                    <a:pt x="858" y="1074"/>
                  </a:lnTo>
                  <a:lnTo>
                    <a:pt x="852" y="1074"/>
                  </a:lnTo>
                  <a:lnTo>
                    <a:pt x="852" y="1080"/>
                  </a:lnTo>
                  <a:lnTo>
                    <a:pt x="846" y="1080"/>
                  </a:lnTo>
                  <a:lnTo>
                    <a:pt x="846" y="1086"/>
                  </a:lnTo>
                  <a:lnTo>
                    <a:pt x="840" y="1086"/>
                  </a:lnTo>
                  <a:lnTo>
                    <a:pt x="834" y="1092"/>
                  </a:lnTo>
                  <a:lnTo>
                    <a:pt x="828" y="1098"/>
                  </a:lnTo>
                  <a:lnTo>
                    <a:pt x="828" y="1104"/>
                  </a:lnTo>
                  <a:lnTo>
                    <a:pt x="822" y="1104"/>
                  </a:lnTo>
                  <a:lnTo>
                    <a:pt x="816" y="1110"/>
                  </a:lnTo>
                  <a:lnTo>
                    <a:pt x="810" y="1116"/>
                  </a:lnTo>
                  <a:lnTo>
                    <a:pt x="804" y="1122"/>
                  </a:lnTo>
                  <a:lnTo>
                    <a:pt x="798" y="1122"/>
                  </a:lnTo>
                  <a:lnTo>
                    <a:pt x="792" y="1128"/>
                  </a:lnTo>
                  <a:lnTo>
                    <a:pt x="786" y="1128"/>
                  </a:lnTo>
                  <a:lnTo>
                    <a:pt x="780" y="1128"/>
                  </a:lnTo>
                  <a:lnTo>
                    <a:pt x="774" y="1128"/>
                  </a:lnTo>
                  <a:lnTo>
                    <a:pt x="768" y="1128"/>
                  </a:lnTo>
                  <a:lnTo>
                    <a:pt x="762" y="1128"/>
                  </a:lnTo>
                  <a:lnTo>
                    <a:pt x="756" y="1134"/>
                  </a:lnTo>
                  <a:lnTo>
                    <a:pt x="750" y="1134"/>
                  </a:lnTo>
                  <a:lnTo>
                    <a:pt x="744" y="1134"/>
                  </a:lnTo>
                  <a:lnTo>
                    <a:pt x="738" y="1134"/>
                  </a:lnTo>
                  <a:lnTo>
                    <a:pt x="732" y="1134"/>
                  </a:lnTo>
                  <a:lnTo>
                    <a:pt x="726" y="1140"/>
                  </a:lnTo>
                  <a:lnTo>
                    <a:pt x="720" y="1140"/>
                  </a:lnTo>
                  <a:lnTo>
                    <a:pt x="714" y="114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6" name="Freeform 38"/>
            <p:cNvSpPr>
              <a:spLocks noEditPoints="1"/>
            </p:cNvSpPr>
            <p:nvPr>
              <p:custDataLst>
                <p:tags r:id="rId89"/>
              </p:custDataLst>
            </p:nvPr>
          </p:nvSpPr>
          <p:spPr bwMode="gray">
            <a:xfrm>
              <a:off x="3709988" y="814388"/>
              <a:ext cx="282575" cy="587375"/>
            </a:xfrm>
            <a:custGeom>
              <a:avLst/>
              <a:gdLst>
                <a:gd name="T0" fmla="*/ 30002 w 228"/>
                <a:gd name="T1" fmla="*/ 6779 h 474"/>
                <a:gd name="T2" fmla="*/ 37744 w 228"/>
                <a:gd name="T3" fmla="*/ 1937 h 474"/>
                <a:gd name="T4" fmla="*/ 44519 w 228"/>
                <a:gd name="T5" fmla="*/ 1937 h 474"/>
                <a:gd name="T6" fmla="*/ 46454 w 228"/>
                <a:gd name="T7" fmla="*/ 3874 h 474"/>
                <a:gd name="T8" fmla="*/ 53229 w 228"/>
                <a:gd name="T9" fmla="*/ 1937 h 474"/>
                <a:gd name="T10" fmla="*/ 53229 w 228"/>
                <a:gd name="T11" fmla="*/ 6779 h 474"/>
                <a:gd name="T12" fmla="*/ 55164 w 228"/>
                <a:gd name="T13" fmla="*/ 12590 h 474"/>
                <a:gd name="T14" fmla="*/ 60003 w 228"/>
                <a:gd name="T15" fmla="*/ 10653 h 474"/>
                <a:gd name="T16" fmla="*/ 70649 w 228"/>
                <a:gd name="T17" fmla="*/ 6779 h 474"/>
                <a:gd name="T18" fmla="*/ 67745 w 228"/>
                <a:gd name="T19" fmla="*/ 17432 h 474"/>
                <a:gd name="T20" fmla="*/ 61939 w 228"/>
                <a:gd name="T21" fmla="*/ 23243 h 474"/>
                <a:gd name="T22" fmla="*/ 57100 w 228"/>
                <a:gd name="T23" fmla="*/ 31959 h 474"/>
                <a:gd name="T24" fmla="*/ 63875 w 228"/>
                <a:gd name="T25" fmla="*/ 37770 h 474"/>
                <a:gd name="T26" fmla="*/ 65810 w 228"/>
                <a:gd name="T27" fmla="*/ 40675 h 474"/>
                <a:gd name="T28" fmla="*/ 70649 w 228"/>
                <a:gd name="T29" fmla="*/ 44549 h 474"/>
                <a:gd name="T30" fmla="*/ 71617 w 228"/>
                <a:gd name="T31" fmla="*/ 51329 h 474"/>
                <a:gd name="T32" fmla="*/ 65810 w 228"/>
                <a:gd name="T33" fmla="*/ 60045 h 474"/>
                <a:gd name="T34" fmla="*/ 60003 w 228"/>
                <a:gd name="T35" fmla="*/ 67792 h 474"/>
                <a:gd name="T36" fmla="*/ 51293 w 228"/>
                <a:gd name="T37" fmla="*/ 72634 h 474"/>
                <a:gd name="T38" fmla="*/ 51293 w 228"/>
                <a:gd name="T39" fmla="*/ 83287 h 474"/>
                <a:gd name="T40" fmla="*/ 55164 w 228"/>
                <a:gd name="T41" fmla="*/ 87161 h 474"/>
                <a:gd name="T42" fmla="*/ 63875 w 228"/>
                <a:gd name="T43" fmla="*/ 87161 h 474"/>
                <a:gd name="T44" fmla="*/ 65810 w 228"/>
                <a:gd name="T45" fmla="*/ 93940 h 474"/>
                <a:gd name="T46" fmla="*/ 70649 w 228"/>
                <a:gd name="T47" fmla="*/ 90066 h 474"/>
                <a:gd name="T48" fmla="*/ 74520 w 228"/>
                <a:gd name="T49" fmla="*/ 97814 h 474"/>
                <a:gd name="T50" fmla="*/ 76456 w 228"/>
                <a:gd name="T51" fmla="*/ 100720 h 474"/>
                <a:gd name="T52" fmla="*/ 78392 w 228"/>
                <a:gd name="T53" fmla="*/ 104593 h 474"/>
                <a:gd name="T54" fmla="*/ 81295 w 228"/>
                <a:gd name="T55" fmla="*/ 115246 h 474"/>
                <a:gd name="T56" fmla="*/ 74520 w 228"/>
                <a:gd name="T57" fmla="*/ 121057 h 474"/>
                <a:gd name="T58" fmla="*/ 63875 w 228"/>
                <a:gd name="T59" fmla="*/ 127837 h 474"/>
                <a:gd name="T60" fmla="*/ 57100 w 228"/>
                <a:gd name="T61" fmla="*/ 134615 h 474"/>
                <a:gd name="T62" fmla="*/ 51293 w 228"/>
                <a:gd name="T63" fmla="*/ 140426 h 474"/>
                <a:gd name="T64" fmla="*/ 53229 w 228"/>
                <a:gd name="T65" fmla="*/ 149142 h 474"/>
                <a:gd name="T66" fmla="*/ 53229 w 228"/>
                <a:gd name="T67" fmla="*/ 157858 h 474"/>
                <a:gd name="T68" fmla="*/ 46454 w 228"/>
                <a:gd name="T69" fmla="*/ 165606 h 474"/>
                <a:gd name="T70" fmla="*/ 37744 w 228"/>
                <a:gd name="T71" fmla="*/ 161732 h 474"/>
                <a:gd name="T72" fmla="*/ 36777 w 228"/>
                <a:gd name="T73" fmla="*/ 149142 h 474"/>
                <a:gd name="T74" fmla="*/ 31937 w 228"/>
                <a:gd name="T75" fmla="*/ 136553 h 474"/>
                <a:gd name="T76" fmla="*/ 27098 w 228"/>
                <a:gd name="T77" fmla="*/ 123962 h 474"/>
                <a:gd name="T78" fmla="*/ 14517 w 228"/>
                <a:gd name="T79" fmla="*/ 113309 h 474"/>
                <a:gd name="T80" fmla="*/ 6775 w 228"/>
                <a:gd name="T81" fmla="*/ 100720 h 474"/>
                <a:gd name="T82" fmla="*/ 0 w 228"/>
                <a:gd name="T83" fmla="*/ 87161 h 474"/>
                <a:gd name="T84" fmla="*/ 1935 w 228"/>
                <a:gd name="T85" fmla="*/ 76508 h 474"/>
                <a:gd name="T86" fmla="*/ 10646 w 228"/>
                <a:gd name="T87" fmla="*/ 70697 h 474"/>
                <a:gd name="T88" fmla="*/ 14517 w 228"/>
                <a:gd name="T89" fmla="*/ 61981 h 474"/>
                <a:gd name="T90" fmla="*/ 17421 w 228"/>
                <a:gd name="T91" fmla="*/ 51329 h 474"/>
                <a:gd name="T92" fmla="*/ 17421 w 228"/>
                <a:gd name="T93" fmla="*/ 46486 h 474"/>
                <a:gd name="T94" fmla="*/ 14517 w 228"/>
                <a:gd name="T95" fmla="*/ 36801 h 474"/>
                <a:gd name="T96" fmla="*/ 14517 w 228"/>
                <a:gd name="T97" fmla="*/ 27117 h 474"/>
                <a:gd name="T98" fmla="*/ 14517 w 228"/>
                <a:gd name="T99" fmla="*/ 21306 h 474"/>
                <a:gd name="T100" fmla="*/ 19356 w 228"/>
                <a:gd name="T101" fmla="*/ 17432 h 474"/>
                <a:gd name="T102" fmla="*/ 23227 w 228"/>
                <a:gd name="T103" fmla="*/ 12590 h 474"/>
                <a:gd name="T104" fmla="*/ 65810 w 228"/>
                <a:gd name="T105" fmla="*/ 83287 h 474"/>
                <a:gd name="T106" fmla="*/ 67745 w 228"/>
                <a:gd name="T107" fmla="*/ 87161 h 474"/>
                <a:gd name="T108" fmla="*/ 70649 w 228"/>
                <a:gd name="T109" fmla="*/ 61981 h 474"/>
                <a:gd name="T110" fmla="*/ 70649 w 228"/>
                <a:gd name="T111" fmla="*/ 63918 h 4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28" h="474">
                  <a:moveTo>
                    <a:pt x="60" y="30"/>
                  </a:moveTo>
                  <a:lnTo>
                    <a:pt x="66" y="24"/>
                  </a:lnTo>
                  <a:lnTo>
                    <a:pt x="72" y="24"/>
                  </a:lnTo>
                  <a:lnTo>
                    <a:pt x="78" y="24"/>
                  </a:lnTo>
                  <a:lnTo>
                    <a:pt x="78" y="18"/>
                  </a:lnTo>
                  <a:lnTo>
                    <a:pt x="84" y="18"/>
                  </a:lnTo>
                  <a:lnTo>
                    <a:pt x="84" y="12"/>
                  </a:lnTo>
                  <a:lnTo>
                    <a:pt x="90" y="12"/>
                  </a:lnTo>
                  <a:lnTo>
                    <a:pt x="90" y="6"/>
                  </a:lnTo>
                  <a:lnTo>
                    <a:pt x="96" y="6"/>
                  </a:lnTo>
                  <a:lnTo>
                    <a:pt x="102" y="6"/>
                  </a:lnTo>
                  <a:lnTo>
                    <a:pt x="108" y="6"/>
                  </a:lnTo>
                  <a:lnTo>
                    <a:pt x="114" y="0"/>
                  </a:lnTo>
                  <a:lnTo>
                    <a:pt x="120" y="0"/>
                  </a:lnTo>
                  <a:lnTo>
                    <a:pt x="126" y="0"/>
                  </a:lnTo>
                  <a:lnTo>
                    <a:pt x="132" y="0"/>
                  </a:lnTo>
                  <a:lnTo>
                    <a:pt x="132" y="6"/>
                  </a:lnTo>
                  <a:lnTo>
                    <a:pt x="126" y="6"/>
                  </a:lnTo>
                  <a:lnTo>
                    <a:pt x="132" y="6"/>
                  </a:lnTo>
                  <a:lnTo>
                    <a:pt x="126" y="6"/>
                  </a:lnTo>
                  <a:lnTo>
                    <a:pt x="126" y="12"/>
                  </a:lnTo>
                  <a:lnTo>
                    <a:pt x="126" y="6"/>
                  </a:lnTo>
                  <a:lnTo>
                    <a:pt x="126" y="12"/>
                  </a:lnTo>
                  <a:lnTo>
                    <a:pt x="132" y="12"/>
                  </a:lnTo>
                  <a:lnTo>
                    <a:pt x="132" y="6"/>
                  </a:lnTo>
                  <a:lnTo>
                    <a:pt x="126" y="6"/>
                  </a:lnTo>
                  <a:lnTo>
                    <a:pt x="132" y="6"/>
                  </a:lnTo>
                  <a:lnTo>
                    <a:pt x="138" y="6"/>
                  </a:lnTo>
                  <a:lnTo>
                    <a:pt x="144" y="6"/>
                  </a:lnTo>
                  <a:lnTo>
                    <a:pt x="150" y="6"/>
                  </a:lnTo>
                  <a:lnTo>
                    <a:pt x="150" y="12"/>
                  </a:lnTo>
                  <a:lnTo>
                    <a:pt x="144" y="12"/>
                  </a:lnTo>
                  <a:lnTo>
                    <a:pt x="150" y="12"/>
                  </a:lnTo>
                  <a:lnTo>
                    <a:pt x="150" y="18"/>
                  </a:lnTo>
                  <a:lnTo>
                    <a:pt x="150" y="12"/>
                  </a:lnTo>
                  <a:lnTo>
                    <a:pt x="150" y="18"/>
                  </a:lnTo>
                  <a:lnTo>
                    <a:pt x="144" y="18"/>
                  </a:lnTo>
                  <a:lnTo>
                    <a:pt x="150" y="18"/>
                  </a:lnTo>
                  <a:lnTo>
                    <a:pt x="150" y="24"/>
                  </a:lnTo>
                  <a:lnTo>
                    <a:pt x="150" y="30"/>
                  </a:lnTo>
                  <a:lnTo>
                    <a:pt x="156" y="30"/>
                  </a:lnTo>
                  <a:lnTo>
                    <a:pt x="156" y="36"/>
                  </a:lnTo>
                  <a:lnTo>
                    <a:pt x="150" y="36"/>
                  </a:lnTo>
                  <a:lnTo>
                    <a:pt x="156" y="42"/>
                  </a:lnTo>
                  <a:lnTo>
                    <a:pt x="162" y="42"/>
                  </a:lnTo>
                  <a:lnTo>
                    <a:pt x="168" y="42"/>
                  </a:lnTo>
                  <a:lnTo>
                    <a:pt x="168" y="36"/>
                  </a:lnTo>
                  <a:lnTo>
                    <a:pt x="168" y="30"/>
                  </a:lnTo>
                  <a:lnTo>
                    <a:pt x="174" y="30"/>
                  </a:lnTo>
                  <a:lnTo>
                    <a:pt x="180" y="30"/>
                  </a:lnTo>
                  <a:lnTo>
                    <a:pt x="186" y="24"/>
                  </a:lnTo>
                  <a:lnTo>
                    <a:pt x="186" y="18"/>
                  </a:lnTo>
                  <a:lnTo>
                    <a:pt x="192" y="18"/>
                  </a:lnTo>
                  <a:lnTo>
                    <a:pt x="198" y="18"/>
                  </a:lnTo>
                  <a:lnTo>
                    <a:pt x="198" y="24"/>
                  </a:lnTo>
                  <a:lnTo>
                    <a:pt x="198" y="30"/>
                  </a:lnTo>
                  <a:lnTo>
                    <a:pt x="198" y="36"/>
                  </a:lnTo>
                  <a:lnTo>
                    <a:pt x="192" y="36"/>
                  </a:lnTo>
                  <a:lnTo>
                    <a:pt x="192" y="42"/>
                  </a:lnTo>
                  <a:lnTo>
                    <a:pt x="192" y="48"/>
                  </a:lnTo>
                  <a:lnTo>
                    <a:pt x="186" y="48"/>
                  </a:lnTo>
                  <a:lnTo>
                    <a:pt x="186" y="54"/>
                  </a:lnTo>
                  <a:lnTo>
                    <a:pt x="186" y="60"/>
                  </a:lnTo>
                  <a:lnTo>
                    <a:pt x="180" y="60"/>
                  </a:lnTo>
                  <a:lnTo>
                    <a:pt x="174" y="60"/>
                  </a:lnTo>
                  <a:lnTo>
                    <a:pt x="174" y="66"/>
                  </a:lnTo>
                  <a:lnTo>
                    <a:pt x="168" y="66"/>
                  </a:lnTo>
                  <a:lnTo>
                    <a:pt x="168" y="72"/>
                  </a:lnTo>
                  <a:lnTo>
                    <a:pt x="162" y="72"/>
                  </a:lnTo>
                  <a:lnTo>
                    <a:pt x="162" y="78"/>
                  </a:lnTo>
                  <a:lnTo>
                    <a:pt x="162" y="84"/>
                  </a:lnTo>
                  <a:lnTo>
                    <a:pt x="162" y="90"/>
                  </a:lnTo>
                  <a:lnTo>
                    <a:pt x="168" y="90"/>
                  </a:lnTo>
                  <a:lnTo>
                    <a:pt x="168" y="96"/>
                  </a:lnTo>
                  <a:lnTo>
                    <a:pt x="168" y="102"/>
                  </a:lnTo>
                  <a:lnTo>
                    <a:pt x="174" y="102"/>
                  </a:lnTo>
                  <a:lnTo>
                    <a:pt x="174" y="108"/>
                  </a:lnTo>
                  <a:lnTo>
                    <a:pt x="180" y="108"/>
                  </a:lnTo>
                  <a:lnTo>
                    <a:pt x="186" y="108"/>
                  </a:lnTo>
                  <a:lnTo>
                    <a:pt x="186" y="114"/>
                  </a:lnTo>
                  <a:lnTo>
                    <a:pt x="186" y="108"/>
                  </a:lnTo>
                  <a:lnTo>
                    <a:pt x="180" y="108"/>
                  </a:lnTo>
                  <a:lnTo>
                    <a:pt x="180" y="114"/>
                  </a:lnTo>
                  <a:lnTo>
                    <a:pt x="186" y="114"/>
                  </a:lnTo>
                  <a:lnTo>
                    <a:pt x="192" y="114"/>
                  </a:lnTo>
                  <a:lnTo>
                    <a:pt x="192" y="120"/>
                  </a:lnTo>
                  <a:lnTo>
                    <a:pt x="198" y="120"/>
                  </a:lnTo>
                  <a:lnTo>
                    <a:pt x="192" y="120"/>
                  </a:lnTo>
                  <a:lnTo>
                    <a:pt x="192" y="126"/>
                  </a:lnTo>
                  <a:lnTo>
                    <a:pt x="198" y="126"/>
                  </a:lnTo>
                  <a:lnTo>
                    <a:pt x="198" y="132"/>
                  </a:lnTo>
                  <a:lnTo>
                    <a:pt x="192" y="132"/>
                  </a:lnTo>
                  <a:lnTo>
                    <a:pt x="192" y="138"/>
                  </a:lnTo>
                  <a:lnTo>
                    <a:pt x="198" y="138"/>
                  </a:lnTo>
                  <a:lnTo>
                    <a:pt x="198" y="144"/>
                  </a:lnTo>
                  <a:lnTo>
                    <a:pt x="204" y="144"/>
                  </a:lnTo>
                  <a:lnTo>
                    <a:pt x="198" y="144"/>
                  </a:lnTo>
                  <a:lnTo>
                    <a:pt x="198" y="150"/>
                  </a:lnTo>
                  <a:lnTo>
                    <a:pt x="192" y="156"/>
                  </a:lnTo>
                  <a:lnTo>
                    <a:pt x="192" y="162"/>
                  </a:lnTo>
                  <a:lnTo>
                    <a:pt x="186" y="162"/>
                  </a:lnTo>
                  <a:lnTo>
                    <a:pt x="186" y="168"/>
                  </a:lnTo>
                  <a:lnTo>
                    <a:pt x="186" y="174"/>
                  </a:lnTo>
                  <a:lnTo>
                    <a:pt x="180" y="174"/>
                  </a:lnTo>
                  <a:lnTo>
                    <a:pt x="180" y="180"/>
                  </a:lnTo>
                  <a:lnTo>
                    <a:pt x="180" y="186"/>
                  </a:lnTo>
                  <a:lnTo>
                    <a:pt x="174" y="186"/>
                  </a:lnTo>
                  <a:lnTo>
                    <a:pt x="168" y="192"/>
                  </a:lnTo>
                  <a:lnTo>
                    <a:pt x="162" y="192"/>
                  </a:lnTo>
                  <a:lnTo>
                    <a:pt x="162" y="198"/>
                  </a:lnTo>
                  <a:lnTo>
                    <a:pt x="156" y="198"/>
                  </a:lnTo>
                  <a:lnTo>
                    <a:pt x="156" y="204"/>
                  </a:lnTo>
                  <a:lnTo>
                    <a:pt x="150" y="204"/>
                  </a:lnTo>
                  <a:lnTo>
                    <a:pt x="144" y="204"/>
                  </a:lnTo>
                  <a:lnTo>
                    <a:pt x="144" y="210"/>
                  </a:lnTo>
                  <a:lnTo>
                    <a:pt x="138" y="210"/>
                  </a:lnTo>
                  <a:lnTo>
                    <a:pt x="138" y="216"/>
                  </a:lnTo>
                  <a:lnTo>
                    <a:pt x="138" y="222"/>
                  </a:lnTo>
                  <a:lnTo>
                    <a:pt x="138" y="228"/>
                  </a:lnTo>
                  <a:lnTo>
                    <a:pt x="144" y="234"/>
                  </a:lnTo>
                  <a:lnTo>
                    <a:pt x="144" y="240"/>
                  </a:lnTo>
                  <a:lnTo>
                    <a:pt x="150" y="240"/>
                  </a:lnTo>
                  <a:lnTo>
                    <a:pt x="150" y="246"/>
                  </a:lnTo>
                  <a:lnTo>
                    <a:pt x="156" y="246"/>
                  </a:lnTo>
                  <a:lnTo>
                    <a:pt x="150" y="246"/>
                  </a:lnTo>
                  <a:lnTo>
                    <a:pt x="156" y="246"/>
                  </a:lnTo>
                  <a:lnTo>
                    <a:pt x="156" y="252"/>
                  </a:lnTo>
                  <a:lnTo>
                    <a:pt x="162" y="252"/>
                  </a:lnTo>
                  <a:lnTo>
                    <a:pt x="168" y="252"/>
                  </a:lnTo>
                  <a:lnTo>
                    <a:pt x="174" y="252"/>
                  </a:lnTo>
                  <a:lnTo>
                    <a:pt x="174" y="246"/>
                  </a:lnTo>
                  <a:lnTo>
                    <a:pt x="180" y="246"/>
                  </a:lnTo>
                  <a:lnTo>
                    <a:pt x="180" y="252"/>
                  </a:lnTo>
                  <a:lnTo>
                    <a:pt x="180" y="258"/>
                  </a:lnTo>
                  <a:lnTo>
                    <a:pt x="174" y="258"/>
                  </a:lnTo>
                  <a:lnTo>
                    <a:pt x="174" y="264"/>
                  </a:lnTo>
                  <a:lnTo>
                    <a:pt x="180" y="264"/>
                  </a:lnTo>
                  <a:lnTo>
                    <a:pt x="186" y="264"/>
                  </a:lnTo>
                  <a:lnTo>
                    <a:pt x="186" y="258"/>
                  </a:lnTo>
                  <a:lnTo>
                    <a:pt x="192" y="258"/>
                  </a:lnTo>
                  <a:lnTo>
                    <a:pt x="186" y="258"/>
                  </a:lnTo>
                  <a:lnTo>
                    <a:pt x="186" y="252"/>
                  </a:lnTo>
                  <a:lnTo>
                    <a:pt x="192" y="252"/>
                  </a:lnTo>
                  <a:lnTo>
                    <a:pt x="198" y="252"/>
                  </a:lnTo>
                  <a:lnTo>
                    <a:pt x="198" y="258"/>
                  </a:lnTo>
                  <a:lnTo>
                    <a:pt x="198" y="264"/>
                  </a:lnTo>
                  <a:lnTo>
                    <a:pt x="198" y="270"/>
                  </a:lnTo>
                  <a:lnTo>
                    <a:pt x="204" y="270"/>
                  </a:lnTo>
                  <a:lnTo>
                    <a:pt x="204" y="276"/>
                  </a:lnTo>
                  <a:lnTo>
                    <a:pt x="210" y="276"/>
                  </a:lnTo>
                  <a:lnTo>
                    <a:pt x="204" y="276"/>
                  </a:lnTo>
                  <a:lnTo>
                    <a:pt x="198" y="276"/>
                  </a:lnTo>
                  <a:lnTo>
                    <a:pt x="204" y="276"/>
                  </a:lnTo>
                  <a:lnTo>
                    <a:pt x="204" y="282"/>
                  </a:lnTo>
                  <a:lnTo>
                    <a:pt x="210" y="282"/>
                  </a:lnTo>
                  <a:lnTo>
                    <a:pt x="216" y="282"/>
                  </a:lnTo>
                  <a:lnTo>
                    <a:pt x="210" y="276"/>
                  </a:lnTo>
                  <a:lnTo>
                    <a:pt x="216" y="276"/>
                  </a:lnTo>
                  <a:lnTo>
                    <a:pt x="216" y="282"/>
                  </a:lnTo>
                  <a:lnTo>
                    <a:pt x="222" y="282"/>
                  </a:lnTo>
                  <a:lnTo>
                    <a:pt x="222" y="288"/>
                  </a:lnTo>
                  <a:lnTo>
                    <a:pt x="222" y="294"/>
                  </a:lnTo>
                  <a:lnTo>
                    <a:pt x="222" y="300"/>
                  </a:lnTo>
                  <a:lnTo>
                    <a:pt x="222" y="306"/>
                  </a:lnTo>
                  <a:lnTo>
                    <a:pt x="222" y="312"/>
                  </a:lnTo>
                  <a:lnTo>
                    <a:pt x="222" y="318"/>
                  </a:lnTo>
                  <a:lnTo>
                    <a:pt x="222" y="324"/>
                  </a:lnTo>
                  <a:lnTo>
                    <a:pt x="228" y="324"/>
                  </a:lnTo>
                  <a:lnTo>
                    <a:pt x="228" y="330"/>
                  </a:lnTo>
                  <a:lnTo>
                    <a:pt x="222" y="330"/>
                  </a:lnTo>
                  <a:lnTo>
                    <a:pt x="222" y="336"/>
                  </a:lnTo>
                  <a:lnTo>
                    <a:pt x="216" y="336"/>
                  </a:lnTo>
                  <a:lnTo>
                    <a:pt x="216" y="342"/>
                  </a:lnTo>
                  <a:lnTo>
                    <a:pt x="210" y="342"/>
                  </a:lnTo>
                  <a:lnTo>
                    <a:pt x="204" y="342"/>
                  </a:lnTo>
                  <a:lnTo>
                    <a:pt x="198" y="348"/>
                  </a:lnTo>
                  <a:lnTo>
                    <a:pt x="192" y="348"/>
                  </a:lnTo>
                  <a:lnTo>
                    <a:pt x="186" y="354"/>
                  </a:lnTo>
                  <a:lnTo>
                    <a:pt x="186" y="360"/>
                  </a:lnTo>
                  <a:lnTo>
                    <a:pt x="180" y="360"/>
                  </a:lnTo>
                  <a:lnTo>
                    <a:pt x="174" y="360"/>
                  </a:lnTo>
                  <a:lnTo>
                    <a:pt x="174" y="366"/>
                  </a:lnTo>
                  <a:lnTo>
                    <a:pt x="174" y="372"/>
                  </a:lnTo>
                  <a:lnTo>
                    <a:pt x="168" y="372"/>
                  </a:lnTo>
                  <a:lnTo>
                    <a:pt x="168" y="378"/>
                  </a:lnTo>
                  <a:lnTo>
                    <a:pt x="162" y="378"/>
                  </a:lnTo>
                  <a:lnTo>
                    <a:pt x="156" y="378"/>
                  </a:lnTo>
                  <a:lnTo>
                    <a:pt x="156" y="384"/>
                  </a:lnTo>
                  <a:lnTo>
                    <a:pt x="150" y="384"/>
                  </a:lnTo>
                  <a:lnTo>
                    <a:pt x="150" y="390"/>
                  </a:lnTo>
                  <a:lnTo>
                    <a:pt x="144" y="390"/>
                  </a:lnTo>
                  <a:lnTo>
                    <a:pt x="144" y="396"/>
                  </a:lnTo>
                  <a:lnTo>
                    <a:pt x="144" y="402"/>
                  </a:lnTo>
                  <a:lnTo>
                    <a:pt x="150" y="408"/>
                  </a:lnTo>
                  <a:lnTo>
                    <a:pt x="150" y="414"/>
                  </a:lnTo>
                  <a:lnTo>
                    <a:pt x="150" y="420"/>
                  </a:lnTo>
                  <a:lnTo>
                    <a:pt x="156" y="420"/>
                  </a:lnTo>
                  <a:lnTo>
                    <a:pt x="150" y="420"/>
                  </a:lnTo>
                  <a:lnTo>
                    <a:pt x="150" y="426"/>
                  </a:lnTo>
                  <a:lnTo>
                    <a:pt x="156" y="426"/>
                  </a:lnTo>
                  <a:lnTo>
                    <a:pt x="156" y="432"/>
                  </a:lnTo>
                  <a:lnTo>
                    <a:pt x="156" y="438"/>
                  </a:lnTo>
                  <a:lnTo>
                    <a:pt x="150" y="438"/>
                  </a:lnTo>
                  <a:lnTo>
                    <a:pt x="150" y="444"/>
                  </a:lnTo>
                  <a:lnTo>
                    <a:pt x="144" y="450"/>
                  </a:lnTo>
                  <a:lnTo>
                    <a:pt x="144" y="456"/>
                  </a:lnTo>
                  <a:lnTo>
                    <a:pt x="138" y="456"/>
                  </a:lnTo>
                  <a:lnTo>
                    <a:pt x="138" y="462"/>
                  </a:lnTo>
                  <a:lnTo>
                    <a:pt x="132" y="462"/>
                  </a:lnTo>
                  <a:lnTo>
                    <a:pt x="132" y="468"/>
                  </a:lnTo>
                  <a:lnTo>
                    <a:pt x="126" y="468"/>
                  </a:lnTo>
                  <a:lnTo>
                    <a:pt x="120" y="474"/>
                  </a:lnTo>
                  <a:lnTo>
                    <a:pt x="114" y="474"/>
                  </a:lnTo>
                  <a:lnTo>
                    <a:pt x="114" y="468"/>
                  </a:lnTo>
                  <a:lnTo>
                    <a:pt x="108" y="462"/>
                  </a:lnTo>
                  <a:lnTo>
                    <a:pt x="108" y="456"/>
                  </a:lnTo>
                  <a:lnTo>
                    <a:pt x="108" y="450"/>
                  </a:lnTo>
                  <a:lnTo>
                    <a:pt x="108" y="444"/>
                  </a:lnTo>
                  <a:lnTo>
                    <a:pt x="108" y="438"/>
                  </a:lnTo>
                  <a:lnTo>
                    <a:pt x="102" y="432"/>
                  </a:lnTo>
                  <a:lnTo>
                    <a:pt x="102" y="426"/>
                  </a:lnTo>
                  <a:lnTo>
                    <a:pt x="102" y="420"/>
                  </a:lnTo>
                  <a:lnTo>
                    <a:pt x="96" y="414"/>
                  </a:lnTo>
                  <a:lnTo>
                    <a:pt x="96" y="408"/>
                  </a:lnTo>
                  <a:lnTo>
                    <a:pt x="96" y="402"/>
                  </a:lnTo>
                  <a:lnTo>
                    <a:pt x="96" y="396"/>
                  </a:lnTo>
                  <a:lnTo>
                    <a:pt x="96" y="390"/>
                  </a:lnTo>
                  <a:lnTo>
                    <a:pt x="90" y="384"/>
                  </a:lnTo>
                  <a:lnTo>
                    <a:pt x="90" y="378"/>
                  </a:lnTo>
                  <a:lnTo>
                    <a:pt x="90" y="372"/>
                  </a:lnTo>
                  <a:lnTo>
                    <a:pt x="90" y="360"/>
                  </a:lnTo>
                  <a:lnTo>
                    <a:pt x="84" y="354"/>
                  </a:lnTo>
                  <a:lnTo>
                    <a:pt x="78" y="354"/>
                  </a:lnTo>
                  <a:lnTo>
                    <a:pt x="78" y="348"/>
                  </a:lnTo>
                  <a:lnTo>
                    <a:pt x="72" y="348"/>
                  </a:lnTo>
                  <a:lnTo>
                    <a:pt x="66" y="342"/>
                  </a:lnTo>
                  <a:lnTo>
                    <a:pt x="60" y="336"/>
                  </a:lnTo>
                  <a:lnTo>
                    <a:pt x="54" y="330"/>
                  </a:lnTo>
                  <a:lnTo>
                    <a:pt x="48" y="330"/>
                  </a:lnTo>
                  <a:lnTo>
                    <a:pt x="42" y="318"/>
                  </a:lnTo>
                  <a:lnTo>
                    <a:pt x="42" y="312"/>
                  </a:lnTo>
                  <a:lnTo>
                    <a:pt x="42" y="306"/>
                  </a:lnTo>
                  <a:lnTo>
                    <a:pt x="36" y="294"/>
                  </a:lnTo>
                  <a:lnTo>
                    <a:pt x="30" y="288"/>
                  </a:lnTo>
                  <a:lnTo>
                    <a:pt x="24" y="288"/>
                  </a:lnTo>
                  <a:lnTo>
                    <a:pt x="18" y="282"/>
                  </a:lnTo>
                  <a:lnTo>
                    <a:pt x="12" y="276"/>
                  </a:lnTo>
                  <a:lnTo>
                    <a:pt x="12" y="270"/>
                  </a:lnTo>
                  <a:lnTo>
                    <a:pt x="6" y="264"/>
                  </a:lnTo>
                  <a:lnTo>
                    <a:pt x="6" y="258"/>
                  </a:lnTo>
                  <a:lnTo>
                    <a:pt x="6" y="252"/>
                  </a:lnTo>
                  <a:lnTo>
                    <a:pt x="0" y="246"/>
                  </a:lnTo>
                  <a:lnTo>
                    <a:pt x="0" y="240"/>
                  </a:lnTo>
                  <a:lnTo>
                    <a:pt x="0" y="234"/>
                  </a:lnTo>
                  <a:lnTo>
                    <a:pt x="0" y="228"/>
                  </a:lnTo>
                  <a:lnTo>
                    <a:pt x="0" y="222"/>
                  </a:lnTo>
                  <a:lnTo>
                    <a:pt x="6" y="222"/>
                  </a:lnTo>
                  <a:lnTo>
                    <a:pt x="6" y="216"/>
                  </a:lnTo>
                  <a:lnTo>
                    <a:pt x="12" y="216"/>
                  </a:lnTo>
                  <a:lnTo>
                    <a:pt x="12" y="210"/>
                  </a:lnTo>
                  <a:lnTo>
                    <a:pt x="18" y="210"/>
                  </a:lnTo>
                  <a:lnTo>
                    <a:pt x="18" y="204"/>
                  </a:lnTo>
                  <a:lnTo>
                    <a:pt x="24" y="198"/>
                  </a:lnTo>
                  <a:lnTo>
                    <a:pt x="30" y="198"/>
                  </a:lnTo>
                  <a:lnTo>
                    <a:pt x="30" y="192"/>
                  </a:lnTo>
                  <a:lnTo>
                    <a:pt x="36" y="192"/>
                  </a:lnTo>
                  <a:lnTo>
                    <a:pt x="36" y="186"/>
                  </a:lnTo>
                  <a:lnTo>
                    <a:pt x="42" y="186"/>
                  </a:lnTo>
                  <a:lnTo>
                    <a:pt x="42" y="180"/>
                  </a:lnTo>
                  <a:lnTo>
                    <a:pt x="42" y="174"/>
                  </a:lnTo>
                  <a:lnTo>
                    <a:pt x="42" y="168"/>
                  </a:lnTo>
                  <a:lnTo>
                    <a:pt x="42" y="162"/>
                  </a:lnTo>
                  <a:lnTo>
                    <a:pt x="42" y="156"/>
                  </a:lnTo>
                  <a:lnTo>
                    <a:pt x="48" y="156"/>
                  </a:lnTo>
                  <a:lnTo>
                    <a:pt x="48" y="150"/>
                  </a:lnTo>
                  <a:lnTo>
                    <a:pt x="48" y="144"/>
                  </a:lnTo>
                  <a:lnTo>
                    <a:pt x="54" y="144"/>
                  </a:lnTo>
                  <a:lnTo>
                    <a:pt x="48" y="144"/>
                  </a:lnTo>
                  <a:lnTo>
                    <a:pt x="42" y="144"/>
                  </a:lnTo>
                  <a:lnTo>
                    <a:pt x="42" y="138"/>
                  </a:lnTo>
                  <a:lnTo>
                    <a:pt x="42" y="132"/>
                  </a:lnTo>
                  <a:lnTo>
                    <a:pt x="48" y="132"/>
                  </a:lnTo>
                  <a:lnTo>
                    <a:pt x="48" y="126"/>
                  </a:lnTo>
                  <a:lnTo>
                    <a:pt x="48" y="120"/>
                  </a:lnTo>
                  <a:lnTo>
                    <a:pt x="48" y="114"/>
                  </a:lnTo>
                  <a:lnTo>
                    <a:pt x="42" y="114"/>
                  </a:lnTo>
                  <a:lnTo>
                    <a:pt x="42" y="108"/>
                  </a:lnTo>
                  <a:lnTo>
                    <a:pt x="42" y="102"/>
                  </a:lnTo>
                  <a:lnTo>
                    <a:pt x="42" y="96"/>
                  </a:lnTo>
                  <a:lnTo>
                    <a:pt x="42" y="90"/>
                  </a:lnTo>
                  <a:lnTo>
                    <a:pt x="42" y="84"/>
                  </a:lnTo>
                  <a:lnTo>
                    <a:pt x="48" y="84"/>
                  </a:lnTo>
                  <a:lnTo>
                    <a:pt x="42" y="84"/>
                  </a:lnTo>
                  <a:lnTo>
                    <a:pt x="42" y="78"/>
                  </a:lnTo>
                  <a:lnTo>
                    <a:pt x="48" y="78"/>
                  </a:lnTo>
                  <a:lnTo>
                    <a:pt x="42" y="72"/>
                  </a:lnTo>
                  <a:lnTo>
                    <a:pt x="48" y="72"/>
                  </a:lnTo>
                  <a:lnTo>
                    <a:pt x="48" y="66"/>
                  </a:lnTo>
                  <a:lnTo>
                    <a:pt x="48" y="60"/>
                  </a:lnTo>
                  <a:lnTo>
                    <a:pt x="42" y="60"/>
                  </a:lnTo>
                  <a:lnTo>
                    <a:pt x="36" y="60"/>
                  </a:lnTo>
                  <a:lnTo>
                    <a:pt x="36" y="54"/>
                  </a:lnTo>
                  <a:lnTo>
                    <a:pt x="42" y="54"/>
                  </a:lnTo>
                  <a:lnTo>
                    <a:pt x="48" y="54"/>
                  </a:lnTo>
                  <a:lnTo>
                    <a:pt x="48" y="48"/>
                  </a:lnTo>
                  <a:lnTo>
                    <a:pt x="54" y="48"/>
                  </a:lnTo>
                  <a:lnTo>
                    <a:pt x="54" y="42"/>
                  </a:lnTo>
                  <a:lnTo>
                    <a:pt x="48" y="42"/>
                  </a:lnTo>
                  <a:lnTo>
                    <a:pt x="54" y="42"/>
                  </a:lnTo>
                  <a:lnTo>
                    <a:pt x="54" y="36"/>
                  </a:lnTo>
                  <a:lnTo>
                    <a:pt x="60" y="36"/>
                  </a:lnTo>
                  <a:lnTo>
                    <a:pt x="66" y="36"/>
                  </a:lnTo>
                  <a:lnTo>
                    <a:pt x="60" y="36"/>
                  </a:lnTo>
                  <a:lnTo>
                    <a:pt x="60" y="30"/>
                  </a:lnTo>
                  <a:close/>
                  <a:moveTo>
                    <a:pt x="180" y="246"/>
                  </a:moveTo>
                  <a:lnTo>
                    <a:pt x="180" y="240"/>
                  </a:lnTo>
                  <a:lnTo>
                    <a:pt x="180" y="234"/>
                  </a:lnTo>
                  <a:lnTo>
                    <a:pt x="186" y="234"/>
                  </a:lnTo>
                  <a:lnTo>
                    <a:pt x="192" y="240"/>
                  </a:lnTo>
                  <a:lnTo>
                    <a:pt x="192" y="234"/>
                  </a:lnTo>
                  <a:lnTo>
                    <a:pt x="192" y="240"/>
                  </a:lnTo>
                  <a:lnTo>
                    <a:pt x="198" y="240"/>
                  </a:lnTo>
                  <a:lnTo>
                    <a:pt x="198" y="246"/>
                  </a:lnTo>
                  <a:lnTo>
                    <a:pt x="192" y="246"/>
                  </a:lnTo>
                  <a:lnTo>
                    <a:pt x="192" y="252"/>
                  </a:lnTo>
                  <a:lnTo>
                    <a:pt x="192" y="246"/>
                  </a:lnTo>
                  <a:lnTo>
                    <a:pt x="186" y="252"/>
                  </a:lnTo>
                  <a:lnTo>
                    <a:pt x="186" y="246"/>
                  </a:lnTo>
                  <a:lnTo>
                    <a:pt x="180" y="246"/>
                  </a:lnTo>
                  <a:close/>
                  <a:moveTo>
                    <a:pt x="198" y="174"/>
                  </a:moveTo>
                  <a:lnTo>
                    <a:pt x="210" y="174"/>
                  </a:lnTo>
                  <a:lnTo>
                    <a:pt x="210" y="186"/>
                  </a:lnTo>
                  <a:lnTo>
                    <a:pt x="198" y="186"/>
                  </a:lnTo>
                  <a:lnTo>
                    <a:pt x="198" y="174"/>
                  </a:lnTo>
                  <a:close/>
                  <a:moveTo>
                    <a:pt x="192" y="180"/>
                  </a:moveTo>
                  <a:lnTo>
                    <a:pt x="198" y="180"/>
                  </a:lnTo>
                  <a:lnTo>
                    <a:pt x="198" y="186"/>
                  </a:lnTo>
                  <a:lnTo>
                    <a:pt x="192" y="186"/>
                  </a:lnTo>
                  <a:lnTo>
                    <a:pt x="192" y="18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7" name="Freeform 41"/>
            <p:cNvSpPr>
              <a:spLocks noEditPoints="1"/>
            </p:cNvSpPr>
            <p:nvPr>
              <p:custDataLst>
                <p:tags r:id="rId90"/>
              </p:custDataLst>
            </p:nvPr>
          </p:nvSpPr>
          <p:spPr bwMode="gray">
            <a:xfrm>
              <a:off x="6173788" y="4435476"/>
              <a:ext cx="496888" cy="996950"/>
            </a:xfrm>
            <a:custGeom>
              <a:avLst/>
              <a:gdLst>
                <a:gd name="T0" fmla="*/ 1928 w 402"/>
                <a:gd name="T1" fmla="*/ 202617 h 804"/>
                <a:gd name="T2" fmla="*/ 6747 w 402"/>
                <a:gd name="T3" fmla="*/ 195831 h 804"/>
                <a:gd name="T4" fmla="*/ 12532 w 402"/>
                <a:gd name="T5" fmla="*/ 190014 h 804"/>
                <a:gd name="T6" fmla="*/ 17351 w 402"/>
                <a:gd name="T7" fmla="*/ 175472 h 804"/>
                <a:gd name="T8" fmla="*/ 23135 w 402"/>
                <a:gd name="T9" fmla="*/ 165778 h 804"/>
                <a:gd name="T10" fmla="*/ 23135 w 402"/>
                <a:gd name="T11" fmla="*/ 158022 h 804"/>
                <a:gd name="T12" fmla="*/ 21207 w 402"/>
                <a:gd name="T13" fmla="*/ 145419 h 804"/>
                <a:gd name="T14" fmla="*/ 17351 w 402"/>
                <a:gd name="T15" fmla="*/ 129908 h 804"/>
                <a:gd name="T16" fmla="*/ 14460 w 402"/>
                <a:gd name="T17" fmla="*/ 117305 h 804"/>
                <a:gd name="T18" fmla="*/ 17351 w 402"/>
                <a:gd name="T19" fmla="*/ 106640 h 804"/>
                <a:gd name="T20" fmla="*/ 21207 w 402"/>
                <a:gd name="T21" fmla="*/ 100824 h 804"/>
                <a:gd name="T22" fmla="*/ 26026 w 402"/>
                <a:gd name="T23" fmla="*/ 85313 h 804"/>
                <a:gd name="T24" fmla="*/ 35666 w 402"/>
                <a:gd name="T25" fmla="*/ 85313 h 804"/>
                <a:gd name="T26" fmla="*/ 42414 w 402"/>
                <a:gd name="T27" fmla="*/ 81435 h 804"/>
                <a:gd name="T28" fmla="*/ 51089 w 402"/>
                <a:gd name="T29" fmla="*/ 76587 h 804"/>
                <a:gd name="T30" fmla="*/ 54945 w 402"/>
                <a:gd name="T31" fmla="*/ 78527 h 804"/>
                <a:gd name="T32" fmla="*/ 59764 w 402"/>
                <a:gd name="T33" fmla="*/ 81435 h 804"/>
                <a:gd name="T34" fmla="*/ 63621 w 402"/>
                <a:gd name="T35" fmla="*/ 81435 h 804"/>
                <a:gd name="T36" fmla="*/ 71332 w 402"/>
                <a:gd name="T37" fmla="*/ 65924 h 804"/>
                <a:gd name="T38" fmla="*/ 76152 w 402"/>
                <a:gd name="T39" fmla="*/ 70770 h 804"/>
                <a:gd name="T40" fmla="*/ 78079 w 402"/>
                <a:gd name="T41" fmla="*/ 62045 h 804"/>
                <a:gd name="T42" fmla="*/ 84828 w 402"/>
                <a:gd name="T43" fmla="*/ 60107 h 804"/>
                <a:gd name="T44" fmla="*/ 88683 w 402"/>
                <a:gd name="T45" fmla="*/ 53321 h 804"/>
                <a:gd name="T46" fmla="*/ 90611 w 402"/>
                <a:gd name="T47" fmla="*/ 53321 h 804"/>
                <a:gd name="T48" fmla="*/ 93503 w 402"/>
                <a:gd name="T49" fmla="*/ 44595 h 804"/>
                <a:gd name="T50" fmla="*/ 93503 w 402"/>
                <a:gd name="T51" fmla="*/ 46534 h 804"/>
                <a:gd name="T52" fmla="*/ 95431 w 402"/>
                <a:gd name="T53" fmla="*/ 40718 h 804"/>
                <a:gd name="T54" fmla="*/ 90611 w 402"/>
                <a:gd name="T55" fmla="*/ 33931 h 804"/>
                <a:gd name="T56" fmla="*/ 99286 w 402"/>
                <a:gd name="T57" fmla="*/ 36840 h 804"/>
                <a:gd name="T58" fmla="*/ 104106 w 402"/>
                <a:gd name="T59" fmla="*/ 31992 h 804"/>
                <a:gd name="T60" fmla="*/ 107962 w 402"/>
                <a:gd name="T61" fmla="*/ 27145 h 804"/>
                <a:gd name="T62" fmla="*/ 111818 w 402"/>
                <a:gd name="T63" fmla="*/ 12603 h 804"/>
                <a:gd name="T64" fmla="*/ 113746 w 402"/>
                <a:gd name="T65" fmla="*/ 6786 h 804"/>
                <a:gd name="T66" fmla="*/ 118565 w 402"/>
                <a:gd name="T67" fmla="*/ 1939 h 804"/>
                <a:gd name="T68" fmla="*/ 120493 w 402"/>
                <a:gd name="T69" fmla="*/ 0 h 804"/>
                <a:gd name="T70" fmla="*/ 120493 w 402"/>
                <a:gd name="T71" fmla="*/ 6786 h 804"/>
                <a:gd name="T72" fmla="*/ 124349 w 402"/>
                <a:gd name="T73" fmla="*/ 12603 h 804"/>
                <a:gd name="T74" fmla="*/ 131096 w 402"/>
                <a:gd name="T75" fmla="*/ 26175 h 804"/>
                <a:gd name="T76" fmla="*/ 134953 w 402"/>
                <a:gd name="T77" fmla="*/ 44595 h 804"/>
                <a:gd name="T78" fmla="*/ 138808 w 402"/>
                <a:gd name="T79" fmla="*/ 62045 h 804"/>
                <a:gd name="T80" fmla="*/ 137845 w 402"/>
                <a:gd name="T81" fmla="*/ 78527 h 804"/>
                <a:gd name="T82" fmla="*/ 124349 w 402"/>
                <a:gd name="T83" fmla="*/ 72710 h 804"/>
                <a:gd name="T84" fmla="*/ 129169 w 402"/>
                <a:gd name="T85" fmla="*/ 90159 h 804"/>
                <a:gd name="T86" fmla="*/ 124349 w 402"/>
                <a:gd name="T87" fmla="*/ 101793 h 804"/>
                <a:gd name="T88" fmla="*/ 122421 w 402"/>
                <a:gd name="T89" fmla="*/ 124091 h 804"/>
                <a:gd name="T90" fmla="*/ 115674 w 402"/>
                <a:gd name="T91" fmla="*/ 143480 h 804"/>
                <a:gd name="T92" fmla="*/ 107962 w 402"/>
                <a:gd name="T93" fmla="*/ 165778 h 804"/>
                <a:gd name="T94" fmla="*/ 101214 w 402"/>
                <a:gd name="T95" fmla="*/ 190014 h 804"/>
                <a:gd name="T96" fmla="*/ 93503 w 402"/>
                <a:gd name="T97" fmla="*/ 213281 h 804"/>
                <a:gd name="T98" fmla="*/ 86756 w 402"/>
                <a:gd name="T99" fmla="*/ 239456 h 804"/>
                <a:gd name="T100" fmla="*/ 81935 w 402"/>
                <a:gd name="T101" fmla="*/ 255937 h 804"/>
                <a:gd name="T102" fmla="*/ 74224 w 402"/>
                <a:gd name="T103" fmla="*/ 273388 h 804"/>
                <a:gd name="T104" fmla="*/ 59764 w 402"/>
                <a:gd name="T105" fmla="*/ 277265 h 804"/>
                <a:gd name="T106" fmla="*/ 35666 w 402"/>
                <a:gd name="T107" fmla="*/ 284052 h 804"/>
                <a:gd name="T108" fmla="*/ 19279 w 402"/>
                <a:gd name="T109" fmla="*/ 275326 h 804"/>
                <a:gd name="T110" fmla="*/ 8675 w 402"/>
                <a:gd name="T111" fmla="*/ 253999 h 804"/>
                <a:gd name="T112" fmla="*/ 8675 w 402"/>
                <a:gd name="T113" fmla="*/ 234610 h 804"/>
                <a:gd name="T114" fmla="*/ 0 w 402"/>
                <a:gd name="T115" fmla="*/ 213281 h 804"/>
                <a:gd name="T116" fmla="*/ 99286 w 402"/>
                <a:gd name="T117" fmla="*/ 30053 h 804"/>
                <a:gd name="T118" fmla="*/ 131096 w 402"/>
                <a:gd name="T119" fmla="*/ 100824 h 804"/>
                <a:gd name="T120" fmla="*/ 104106 w 402"/>
                <a:gd name="T121" fmla="*/ 17450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02" h="804">
                  <a:moveTo>
                    <a:pt x="0" y="600"/>
                  </a:moveTo>
                  <a:lnTo>
                    <a:pt x="0" y="594"/>
                  </a:lnTo>
                  <a:lnTo>
                    <a:pt x="0" y="600"/>
                  </a:lnTo>
                  <a:lnTo>
                    <a:pt x="6" y="600"/>
                  </a:lnTo>
                  <a:lnTo>
                    <a:pt x="6" y="594"/>
                  </a:lnTo>
                  <a:lnTo>
                    <a:pt x="0" y="594"/>
                  </a:lnTo>
                  <a:lnTo>
                    <a:pt x="0" y="588"/>
                  </a:lnTo>
                  <a:lnTo>
                    <a:pt x="0" y="582"/>
                  </a:lnTo>
                  <a:lnTo>
                    <a:pt x="6" y="582"/>
                  </a:lnTo>
                  <a:lnTo>
                    <a:pt x="6" y="576"/>
                  </a:lnTo>
                  <a:lnTo>
                    <a:pt x="6" y="582"/>
                  </a:lnTo>
                  <a:lnTo>
                    <a:pt x="6" y="576"/>
                  </a:lnTo>
                  <a:lnTo>
                    <a:pt x="6" y="570"/>
                  </a:lnTo>
                  <a:lnTo>
                    <a:pt x="12" y="564"/>
                  </a:lnTo>
                  <a:lnTo>
                    <a:pt x="18" y="564"/>
                  </a:lnTo>
                  <a:lnTo>
                    <a:pt x="12" y="564"/>
                  </a:lnTo>
                  <a:lnTo>
                    <a:pt x="12" y="558"/>
                  </a:lnTo>
                  <a:lnTo>
                    <a:pt x="12" y="564"/>
                  </a:lnTo>
                  <a:lnTo>
                    <a:pt x="18" y="558"/>
                  </a:lnTo>
                  <a:lnTo>
                    <a:pt x="12" y="558"/>
                  </a:lnTo>
                  <a:lnTo>
                    <a:pt x="18" y="558"/>
                  </a:lnTo>
                  <a:lnTo>
                    <a:pt x="12" y="558"/>
                  </a:lnTo>
                  <a:lnTo>
                    <a:pt x="18" y="558"/>
                  </a:lnTo>
                  <a:lnTo>
                    <a:pt x="12" y="558"/>
                  </a:lnTo>
                  <a:lnTo>
                    <a:pt x="12" y="552"/>
                  </a:lnTo>
                  <a:lnTo>
                    <a:pt x="18" y="552"/>
                  </a:lnTo>
                  <a:lnTo>
                    <a:pt x="12" y="552"/>
                  </a:lnTo>
                  <a:lnTo>
                    <a:pt x="12" y="546"/>
                  </a:lnTo>
                  <a:lnTo>
                    <a:pt x="12" y="552"/>
                  </a:lnTo>
                  <a:lnTo>
                    <a:pt x="18" y="546"/>
                  </a:lnTo>
                  <a:lnTo>
                    <a:pt x="12" y="546"/>
                  </a:lnTo>
                  <a:lnTo>
                    <a:pt x="18" y="546"/>
                  </a:lnTo>
                  <a:lnTo>
                    <a:pt x="18" y="540"/>
                  </a:lnTo>
                  <a:lnTo>
                    <a:pt x="18" y="546"/>
                  </a:lnTo>
                  <a:lnTo>
                    <a:pt x="18" y="540"/>
                  </a:lnTo>
                  <a:lnTo>
                    <a:pt x="24" y="540"/>
                  </a:lnTo>
                  <a:lnTo>
                    <a:pt x="30" y="540"/>
                  </a:lnTo>
                  <a:lnTo>
                    <a:pt x="30" y="534"/>
                  </a:lnTo>
                  <a:lnTo>
                    <a:pt x="36" y="534"/>
                  </a:lnTo>
                  <a:lnTo>
                    <a:pt x="36" y="528"/>
                  </a:lnTo>
                  <a:lnTo>
                    <a:pt x="36" y="522"/>
                  </a:lnTo>
                  <a:lnTo>
                    <a:pt x="36" y="516"/>
                  </a:lnTo>
                  <a:lnTo>
                    <a:pt x="42" y="516"/>
                  </a:lnTo>
                  <a:lnTo>
                    <a:pt x="36" y="516"/>
                  </a:lnTo>
                  <a:lnTo>
                    <a:pt x="42" y="516"/>
                  </a:lnTo>
                  <a:lnTo>
                    <a:pt x="42" y="510"/>
                  </a:lnTo>
                  <a:lnTo>
                    <a:pt x="48" y="510"/>
                  </a:lnTo>
                  <a:lnTo>
                    <a:pt x="42" y="510"/>
                  </a:lnTo>
                  <a:lnTo>
                    <a:pt x="48" y="510"/>
                  </a:lnTo>
                  <a:lnTo>
                    <a:pt x="48" y="504"/>
                  </a:lnTo>
                  <a:lnTo>
                    <a:pt x="48" y="498"/>
                  </a:lnTo>
                  <a:lnTo>
                    <a:pt x="48" y="492"/>
                  </a:lnTo>
                  <a:lnTo>
                    <a:pt x="54" y="492"/>
                  </a:lnTo>
                  <a:lnTo>
                    <a:pt x="48" y="492"/>
                  </a:lnTo>
                  <a:lnTo>
                    <a:pt x="48" y="498"/>
                  </a:lnTo>
                  <a:lnTo>
                    <a:pt x="48" y="492"/>
                  </a:lnTo>
                  <a:lnTo>
                    <a:pt x="54" y="492"/>
                  </a:lnTo>
                  <a:lnTo>
                    <a:pt x="54" y="486"/>
                  </a:lnTo>
                  <a:lnTo>
                    <a:pt x="54" y="492"/>
                  </a:lnTo>
                  <a:lnTo>
                    <a:pt x="54" y="486"/>
                  </a:lnTo>
                  <a:lnTo>
                    <a:pt x="60" y="486"/>
                  </a:lnTo>
                  <a:lnTo>
                    <a:pt x="60" y="480"/>
                  </a:lnTo>
                  <a:lnTo>
                    <a:pt x="60" y="474"/>
                  </a:lnTo>
                  <a:lnTo>
                    <a:pt x="66" y="474"/>
                  </a:lnTo>
                  <a:lnTo>
                    <a:pt x="66" y="468"/>
                  </a:lnTo>
                  <a:lnTo>
                    <a:pt x="72" y="468"/>
                  </a:lnTo>
                  <a:lnTo>
                    <a:pt x="66" y="468"/>
                  </a:lnTo>
                  <a:lnTo>
                    <a:pt x="72" y="462"/>
                  </a:lnTo>
                  <a:lnTo>
                    <a:pt x="72" y="468"/>
                  </a:lnTo>
                  <a:lnTo>
                    <a:pt x="72" y="462"/>
                  </a:lnTo>
                  <a:lnTo>
                    <a:pt x="72" y="468"/>
                  </a:lnTo>
                  <a:lnTo>
                    <a:pt x="72" y="462"/>
                  </a:lnTo>
                  <a:lnTo>
                    <a:pt x="72" y="456"/>
                  </a:lnTo>
                  <a:lnTo>
                    <a:pt x="66" y="456"/>
                  </a:lnTo>
                  <a:lnTo>
                    <a:pt x="72" y="456"/>
                  </a:lnTo>
                  <a:lnTo>
                    <a:pt x="66" y="456"/>
                  </a:lnTo>
                  <a:lnTo>
                    <a:pt x="66" y="450"/>
                  </a:lnTo>
                  <a:lnTo>
                    <a:pt x="66" y="444"/>
                  </a:lnTo>
                  <a:lnTo>
                    <a:pt x="66" y="450"/>
                  </a:lnTo>
                  <a:lnTo>
                    <a:pt x="66" y="444"/>
                  </a:lnTo>
                  <a:lnTo>
                    <a:pt x="66" y="438"/>
                  </a:lnTo>
                  <a:lnTo>
                    <a:pt x="72" y="438"/>
                  </a:lnTo>
                  <a:lnTo>
                    <a:pt x="72" y="432"/>
                  </a:lnTo>
                  <a:lnTo>
                    <a:pt x="66" y="432"/>
                  </a:lnTo>
                  <a:lnTo>
                    <a:pt x="66" y="426"/>
                  </a:lnTo>
                  <a:lnTo>
                    <a:pt x="66" y="420"/>
                  </a:lnTo>
                  <a:lnTo>
                    <a:pt x="60" y="420"/>
                  </a:lnTo>
                  <a:lnTo>
                    <a:pt x="60" y="414"/>
                  </a:lnTo>
                  <a:lnTo>
                    <a:pt x="60" y="408"/>
                  </a:lnTo>
                  <a:lnTo>
                    <a:pt x="60" y="414"/>
                  </a:lnTo>
                  <a:lnTo>
                    <a:pt x="60" y="408"/>
                  </a:lnTo>
                  <a:lnTo>
                    <a:pt x="54" y="408"/>
                  </a:lnTo>
                  <a:lnTo>
                    <a:pt x="60" y="408"/>
                  </a:lnTo>
                  <a:lnTo>
                    <a:pt x="54" y="408"/>
                  </a:lnTo>
                  <a:lnTo>
                    <a:pt x="54" y="402"/>
                  </a:lnTo>
                  <a:lnTo>
                    <a:pt x="60" y="402"/>
                  </a:lnTo>
                  <a:lnTo>
                    <a:pt x="60" y="396"/>
                  </a:lnTo>
                  <a:lnTo>
                    <a:pt x="60" y="390"/>
                  </a:lnTo>
                  <a:lnTo>
                    <a:pt x="54" y="390"/>
                  </a:lnTo>
                  <a:lnTo>
                    <a:pt x="54" y="384"/>
                  </a:lnTo>
                  <a:lnTo>
                    <a:pt x="54" y="378"/>
                  </a:lnTo>
                  <a:lnTo>
                    <a:pt x="48" y="378"/>
                  </a:lnTo>
                  <a:lnTo>
                    <a:pt x="48" y="372"/>
                  </a:lnTo>
                  <a:lnTo>
                    <a:pt x="48" y="366"/>
                  </a:lnTo>
                  <a:lnTo>
                    <a:pt x="48" y="360"/>
                  </a:lnTo>
                  <a:lnTo>
                    <a:pt x="48" y="354"/>
                  </a:lnTo>
                  <a:lnTo>
                    <a:pt x="42" y="354"/>
                  </a:lnTo>
                  <a:lnTo>
                    <a:pt x="48" y="354"/>
                  </a:lnTo>
                  <a:lnTo>
                    <a:pt x="42" y="354"/>
                  </a:lnTo>
                  <a:lnTo>
                    <a:pt x="48" y="354"/>
                  </a:lnTo>
                  <a:lnTo>
                    <a:pt x="42" y="354"/>
                  </a:lnTo>
                  <a:lnTo>
                    <a:pt x="42" y="348"/>
                  </a:lnTo>
                  <a:lnTo>
                    <a:pt x="42" y="342"/>
                  </a:lnTo>
                  <a:lnTo>
                    <a:pt x="48" y="342"/>
                  </a:lnTo>
                  <a:lnTo>
                    <a:pt x="48" y="336"/>
                  </a:lnTo>
                  <a:lnTo>
                    <a:pt x="48" y="330"/>
                  </a:lnTo>
                  <a:lnTo>
                    <a:pt x="42" y="330"/>
                  </a:lnTo>
                  <a:lnTo>
                    <a:pt x="48" y="330"/>
                  </a:lnTo>
                  <a:lnTo>
                    <a:pt x="42" y="330"/>
                  </a:lnTo>
                  <a:lnTo>
                    <a:pt x="42" y="324"/>
                  </a:lnTo>
                  <a:lnTo>
                    <a:pt x="42" y="318"/>
                  </a:lnTo>
                  <a:lnTo>
                    <a:pt x="42" y="312"/>
                  </a:lnTo>
                  <a:lnTo>
                    <a:pt x="42" y="306"/>
                  </a:lnTo>
                  <a:lnTo>
                    <a:pt x="42" y="312"/>
                  </a:lnTo>
                  <a:lnTo>
                    <a:pt x="48" y="312"/>
                  </a:lnTo>
                  <a:lnTo>
                    <a:pt x="48" y="306"/>
                  </a:lnTo>
                  <a:lnTo>
                    <a:pt x="48" y="312"/>
                  </a:lnTo>
                  <a:lnTo>
                    <a:pt x="42" y="312"/>
                  </a:lnTo>
                  <a:lnTo>
                    <a:pt x="48" y="306"/>
                  </a:lnTo>
                  <a:lnTo>
                    <a:pt x="48" y="300"/>
                  </a:lnTo>
                  <a:lnTo>
                    <a:pt x="54" y="300"/>
                  </a:lnTo>
                  <a:lnTo>
                    <a:pt x="48" y="300"/>
                  </a:lnTo>
                  <a:lnTo>
                    <a:pt x="48" y="294"/>
                  </a:lnTo>
                  <a:lnTo>
                    <a:pt x="54" y="294"/>
                  </a:lnTo>
                  <a:lnTo>
                    <a:pt x="54" y="300"/>
                  </a:lnTo>
                  <a:lnTo>
                    <a:pt x="54" y="294"/>
                  </a:lnTo>
                  <a:lnTo>
                    <a:pt x="48" y="294"/>
                  </a:lnTo>
                  <a:lnTo>
                    <a:pt x="54" y="294"/>
                  </a:lnTo>
                  <a:lnTo>
                    <a:pt x="54" y="288"/>
                  </a:lnTo>
                  <a:lnTo>
                    <a:pt x="54" y="294"/>
                  </a:lnTo>
                  <a:lnTo>
                    <a:pt x="54" y="288"/>
                  </a:lnTo>
                  <a:lnTo>
                    <a:pt x="60" y="288"/>
                  </a:lnTo>
                  <a:lnTo>
                    <a:pt x="60" y="282"/>
                  </a:lnTo>
                  <a:lnTo>
                    <a:pt x="60" y="288"/>
                  </a:lnTo>
                  <a:lnTo>
                    <a:pt x="60" y="282"/>
                  </a:lnTo>
                  <a:lnTo>
                    <a:pt x="60" y="276"/>
                  </a:lnTo>
                  <a:lnTo>
                    <a:pt x="66" y="276"/>
                  </a:lnTo>
                  <a:lnTo>
                    <a:pt x="66" y="270"/>
                  </a:lnTo>
                  <a:lnTo>
                    <a:pt x="66" y="264"/>
                  </a:lnTo>
                  <a:lnTo>
                    <a:pt x="72" y="264"/>
                  </a:lnTo>
                  <a:lnTo>
                    <a:pt x="72" y="258"/>
                  </a:lnTo>
                  <a:lnTo>
                    <a:pt x="66" y="258"/>
                  </a:lnTo>
                  <a:lnTo>
                    <a:pt x="66" y="252"/>
                  </a:lnTo>
                  <a:lnTo>
                    <a:pt x="66" y="246"/>
                  </a:lnTo>
                  <a:lnTo>
                    <a:pt x="66" y="240"/>
                  </a:lnTo>
                  <a:lnTo>
                    <a:pt x="72" y="240"/>
                  </a:lnTo>
                  <a:lnTo>
                    <a:pt x="72" y="246"/>
                  </a:lnTo>
                  <a:lnTo>
                    <a:pt x="72" y="240"/>
                  </a:lnTo>
                  <a:lnTo>
                    <a:pt x="78" y="240"/>
                  </a:lnTo>
                  <a:lnTo>
                    <a:pt x="84" y="240"/>
                  </a:lnTo>
                  <a:lnTo>
                    <a:pt x="90" y="240"/>
                  </a:lnTo>
                  <a:lnTo>
                    <a:pt x="90" y="246"/>
                  </a:lnTo>
                  <a:lnTo>
                    <a:pt x="90" y="240"/>
                  </a:lnTo>
                  <a:lnTo>
                    <a:pt x="96" y="240"/>
                  </a:lnTo>
                  <a:lnTo>
                    <a:pt x="102" y="240"/>
                  </a:lnTo>
                  <a:lnTo>
                    <a:pt x="96" y="240"/>
                  </a:lnTo>
                  <a:lnTo>
                    <a:pt x="102" y="240"/>
                  </a:lnTo>
                  <a:lnTo>
                    <a:pt x="102" y="234"/>
                  </a:lnTo>
                  <a:lnTo>
                    <a:pt x="102" y="240"/>
                  </a:lnTo>
                  <a:lnTo>
                    <a:pt x="102" y="234"/>
                  </a:lnTo>
                  <a:lnTo>
                    <a:pt x="108" y="234"/>
                  </a:lnTo>
                  <a:lnTo>
                    <a:pt x="108" y="228"/>
                  </a:lnTo>
                  <a:lnTo>
                    <a:pt x="108" y="234"/>
                  </a:lnTo>
                  <a:lnTo>
                    <a:pt x="108" y="228"/>
                  </a:lnTo>
                  <a:lnTo>
                    <a:pt x="114" y="228"/>
                  </a:lnTo>
                  <a:lnTo>
                    <a:pt x="114" y="234"/>
                  </a:lnTo>
                  <a:lnTo>
                    <a:pt x="114" y="240"/>
                  </a:lnTo>
                  <a:lnTo>
                    <a:pt x="114" y="234"/>
                  </a:lnTo>
                  <a:lnTo>
                    <a:pt x="120" y="234"/>
                  </a:lnTo>
                  <a:lnTo>
                    <a:pt x="120" y="240"/>
                  </a:lnTo>
                  <a:lnTo>
                    <a:pt x="120" y="234"/>
                  </a:lnTo>
                  <a:lnTo>
                    <a:pt x="120" y="228"/>
                  </a:lnTo>
                  <a:lnTo>
                    <a:pt x="126" y="228"/>
                  </a:lnTo>
                  <a:lnTo>
                    <a:pt x="132" y="228"/>
                  </a:lnTo>
                  <a:lnTo>
                    <a:pt x="132" y="234"/>
                  </a:lnTo>
                  <a:lnTo>
                    <a:pt x="132" y="228"/>
                  </a:lnTo>
                  <a:lnTo>
                    <a:pt x="132" y="222"/>
                  </a:lnTo>
                  <a:lnTo>
                    <a:pt x="138" y="222"/>
                  </a:lnTo>
                  <a:lnTo>
                    <a:pt x="132" y="222"/>
                  </a:lnTo>
                  <a:lnTo>
                    <a:pt x="138" y="222"/>
                  </a:lnTo>
                  <a:lnTo>
                    <a:pt x="138" y="216"/>
                  </a:lnTo>
                  <a:lnTo>
                    <a:pt x="144" y="216"/>
                  </a:lnTo>
                  <a:lnTo>
                    <a:pt x="138" y="216"/>
                  </a:lnTo>
                  <a:lnTo>
                    <a:pt x="138" y="222"/>
                  </a:lnTo>
                  <a:lnTo>
                    <a:pt x="144" y="216"/>
                  </a:lnTo>
                  <a:lnTo>
                    <a:pt x="144" y="222"/>
                  </a:lnTo>
                  <a:lnTo>
                    <a:pt x="144" y="216"/>
                  </a:lnTo>
                  <a:lnTo>
                    <a:pt x="144" y="222"/>
                  </a:lnTo>
                  <a:lnTo>
                    <a:pt x="144" y="216"/>
                  </a:lnTo>
                  <a:lnTo>
                    <a:pt x="150" y="216"/>
                  </a:lnTo>
                  <a:lnTo>
                    <a:pt x="156" y="216"/>
                  </a:lnTo>
                  <a:lnTo>
                    <a:pt x="150" y="216"/>
                  </a:lnTo>
                  <a:lnTo>
                    <a:pt x="150" y="222"/>
                  </a:lnTo>
                  <a:lnTo>
                    <a:pt x="156" y="222"/>
                  </a:lnTo>
                  <a:lnTo>
                    <a:pt x="150" y="222"/>
                  </a:lnTo>
                  <a:lnTo>
                    <a:pt x="156" y="222"/>
                  </a:lnTo>
                  <a:lnTo>
                    <a:pt x="162" y="222"/>
                  </a:lnTo>
                  <a:lnTo>
                    <a:pt x="156" y="222"/>
                  </a:lnTo>
                  <a:lnTo>
                    <a:pt x="162" y="222"/>
                  </a:lnTo>
                  <a:lnTo>
                    <a:pt x="162" y="216"/>
                  </a:lnTo>
                  <a:lnTo>
                    <a:pt x="156" y="216"/>
                  </a:lnTo>
                  <a:lnTo>
                    <a:pt x="162" y="216"/>
                  </a:lnTo>
                  <a:lnTo>
                    <a:pt x="156" y="216"/>
                  </a:lnTo>
                  <a:lnTo>
                    <a:pt x="156" y="222"/>
                  </a:lnTo>
                  <a:lnTo>
                    <a:pt x="156" y="216"/>
                  </a:lnTo>
                  <a:lnTo>
                    <a:pt x="162" y="216"/>
                  </a:lnTo>
                  <a:lnTo>
                    <a:pt x="162" y="210"/>
                  </a:lnTo>
                  <a:lnTo>
                    <a:pt x="168" y="210"/>
                  </a:lnTo>
                  <a:lnTo>
                    <a:pt x="168" y="216"/>
                  </a:lnTo>
                  <a:lnTo>
                    <a:pt x="168" y="222"/>
                  </a:lnTo>
                  <a:lnTo>
                    <a:pt x="168" y="228"/>
                  </a:lnTo>
                  <a:lnTo>
                    <a:pt x="174" y="228"/>
                  </a:lnTo>
                  <a:lnTo>
                    <a:pt x="174" y="234"/>
                  </a:lnTo>
                  <a:lnTo>
                    <a:pt x="180" y="234"/>
                  </a:lnTo>
                  <a:lnTo>
                    <a:pt x="186" y="234"/>
                  </a:lnTo>
                  <a:lnTo>
                    <a:pt x="186" y="240"/>
                  </a:lnTo>
                  <a:lnTo>
                    <a:pt x="186" y="246"/>
                  </a:lnTo>
                  <a:lnTo>
                    <a:pt x="186" y="240"/>
                  </a:lnTo>
                  <a:lnTo>
                    <a:pt x="192" y="240"/>
                  </a:lnTo>
                  <a:lnTo>
                    <a:pt x="186" y="234"/>
                  </a:lnTo>
                  <a:lnTo>
                    <a:pt x="192" y="234"/>
                  </a:lnTo>
                  <a:lnTo>
                    <a:pt x="192" y="228"/>
                  </a:lnTo>
                  <a:lnTo>
                    <a:pt x="186" y="228"/>
                  </a:lnTo>
                  <a:lnTo>
                    <a:pt x="180" y="228"/>
                  </a:lnTo>
                  <a:lnTo>
                    <a:pt x="180" y="222"/>
                  </a:lnTo>
                  <a:lnTo>
                    <a:pt x="174" y="222"/>
                  </a:lnTo>
                  <a:lnTo>
                    <a:pt x="174" y="216"/>
                  </a:lnTo>
                  <a:lnTo>
                    <a:pt x="174" y="210"/>
                  </a:lnTo>
                  <a:lnTo>
                    <a:pt x="174" y="204"/>
                  </a:lnTo>
                  <a:lnTo>
                    <a:pt x="180" y="204"/>
                  </a:lnTo>
                  <a:lnTo>
                    <a:pt x="186" y="204"/>
                  </a:lnTo>
                  <a:lnTo>
                    <a:pt x="186" y="198"/>
                  </a:lnTo>
                  <a:lnTo>
                    <a:pt x="192" y="198"/>
                  </a:lnTo>
                  <a:lnTo>
                    <a:pt x="192" y="192"/>
                  </a:lnTo>
                  <a:lnTo>
                    <a:pt x="198" y="192"/>
                  </a:lnTo>
                  <a:lnTo>
                    <a:pt x="198" y="186"/>
                  </a:lnTo>
                  <a:lnTo>
                    <a:pt x="204" y="186"/>
                  </a:lnTo>
                  <a:lnTo>
                    <a:pt x="210" y="186"/>
                  </a:lnTo>
                  <a:lnTo>
                    <a:pt x="210" y="192"/>
                  </a:lnTo>
                  <a:lnTo>
                    <a:pt x="216" y="192"/>
                  </a:lnTo>
                  <a:lnTo>
                    <a:pt x="210" y="198"/>
                  </a:lnTo>
                  <a:lnTo>
                    <a:pt x="210" y="204"/>
                  </a:lnTo>
                  <a:lnTo>
                    <a:pt x="210" y="198"/>
                  </a:lnTo>
                  <a:lnTo>
                    <a:pt x="210" y="204"/>
                  </a:lnTo>
                  <a:lnTo>
                    <a:pt x="210" y="210"/>
                  </a:lnTo>
                  <a:lnTo>
                    <a:pt x="210" y="204"/>
                  </a:lnTo>
                  <a:lnTo>
                    <a:pt x="216" y="204"/>
                  </a:lnTo>
                  <a:lnTo>
                    <a:pt x="216" y="198"/>
                  </a:lnTo>
                  <a:lnTo>
                    <a:pt x="216" y="204"/>
                  </a:lnTo>
                  <a:lnTo>
                    <a:pt x="216" y="198"/>
                  </a:lnTo>
                  <a:lnTo>
                    <a:pt x="216" y="204"/>
                  </a:lnTo>
                  <a:lnTo>
                    <a:pt x="216" y="198"/>
                  </a:lnTo>
                  <a:lnTo>
                    <a:pt x="222" y="198"/>
                  </a:lnTo>
                  <a:lnTo>
                    <a:pt x="222" y="192"/>
                  </a:lnTo>
                  <a:lnTo>
                    <a:pt x="216" y="192"/>
                  </a:lnTo>
                  <a:lnTo>
                    <a:pt x="222" y="192"/>
                  </a:lnTo>
                  <a:lnTo>
                    <a:pt x="216" y="192"/>
                  </a:lnTo>
                  <a:lnTo>
                    <a:pt x="216" y="186"/>
                  </a:lnTo>
                  <a:lnTo>
                    <a:pt x="216" y="180"/>
                  </a:lnTo>
                  <a:lnTo>
                    <a:pt x="222" y="180"/>
                  </a:lnTo>
                  <a:lnTo>
                    <a:pt x="222" y="174"/>
                  </a:lnTo>
                  <a:lnTo>
                    <a:pt x="228" y="174"/>
                  </a:lnTo>
                  <a:lnTo>
                    <a:pt x="222" y="174"/>
                  </a:lnTo>
                  <a:lnTo>
                    <a:pt x="228" y="174"/>
                  </a:lnTo>
                  <a:lnTo>
                    <a:pt x="228" y="168"/>
                  </a:lnTo>
                  <a:lnTo>
                    <a:pt x="234" y="168"/>
                  </a:lnTo>
                  <a:lnTo>
                    <a:pt x="228" y="168"/>
                  </a:lnTo>
                  <a:lnTo>
                    <a:pt x="234" y="168"/>
                  </a:lnTo>
                  <a:lnTo>
                    <a:pt x="234" y="162"/>
                  </a:lnTo>
                  <a:lnTo>
                    <a:pt x="228" y="162"/>
                  </a:lnTo>
                  <a:lnTo>
                    <a:pt x="228" y="168"/>
                  </a:lnTo>
                  <a:lnTo>
                    <a:pt x="228" y="162"/>
                  </a:lnTo>
                  <a:lnTo>
                    <a:pt x="234" y="156"/>
                  </a:lnTo>
                  <a:lnTo>
                    <a:pt x="240" y="156"/>
                  </a:lnTo>
                  <a:lnTo>
                    <a:pt x="240" y="162"/>
                  </a:lnTo>
                  <a:lnTo>
                    <a:pt x="240" y="168"/>
                  </a:lnTo>
                  <a:lnTo>
                    <a:pt x="234" y="168"/>
                  </a:lnTo>
                  <a:lnTo>
                    <a:pt x="234" y="174"/>
                  </a:lnTo>
                  <a:lnTo>
                    <a:pt x="234" y="180"/>
                  </a:lnTo>
                  <a:lnTo>
                    <a:pt x="240" y="180"/>
                  </a:lnTo>
                  <a:lnTo>
                    <a:pt x="240" y="174"/>
                  </a:lnTo>
                  <a:lnTo>
                    <a:pt x="240" y="168"/>
                  </a:lnTo>
                  <a:lnTo>
                    <a:pt x="246" y="168"/>
                  </a:lnTo>
                  <a:lnTo>
                    <a:pt x="246" y="162"/>
                  </a:lnTo>
                  <a:lnTo>
                    <a:pt x="246" y="156"/>
                  </a:lnTo>
                  <a:lnTo>
                    <a:pt x="252" y="156"/>
                  </a:lnTo>
                  <a:lnTo>
                    <a:pt x="246" y="156"/>
                  </a:lnTo>
                  <a:lnTo>
                    <a:pt x="252" y="156"/>
                  </a:lnTo>
                  <a:lnTo>
                    <a:pt x="252" y="150"/>
                  </a:lnTo>
                  <a:lnTo>
                    <a:pt x="258" y="150"/>
                  </a:lnTo>
                  <a:lnTo>
                    <a:pt x="264" y="156"/>
                  </a:lnTo>
                  <a:lnTo>
                    <a:pt x="264" y="150"/>
                  </a:lnTo>
                  <a:lnTo>
                    <a:pt x="264" y="156"/>
                  </a:lnTo>
                  <a:lnTo>
                    <a:pt x="264" y="162"/>
                  </a:lnTo>
                  <a:lnTo>
                    <a:pt x="264" y="168"/>
                  </a:lnTo>
                  <a:lnTo>
                    <a:pt x="264" y="162"/>
                  </a:lnTo>
                  <a:lnTo>
                    <a:pt x="270" y="156"/>
                  </a:lnTo>
                  <a:lnTo>
                    <a:pt x="264" y="156"/>
                  </a:lnTo>
                  <a:lnTo>
                    <a:pt x="264" y="150"/>
                  </a:lnTo>
                  <a:lnTo>
                    <a:pt x="264" y="144"/>
                  </a:lnTo>
                  <a:lnTo>
                    <a:pt x="264" y="150"/>
                  </a:lnTo>
                  <a:lnTo>
                    <a:pt x="258" y="150"/>
                  </a:lnTo>
                  <a:lnTo>
                    <a:pt x="258" y="144"/>
                  </a:lnTo>
                  <a:lnTo>
                    <a:pt x="252" y="144"/>
                  </a:lnTo>
                  <a:lnTo>
                    <a:pt x="252" y="150"/>
                  </a:lnTo>
                  <a:lnTo>
                    <a:pt x="252" y="144"/>
                  </a:lnTo>
                  <a:lnTo>
                    <a:pt x="252" y="138"/>
                  </a:lnTo>
                  <a:lnTo>
                    <a:pt x="252" y="132"/>
                  </a:lnTo>
                  <a:lnTo>
                    <a:pt x="252" y="126"/>
                  </a:lnTo>
                  <a:lnTo>
                    <a:pt x="258" y="126"/>
                  </a:lnTo>
                  <a:lnTo>
                    <a:pt x="258" y="132"/>
                  </a:lnTo>
                  <a:lnTo>
                    <a:pt x="258" y="126"/>
                  </a:lnTo>
                  <a:lnTo>
                    <a:pt x="264" y="126"/>
                  </a:lnTo>
                  <a:lnTo>
                    <a:pt x="264" y="132"/>
                  </a:lnTo>
                  <a:lnTo>
                    <a:pt x="264" y="126"/>
                  </a:lnTo>
                  <a:lnTo>
                    <a:pt x="264" y="120"/>
                  </a:lnTo>
                  <a:lnTo>
                    <a:pt x="258" y="120"/>
                  </a:lnTo>
                  <a:lnTo>
                    <a:pt x="264" y="120"/>
                  </a:lnTo>
                  <a:lnTo>
                    <a:pt x="258" y="120"/>
                  </a:lnTo>
                  <a:lnTo>
                    <a:pt x="264" y="120"/>
                  </a:lnTo>
                  <a:lnTo>
                    <a:pt x="264" y="126"/>
                  </a:lnTo>
                  <a:lnTo>
                    <a:pt x="264" y="120"/>
                  </a:lnTo>
                  <a:lnTo>
                    <a:pt x="264" y="126"/>
                  </a:lnTo>
                  <a:lnTo>
                    <a:pt x="264" y="132"/>
                  </a:lnTo>
                  <a:lnTo>
                    <a:pt x="264" y="138"/>
                  </a:lnTo>
                  <a:lnTo>
                    <a:pt x="264" y="132"/>
                  </a:lnTo>
                  <a:lnTo>
                    <a:pt x="270" y="132"/>
                  </a:lnTo>
                  <a:lnTo>
                    <a:pt x="264" y="132"/>
                  </a:lnTo>
                  <a:lnTo>
                    <a:pt x="270" y="132"/>
                  </a:lnTo>
                  <a:lnTo>
                    <a:pt x="264" y="132"/>
                  </a:lnTo>
                  <a:lnTo>
                    <a:pt x="270" y="132"/>
                  </a:lnTo>
                  <a:lnTo>
                    <a:pt x="264" y="126"/>
                  </a:lnTo>
                  <a:lnTo>
                    <a:pt x="270" y="126"/>
                  </a:lnTo>
                  <a:lnTo>
                    <a:pt x="264" y="126"/>
                  </a:lnTo>
                  <a:lnTo>
                    <a:pt x="270" y="126"/>
                  </a:lnTo>
                  <a:lnTo>
                    <a:pt x="270" y="120"/>
                  </a:lnTo>
                  <a:lnTo>
                    <a:pt x="270" y="114"/>
                  </a:lnTo>
                  <a:lnTo>
                    <a:pt x="270" y="120"/>
                  </a:lnTo>
                  <a:lnTo>
                    <a:pt x="264" y="120"/>
                  </a:lnTo>
                  <a:lnTo>
                    <a:pt x="264" y="114"/>
                  </a:lnTo>
                  <a:lnTo>
                    <a:pt x="270" y="114"/>
                  </a:lnTo>
                  <a:lnTo>
                    <a:pt x="264" y="114"/>
                  </a:lnTo>
                  <a:lnTo>
                    <a:pt x="270" y="114"/>
                  </a:lnTo>
                  <a:lnTo>
                    <a:pt x="264" y="114"/>
                  </a:lnTo>
                  <a:lnTo>
                    <a:pt x="264" y="108"/>
                  </a:lnTo>
                  <a:lnTo>
                    <a:pt x="264" y="114"/>
                  </a:lnTo>
                  <a:lnTo>
                    <a:pt x="264" y="108"/>
                  </a:lnTo>
                  <a:lnTo>
                    <a:pt x="258" y="108"/>
                  </a:lnTo>
                  <a:lnTo>
                    <a:pt x="258" y="102"/>
                  </a:lnTo>
                  <a:lnTo>
                    <a:pt x="258" y="96"/>
                  </a:lnTo>
                  <a:lnTo>
                    <a:pt x="264" y="96"/>
                  </a:lnTo>
                  <a:lnTo>
                    <a:pt x="264" y="102"/>
                  </a:lnTo>
                  <a:lnTo>
                    <a:pt x="264" y="96"/>
                  </a:lnTo>
                  <a:lnTo>
                    <a:pt x="258" y="96"/>
                  </a:lnTo>
                  <a:lnTo>
                    <a:pt x="258" y="90"/>
                  </a:lnTo>
                  <a:lnTo>
                    <a:pt x="264" y="90"/>
                  </a:lnTo>
                  <a:lnTo>
                    <a:pt x="264" y="84"/>
                  </a:lnTo>
                  <a:lnTo>
                    <a:pt x="264" y="90"/>
                  </a:lnTo>
                  <a:lnTo>
                    <a:pt x="270" y="90"/>
                  </a:lnTo>
                  <a:lnTo>
                    <a:pt x="270" y="96"/>
                  </a:lnTo>
                  <a:lnTo>
                    <a:pt x="270" y="90"/>
                  </a:lnTo>
                  <a:lnTo>
                    <a:pt x="276" y="90"/>
                  </a:lnTo>
                  <a:lnTo>
                    <a:pt x="276" y="96"/>
                  </a:lnTo>
                  <a:lnTo>
                    <a:pt x="276" y="102"/>
                  </a:lnTo>
                  <a:lnTo>
                    <a:pt x="282" y="102"/>
                  </a:lnTo>
                  <a:lnTo>
                    <a:pt x="288" y="102"/>
                  </a:lnTo>
                  <a:lnTo>
                    <a:pt x="282" y="102"/>
                  </a:lnTo>
                  <a:lnTo>
                    <a:pt x="282" y="96"/>
                  </a:lnTo>
                  <a:lnTo>
                    <a:pt x="288" y="96"/>
                  </a:lnTo>
                  <a:lnTo>
                    <a:pt x="282" y="96"/>
                  </a:lnTo>
                  <a:lnTo>
                    <a:pt x="288" y="90"/>
                  </a:lnTo>
                  <a:lnTo>
                    <a:pt x="288" y="96"/>
                  </a:lnTo>
                  <a:lnTo>
                    <a:pt x="288" y="90"/>
                  </a:lnTo>
                  <a:lnTo>
                    <a:pt x="282" y="90"/>
                  </a:lnTo>
                  <a:lnTo>
                    <a:pt x="288" y="90"/>
                  </a:lnTo>
                  <a:lnTo>
                    <a:pt x="294" y="90"/>
                  </a:lnTo>
                  <a:lnTo>
                    <a:pt x="288" y="90"/>
                  </a:lnTo>
                  <a:lnTo>
                    <a:pt x="294" y="90"/>
                  </a:lnTo>
                  <a:lnTo>
                    <a:pt x="294" y="84"/>
                  </a:lnTo>
                  <a:lnTo>
                    <a:pt x="294" y="90"/>
                  </a:lnTo>
                  <a:lnTo>
                    <a:pt x="294" y="84"/>
                  </a:lnTo>
                  <a:lnTo>
                    <a:pt x="294" y="90"/>
                  </a:lnTo>
                  <a:lnTo>
                    <a:pt x="300" y="90"/>
                  </a:lnTo>
                  <a:lnTo>
                    <a:pt x="294" y="90"/>
                  </a:lnTo>
                  <a:lnTo>
                    <a:pt x="294" y="84"/>
                  </a:lnTo>
                  <a:lnTo>
                    <a:pt x="294" y="78"/>
                  </a:lnTo>
                  <a:lnTo>
                    <a:pt x="294" y="84"/>
                  </a:lnTo>
                  <a:lnTo>
                    <a:pt x="300" y="84"/>
                  </a:lnTo>
                  <a:lnTo>
                    <a:pt x="306" y="84"/>
                  </a:lnTo>
                  <a:lnTo>
                    <a:pt x="306" y="78"/>
                  </a:lnTo>
                  <a:lnTo>
                    <a:pt x="306" y="84"/>
                  </a:lnTo>
                  <a:lnTo>
                    <a:pt x="312" y="78"/>
                  </a:lnTo>
                  <a:lnTo>
                    <a:pt x="306" y="78"/>
                  </a:lnTo>
                  <a:lnTo>
                    <a:pt x="312" y="78"/>
                  </a:lnTo>
                  <a:lnTo>
                    <a:pt x="312" y="72"/>
                  </a:lnTo>
                  <a:lnTo>
                    <a:pt x="312" y="66"/>
                  </a:lnTo>
                  <a:lnTo>
                    <a:pt x="312" y="60"/>
                  </a:lnTo>
                  <a:lnTo>
                    <a:pt x="312" y="66"/>
                  </a:lnTo>
                  <a:lnTo>
                    <a:pt x="312" y="60"/>
                  </a:lnTo>
                  <a:lnTo>
                    <a:pt x="318" y="60"/>
                  </a:lnTo>
                  <a:lnTo>
                    <a:pt x="312" y="60"/>
                  </a:lnTo>
                  <a:lnTo>
                    <a:pt x="318" y="60"/>
                  </a:lnTo>
                  <a:lnTo>
                    <a:pt x="318" y="54"/>
                  </a:lnTo>
                  <a:lnTo>
                    <a:pt x="318" y="48"/>
                  </a:lnTo>
                  <a:lnTo>
                    <a:pt x="318" y="42"/>
                  </a:lnTo>
                  <a:lnTo>
                    <a:pt x="318" y="36"/>
                  </a:lnTo>
                  <a:lnTo>
                    <a:pt x="312" y="36"/>
                  </a:lnTo>
                  <a:lnTo>
                    <a:pt x="318" y="36"/>
                  </a:lnTo>
                  <a:lnTo>
                    <a:pt x="318" y="30"/>
                  </a:lnTo>
                  <a:lnTo>
                    <a:pt x="312" y="30"/>
                  </a:lnTo>
                  <a:lnTo>
                    <a:pt x="312" y="24"/>
                  </a:lnTo>
                  <a:lnTo>
                    <a:pt x="306" y="24"/>
                  </a:lnTo>
                  <a:lnTo>
                    <a:pt x="312" y="24"/>
                  </a:lnTo>
                  <a:lnTo>
                    <a:pt x="318" y="24"/>
                  </a:lnTo>
                  <a:lnTo>
                    <a:pt x="318" y="30"/>
                  </a:lnTo>
                  <a:lnTo>
                    <a:pt x="318" y="24"/>
                  </a:lnTo>
                  <a:lnTo>
                    <a:pt x="318" y="18"/>
                  </a:lnTo>
                  <a:lnTo>
                    <a:pt x="324" y="24"/>
                  </a:lnTo>
                  <a:lnTo>
                    <a:pt x="324" y="18"/>
                  </a:lnTo>
                  <a:lnTo>
                    <a:pt x="318" y="18"/>
                  </a:lnTo>
                  <a:lnTo>
                    <a:pt x="324" y="18"/>
                  </a:lnTo>
                  <a:lnTo>
                    <a:pt x="330" y="18"/>
                  </a:lnTo>
                  <a:lnTo>
                    <a:pt x="324" y="18"/>
                  </a:lnTo>
                  <a:lnTo>
                    <a:pt x="330" y="12"/>
                  </a:lnTo>
                  <a:lnTo>
                    <a:pt x="330" y="18"/>
                  </a:lnTo>
                  <a:lnTo>
                    <a:pt x="330" y="12"/>
                  </a:lnTo>
                  <a:lnTo>
                    <a:pt x="330" y="18"/>
                  </a:lnTo>
                  <a:lnTo>
                    <a:pt x="330" y="12"/>
                  </a:lnTo>
                  <a:lnTo>
                    <a:pt x="330" y="6"/>
                  </a:lnTo>
                  <a:lnTo>
                    <a:pt x="324" y="6"/>
                  </a:lnTo>
                  <a:lnTo>
                    <a:pt x="330" y="6"/>
                  </a:lnTo>
                  <a:lnTo>
                    <a:pt x="336" y="6"/>
                  </a:lnTo>
                  <a:lnTo>
                    <a:pt x="330" y="6"/>
                  </a:lnTo>
                  <a:lnTo>
                    <a:pt x="336" y="6"/>
                  </a:lnTo>
                  <a:lnTo>
                    <a:pt x="330" y="6"/>
                  </a:lnTo>
                  <a:lnTo>
                    <a:pt x="336" y="6"/>
                  </a:lnTo>
                  <a:lnTo>
                    <a:pt x="330" y="6"/>
                  </a:lnTo>
                  <a:lnTo>
                    <a:pt x="336" y="0"/>
                  </a:lnTo>
                  <a:lnTo>
                    <a:pt x="330" y="0"/>
                  </a:lnTo>
                  <a:lnTo>
                    <a:pt x="330" y="6"/>
                  </a:lnTo>
                  <a:lnTo>
                    <a:pt x="330" y="0"/>
                  </a:lnTo>
                  <a:lnTo>
                    <a:pt x="336" y="0"/>
                  </a:lnTo>
                  <a:lnTo>
                    <a:pt x="330" y="0"/>
                  </a:lnTo>
                  <a:lnTo>
                    <a:pt x="336" y="0"/>
                  </a:lnTo>
                  <a:lnTo>
                    <a:pt x="342" y="0"/>
                  </a:lnTo>
                  <a:lnTo>
                    <a:pt x="342" y="6"/>
                  </a:lnTo>
                  <a:lnTo>
                    <a:pt x="342" y="12"/>
                  </a:lnTo>
                  <a:lnTo>
                    <a:pt x="336" y="12"/>
                  </a:lnTo>
                  <a:lnTo>
                    <a:pt x="342" y="12"/>
                  </a:lnTo>
                  <a:lnTo>
                    <a:pt x="336" y="12"/>
                  </a:lnTo>
                  <a:lnTo>
                    <a:pt x="342" y="12"/>
                  </a:lnTo>
                  <a:lnTo>
                    <a:pt x="336" y="12"/>
                  </a:lnTo>
                  <a:lnTo>
                    <a:pt x="336" y="6"/>
                  </a:lnTo>
                  <a:lnTo>
                    <a:pt x="336" y="12"/>
                  </a:lnTo>
                  <a:lnTo>
                    <a:pt x="336" y="18"/>
                  </a:lnTo>
                  <a:lnTo>
                    <a:pt x="336" y="12"/>
                  </a:lnTo>
                  <a:lnTo>
                    <a:pt x="336" y="18"/>
                  </a:lnTo>
                  <a:lnTo>
                    <a:pt x="342" y="18"/>
                  </a:lnTo>
                  <a:lnTo>
                    <a:pt x="342" y="12"/>
                  </a:lnTo>
                  <a:lnTo>
                    <a:pt x="342" y="18"/>
                  </a:lnTo>
                  <a:lnTo>
                    <a:pt x="348" y="18"/>
                  </a:lnTo>
                  <a:lnTo>
                    <a:pt x="342" y="18"/>
                  </a:lnTo>
                  <a:lnTo>
                    <a:pt x="348" y="18"/>
                  </a:lnTo>
                  <a:lnTo>
                    <a:pt x="348" y="24"/>
                  </a:lnTo>
                  <a:lnTo>
                    <a:pt x="348" y="18"/>
                  </a:lnTo>
                  <a:lnTo>
                    <a:pt x="354" y="18"/>
                  </a:lnTo>
                  <a:lnTo>
                    <a:pt x="354" y="24"/>
                  </a:lnTo>
                  <a:lnTo>
                    <a:pt x="348" y="24"/>
                  </a:lnTo>
                  <a:lnTo>
                    <a:pt x="354" y="24"/>
                  </a:lnTo>
                  <a:lnTo>
                    <a:pt x="354" y="30"/>
                  </a:lnTo>
                  <a:lnTo>
                    <a:pt x="354" y="36"/>
                  </a:lnTo>
                  <a:lnTo>
                    <a:pt x="360" y="42"/>
                  </a:lnTo>
                  <a:lnTo>
                    <a:pt x="360" y="48"/>
                  </a:lnTo>
                  <a:lnTo>
                    <a:pt x="360" y="42"/>
                  </a:lnTo>
                  <a:lnTo>
                    <a:pt x="366" y="42"/>
                  </a:lnTo>
                  <a:lnTo>
                    <a:pt x="366" y="48"/>
                  </a:lnTo>
                  <a:lnTo>
                    <a:pt x="366" y="54"/>
                  </a:lnTo>
                  <a:lnTo>
                    <a:pt x="372" y="48"/>
                  </a:lnTo>
                  <a:lnTo>
                    <a:pt x="372" y="54"/>
                  </a:lnTo>
                  <a:lnTo>
                    <a:pt x="366" y="54"/>
                  </a:lnTo>
                  <a:lnTo>
                    <a:pt x="372" y="54"/>
                  </a:lnTo>
                  <a:lnTo>
                    <a:pt x="372" y="60"/>
                  </a:lnTo>
                  <a:lnTo>
                    <a:pt x="372" y="66"/>
                  </a:lnTo>
                  <a:lnTo>
                    <a:pt x="372" y="72"/>
                  </a:lnTo>
                  <a:lnTo>
                    <a:pt x="378" y="72"/>
                  </a:lnTo>
                  <a:lnTo>
                    <a:pt x="378" y="78"/>
                  </a:lnTo>
                  <a:lnTo>
                    <a:pt x="378" y="84"/>
                  </a:lnTo>
                  <a:lnTo>
                    <a:pt x="378" y="90"/>
                  </a:lnTo>
                  <a:lnTo>
                    <a:pt x="384" y="90"/>
                  </a:lnTo>
                  <a:lnTo>
                    <a:pt x="384" y="96"/>
                  </a:lnTo>
                  <a:lnTo>
                    <a:pt x="384" y="102"/>
                  </a:lnTo>
                  <a:lnTo>
                    <a:pt x="384" y="108"/>
                  </a:lnTo>
                  <a:lnTo>
                    <a:pt x="384" y="114"/>
                  </a:lnTo>
                  <a:lnTo>
                    <a:pt x="384" y="120"/>
                  </a:lnTo>
                  <a:lnTo>
                    <a:pt x="390" y="120"/>
                  </a:lnTo>
                  <a:lnTo>
                    <a:pt x="384" y="120"/>
                  </a:lnTo>
                  <a:lnTo>
                    <a:pt x="384" y="126"/>
                  </a:lnTo>
                  <a:lnTo>
                    <a:pt x="384" y="120"/>
                  </a:lnTo>
                  <a:lnTo>
                    <a:pt x="384" y="126"/>
                  </a:lnTo>
                  <a:lnTo>
                    <a:pt x="390" y="132"/>
                  </a:lnTo>
                  <a:lnTo>
                    <a:pt x="390" y="138"/>
                  </a:lnTo>
                  <a:lnTo>
                    <a:pt x="384" y="138"/>
                  </a:lnTo>
                  <a:lnTo>
                    <a:pt x="390" y="138"/>
                  </a:lnTo>
                  <a:lnTo>
                    <a:pt x="390" y="144"/>
                  </a:lnTo>
                  <a:lnTo>
                    <a:pt x="390" y="150"/>
                  </a:lnTo>
                  <a:lnTo>
                    <a:pt x="390" y="156"/>
                  </a:lnTo>
                  <a:lnTo>
                    <a:pt x="390" y="162"/>
                  </a:lnTo>
                  <a:lnTo>
                    <a:pt x="390" y="168"/>
                  </a:lnTo>
                  <a:lnTo>
                    <a:pt x="396" y="168"/>
                  </a:lnTo>
                  <a:lnTo>
                    <a:pt x="396" y="174"/>
                  </a:lnTo>
                  <a:lnTo>
                    <a:pt x="396" y="180"/>
                  </a:lnTo>
                  <a:lnTo>
                    <a:pt x="402" y="180"/>
                  </a:lnTo>
                  <a:lnTo>
                    <a:pt x="402" y="186"/>
                  </a:lnTo>
                  <a:lnTo>
                    <a:pt x="402" y="192"/>
                  </a:lnTo>
                  <a:lnTo>
                    <a:pt x="402" y="198"/>
                  </a:lnTo>
                  <a:lnTo>
                    <a:pt x="402" y="204"/>
                  </a:lnTo>
                  <a:lnTo>
                    <a:pt x="402" y="210"/>
                  </a:lnTo>
                  <a:lnTo>
                    <a:pt x="396" y="210"/>
                  </a:lnTo>
                  <a:lnTo>
                    <a:pt x="396" y="216"/>
                  </a:lnTo>
                  <a:lnTo>
                    <a:pt x="396" y="222"/>
                  </a:lnTo>
                  <a:lnTo>
                    <a:pt x="396" y="216"/>
                  </a:lnTo>
                  <a:lnTo>
                    <a:pt x="396" y="222"/>
                  </a:lnTo>
                  <a:lnTo>
                    <a:pt x="390" y="222"/>
                  </a:lnTo>
                  <a:lnTo>
                    <a:pt x="390" y="228"/>
                  </a:lnTo>
                  <a:lnTo>
                    <a:pt x="384" y="228"/>
                  </a:lnTo>
                  <a:lnTo>
                    <a:pt x="384" y="222"/>
                  </a:lnTo>
                  <a:lnTo>
                    <a:pt x="378" y="222"/>
                  </a:lnTo>
                  <a:lnTo>
                    <a:pt x="378" y="216"/>
                  </a:lnTo>
                  <a:lnTo>
                    <a:pt x="378" y="210"/>
                  </a:lnTo>
                  <a:lnTo>
                    <a:pt x="372" y="210"/>
                  </a:lnTo>
                  <a:lnTo>
                    <a:pt x="372" y="204"/>
                  </a:lnTo>
                  <a:lnTo>
                    <a:pt x="372" y="198"/>
                  </a:lnTo>
                  <a:lnTo>
                    <a:pt x="366" y="198"/>
                  </a:lnTo>
                  <a:lnTo>
                    <a:pt x="360" y="198"/>
                  </a:lnTo>
                  <a:lnTo>
                    <a:pt x="360" y="204"/>
                  </a:lnTo>
                  <a:lnTo>
                    <a:pt x="354" y="204"/>
                  </a:lnTo>
                  <a:lnTo>
                    <a:pt x="360" y="210"/>
                  </a:lnTo>
                  <a:lnTo>
                    <a:pt x="360" y="204"/>
                  </a:lnTo>
                  <a:lnTo>
                    <a:pt x="360" y="210"/>
                  </a:lnTo>
                  <a:lnTo>
                    <a:pt x="360" y="216"/>
                  </a:lnTo>
                  <a:lnTo>
                    <a:pt x="360" y="222"/>
                  </a:lnTo>
                  <a:lnTo>
                    <a:pt x="360" y="228"/>
                  </a:lnTo>
                  <a:lnTo>
                    <a:pt x="360" y="234"/>
                  </a:lnTo>
                  <a:lnTo>
                    <a:pt x="360" y="240"/>
                  </a:lnTo>
                  <a:lnTo>
                    <a:pt x="366" y="240"/>
                  </a:lnTo>
                  <a:lnTo>
                    <a:pt x="372" y="240"/>
                  </a:lnTo>
                  <a:lnTo>
                    <a:pt x="372" y="246"/>
                  </a:lnTo>
                  <a:lnTo>
                    <a:pt x="366" y="246"/>
                  </a:lnTo>
                  <a:lnTo>
                    <a:pt x="366" y="252"/>
                  </a:lnTo>
                  <a:lnTo>
                    <a:pt x="366" y="258"/>
                  </a:lnTo>
                  <a:lnTo>
                    <a:pt x="372" y="258"/>
                  </a:lnTo>
                  <a:lnTo>
                    <a:pt x="366" y="258"/>
                  </a:lnTo>
                  <a:lnTo>
                    <a:pt x="372" y="258"/>
                  </a:lnTo>
                  <a:lnTo>
                    <a:pt x="366" y="264"/>
                  </a:lnTo>
                  <a:lnTo>
                    <a:pt x="366" y="270"/>
                  </a:lnTo>
                  <a:lnTo>
                    <a:pt x="360" y="270"/>
                  </a:lnTo>
                  <a:lnTo>
                    <a:pt x="360" y="276"/>
                  </a:lnTo>
                  <a:lnTo>
                    <a:pt x="366" y="276"/>
                  </a:lnTo>
                  <a:lnTo>
                    <a:pt x="366" y="282"/>
                  </a:lnTo>
                  <a:lnTo>
                    <a:pt x="360" y="282"/>
                  </a:lnTo>
                  <a:lnTo>
                    <a:pt x="354" y="282"/>
                  </a:lnTo>
                  <a:lnTo>
                    <a:pt x="354" y="288"/>
                  </a:lnTo>
                  <a:lnTo>
                    <a:pt x="354" y="294"/>
                  </a:lnTo>
                  <a:lnTo>
                    <a:pt x="348" y="294"/>
                  </a:lnTo>
                  <a:lnTo>
                    <a:pt x="348" y="300"/>
                  </a:lnTo>
                  <a:lnTo>
                    <a:pt x="348" y="306"/>
                  </a:lnTo>
                  <a:lnTo>
                    <a:pt x="348" y="312"/>
                  </a:lnTo>
                  <a:lnTo>
                    <a:pt x="348" y="318"/>
                  </a:lnTo>
                  <a:lnTo>
                    <a:pt x="348" y="324"/>
                  </a:lnTo>
                  <a:lnTo>
                    <a:pt x="348" y="330"/>
                  </a:lnTo>
                  <a:lnTo>
                    <a:pt x="354" y="330"/>
                  </a:lnTo>
                  <a:lnTo>
                    <a:pt x="348" y="330"/>
                  </a:lnTo>
                  <a:lnTo>
                    <a:pt x="348" y="336"/>
                  </a:lnTo>
                  <a:lnTo>
                    <a:pt x="348" y="342"/>
                  </a:lnTo>
                  <a:lnTo>
                    <a:pt x="348" y="348"/>
                  </a:lnTo>
                  <a:lnTo>
                    <a:pt x="342" y="348"/>
                  </a:lnTo>
                  <a:lnTo>
                    <a:pt x="342" y="354"/>
                  </a:lnTo>
                  <a:lnTo>
                    <a:pt x="348" y="354"/>
                  </a:lnTo>
                  <a:lnTo>
                    <a:pt x="342" y="354"/>
                  </a:lnTo>
                  <a:lnTo>
                    <a:pt x="342" y="360"/>
                  </a:lnTo>
                  <a:lnTo>
                    <a:pt x="342" y="366"/>
                  </a:lnTo>
                  <a:lnTo>
                    <a:pt x="342" y="372"/>
                  </a:lnTo>
                  <a:lnTo>
                    <a:pt x="336" y="378"/>
                  </a:lnTo>
                  <a:lnTo>
                    <a:pt x="336" y="384"/>
                  </a:lnTo>
                  <a:lnTo>
                    <a:pt x="336" y="390"/>
                  </a:lnTo>
                  <a:lnTo>
                    <a:pt x="330" y="390"/>
                  </a:lnTo>
                  <a:lnTo>
                    <a:pt x="330" y="396"/>
                  </a:lnTo>
                  <a:lnTo>
                    <a:pt x="330" y="402"/>
                  </a:lnTo>
                  <a:lnTo>
                    <a:pt x="324" y="408"/>
                  </a:lnTo>
                  <a:lnTo>
                    <a:pt x="324" y="414"/>
                  </a:lnTo>
                  <a:lnTo>
                    <a:pt x="324" y="420"/>
                  </a:lnTo>
                  <a:lnTo>
                    <a:pt x="324" y="426"/>
                  </a:lnTo>
                  <a:lnTo>
                    <a:pt x="318" y="426"/>
                  </a:lnTo>
                  <a:lnTo>
                    <a:pt x="318" y="432"/>
                  </a:lnTo>
                  <a:lnTo>
                    <a:pt x="318" y="438"/>
                  </a:lnTo>
                  <a:lnTo>
                    <a:pt x="312" y="444"/>
                  </a:lnTo>
                  <a:lnTo>
                    <a:pt x="312" y="450"/>
                  </a:lnTo>
                  <a:lnTo>
                    <a:pt x="312" y="456"/>
                  </a:lnTo>
                  <a:lnTo>
                    <a:pt x="312" y="462"/>
                  </a:lnTo>
                  <a:lnTo>
                    <a:pt x="312" y="468"/>
                  </a:lnTo>
                  <a:lnTo>
                    <a:pt x="306" y="468"/>
                  </a:lnTo>
                  <a:lnTo>
                    <a:pt x="306" y="474"/>
                  </a:lnTo>
                  <a:lnTo>
                    <a:pt x="306" y="480"/>
                  </a:lnTo>
                  <a:lnTo>
                    <a:pt x="300" y="480"/>
                  </a:lnTo>
                  <a:lnTo>
                    <a:pt x="300" y="486"/>
                  </a:lnTo>
                  <a:lnTo>
                    <a:pt x="300" y="492"/>
                  </a:lnTo>
                  <a:lnTo>
                    <a:pt x="300" y="498"/>
                  </a:lnTo>
                  <a:lnTo>
                    <a:pt x="294" y="498"/>
                  </a:lnTo>
                  <a:lnTo>
                    <a:pt x="294" y="504"/>
                  </a:lnTo>
                  <a:lnTo>
                    <a:pt x="294" y="510"/>
                  </a:lnTo>
                  <a:lnTo>
                    <a:pt x="294" y="516"/>
                  </a:lnTo>
                  <a:lnTo>
                    <a:pt x="294" y="522"/>
                  </a:lnTo>
                  <a:lnTo>
                    <a:pt x="288" y="528"/>
                  </a:lnTo>
                  <a:lnTo>
                    <a:pt x="288" y="534"/>
                  </a:lnTo>
                  <a:lnTo>
                    <a:pt x="288" y="540"/>
                  </a:lnTo>
                  <a:lnTo>
                    <a:pt x="282" y="546"/>
                  </a:lnTo>
                  <a:lnTo>
                    <a:pt x="282" y="552"/>
                  </a:lnTo>
                  <a:lnTo>
                    <a:pt x="282" y="558"/>
                  </a:lnTo>
                  <a:lnTo>
                    <a:pt x="282" y="564"/>
                  </a:lnTo>
                  <a:lnTo>
                    <a:pt x="276" y="564"/>
                  </a:lnTo>
                  <a:lnTo>
                    <a:pt x="276" y="570"/>
                  </a:lnTo>
                  <a:lnTo>
                    <a:pt x="276" y="576"/>
                  </a:lnTo>
                  <a:lnTo>
                    <a:pt x="270" y="582"/>
                  </a:lnTo>
                  <a:lnTo>
                    <a:pt x="270" y="588"/>
                  </a:lnTo>
                  <a:lnTo>
                    <a:pt x="270" y="594"/>
                  </a:lnTo>
                  <a:lnTo>
                    <a:pt x="264" y="594"/>
                  </a:lnTo>
                  <a:lnTo>
                    <a:pt x="264" y="600"/>
                  </a:lnTo>
                  <a:lnTo>
                    <a:pt x="264" y="606"/>
                  </a:lnTo>
                  <a:lnTo>
                    <a:pt x="264" y="612"/>
                  </a:lnTo>
                  <a:lnTo>
                    <a:pt x="258" y="612"/>
                  </a:lnTo>
                  <a:lnTo>
                    <a:pt x="258" y="618"/>
                  </a:lnTo>
                  <a:lnTo>
                    <a:pt x="258" y="624"/>
                  </a:lnTo>
                  <a:lnTo>
                    <a:pt x="258" y="630"/>
                  </a:lnTo>
                  <a:lnTo>
                    <a:pt x="258" y="636"/>
                  </a:lnTo>
                  <a:lnTo>
                    <a:pt x="258" y="642"/>
                  </a:lnTo>
                  <a:lnTo>
                    <a:pt x="252" y="648"/>
                  </a:lnTo>
                  <a:lnTo>
                    <a:pt x="252" y="654"/>
                  </a:lnTo>
                  <a:lnTo>
                    <a:pt x="252" y="660"/>
                  </a:lnTo>
                  <a:lnTo>
                    <a:pt x="252" y="666"/>
                  </a:lnTo>
                  <a:lnTo>
                    <a:pt x="246" y="672"/>
                  </a:lnTo>
                  <a:lnTo>
                    <a:pt x="246" y="678"/>
                  </a:lnTo>
                  <a:lnTo>
                    <a:pt x="246" y="684"/>
                  </a:lnTo>
                  <a:lnTo>
                    <a:pt x="246" y="690"/>
                  </a:lnTo>
                  <a:lnTo>
                    <a:pt x="240" y="690"/>
                  </a:lnTo>
                  <a:lnTo>
                    <a:pt x="240" y="696"/>
                  </a:lnTo>
                  <a:lnTo>
                    <a:pt x="240" y="690"/>
                  </a:lnTo>
                  <a:lnTo>
                    <a:pt x="246" y="696"/>
                  </a:lnTo>
                  <a:lnTo>
                    <a:pt x="240" y="696"/>
                  </a:lnTo>
                  <a:lnTo>
                    <a:pt x="240" y="702"/>
                  </a:lnTo>
                  <a:lnTo>
                    <a:pt x="240" y="708"/>
                  </a:lnTo>
                  <a:lnTo>
                    <a:pt x="234" y="708"/>
                  </a:lnTo>
                  <a:lnTo>
                    <a:pt x="234" y="714"/>
                  </a:lnTo>
                  <a:lnTo>
                    <a:pt x="234" y="720"/>
                  </a:lnTo>
                  <a:lnTo>
                    <a:pt x="228" y="720"/>
                  </a:lnTo>
                  <a:lnTo>
                    <a:pt x="228" y="726"/>
                  </a:lnTo>
                  <a:lnTo>
                    <a:pt x="228" y="732"/>
                  </a:lnTo>
                  <a:lnTo>
                    <a:pt x="228" y="738"/>
                  </a:lnTo>
                  <a:lnTo>
                    <a:pt x="222" y="744"/>
                  </a:lnTo>
                  <a:lnTo>
                    <a:pt x="222" y="750"/>
                  </a:lnTo>
                  <a:lnTo>
                    <a:pt x="222" y="756"/>
                  </a:lnTo>
                  <a:lnTo>
                    <a:pt x="216" y="756"/>
                  </a:lnTo>
                  <a:lnTo>
                    <a:pt x="216" y="762"/>
                  </a:lnTo>
                  <a:lnTo>
                    <a:pt x="216" y="768"/>
                  </a:lnTo>
                  <a:lnTo>
                    <a:pt x="216" y="762"/>
                  </a:lnTo>
                  <a:lnTo>
                    <a:pt x="210" y="762"/>
                  </a:lnTo>
                  <a:lnTo>
                    <a:pt x="210" y="768"/>
                  </a:lnTo>
                  <a:lnTo>
                    <a:pt x="204" y="768"/>
                  </a:lnTo>
                  <a:lnTo>
                    <a:pt x="204" y="774"/>
                  </a:lnTo>
                  <a:lnTo>
                    <a:pt x="198" y="774"/>
                  </a:lnTo>
                  <a:lnTo>
                    <a:pt x="192" y="774"/>
                  </a:lnTo>
                  <a:lnTo>
                    <a:pt x="192" y="780"/>
                  </a:lnTo>
                  <a:lnTo>
                    <a:pt x="192" y="774"/>
                  </a:lnTo>
                  <a:lnTo>
                    <a:pt x="192" y="780"/>
                  </a:lnTo>
                  <a:lnTo>
                    <a:pt x="192" y="774"/>
                  </a:lnTo>
                  <a:lnTo>
                    <a:pt x="186" y="774"/>
                  </a:lnTo>
                  <a:lnTo>
                    <a:pt x="180" y="774"/>
                  </a:lnTo>
                  <a:lnTo>
                    <a:pt x="174" y="774"/>
                  </a:lnTo>
                  <a:lnTo>
                    <a:pt x="174" y="780"/>
                  </a:lnTo>
                  <a:lnTo>
                    <a:pt x="168" y="780"/>
                  </a:lnTo>
                  <a:lnTo>
                    <a:pt x="162" y="780"/>
                  </a:lnTo>
                  <a:lnTo>
                    <a:pt x="156" y="786"/>
                  </a:lnTo>
                  <a:lnTo>
                    <a:pt x="150" y="786"/>
                  </a:lnTo>
                  <a:lnTo>
                    <a:pt x="144" y="792"/>
                  </a:lnTo>
                  <a:lnTo>
                    <a:pt x="138" y="792"/>
                  </a:lnTo>
                  <a:lnTo>
                    <a:pt x="138" y="798"/>
                  </a:lnTo>
                  <a:lnTo>
                    <a:pt x="132" y="798"/>
                  </a:lnTo>
                  <a:lnTo>
                    <a:pt x="126" y="804"/>
                  </a:lnTo>
                  <a:lnTo>
                    <a:pt x="120" y="804"/>
                  </a:lnTo>
                  <a:lnTo>
                    <a:pt x="114" y="804"/>
                  </a:lnTo>
                  <a:lnTo>
                    <a:pt x="108" y="804"/>
                  </a:lnTo>
                  <a:lnTo>
                    <a:pt x="108" y="798"/>
                  </a:lnTo>
                  <a:lnTo>
                    <a:pt x="102" y="798"/>
                  </a:lnTo>
                  <a:lnTo>
                    <a:pt x="96" y="798"/>
                  </a:lnTo>
                  <a:lnTo>
                    <a:pt x="96" y="792"/>
                  </a:lnTo>
                  <a:lnTo>
                    <a:pt x="90" y="786"/>
                  </a:lnTo>
                  <a:lnTo>
                    <a:pt x="84" y="786"/>
                  </a:lnTo>
                  <a:lnTo>
                    <a:pt x="78" y="786"/>
                  </a:lnTo>
                  <a:lnTo>
                    <a:pt x="72" y="786"/>
                  </a:lnTo>
                  <a:lnTo>
                    <a:pt x="72" y="780"/>
                  </a:lnTo>
                  <a:lnTo>
                    <a:pt x="72" y="786"/>
                  </a:lnTo>
                  <a:lnTo>
                    <a:pt x="72" y="780"/>
                  </a:lnTo>
                  <a:lnTo>
                    <a:pt x="66" y="780"/>
                  </a:lnTo>
                  <a:lnTo>
                    <a:pt x="60" y="780"/>
                  </a:lnTo>
                  <a:lnTo>
                    <a:pt x="60" y="774"/>
                  </a:lnTo>
                  <a:lnTo>
                    <a:pt x="54" y="774"/>
                  </a:lnTo>
                  <a:lnTo>
                    <a:pt x="54" y="768"/>
                  </a:lnTo>
                  <a:lnTo>
                    <a:pt x="48" y="768"/>
                  </a:lnTo>
                  <a:lnTo>
                    <a:pt x="48" y="762"/>
                  </a:lnTo>
                  <a:lnTo>
                    <a:pt x="42" y="762"/>
                  </a:lnTo>
                  <a:lnTo>
                    <a:pt x="42" y="756"/>
                  </a:lnTo>
                  <a:lnTo>
                    <a:pt x="42" y="750"/>
                  </a:lnTo>
                  <a:lnTo>
                    <a:pt x="42" y="744"/>
                  </a:lnTo>
                  <a:lnTo>
                    <a:pt x="36" y="738"/>
                  </a:lnTo>
                  <a:lnTo>
                    <a:pt x="36" y="732"/>
                  </a:lnTo>
                  <a:lnTo>
                    <a:pt x="30" y="732"/>
                  </a:lnTo>
                  <a:lnTo>
                    <a:pt x="24" y="726"/>
                  </a:lnTo>
                  <a:lnTo>
                    <a:pt x="24" y="720"/>
                  </a:lnTo>
                  <a:lnTo>
                    <a:pt x="24" y="714"/>
                  </a:lnTo>
                  <a:lnTo>
                    <a:pt x="24" y="708"/>
                  </a:lnTo>
                  <a:lnTo>
                    <a:pt x="24" y="702"/>
                  </a:lnTo>
                  <a:lnTo>
                    <a:pt x="24" y="696"/>
                  </a:lnTo>
                  <a:lnTo>
                    <a:pt x="24" y="690"/>
                  </a:lnTo>
                  <a:lnTo>
                    <a:pt x="24" y="684"/>
                  </a:lnTo>
                  <a:lnTo>
                    <a:pt x="24" y="678"/>
                  </a:lnTo>
                  <a:lnTo>
                    <a:pt x="30" y="678"/>
                  </a:lnTo>
                  <a:lnTo>
                    <a:pt x="30" y="672"/>
                  </a:lnTo>
                  <a:lnTo>
                    <a:pt x="30" y="678"/>
                  </a:lnTo>
                  <a:lnTo>
                    <a:pt x="30" y="672"/>
                  </a:lnTo>
                  <a:lnTo>
                    <a:pt x="30" y="666"/>
                  </a:lnTo>
                  <a:lnTo>
                    <a:pt x="24" y="666"/>
                  </a:lnTo>
                  <a:lnTo>
                    <a:pt x="24" y="660"/>
                  </a:lnTo>
                  <a:lnTo>
                    <a:pt x="24" y="654"/>
                  </a:lnTo>
                  <a:lnTo>
                    <a:pt x="24" y="648"/>
                  </a:lnTo>
                  <a:lnTo>
                    <a:pt x="18" y="648"/>
                  </a:lnTo>
                  <a:lnTo>
                    <a:pt x="18" y="642"/>
                  </a:lnTo>
                  <a:lnTo>
                    <a:pt x="12" y="642"/>
                  </a:lnTo>
                  <a:lnTo>
                    <a:pt x="12" y="636"/>
                  </a:lnTo>
                  <a:lnTo>
                    <a:pt x="6" y="636"/>
                  </a:lnTo>
                  <a:lnTo>
                    <a:pt x="6" y="630"/>
                  </a:lnTo>
                  <a:lnTo>
                    <a:pt x="6" y="624"/>
                  </a:lnTo>
                  <a:lnTo>
                    <a:pt x="6" y="618"/>
                  </a:lnTo>
                  <a:lnTo>
                    <a:pt x="6" y="612"/>
                  </a:lnTo>
                  <a:lnTo>
                    <a:pt x="0" y="606"/>
                  </a:lnTo>
                  <a:lnTo>
                    <a:pt x="0" y="600"/>
                  </a:lnTo>
                  <a:close/>
                  <a:moveTo>
                    <a:pt x="276" y="72"/>
                  </a:moveTo>
                  <a:lnTo>
                    <a:pt x="282" y="72"/>
                  </a:lnTo>
                  <a:lnTo>
                    <a:pt x="282" y="66"/>
                  </a:lnTo>
                  <a:lnTo>
                    <a:pt x="282" y="72"/>
                  </a:lnTo>
                  <a:lnTo>
                    <a:pt x="282" y="66"/>
                  </a:lnTo>
                  <a:lnTo>
                    <a:pt x="282" y="72"/>
                  </a:lnTo>
                  <a:lnTo>
                    <a:pt x="282" y="78"/>
                  </a:lnTo>
                  <a:lnTo>
                    <a:pt x="288" y="78"/>
                  </a:lnTo>
                  <a:lnTo>
                    <a:pt x="282" y="78"/>
                  </a:lnTo>
                  <a:lnTo>
                    <a:pt x="288" y="78"/>
                  </a:lnTo>
                  <a:lnTo>
                    <a:pt x="282" y="84"/>
                  </a:lnTo>
                  <a:lnTo>
                    <a:pt x="282" y="78"/>
                  </a:lnTo>
                  <a:lnTo>
                    <a:pt x="282" y="84"/>
                  </a:lnTo>
                  <a:lnTo>
                    <a:pt x="282" y="78"/>
                  </a:lnTo>
                  <a:lnTo>
                    <a:pt x="276" y="78"/>
                  </a:lnTo>
                  <a:lnTo>
                    <a:pt x="276" y="72"/>
                  </a:lnTo>
                  <a:close/>
                  <a:moveTo>
                    <a:pt x="366" y="294"/>
                  </a:moveTo>
                  <a:lnTo>
                    <a:pt x="366" y="288"/>
                  </a:lnTo>
                  <a:lnTo>
                    <a:pt x="372" y="288"/>
                  </a:lnTo>
                  <a:lnTo>
                    <a:pt x="372" y="282"/>
                  </a:lnTo>
                  <a:lnTo>
                    <a:pt x="372" y="276"/>
                  </a:lnTo>
                  <a:lnTo>
                    <a:pt x="378" y="276"/>
                  </a:lnTo>
                  <a:lnTo>
                    <a:pt x="378" y="270"/>
                  </a:lnTo>
                  <a:lnTo>
                    <a:pt x="378" y="276"/>
                  </a:lnTo>
                  <a:lnTo>
                    <a:pt x="378" y="282"/>
                  </a:lnTo>
                  <a:lnTo>
                    <a:pt x="372" y="282"/>
                  </a:lnTo>
                  <a:lnTo>
                    <a:pt x="372" y="288"/>
                  </a:lnTo>
                  <a:lnTo>
                    <a:pt x="372" y="294"/>
                  </a:lnTo>
                  <a:lnTo>
                    <a:pt x="366" y="294"/>
                  </a:lnTo>
                  <a:close/>
                  <a:moveTo>
                    <a:pt x="240" y="144"/>
                  </a:moveTo>
                  <a:lnTo>
                    <a:pt x="246" y="144"/>
                  </a:lnTo>
                  <a:lnTo>
                    <a:pt x="246" y="150"/>
                  </a:lnTo>
                  <a:lnTo>
                    <a:pt x="240" y="150"/>
                  </a:lnTo>
                  <a:lnTo>
                    <a:pt x="240" y="144"/>
                  </a:lnTo>
                  <a:close/>
                  <a:moveTo>
                    <a:pt x="294" y="48"/>
                  </a:moveTo>
                  <a:lnTo>
                    <a:pt x="300" y="48"/>
                  </a:lnTo>
                  <a:lnTo>
                    <a:pt x="300" y="54"/>
                  </a:lnTo>
                  <a:lnTo>
                    <a:pt x="294" y="54"/>
                  </a:lnTo>
                  <a:lnTo>
                    <a:pt x="294" y="48"/>
                  </a:lnTo>
                  <a:close/>
                  <a:moveTo>
                    <a:pt x="282" y="84"/>
                  </a:moveTo>
                  <a:lnTo>
                    <a:pt x="288" y="84"/>
                  </a:lnTo>
                  <a:lnTo>
                    <a:pt x="282" y="84"/>
                  </a:lnTo>
                  <a:close/>
                  <a:moveTo>
                    <a:pt x="252" y="114"/>
                  </a:moveTo>
                  <a:lnTo>
                    <a:pt x="258" y="114"/>
                  </a:lnTo>
                  <a:lnTo>
                    <a:pt x="258" y="120"/>
                  </a:lnTo>
                  <a:lnTo>
                    <a:pt x="252" y="120"/>
                  </a:lnTo>
                  <a:lnTo>
                    <a:pt x="252" y="11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8" name="Freeform 42"/>
            <p:cNvSpPr>
              <a:spLocks/>
            </p:cNvSpPr>
            <p:nvPr>
              <p:custDataLst>
                <p:tags r:id="rId91"/>
              </p:custDataLst>
            </p:nvPr>
          </p:nvSpPr>
          <p:spPr bwMode="gray">
            <a:xfrm>
              <a:off x="6299200" y="4479926"/>
              <a:ext cx="15875" cy="28575"/>
            </a:xfrm>
            <a:custGeom>
              <a:avLst/>
              <a:gdLst>
                <a:gd name="T0" fmla="*/ 3413 w 12"/>
                <a:gd name="T1" fmla="*/ 1793 h 24"/>
                <a:gd name="T2" fmla="*/ 5689 w 12"/>
                <a:gd name="T3" fmla="*/ 1793 h 24"/>
                <a:gd name="T4" fmla="*/ 5689 w 12"/>
                <a:gd name="T5" fmla="*/ 3586 h 24"/>
                <a:gd name="T6" fmla="*/ 3413 w 12"/>
                <a:gd name="T7" fmla="*/ 3586 h 24"/>
                <a:gd name="T8" fmla="*/ 5689 w 12"/>
                <a:gd name="T9" fmla="*/ 3586 h 24"/>
                <a:gd name="T10" fmla="*/ 3413 w 12"/>
                <a:gd name="T11" fmla="*/ 5379 h 24"/>
                <a:gd name="T12" fmla="*/ 3413 w 12"/>
                <a:gd name="T13" fmla="*/ 7172 h 24"/>
                <a:gd name="T14" fmla="*/ 3413 w 12"/>
                <a:gd name="T15" fmla="*/ 5379 h 24"/>
                <a:gd name="T16" fmla="*/ 3413 w 12"/>
                <a:gd name="T17" fmla="*/ 7172 h 24"/>
                <a:gd name="T18" fmla="*/ 3413 w 12"/>
                <a:gd name="T19" fmla="*/ 5379 h 24"/>
                <a:gd name="T20" fmla="*/ 3413 w 12"/>
                <a:gd name="T21" fmla="*/ 7172 h 24"/>
                <a:gd name="T22" fmla="*/ 3413 w 12"/>
                <a:gd name="T23" fmla="*/ 5379 h 24"/>
                <a:gd name="T24" fmla="*/ 3413 w 12"/>
                <a:gd name="T25" fmla="*/ 7172 h 24"/>
                <a:gd name="T26" fmla="*/ 3413 w 12"/>
                <a:gd name="T27" fmla="*/ 5379 h 24"/>
                <a:gd name="T28" fmla="*/ 0 w 12"/>
                <a:gd name="T29" fmla="*/ 5379 h 24"/>
                <a:gd name="T30" fmla="*/ 3413 w 12"/>
                <a:gd name="T31" fmla="*/ 5379 h 24"/>
                <a:gd name="T32" fmla="*/ 3413 w 12"/>
                <a:gd name="T33" fmla="*/ 3586 h 24"/>
                <a:gd name="T34" fmla="*/ 0 w 12"/>
                <a:gd name="T35" fmla="*/ 3586 h 24"/>
                <a:gd name="T36" fmla="*/ 3413 w 12"/>
                <a:gd name="T37" fmla="*/ 3586 h 24"/>
                <a:gd name="T38" fmla="*/ 0 w 12"/>
                <a:gd name="T39" fmla="*/ 3586 h 24"/>
                <a:gd name="T40" fmla="*/ 3413 w 12"/>
                <a:gd name="T41" fmla="*/ 3586 h 24"/>
                <a:gd name="T42" fmla="*/ 0 w 12"/>
                <a:gd name="T43" fmla="*/ 3586 h 24"/>
                <a:gd name="T44" fmla="*/ 3413 w 12"/>
                <a:gd name="T45" fmla="*/ 3586 h 24"/>
                <a:gd name="T46" fmla="*/ 0 w 12"/>
                <a:gd name="T47" fmla="*/ 3586 h 24"/>
                <a:gd name="T48" fmla="*/ 0 w 12"/>
                <a:gd name="T49" fmla="*/ 1793 h 24"/>
                <a:gd name="T50" fmla="*/ 0 w 12"/>
                <a:gd name="T51" fmla="*/ 0 h 24"/>
                <a:gd name="T52" fmla="*/ 3413 w 12"/>
                <a:gd name="T53" fmla="*/ 0 h 24"/>
                <a:gd name="T54" fmla="*/ 0 w 12"/>
                <a:gd name="T55" fmla="*/ 0 h 24"/>
                <a:gd name="T56" fmla="*/ 3413 w 12"/>
                <a:gd name="T57" fmla="*/ 0 h 24"/>
                <a:gd name="T58" fmla="*/ 0 w 12"/>
                <a:gd name="T59" fmla="*/ 0 h 24"/>
                <a:gd name="T60" fmla="*/ 3413 w 12"/>
                <a:gd name="T61" fmla="*/ 0 h 24"/>
                <a:gd name="T62" fmla="*/ 0 w 12"/>
                <a:gd name="T63" fmla="*/ 1793 h 24"/>
                <a:gd name="T64" fmla="*/ 3413 w 12"/>
                <a:gd name="T65" fmla="*/ 1793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 h="24">
                  <a:moveTo>
                    <a:pt x="6" y="6"/>
                  </a:moveTo>
                  <a:lnTo>
                    <a:pt x="12" y="6"/>
                  </a:lnTo>
                  <a:lnTo>
                    <a:pt x="12" y="12"/>
                  </a:lnTo>
                  <a:lnTo>
                    <a:pt x="6" y="12"/>
                  </a:lnTo>
                  <a:lnTo>
                    <a:pt x="12" y="12"/>
                  </a:lnTo>
                  <a:lnTo>
                    <a:pt x="6" y="18"/>
                  </a:lnTo>
                  <a:lnTo>
                    <a:pt x="6" y="24"/>
                  </a:lnTo>
                  <a:lnTo>
                    <a:pt x="6" y="18"/>
                  </a:lnTo>
                  <a:lnTo>
                    <a:pt x="6" y="24"/>
                  </a:lnTo>
                  <a:lnTo>
                    <a:pt x="6" y="18"/>
                  </a:lnTo>
                  <a:lnTo>
                    <a:pt x="6" y="24"/>
                  </a:lnTo>
                  <a:lnTo>
                    <a:pt x="6" y="18"/>
                  </a:lnTo>
                  <a:lnTo>
                    <a:pt x="6" y="24"/>
                  </a:lnTo>
                  <a:lnTo>
                    <a:pt x="6" y="18"/>
                  </a:lnTo>
                  <a:lnTo>
                    <a:pt x="0" y="18"/>
                  </a:lnTo>
                  <a:lnTo>
                    <a:pt x="6" y="18"/>
                  </a:lnTo>
                  <a:lnTo>
                    <a:pt x="6" y="12"/>
                  </a:lnTo>
                  <a:lnTo>
                    <a:pt x="0" y="12"/>
                  </a:lnTo>
                  <a:lnTo>
                    <a:pt x="6" y="12"/>
                  </a:lnTo>
                  <a:lnTo>
                    <a:pt x="0" y="12"/>
                  </a:lnTo>
                  <a:lnTo>
                    <a:pt x="6" y="12"/>
                  </a:lnTo>
                  <a:lnTo>
                    <a:pt x="0" y="12"/>
                  </a:lnTo>
                  <a:lnTo>
                    <a:pt x="6" y="12"/>
                  </a:lnTo>
                  <a:lnTo>
                    <a:pt x="0" y="12"/>
                  </a:lnTo>
                  <a:lnTo>
                    <a:pt x="0" y="6"/>
                  </a:lnTo>
                  <a:lnTo>
                    <a:pt x="0" y="0"/>
                  </a:lnTo>
                  <a:lnTo>
                    <a:pt x="6" y="0"/>
                  </a:lnTo>
                  <a:lnTo>
                    <a:pt x="0" y="0"/>
                  </a:lnTo>
                  <a:lnTo>
                    <a:pt x="6" y="0"/>
                  </a:lnTo>
                  <a:lnTo>
                    <a:pt x="0" y="0"/>
                  </a:lnTo>
                  <a:lnTo>
                    <a:pt x="6" y="0"/>
                  </a:lnTo>
                  <a:lnTo>
                    <a:pt x="0" y="6"/>
                  </a:lnTo>
                  <a:lnTo>
                    <a:pt x="6" y="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29" name="Freeform 44"/>
            <p:cNvSpPr>
              <a:spLocks noEditPoints="1"/>
            </p:cNvSpPr>
            <p:nvPr>
              <p:custDataLst>
                <p:tags r:id="rId92"/>
              </p:custDataLst>
            </p:nvPr>
          </p:nvSpPr>
          <p:spPr bwMode="gray">
            <a:xfrm>
              <a:off x="5532438" y="3279776"/>
              <a:ext cx="550863" cy="641350"/>
            </a:xfrm>
            <a:custGeom>
              <a:avLst/>
              <a:gdLst>
                <a:gd name="T0" fmla="*/ 8728 w 444"/>
                <a:gd name="T1" fmla="*/ 0 h 516"/>
                <a:gd name="T2" fmla="*/ 23275 w 444"/>
                <a:gd name="T3" fmla="*/ 0 h 516"/>
                <a:gd name="T4" fmla="*/ 37821 w 444"/>
                <a:gd name="T5" fmla="*/ 0 h 516"/>
                <a:gd name="T6" fmla="*/ 46549 w 444"/>
                <a:gd name="T7" fmla="*/ 3893 h 516"/>
                <a:gd name="T8" fmla="*/ 62065 w 444"/>
                <a:gd name="T9" fmla="*/ 3893 h 516"/>
                <a:gd name="T10" fmla="*/ 72733 w 444"/>
                <a:gd name="T11" fmla="*/ 12651 h 516"/>
                <a:gd name="T12" fmla="*/ 83400 w 444"/>
                <a:gd name="T13" fmla="*/ 19463 h 516"/>
                <a:gd name="T14" fmla="*/ 96007 w 444"/>
                <a:gd name="T15" fmla="*/ 21410 h 516"/>
                <a:gd name="T16" fmla="*/ 106675 w 444"/>
                <a:gd name="T17" fmla="*/ 21410 h 516"/>
                <a:gd name="T18" fmla="*/ 115403 w 444"/>
                <a:gd name="T19" fmla="*/ 17517 h 516"/>
                <a:gd name="T20" fmla="*/ 128010 w 444"/>
                <a:gd name="T21" fmla="*/ 10704 h 516"/>
                <a:gd name="T22" fmla="*/ 136738 w 444"/>
                <a:gd name="T23" fmla="*/ 8758 h 516"/>
                <a:gd name="T24" fmla="*/ 147405 w 444"/>
                <a:gd name="T25" fmla="*/ 12651 h 516"/>
                <a:gd name="T26" fmla="*/ 156134 w 444"/>
                <a:gd name="T27" fmla="*/ 17517 h 516"/>
                <a:gd name="T28" fmla="*/ 147405 w 444"/>
                <a:gd name="T29" fmla="*/ 30168 h 516"/>
                <a:gd name="T30" fmla="*/ 138677 w 444"/>
                <a:gd name="T31" fmla="*/ 44765 h 516"/>
                <a:gd name="T32" fmla="*/ 138677 w 444"/>
                <a:gd name="T33" fmla="*/ 60335 h 516"/>
                <a:gd name="T34" fmla="*/ 138677 w 444"/>
                <a:gd name="T35" fmla="*/ 74933 h 516"/>
                <a:gd name="T36" fmla="*/ 138677 w 444"/>
                <a:gd name="T37" fmla="*/ 90503 h 516"/>
                <a:gd name="T38" fmla="*/ 138677 w 444"/>
                <a:gd name="T39" fmla="*/ 105100 h 516"/>
                <a:gd name="T40" fmla="*/ 147405 w 444"/>
                <a:gd name="T41" fmla="*/ 117751 h 516"/>
                <a:gd name="T42" fmla="*/ 147405 w 444"/>
                <a:gd name="T43" fmla="*/ 128456 h 516"/>
                <a:gd name="T44" fmla="*/ 138677 w 444"/>
                <a:gd name="T45" fmla="*/ 131375 h 516"/>
                <a:gd name="T46" fmla="*/ 138677 w 444"/>
                <a:gd name="T47" fmla="*/ 131375 h 516"/>
                <a:gd name="T48" fmla="*/ 138677 w 444"/>
                <a:gd name="T49" fmla="*/ 137214 h 516"/>
                <a:gd name="T50" fmla="*/ 134799 w 444"/>
                <a:gd name="T51" fmla="*/ 137214 h 516"/>
                <a:gd name="T52" fmla="*/ 128010 w 444"/>
                <a:gd name="T53" fmla="*/ 142080 h 516"/>
                <a:gd name="T54" fmla="*/ 124131 w 444"/>
                <a:gd name="T55" fmla="*/ 152785 h 516"/>
                <a:gd name="T56" fmla="*/ 120252 w 444"/>
                <a:gd name="T57" fmla="*/ 158623 h 516"/>
                <a:gd name="T58" fmla="*/ 117342 w 444"/>
                <a:gd name="T59" fmla="*/ 165436 h 516"/>
                <a:gd name="T60" fmla="*/ 111524 w 444"/>
                <a:gd name="T61" fmla="*/ 172247 h 516"/>
                <a:gd name="T62" fmla="*/ 108615 w 444"/>
                <a:gd name="T63" fmla="*/ 181979 h 516"/>
                <a:gd name="T64" fmla="*/ 104735 w 444"/>
                <a:gd name="T65" fmla="*/ 181979 h 516"/>
                <a:gd name="T66" fmla="*/ 97947 w 444"/>
                <a:gd name="T67" fmla="*/ 181006 h 516"/>
                <a:gd name="T68" fmla="*/ 87280 w 444"/>
                <a:gd name="T69" fmla="*/ 174194 h 516"/>
                <a:gd name="T70" fmla="*/ 76612 w 444"/>
                <a:gd name="T71" fmla="*/ 163489 h 516"/>
                <a:gd name="T72" fmla="*/ 74672 w 444"/>
                <a:gd name="T73" fmla="*/ 156677 h 516"/>
                <a:gd name="T74" fmla="*/ 64005 w 444"/>
                <a:gd name="T75" fmla="*/ 145972 h 516"/>
                <a:gd name="T76" fmla="*/ 53337 w 444"/>
                <a:gd name="T77" fmla="*/ 142080 h 516"/>
                <a:gd name="T78" fmla="*/ 44610 w 444"/>
                <a:gd name="T79" fmla="*/ 135268 h 516"/>
                <a:gd name="T80" fmla="*/ 30063 w 444"/>
                <a:gd name="T81" fmla="*/ 128456 h 516"/>
                <a:gd name="T82" fmla="*/ 21335 w 444"/>
                <a:gd name="T83" fmla="*/ 122617 h 516"/>
                <a:gd name="T84" fmla="*/ 10667 w 444"/>
                <a:gd name="T85" fmla="*/ 115805 h 516"/>
                <a:gd name="T86" fmla="*/ 1940 w 444"/>
                <a:gd name="T87" fmla="*/ 111912 h 516"/>
                <a:gd name="T88" fmla="*/ 0 w 444"/>
                <a:gd name="T89" fmla="*/ 98288 h 516"/>
                <a:gd name="T90" fmla="*/ 1940 w 444"/>
                <a:gd name="T91" fmla="*/ 86610 h 516"/>
                <a:gd name="T92" fmla="*/ 6788 w 444"/>
                <a:gd name="T93" fmla="*/ 79799 h 516"/>
                <a:gd name="T94" fmla="*/ 12607 w 444"/>
                <a:gd name="T95" fmla="*/ 71040 h 516"/>
                <a:gd name="T96" fmla="*/ 19395 w 444"/>
                <a:gd name="T97" fmla="*/ 62282 h 516"/>
                <a:gd name="T98" fmla="*/ 19395 w 444"/>
                <a:gd name="T99" fmla="*/ 49631 h 516"/>
                <a:gd name="T100" fmla="*/ 17456 w 444"/>
                <a:gd name="T101" fmla="*/ 36979 h 516"/>
                <a:gd name="T102" fmla="*/ 10667 w 444"/>
                <a:gd name="T103" fmla="*/ 28221 h 516"/>
                <a:gd name="T104" fmla="*/ 8728 w 444"/>
                <a:gd name="T105" fmla="*/ 19463 h 516"/>
                <a:gd name="T106" fmla="*/ 6788 w 444"/>
                <a:gd name="T107" fmla="*/ 14597 h 516"/>
                <a:gd name="T108" fmla="*/ 1940 w 444"/>
                <a:gd name="T109" fmla="*/ 8758 h 516"/>
                <a:gd name="T110" fmla="*/ 136738 w 444"/>
                <a:gd name="T111" fmla="*/ 137214 h 516"/>
                <a:gd name="T112" fmla="*/ 113464 w 444"/>
                <a:gd name="T113" fmla="*/ 174194 h 516"/>
                <a:gd name="T114" fmla="*/ 108615 w 444"/>
                <a:gd name="T115" fmla="*/ 184898 h 516"/>
                <a:gd name="T116" fmla="*/ 149345 w 444"/>
                <a:gd name="T117" fmla="*/ 128456 h 516"/>
                <a:gd name="T118" fmla="*/ 104735 w 444"/>
                <a:gd name="T119" fmla="*/ 184898 h 5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4" h="516">
                  <a:moveTo>
                    <a:pt x="0" y="24"/>
                  </a:moveTo>
                  <a:lnTo>
                    <a:pt x="6" y="24"/>
                  </a:lnTo>
                  <a:lnTo>
                    <a:pt x="6" y="18"/>
                  </a:lnTo>
                  <a:lnTo>
                    <a:pt x="12" y="12"/>
                  </a:lnTo>
                  <a:lnTo>
                    <a:pt x="18" y="6"/>
                  </a:lnTo>
                  <a:lnTo>
                    <a:pt x="24" y="6"/>
                  </a:lnTo>
                  <a:lnTo>
                    <a:pt x="24" y="0"/>
                  </a:lnTo>
                  <a:lnTo>
                    <a:pt x="30" y="0"/>
                  </a:lnTo>
                  <a:lnTo>
                    <a:pt x="36" y="0"/>
                  </a:lnTo>
                  <a:lnTo>
                    <a:pt x="42" y="0"/>
                  </a:lnTo>
                  <a:lnTo>
                    <a:pt x="48" y="0"/>
                  </a:lnTo>
                  <a:lnTo>
                    <a:pt x="54" y="0"/>
                  </a:lnTo>
                  <a:lnTo>
                    <a:pt x="60" y="0"/>
                  </a:lnTo>
                  <a:lnTo>
                    <a:pt x="66" y="0"/>
                  </a:lnTo>
                  <a:lnTo>
                    <a:pt x="72" y="0"/>
                  </a:lnTo>
                  <a:lnTo>
                    <a:pt x="78" y="0"/>
                  </a:lnTo>
                  <a:lnTo>
                    <a:pt x="84" y="0"/>
                  </a:lnTo>
                  <a:lnTo>
                    <a:pt x="90" y="0"/>
                  </a:lnTo>
                  <a:lnTo>
                    <a:pt x="96" y="0"/>
                  </a:lnTo>
                  <a:lnTo>
                    <a:pt x="102" y="0"/>
                  </a:lnTo>
                  <a:lnTo>
                    <a:pt x="108" y="0"/>
                  </a:lnTo>
                  <a:lnTo>
                    <a:pt x="114" y="0"/>
                  </a:lnTo>
                  <a:lnTo>
                    <a:pt x="114" y="6"/>
                  </a:lnTo>
                  <a:lnTo>
                    <a:pt x="114" y="12"/>
                  </a:lnTo>
                  <a:lnTo>
                    <a:pt x="120" y="12"/>
                  </a:lnTo>
                  <a:lnTo>
                    <a:pt x="126" y="12"/>
                  </a:lnTo>
                  <a:lnTo>
                    <a:pt x="126" y="6"/>
                  </a:lnTo>
                  <a:lnTo>
                    <a:pt x="132" y="12"/>
                  </a:lnTo>
                  <a:lnTo>
                    <a:pt x="138" y="12"/>
                  </a:lnTo>
                  <a:lnTo>
                    <a:pt x="144" y="12"/>
                  </a:lnTo>
                  <a:lnTo>
                    <a:pt x="150" y="12"/>
                  </a:lnTo>
                  <a:lnTo>
                    <a:pt x="156" y="12"/>
                  </a:lnTo>
                  <a:lnTo>
                    <a:pt x="162" y="12"/>
                  </a:lnTo>
                  <a:lnTo>
                    <a:pt x="168" y="12"/>
                  </a:lnTo>
                  <a:lnTo>
                    <a:pt x="174" y="12"/>
                  </a:lnTo>
                  <a:lnTo>
                    <a:pt x="174" y="18"/>
                  </a:lnTo>
                  <a:lnTo>
                    <a:pt x="180" y="18"/>
                  </a:lnTo>
                  <a:lnTo>
                    <a:pt x="186" y="24"/>
                  </a:lnTo>
                  <a:lnTo>
                    <a:pt x="192" y="24"/>
                  </a:lnTo>
                  <a:lnTo>
                    <a:pt x="198" y="30"/>
                  </a:lnTo>
                  <a:lnTo>
                    <a:pt x="198" y="36"/>
                  </a:lnTo>
                  <a:lnTo>
                    <a:pt x="204" y="36"/>
                  </a:lnTo>
                  <a:lnTo>
                    <a:pt x="210" y="42"/>
                  </a:lnTo>
                  <a:lnTo>
                    <a:pt x="216" y="42"/>
                  </a:lnTo>
                  <a:lnTo>
                    <a:pt x="216" y="48"/>
                  </a:lnTo>
                  <a:lnTo>
                    <a:pt x="222" y="48"/>
                  </a:lnTo>
                  <a:lnTo>
                    <a:pt x="228" y="48"/>
                  </a:lnTo>
                  <a:lnTo>
                    <a:pt x="228" y="54"/>
                  </a:lnTo>
                  <a:lnTo>
                    <a:pt x="234" y="54"/>
                  </a:lnTo>
                  <a:lnTo>
                    <a:pt x="240" y="54"/>
                  </a:lnTo>
                  <a:lnTo>
                    <a:pt x="246" y="54"/>
                  </a:lnTo>
                  <a:lnTo>
                    <a:pt x="252" y="54"/>
                  </a:lnTo>
                  <a:lnTo>
                    <a:pt x="258" y="54"/>
                  </a:lnTo>
                  <a:lnTo>
                    <a:pt x="264" y="54"/>
                  </a:lnTo>
                  <a:lnTo>
                    <a:pt x="264" y="60"/>
                  </a:lnTo>
                  <a:lnTo>
                    <a:pt x="270" y="60"/>
                  </a:lnTo>
                  <a:lnTo>
                    <a:pt x="276" y="60"/>
                  </a:lnTo>
                  <a:lnTo>
                    <a:pt x="282" y="60"/>
                  </a:lnTo>
                  <a:lnTo>
                    <a:pt x="288" y="60"/>
                  </a:lnTo>
                  <a:lnTo>
                    <a:pt x="294" y="60"/>
                  </a:lnTo>
                  <a:lnTo>
                    <a:pt x="294" y="66"/>
                  </a:lnTo>
                  <a:lnTo>
                    <a:pt x="300" y="66"/>
                  </a:lnTo>
                  <a:lnTo>
                    <a:pt x="300" y="60"/>
                  </a:lnTo>
                  <a:lnTo>
                    <a:pt x="300" y="66"/>
                  </a:lnTo>
                  <a:lnTo>
                    <a:pt x="306" y="66"/>
                  </a:lnTo>
                  <a:lnTo>
                    <a:pt x="312" y="66"/>
                  </a:lnTo>
                  <a:lnTo>
                    <a:pt x="318" y="60"/>
                  </a:lnTo>
                  <a:lnTo>
                    <a:pt x="318" y="54"/>
                  </a:lnTo>
                  <a:lnTo>
                    <a:pt x="324" y="54"/>
                  </a:lnTo>
                  <a:lnTo>
                    <a:pt x="324" y="48"/>
                  </a:lnTo>
                  <a:lnTo>
                    <a:pt x="330" y="42"/>
                  </a:lnTo>
                  <a:lnTo>
                    <a:pt x="336" y="36"/>
                  </a:lnTo>
                  <a:lnTo>
                    <a:pt x="342" y="36"/>
                  </a:lnTo>
                  <a:lnTo>
                    <a:pt x="348" y="36"/>
                  </a:lnTo>
                  <a:lnTo>
                    <a:pt x="348" y="30"/>
                  </a:lnTo>
                  <a:lnTo>
                    <a:pt x="354" y="30"/>
                  </a:lnTo>
                  <a:lnTo>
                    <a:pt x="360" y="30"/>
                  </a:lnTo>
                  <a:lnTo>
                    <a:pt x="360" y="24"/>
                  </a:lnTo>
                  <a:lnTo>
                    <a:pt x="366" y="24"/>
                  </a:lnTo>
                  <a:lnTo>
                    <a:pt x="372" y="24"/>
                  </a:lnTo>
                  <a:lnTo>
                    <a:pt x="378" y="24"/>
                  </a:lnTo>
                  <a:lnTo>
                    <a:pt x="378" y="18"/>
                  </a:lnTo>
                  <a:lnTo>
                    <a:pt x="384" y="18"/>
                  </a:lnTo>
                  <a:lnTo>
                    <a:pt x="384" y="24"/>
                  </a:lnTo>
                  <a:lnTo>
                    <a:pt x="390" y="24"/>
                  </a:lnTo>
                  <a:lnTo>
                    <a:pt x="390" y="30"/>
                  </a:lnTo>
                  <a:lnTo>
                    <a:pt x="396" y="30"/>
                  </a:lnTo>
                  <a:lnTo>
                    <a:pt x="396" y="36"/>
                  </a:lnTo>
                  <a:lnTo>
                    <a:pt x="402" y="36"/>
                  </a:lnTo>
                  <a:lnTo>
                    <a:pt x="408" y="36"/>
                  </a:lnTo>
                  <a:lnTo>
                    <a:pt x="414" y="36"/>
                  </a:lnTo>
                  <a:lnTo>
                    <a:pt x="420" y="36"/>
                  </a:lnTo>
                  <a:lnTo>
                    <a:pt x="426" y="36"/>
                  </a:lnTo>
                  <a:lnTo>
                    <a:pt x="432" y="36"/>
                  </a:lnTo>
                  <a:lnTo>
                    <a:pt x="438" y="36"/>
                  </a:lnTo>
                  <a:lnTo>
                    <a:pt x="444" y="36"/>
                  </a:lnTo>
                  <a:lnTo>
                    <a:pt x="438" y="42"/>
                  </a:lnTo>
                  <a:lnTo>
                    <a:pt x="438" y="48"/>
                  </a:lnTo>
                  <a:lnTo>
                    <a:pt x="432" y="48"/>
                  </a:lnTo>
                  <a:lnTo>
                    <a:pt x="432" y="54"/>
                  </a:lnTo>
                  <a:lnTo>
                    <a:pt x="426" y="60"/>
                  </a:lnTo>
                  <a:lnTo>
                    <a:pt x="420" y="66"/>
                  </a:lnTo>
                  <a:lnTo>
                    <a:pt x="420" y="72"/>
                  </a:lnTo>
                  <a:lnTo>
                    <a:pt x="414" y="78"/>
                  </a:lnTo>
                  <a:lnTo>
                    <a:pt x="414" y="84"/>
                  </a:lnTo>
                  <a:lnTo>
                    <a:pt x="408" y="84"/>
                  </a:lnTo>
                  <a:lnTo>
                    <a:pt x="402" y="90"/>
                  </a:lnTo>
                  <a:lnTo>
                    <a:pt x="396" y="96"/>
                  </a:lnTo>
                  <a:lnTo>
                    <a:pt x="390" y="102"/>
                  </a:lnTo>
                  <a:lnTo>
                    <a:pt x="390" y="108"/>
                  </a:lnTo>
                  <a:lnTo>
                    <a:pt x="390" y="114"/>
                  </a:lnTo>
                  <a:lnTo>
                    <a:pt x="390" y="126"/>
                  </a:lnTo>
                  <a:lnTo>
                    <a:pt x="390" y="132"/>
                  </a:lnTo>
                  <a:lnTo>
                    <a:pt x="390" y="138"/>
                  </a:lnTo>
                  <a:lnTo>
                    <a:pt x="390" y="144"/>
                  </a:lnTo>
                  <a:lnTo>
                    <a:pt x="390" y="150"/>
                  </a:lnTo>
                  <a:lnTo>
                    <a:pt x="390" y="156"/>
                  </a:lnTo>
                  <a:lnTo>
                    <a:pt x="390" y="162"/>
                  </a:lnTo>
                  <a:lnTo>
                    <a:pt x="390" y="168"/>
                  </a:lnTo>
                  <a:lnTo>
                    <a:pt x="390" y="174"/>
                  </a:lnTo>
                  <a:lnTo>
                    <a:pt x="390" y="180"/>
                  </a:lnTo>
                  <a:lnTo>
                    <a:pt x="390" y="186"/>
                  </a:lnTo>
                  <a:lnTo>
                    <a:pt x="390" y="192"/>
                  </a:lnTo>
                  <a:lnTo>
                    <a:pt x="390" y="198"/>
                  </a:lnTo>
                  <a:lnTo>
                    <a:pt x="390" y="204"/>
                  </a:lnTo>
                  <a:lnTo>
                    <a:pt x="390" y="210"/>
                  </a:lnTo>
                  <a:lnTo>
                    <a:pt x="390" y="216"/>
                  </a:lnTo>
                  <a:lnTo>
                    <a:pt x="390" y="222"/>
                  </a:lnTo>
                  <a:lnTo>
                    <a:pt x="390" y="228"/>
                  </a:lnTo>
                  <a:lnTo>
                    <a:pt x="390" y="234"/>
                  </a:lnTo>
                  <a:lnTo>
                    <a:pt x="390" y="240"/>
                  </a:lnTo>
                  <a:lnTo>
                    <a:pt x="390" y="246"/>
                  </a:lnTo>
                  <a:lnTo>
                    <a:pt x="390" y="252"/>
                  </a:lnTo>
                  <a:lnTo>
                    <a:pt x="390" y="258"/>
                  </a:lnTo>
                  <a:lnTo>
                    <a:pt x="390" y="264"/>
                  </a:lnTo>
                  <a:lnTo>
                    <a:pt x="390" y="270"/>
                  </a:lnTo>
                  <a:lnTo>
                    <a:pt x="390" y="276"/>
                  </a:lnTo>
                  <a:lnTo>
                    <a:pt x="390" y="282"/>
                  </a:lnTo>
                  <a:lnTo>
                    <a:pt x="390" y="288"/>
                  </a:lnTo>
                  <a:lnTo>
                    <a:pt x="390" y="294"/>
                  </a:lnTo>
                  <a:lnTo>
                    <a:pt x="390" y="300"/>
                  </a:lnTo>
                  <a:lnTo>
                    <a:pt x="390" y="306"/>
                  </a:lnTo>
                  <a:lnTo>
                    <a:pt x="396" y="306"/>
                  </a:lnTo>
                  <a:lnTo>
                    <a:pt x="396" y="312"/>
                  </a:lnTo>
                  <a:lnTo>
                    <a:pt x="402" y="318"/>
                  </a:lnTo>
                  <a:lnTo>
                    <a:pt x="408" y="324"/>
                  </a:lnTo>
                  <a:lnTo>
                    <a:pt x="414" y="330"/>
                  </a:lnTo>
                  <a:lnTo>
                    <a:pt x="414" y="336"/>
                  </a:lnTo>
                  <a:lnTo>
                    <a:pt x="420" y="336"/>
                  </a:lnTo>
                  <a:lnTo>
                    <a:pt x="420" y="342"/>
                  </a:lnTo>
                  <a:lnTo>
                    <a:pt x="426" y="348"/>
                  </a:lnTo>
                  <a:lnTo>
                    <a:pt x="420" y="354"/>
                  </a:lnTo>
                  <a:lnTo>
                    <a:pt x="420" y="360"/>
                  </a:lnTo>
                  <a:lnTo>
                    <a:pt x="414" y="360"/>
                  </a:lnTo>
                  <a:lnTo>
                    <a:pt x="414" y="366"/>
                  </a:lnTo>
                  <a:lnTo>
                    <a:pt x="408" y="366"/>
                  </a:lnTo>
                  <a:lnTo>
                    <a:pt x="402" y="366"/>
                  </a:lnTo>
                  <a:lnTo>
                    <a:pt x="396" y="366"/>
                  </a:lnTo>
                  <a:lnTo>
                    <a:pt x="396" y="372"/>
                  </a:lnTo>
                  <a:lnTo>
                    <a:pt x="390" y="372"/>
                  </a:lnTo>
                  <a:lnTo>
                    <a:pt x="390" y="366"/>
                  </a:lnTo>
                  <a:lnTo>
                    <a:pt x="396" y="366"/>
                  </a:lnTo>
                  <a:lnTo>
                    <a:pt x="390" y="366"/>
                  </a:lnTo>
                  <a:lnTo>
                    <a:pt x="390" y="372"/>
                  </a:lnTo>
                  <a:lnTo>
                    <a:pt x="390" y="366"/>
                  </a:lnTo>
                  <a:lnTo>
                    <a:pt x="384" y="366"/>
                  </a:lnTo>
                  <a:lnTo>
                    <a:pt x="384" y="372"/>
                  </a:lnTo>
                  <a:lnTo>
                    <a:pt x="390" y="366"/>
                  </a:lnTo>
                  <a:lnTo>
                    <a:pt x="390" y="372"/>
                  </a:lnTo>
                  <a:lnTo>
                    <a:pt x="384" y="372"/>
                  </a:lnTo>
                  <a:lnTo>
                    <a:pt x="390" y="372"/>
                  </a:lnTo>
                  <a:lnTo>
                    <a:pt x="390" y="378"/>
                  </a:lnTo>
                  <a:lnTo>
                    <a:pt x="390" y="384"/>
                  </a:lnTo>
                  <a:lnTo>
                    <a:pt x="390" y="378"/>
                  </a:lnTo>
                  <a:lnTo>
                    <a:pt x="390" y="384"/>
                  </a:lnTo>
                  <a:lnTo>
                    <a:pt x="390" y="378"/>
                  </a:lnTo>
                  <a:lnTo>
                    <a:pt x="390" y="384"/>
                  </a:lnTo>
                  <a:lnTo>
                    <a:pt x="384" y="384"/>
                  </a:lnTo>
                  <a:lnTo>
                    <a:pt x="378" y="384"/>
                  </a:lnTo>
                  <a:lnTo>
                    <a:pt x="384" y="384"/>
                  </a:lnTo>
                  <a:lnTo>
                    <a:pt x="384" y="390"/>
                  </a:lnTo>
                  <a:lnTo>
                    <a:pt x="378" y="384"/>
                  </a:lnTo>
                  <a:lnTo>
                    <a:pt x="384" y="390"/>
                  </a:lnTo>
                  <a:lnTo>
                    <a:pt x="378" y="390"/>
                  </a:lnTo>
                  <a:lnTo>
                    <a:pt x="378" y="396"/>
                  </a:lnTo>
                  <a:lnTo>
                    <a:pt x="372" y="396"/>
                  </a:lnTo>
                  <a:lnTo>
                    <a:pt x="372" y="402"/>
                  </a:lnTo>
                  <a:lnTo>
                    <a:pt x="366" y="396"/>
                  </a:lnTo>
                  <a:lnTo>
                    <a:pt x="360" y="396"/>
                  </a:lnTo>
                  <a:lnTo>
                    <a:pt x="360" y="402"/>
                  </a:lnTo>
                  <a:lnTo>
                    <a:pt x="354" y="402"/>
                  </a:lnTo>
                  <a:lnTo>
                    <a:pt x="354" y="408"/>
                  </a:lnTo>
                  <a:lnTo>
                    <a:pt x="348" y="408"/>
                  </a:lnTo>
                  <a:lnTo>
                    <a:pt x="348" y="414"/>
                  </a:lnTo>
                  <a:lnTo>
                    <a:pt x="348" y="420"/>
                  </a:lnTo>
                  <a:lnTo>
                    <a:pt x="348" y="426"/>
                  </a:lnTo>
                  <a:lnTo>
                    <a:pt x="348" y="420"/>
                  </a:lnTo>
                  <a:lnTo>
                    <a:pt x="348" y="426"/>
                  </a:lnTo>
                  <a:lnTo>
                    <a:pt x="348" y="432"/>
                  </a:lnTo>
                  <a:lnTo>
                    <a:pt x="342" y="432"/>
                  </a:lnTo>
                  <a:lnTo>
                    <a:pt x="342" y="438"/>
                  </a:lnTo>
                  <a:lnTo>
                    <a:pt x="342" y="444"/>
                  </a:lnTo>
                  <a:lnTo>
                    <a:pt x="336" y="444"/>
                  </a:lnTo>
                  <a:lnTo>
                    <a:pt x="336" y="450"/>
                  </a:lnTo>
                  <a:lnTo>
                    <a:pt x="330" y="456"/>
                  </a:lnTo>
                  <a:lnTo>
                    <a:pt x="330" y="462"/>
                  </a:lnTo>
                  <a:lnTo>
                    <a:pt x="330" y="456"/>
                  </a:lnTo>
                  <a:lnTo>
                    <a:pt x="324" y="456"/>
                  </a:lnTo>
                  <a:lnTo>
                    <a:pt x="324" y="462"/>
                  </a:lnTo>
                  <a:lnTo>
                    <a:pt x="330" y="462"/>
                  </a:lnTo>
                  <a:lnTo>
                    <a:pt x="330" y="468"/>
                  </a:lnTo>
                  <a:lnTo>
                    <a:pt x="324" y="474"/>
                  </a:lnTo>
                  <a:lnTo>
                    <a:pt x="324" y="480"/>
                  </a:lnTo>
                  <a:lnTo>
                    <a:pt x="324" y="486"/>
                  </a:lnTo>
                  <a:lnTo>
                    <a:pt x="318" y="486"/>
                  </a:lnTo>
                  <a:lnTo>
                    <a:pt x="318" y="480"/>
                  </a:lnTo>
                  <a:lnTo>
                    <a:pt x="312" y="480"/>
                  </a:lnTo>
                  <a:lnTo>
                    <a:pt x="312" y="486"/>
                  </a:lnTo>
                  <a:lnTo>
                    <a:pt x="318" y="486"/>
                  </a:lnTo>
                  <a:lnTo>
                    <a:pt x="318" y="492"/>
                  </a:lnTo>
                  <a:lnTo>
                    <a:pt x="312" y="492"/>
                  </a:lnTo>
                  <a:lnTo>
                    <a:pt x="312" y="498"/>
                  </a:lnTo>
                  <a:lnTo>
                    <a:pt x="312" y="504"/>
                  </a:lnTo>
                  <a:lnTo>
                    <a:pt x="306" y="510"/>
                  </a:lnTo>
                  <a:lnTo>
                    <a:pt x="306" y="516"/>
                  </a:lnTo>
                  <a:lnTo>
                    <a:pt x="300" y="516"/>
                  </a:lnTo>
                  <a:lnTo>
                    <a:pt x="300" y="510"/>
                  </a:lnTo>
                  <a:lnTo>
                    <a:pt x="300" y="516"/>
                  </a:lnTo>
                  <a:lnTo>
                    <a:pt x="300" y="510"/>
                  </a:lnTo>
                  <a:lnTo>
                    <a:pt x="300" y="516"/>
                  </a:lnTo>
                  <a:lnTo>
                    <a:pt x="294" y="510"/>
                  </a:lnTo>
                  <a:lnTo>
                    <a:pt x="294" y="516"/>
                  </a:lnTo>
                  <a:lnTo>
                    <a:pt x="300" y="516"/>
                  </a:lnTo>
                  <a:lnTo>
                    <a:pt x="294" y="516"/>
                  </a:lnTo>
                  <a:lnTo>
                    <a:pt x="288" y="516"/>
                  </a:lnTo>
                  <a:lnTo>
                    <a:pt x="282" y="510"/>
                  </a:lnTo>
                  <a:lnTo>
                    <a:pt x="276" y="510"/>
                  </a:lnTo>
                  <a:lnTo>
                    <a:pt x="276" y="504"/>
                  </a:lnTo>
                  <a:lnTo>
                    <a:pt x="270" y="504"/>
                  </a:lnTo>
                  <a:lnTo>
                    <a:pt x="270" y="498"/>
                  </a:lnTo>
                  <a:lnTo>
                    <a:pt x="264" y="498"/>
                  </a:lnTo>
                  <a:lnTo>
                    <a:pt x="258" y="492"/>
                  </a:lnTo>
                  <a:lnTo>
                    <a:pt x="252" y="492"/>
                  </a:lnTo>
                  <a:lnTo>
                    <a:pt x="252" y="486"/>
                  </a:lnTo>
                  <a:lnTo>
                    <a:pt x="246" y="486"/>
                  </a:lnTo>
                  <a:lnTo>
                    <a:pt x="246" y="480"/>
                  </a:lnTo>
                  <a:lnTo>
                    <a:pt x="240" y="480"/>
                  </a:lnTo>
                  <a:lnTo>
                    <a:pt x="234" y="474"/>
                  </a:lnTo>
                  <a:lnTo>
                    <a:pt x="228" y="468"/>
                  </a:lnTo>
                  <a:lnTo>
                    <a:pt x="222" y="468"/>
                  </a:lnTo>
                  <a:lnTo>
                    <a:pt x="216" y="462"/>
                  </a:lnTo>
                  <a:lnTo>
                    <a:pt x="216" y="456"/>
                  </a:lnTo>
                  <a:lnTo>
                    <a:pt x="210" y="456"/>
                  </a:lnTo>
                  <a:lnTo>
                    <a:pt x="210" y="450"/>
                  </a:lnTo>
                  <a:lnTo>
                    <a:pt x="204" y="456"/>
                  </a:lnTo>
                  <a:lnTo>
                    <a:pt x="204" y="450"/>
                  </a:lnTo>
                  <a:lnTo>
                    <a:pt x="204" y="444"/>
                  </a:lnTo>
                  <a:lnTo>
                    <a:pt x="210" y="444"/>
                  </a:lnTo>
                  <a:lnTo>
                    <a:pt x="210" y="438"/>
                  </a:lnTo>
                  <a:lnTo>
                    <a:pt x="210" y="432"/>
                  </a:lnTo>
                  <a:lnTo>
                    <a:pt x="210" y="426"/>
                  </a:lnTo>
                  <a:lnTo>
                    <a:pt x="204" y="426"/>
                  </a:lnTo>
                  <a:lnTo>
                    <a:pt x="198" y="420"/>
                  </a:lnTo>
                  <a:lnTo>
                    <a:pt x="192" y="420"/>
                  </a:lnTo>
                  <a:lnTo>
                    <a:pt x="186" y="414"/>
                  </a:lnTo>
                  <a:lnTo>
                    <a:pt x="180" y="408"/>
                  </a:lnTo>
                  <a:lnTo>
                    <a:pt x="174" y="408"/>
                  </a:lnTo>
                  <a:lnTo>
                    <a:pt x="168" y="408"/>
                  </a:lnTo>
                  <a:lnTo>
                    <a:pt x="168" y="402"/>
                  </a:lnTo>
                  <a:lnTo>
                    <a:pt x="162" y="402"/>
                  </a:lnTo>
                  <a:lnTo>
                    <a:pt x="156" y="402"/>
                  </a:lnTo>
                  <a:lnTo>
                    <a:pt x="156" y="396"/>
                  </a:lnTo>
                  <a:lnTo>
                    <a:pt x="150" y="396"/>
                  </a:lnTo>
                  <a:lnTo>
                    <a:pt x="150" y="390"/>
                  </a:lnTo>
                  <a:lnTo>
                    <a:pt x="144" y="390"/>
                  </a:lnTo>
                  <a:lnTo>
                    <a:pt x="138" y="390"/>
                  </a:lnTo>
                  <a:lnTo>
                    <a:pt x="138" y="384"/>
                  </a:lnTo>
                  <a:lnTo>
                    <a:pt x="132" y="384"/>
                  </a:lnTo>
                  <a:lnTo>
                    <a:pt x="126" y="384"/>
                  </a:lnTo>
                  <a:lnTo>
                    <a:pt x="126" y="378"/>
                  </a:lnTo>
                  <a:lnTo>
                    <a:pt x="120" y="378"/>
                  </a:lnTo>
                  <a:lnTo>
                    <a:pt x="114" y="372"/>
                  </a:lnTo>
                  <a:lnTo>
                    <a:pt x="108" y="372"/>
                  </a:lnTo>
                  <a:lnTo>
                    <a:pt x="102" y="366"/>
                  </a:lnTo>
                  <a:lnTo>
                    <a:pt x="96" y="366"/>
                  </a:lnTo>
                  <a:lnTo>
                    <a:pt x="90" y="360"/>
                  </a:lnTo>
                  <a:lnTo>
                    <a:pt x="84" y="360"/>
                  </a:lnTo>
                  <a:lnTo>
                    <a:pt x="84" y="354"/>
                  </a:lnTo>
                  <a:lnTo>
                    <a:pt x="78" y="354"/>
                  </a:lnTo>
                  <a:lnTo>
                    <a:pt x="72" y="354"/>
                  </a:lnTo>
                  <a:lnTo>
                    <a:pt x="72" y="348"/>
                  </a:lnTo>
                  <a:lnTo>
                    <a:pt x="66" y="348"/>
                  </a:lnTo>
                  <a:lnTo>
                    <a:pt x="60" y="348"/>
                  </a:lnTo>
                  <a:lnTo>
                    <a:pt x="60" y="342"/>
                  </a:lnTo>
                  <a:lnTo>
                    <a:pt x="54" y="342"/>
                  </a:lnTo>
                  <a:lnTo>
                    <a:pt x="48" y="336"/>
                  </a:lnTo>
                  <a:lnTo>
                    <a:pt x="42" y="336"/>
                  </a:lnTo>
                  <a:lnTo>
                    <a:pt x="42" y="330"/>
                  </a:lnTo>
                  <a:lnTo>
                    <a:pt x="36" y="330"/>
                  </a:lnTo>
                  <a:lnTo>
                    <a:pt x="30" y="330"/>
                  </a:lnTo>
                  <a:lnTo>
                    <a:pt x="30" y="324"/>
                  </a:lnTo>
                  <a:lnTo>
                    <a:pt x="24" y="324"/>
                  </a:lnTo>
                  <a:lnTo>
                    <a:pt x="18" y="318"/>
                  </a:lnTo>
                  <a:lnTo>
                    <a:pt x="12" y="318"/>
                  </a:lnTo>
                  <a:lnTo>
                    <a:pt x="12" y="312"/>
                  </a:lnTo>
                  <a:lnTo>
                    <a:pt x="6" y="312"/>
                  </a:lnTo>
                  <a:lnTo>
                    <a:pt x="6" y="318"/>
                  </a:lnTo>
                  <a:lnTo>
                    <a:pt x="6" y="312"/>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6" y="246"/>
                  </a:lnTo>
                  <a:lnTo>
                    <a:pt x="6" y="240"/>
                  </a:lnTo>
                  <a:lnTo>
                    <a:pt x="6" y="234"/>
                  </a:lnTo>
                  <a:lnTo>
                    <a:pt x="12" y="234"/>
                  </a:lnTo>
                  <a:lnTo>
                    <a:pt x="6" y="234"/>
                  </a:lnTo>
                  <a:lnTo>
                    <a:pt x="12" y="234"/>
                  </a:lnTo>
                  <a:lnTo>
                    <a:pt x="12" y="228"/>
                  </a:lnTo>
                  <a:lnTo>
                    <a:pt x="12" y="222"/>
                  </a:lnTo>
                  <a:lnTo>
                    <a:pt x="18" y="222"/>
                  </a:lnTo>
                  <a:lnTo>
                    <a:pt x="18" y="216"/>
                  </a:lnTo>
                  <a:lnTo>
                    <a:pt x="24" y="216"/>
                  </a:lnTo>
                  <a:lnTo>
                    <a:pt x="24" y="210"/>
                  </a:lnTo>
                  <a:lnTo>
                    <a:pt x="30" y="210"/>
                  </a:lnTo>
                  <a:lnTo>
                    <a:pt x="30" y="204"/>
                  </a:lnTo>
                  <a:lnTo>
                    <a:pt x="30" y="198"/>
                  </a:lnTo>
                  <a:lnTo>
                    <a:pt x="36" y="198"/>
                  </a:lnTo>
                  <a:lnTo>
                    <a:pt x="36" y="192"/>
                  </a:lnTo>
                  <a:lnTo>
                    <a:pt x="42" y="192"/>
                  </a:lnTo>
                  <a:lnTo>
                    <a:pt x="48" y="192"/>
                  </a:lnTo>
                  <a:lnTo>
                    <a:pt x="48" y="186"/>
                  </a:lnTo>
                  <a:lnTo>
                    <a:pt x="48" y="180"/>
                  </a:lnTo>
                  <a:lnTo>
                    <a:pt x="48" y="174"/>
                  </a:lnTo>
                  <a:lnTo>
                    <a:pt x="54" y="174"/>
                  </a:lnTo>
                  <a:lnTo>
                    <a:pt x="54" y="168"/>
                  </a:lnTo>
                  <a:lnTo>
                    <a:pt x="60" y="168"/>
                  </a:lnTo>
                  <a:lnTo>
                    <a:pt x="60" y="162"/>
                  </a:lnTo>
                  <a:lnTo>
                    <a:pt x="60" y="156"/>
                  </a:lnTo>
                  <a:lnTo>
                    <a:pt x="60" y="150"/>
                  </a:lnTo>
                  <a:lnTo>
                    <a:pt x="60" y="144"/>
                  </a:lnTo>
                  <a:lnTo>
                    <a:pt x="54" y="138"/>
                  </a:lnTo>
                  <a:lnTo>
                    <a:pt x="54" y="132"/>
                  </a:lnTo>
                  <a:lnTo>
                    <a:pt x="54" y="126"/>
                  </a:lnTo>
                  <a:lnTo>
                    <a:pt x="54" y="120"/>
                  </a:lnTo>
                  <a:lnTo>
                    <a:pt x="54" y="114"/>
                  </a:lnTo>
                  <a:lnTo>
                    <a:pt x="48" y="114"/>
                  </a:lnTo>
                  <a:lnTo>
                    <a:pt x="48" y="108"/>
                  </a:lnTo>
                  <a:lnTo>
                    <a:pt x="48" y="102"/>
                  </a:lnTo>
                  <a:lnTo>
                    <a:pt x="42" y="102"/>
                  </a:lnTo>
                  <a:lnTo>
                    <a:pt x="42" y="96"/>
                  </a:lnTo>
                  <a:lnTo>
                    <a:pt x="36" y="96"/>
                  </a:lnTo>
                  <a:lnTo>
                    <a:pt x="36" y="90"/>
                  </a:lnTo>
                  <a:lnTo>
                    <a:pt x="36" y="84"/>
                  </a:lnTo>
                  <a:lnTo>
                    <a:pt x="30" y="84"/>
                  </a:lnTo>
                  <a:lnTo>
                    <a:pt x="30" y="78"/>
                  </a:lnTo>
                  <a:lnTo>
                    <a:pt x="30" y="72"/>
                  </a:lnTo>
                  <a:lnTo>
                    <a:pt x="24" y="72"/>
                  </a:lnTo>
                  <a:lnTo>
                    <a:pt x="24" y="66"/>
                  </a:lnTo>
                  <a:lnTo>
                    <a:pt x="24" y="60"/>
                  </a:lnTo>
                  <a:lnTo>
                    <a:pt x="30" y="60"/>
                  </a:lnTo>
                  <a:lnTo>
                    <a:pt x="30" y="54"/>
                  </a:lnTo>
                  <a:lnTo>
                    <a:pt x="24" y="54"/>
                  </a:lnTo>
                  <a:lnTo>
                    <a:pt x="24" y="48"/>
                  </a:lnTo>
                  <a:lnTo>
                    <a:pt x="18" y="48"/>
                  </a:lnTo>
                  <a:lnTo>
                    <a:pt x="18" y="54"/>
                  </a:lnTo>
                  <a:lnTo>
                    <a:pt x="18" y="48"/>
                  </a:lnTo>
                  <a:lnTo>
                    <a:pt x="12" y="48"/>
                  </a:lnTo>
                  <a:lnTo>
                    <a:pt x="12" y="42"/>
                  </a:lnTo>
                  <a:lnTo>
                    <a:pt x="18" y="42"/>
                  </a:lnTo>
                  <a:lnTo>
                    <a:pt x="12" y="42"/>
                  </a:lnTo>
                  <a:lnTo>
                    <a:pt x="6" y="42"/>
                  </a:lnTo>
                  <a:lnTo>
                    <a:pt x="12" y="42"/>
                  </a:lnTo>
                  <a:lnTo>
                    <a:pt x="12" y="36"/>
                  </a:lnTo>
                  <a:lnTo>
                    <a:pt x="6" y="36"/>
                  </a:lnTo>
                  <a:lnTo>
                    <a:pt x="6" y="30"/>
                  </a:lnTo>
                  <a:lnTo>
                    <a:pt x="6" y="24"/>
                  </a:lnTo>
                  <a:lnTo>
                    <a:pt x="0" y="24"/>
                  </a:lnTo>
                  <a:close/>
                  <a:moveTo>
                    <a:pt x="390" y="372"/>
                  </a:moveTo>
                  <a:lnTo>
                    <a:pt x="402" y="372"/>
                  </a:lnTo>
                  <a:lnTo>
                    <a:pt x="402" y="378"/>
                  </a:lnTo>
                  <a:lnTo>
                    <a:pt x="390" y="378"/>
                  </a:lnTo>
                  <a:lnTo>
                    <a:pt x="390" y="372"/>
                  </a:lnTo>
                  <a:close/>
                  <a:moveTo>
                    <a:pt x="384" y="384"/>
                  </a:moveTo>
                  <a:lnTo>
                    <a:pt x="390" y="384"/>
                  </a:lnTo>
                  <a:lnTo>
                    <a:pt x="390" y="390"/>
                  </a:lnTo>
                  <a:lnTo>
                    <a:pt x="384" y="390"/>
                  </a:lnTo>
                  <a:lnTo>
                    <a:pt x="384" y="384"/>
                  </a:lnTo>
                  <a:close/>
                  <a:moveTo>
                    <a:pt x="318" y="480"/>
                  </a:moveTo>
                  <a:lnTo>
                    <a:pt x="318" y="486"/>
                  </a:lnTo>
                  <a:lnTo>
                    <a:pt x="319" y="486"/>
                  </a:lnTo>
                  <a:lnTo>
                    <a:pt x="318" y="480"/>
                  </a:lnTo>
                  <a:close/>
                  <a:moveTo>
                    <a:pt x="402" y="366"/>
                  </a:moveTo>
                  <a:lnTo>
                    <a:pt x="402" y="372"/>
                  </a:lnTo>
                  <a:lnTo>
                    <a:pt x="403" y="372"/>
                  </a:lnTo>
                  <a:lnTo>
                    <a:pt x="402" y="366"/>
                  </a:lnTo>
                  <a:close/>
                  <a:moveTo>
                    <a:pt x="300" y="516"/>
                  </a:moveTo>
                  <a:lnTo>
                    <a:pt x="306" y="516"/>
                  </a:lnTo>
                  <a:lnTo>
                    <a:pt x="300" y="516"/>
                  </a:lnTo>
                  <a:close/>
                  <a:moveTo>
                    <a:pt x="408" y="366"/>
                  </a:moveTo>
                  <a:lnTo>
                    <a:pt x="408" y="372"/>
                  </a:lnTo>
                  <a:lnTo>
                    <a:pt x="409" y="372"/>
                  </a:lnTo>
                  <a:lnTo>
                    <a:pt x="408" y="366"/>
                  </a:lnTo>
                  <a:close/>
                  <a:moveTo>
                    <a:pt x="420" y="354"/>
                  </a:moveTo>
                  <a:lnTo>
                    <a:pt x="420" y="360"/>
                  </a:lnTo>
                  <a:lnTo>
                    <a:pt x="421" y="360"/>
                  </a:lnTo>
                  <a:lnTo>
                    <a:pt x="420" y="354"/>
                  </a:lnTo>
                  <a:close/>
                  <a:moveTo>
                    <a:pt x="402" y="366"/>
                  </a:moveTo>
                  <a:lnTo>
                    <a:pt x="402" y="372"/>
                  </a:lnTo>
                  <a:lnTo>
                    <a:pt x="403" y="372"/>
                  </a:lnTo>
                  <a:lnTo>
                    <a:pt x="402" y="366"/>
                  </a:lnTo>
                  <a:close/>
                  <a:moveTo>
                    <a:pt x="294" y="516"/>
                  </a:moveTo>
                  <a:lnTo>
                    <a:pt x="300" y="516"/>
                  </a:lnTo>
                  <a:lnTo>
                    <a:pt x="294" y="51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0" name="Freeform 45"/>
            <p:cNvSpPr>
              <a:spLocks noEditPoints="1"/>
            </p:cNvSpPr>
            <p:nvPr>
              <p:custDataLst>
                <p:tags r:id="rId93"/>
              </p:custDataLst>
            </p:nvPr>
          </p:nvSpPr>
          <p:spPr bwMode="gray">
            <a:xfrm>
              <a:off x="5213350" y="3667126"/>
              <a:ext cx="765175" cy="754063"/>
            </a:xfrm>
            <a:custGeom>
              <a:avLst/>
              <a:gdLst>
                <a:gd name="T0" fmla="*/ 14501 w 618"/>
                <a:gd name="T1" fmla="*/ 64371 h 606"/>
                <a:gd name="T2" fmla="*/ 23201 w 618"/>
                <a:gd name="T3" fmla="*/ 49742 h 606"/>
                <a:gd name="T4" fmla="*/ 26101 w 618"/>
                <a:gd name="T5" fmla="*/ 40964 h 606"/>
                <a:gd name="T6" fmla="*/ 23201 w 618"/>
                <a:gd name="T7" fmla="*/ 30235 h 606"/>
                <a:gd name="T8" fmla="*/ 29968 w 618"/>
                <a:gd name="T9" fmla="*/ 17556 h 606"/>
                <a:gd name="T10" fmla="*/ 23201 w 618"/>
                <a:gd name="T11" fmla="*/ 1951 h 606"/>
                <a:gd name="T12" fmla="*/ 44469 w 618"/>
                <a:gd name="T13" fmla="*/ 0 h 606"/>
                <a:gd name="T14" fmla="*/ 67670 w 618"/>
                <a:gd name="T15" fmla="*/ 0 h 606"/>
                <a:gd name="T16" fmla="*/ 90870 w 618"/>
                <a:gd name="T17" fmla="*/ 0 h 606"/>
                <a:gd name="T18" fmla="*/ 106338 w 618"/>
                <a:gd name="T19" fmla="*/ 6827 h 606"/>
                <a:gd name="T20" fmla="*/ 120838 w 618"/>
                <a:gd name="T21" fmla="*/ 17556 h 606"/>
                <a:gd name="T22" fmla="*/ 140173 w 618"/>
                <a:gd name="T23" fmla="*/ 28284 h 606"/>
                <a:gd name="T24" fmla="*/ 157573 w 618"/>
                <a:gd name="T25" fmla="*/ 37063 h 606"/>
                <a:gd name="T26" fmla="*/ 165307 w 618"/>
                <a:gd name="T27" fmla="*/ 49742 h 606"/>
                <a:gd name="T28" fmla="*/ 180774 w 618"/>
                <a:gd name="T29" fmla="*/ 64371 h 606"/>
                <a:gd name="T30" fmla="*/ 193341 w 618"/>
                <a:gd name="T31" fmla="*/ 76075 h 606"/>
                <a:gd name="T32" fmla="*/ 193341 w 618"/>
                <a:gd name="T33" fmla="*/ 81927 h 606"/>
                <a:gd name="T34" fmla="*/ 191409 w 618"/>
                <a:gd name="T35" fmla="*/ 90705 h 606"/>
                <a:gd name="T36" fmla="*/ 188508 w 618"/>
                <a:gd name="T37" fmla="*/ 103385 h 606"/>
                <a:gd name="T38" fmla="*/ 188508 w 618"/>
                <a:gd name="T39" fmla="*/ 110212 h 606"/>
                <a:gd name="T40" fmla="*/ 198175 w 618"/>
                <a:gd name="T41" fmla="*/ 117039 h 606"/>
                <a:gd name="T42" fmla="*/ 198175 w 618"/>
                <a:gd name="T43" fmla="*/ 127768 h 606"/>
                <a:gd name="T44" fmla="*/ 195275 w 618"/>
                <a:gd name="T45" fmla="*/ 137521 h 606"/>
                <a:gd name="T46" fmla="*/ 198175 w 618"/>
                <a:gd name="T47" fmla="*/ 147274 h 606"/>
                <a:gd name="T48" fmla="*/ 199142 w 618"/>
                <a:gd name="T49" fmla="*/ 158003 h 606"/>
                <a:gd name="T50" fmla="*/ 202042 w 618"/>
                <a:gd name="T51" fmla="*/ 163855 h 606"/>
                <a:gd name="T52" fmla="*/ 205909 w 618"/>
                <a:gd name="T53" fmla="*/ 174584 h 606"/>
                <a:gd name="T54" fmla="*/ 209776 w 618"/>
                <a:gd name="T55" fmla="*/ 185312 h 606"/>
                <a:gd name="T56" fmla="*/ 218476 w 618"/>
                <a:gd name="T57" fmla="*/ 190188 h 606"/>
                <a:gd name="T58" fmla="*/ 203976 w 618"/>
                <a:gd name="T59" fmla="*/ 200917 h 606"/>
                <a:gd name="T60" fmla="*/ 184641 w 618"/>
                <a:gd name="T61" fmla="*/ 207744 h 606"/>
                <a:gd name="T62" fmla="*/ 170141 w 618"/>
                <a:gd name="T63" fmla="*/ 207744 h 606"/>
                <a:gd name="T64" fmla="*/ 159507 w 618"/>
                <a:gd name="T65" fmla="*/ 215547 h 606"/>
                <a:gd name="T66" fmla="*/ 140173 w 618"/>
                <a:gd name="T67" fmla="*/ 215547 h 606"/>
                <a:gd name="T68" fmla="*/ 125672 w 618"/>
                <a:gd name="T69" fmla="*/ 213596 h 606"/>
                <a:gd name="T70" fmla="*/ 108271 w 618"/>
                <a:gd name="T71" fmla="*/ 207744 h 606"/>
                <a:gd name="T72" fmla="*/ 104404 w 618"/>
                <a:gd name="T73" fmla="*/ 197016 h 606"/>
                <a:gd name="T74" fmla="*/ 101505 w 618"/>
                <a:gd name="T75" fmla="*/ 183361 h 606"/>
                <a:gd name="T76" fmla="*/ 90870 w 618"/>
                <a:gd name="T77" fmla="*/ 174584 h 606"/>
                <a:gd name="T78" fmla="*/ 78303 w 618"/>
                <a:gd name="T79" fmla="*/ 172633 h 606"/>
                <a:gd name="T80" fmla="*/ 67670 w 618"/>
                <a:gd name="T81" fmla="*/ 167756 h 606"/>
                <a:gd name="T82" fmla="*/ 53169 w 618"/>
                <a:gd name="T83" fmla="*/ 161904 h 606"/>
                <a:gd name="T84" fmla="*/ 36735 w 618"/>
                <a:gd name="T85" fmla="*/ 153126 h 606"/>
                <a:gd name="T86" fmla="*/ 26101 w 618"/>
                <a:gd name="T87" fmla="*/ 136545 h 606"/>
                <a:gd name="T88" fmla="*/ 14501 w 618"/>
                <a:gd name="T89" fmla="*/ 118015 h 606"/>
                <a:gd name="T90" fmla="*/ 3867 w 618"/>
                <a:gd name="T91" fmla="*/ 103385 h 606"/>
                <a:gd name="T92" fmla="*/ 1933 w 618"/>
                <a:gd name="T93" fmla="*/ 86804 h 606"/>
                <a:gd name="T94" fmla="*/ 195275 w 618"/>
                <a:gd name="T95" fmla="*/ 101434 h 606"/>
                <a:gd name="T96" fmla="*/ 199142 w 618"/>
                <a:gd name="T97" fmla="*/ 103385 h 606"/>
                <a:gd name="T98" fmla="*/ 202042 w 618"/>
                <a:gd name="T99" fmla="*/ 108261 h 606"/>
                <a:gd name="T100" fmla="*/ 198175 w 618"/>
                <a:gd name="T101" fmla="*/ 106311 h 606"/>
                <a:gd name="T102" fmla="*/ 205909 w 618"/>
                <a:gd name="T103" fmla="*/ 86804 h 606"/>
                <a:gd name="T104" fmla="*/ 203976 w 618"/>
                <a:gd name="T105" fmla="*/ 79976 h 606"/>
                <a:gd name="T106" fmla="*/ 205909 w 618"/>
                <a:gd name="T107" fmla="*/ 79976 h 606"/>
                <a:gd name="T108" fmla="*/ 207843 w 618"/>
                <a:gd name="T109" fmla="*/ 79976 h 606"/>
                <a:gd name="T110" fmla="*/ 203976 w 618"/>
                <a:gd name="T111" fmla="*/ 90705 h 606"/>
                <a:gd name="T112" fmla="*/ 207843 w 618"/>
                <a:gd name="T113" fmla="*/ 136545 h 606"/>
                <a:gd name="T114" fmla="*/ 202042 w 618"/>
                <a:gd name="T115" fmla="*/ 140447 h 606"/>
                <a:gd name="T116" fmla="*/ 203976 w 618"/>
                <a:gd name="T117" fmla="*/ 87779 h 606"/>
                <a:gd name="T118" fmla="*/ 216543 w 618"/>
                <a:gd name="T119" fmla="*/ 185312 h 606"/>
                <a:gd name="T120" fmla="*/ 198175 w 618"/>
                <a:gd name="T121" fmla="*/ 136545 h 606"/>
                <a:gd name="T122" fmla="*/ 205909 w 618"/>
                <a:gd name="T123" fmla="*/ 79976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8" h="606">
                  <a:moveTo>
                    <a:pt x="6" y="192"/>
                  </a:moveTo>
                  <a:lnTo>
                    <a:pt x="12" y="192"/>
                  </a:lnTo>
                  <a:lnTo>
                    <a:pt x="18" y="192"/>
                  </a:lnTo>
                  <a:lnTo>
                    <a:pt x="24" y="192"/>
                  </a:lnTo>
                  <a:lnTo>
                    <a:pt x="30" y="192"/>
                  </a:lnTo>
                  <a:lnTo>
                    <a:pt x="30" y="186"/>
                  </a:lnTo>
                  <a:lnTo>
                    <a:pt x="30" y="192"/>
                  </a:lnTo>
                  <a:lnTo>
                    <a:pt x="30" y="186"/>
                  </a:lnTo>
                  <a:lnTo>
                    <a:pt x="36" y="186"/>
                  </a:lnTo>
                  <a:lnTo>
                    <a:pt x="42" y="186"/>
                  </a:lnTo>
                  <a:lnTo>
                    <a:pt x="42" y="180"/>
                  </a:lnTo>
                  <a:lnTo>
                    <a:pt x="42" y="174"/>
                  </a:lnTo>
                  <a:lnTo>
                    <a:pt x="48" y="174"/>
                  </a:lnTo>
                  <a:lnTo>
                    <a:pt x="48" y="168"/>
                  </a:lnTo>
                  <a:lnTo>
                    <a:pt x="54" y="168"/>
                  </a:lnTo>
                  <a:lnTo>
                    <a:pt x="54" y="162"/>
                  </a:lnTo>
                  <a:lnTo>
                    <a:pt x="54" y="156"/>
                  </a:lnTo>
                  <a:lnTo>
                    <a:pt x="60" y="156"/>
                  </a:lnTo>
                  <a:lnTo>
                    <a:pt x="60" y="150"/>
                  </a:lnTo>
                  <a:lnTo>
                    <a:pt x="60" y="144"/>
                  </a:lnTo>
                  <a:lnTo>
                    <a:pt x="66" y="144"/>
                  </a:lnTo>
                  <a:lnTo>
                    <a:pt x="66" y="138"/>
                  </a:lnTo>
                  <a:lnTo>
                    <a:pt x="72" y="138"/>
                  </a:lnTo>
                  <a:lnTo>
                    <a:pt x="78" y="138"/>
                  </a:lnTo>
                  <a:lnTo>
                    <a:pt x="78" y="132"/>
                  </a:lnTo>
                  <a:lnTo>
                    <a:pt x="72" y="132"/>
                  </a:lnTo>
                  <a:lnTo>
                    <a:pt x="78" y="132"/>
                  </a:lnTo>
                  <a:lnTo>
                    <a:pt x="78" y="126"/>
                  </a:lnTo>
                  <a:lnTo>
                    <a:pt x="84" y="126"/>
                  </a:lnTo>
                  <a:lnTo>
                    <a:pt x="84" y="120"/>
                  </a:lnTo>
                  <a:lnTo>
                    <a:pt x="84" y="114"/>
                  </a:lnTo>
                  <a:lnTo>
                    <a:pt x="78" y="114"/>
                  </a:lnTo>
                  <a:lnTo>
                    <a:pt x="72" y="114"/>
                  </a:lnTo>
                  <a:lnTo>
                    <a:pt x="72" y="108"/>
                  </a:lnTo>
                  <a:lnTo>
                    <a:pt x="66" y="108"/>
                  </a:lnTo>
                  <a:lnTo>
                    <a:pt x="60" y="108"/>
                  </a:lnTo>
                  <a:lnTo>
                    <a:pt x="60" y="102"/>
                  </a:lnTo>
                  <a:lnTo>
                    <a:pt x="66" y="102"/>
                  </a:lnTo>
                  <a:lnTo>
                    <a:pt x="60" y="96"/>
                  </a:lnTo>
                  <a:lnTo>
                    <a:pt x="66" y="96"/>
                  </a:lnTo>
                  <a:lnTo>
                    <a:pt x="60" y="96"/>
                  </a:lnTo>
                  <a:lnTo>
                    <a:pt x="60" y="90"/>
                  </a:lnTo>
                  <a:lnTo>
                    <a:pt x="66" y="90"/>
                  </a:lnTo>
                  <a:lnTo>
                    <a:pt x="66" y="84"/>
                  </a:lnTo>
                  <a:lnTo>
                    <a:pt x="66" y="78"/>
                  </a:lnTo>
                  <a:lnTo>
                    <a:pt x="72" y="78"/>
                  </a:lnTo>
                  <a:lnTo>
                    <a:pt x="78" y="78"/>
                  </a:lnTo>
                  <a:lnTo>
                    <a:pt x="84" y="78"/>
                  </a:lnTo>
                  <a:lnTo>
                    <a:pt x="84" y="72"/>
                  </a:lnTo>
                  <a:lnTo>
                    <a:pt x="84" y="66"/>
                  </a:lnTo>
                  <a:lnTo>
                    <a:pt x="90" y="66"/>
                  </a:lnTo>
                  <a:lnTo>
                    <a:pt x="90" y="60"/>
                  </a:lnTo>
                  <a:lnTo>
                    <a:pt x="84" y="60"/>
                  </a:lnTo>
                  <a:lnTo>
                    <a:pt x="84" y="54"/>
                  </a:lnTo>
                  <a:lnTo>
                    <a:pt x="84" y="48"/>
                  </a:lnTo>
                  <a:lnTo>
                    <a:pt x="84" y="42"/>
                  </a:lnTo>
                  <a:lnTo>
                    <a:pt x="84" y="36"/>
                  </a:lnTo>
                  <a:lnTo>
                    <a:pt x="78" y="30"/>
                  </a:lnTo>
                  <a:lnTo>
                    <a:pt x="78" y="24"/>
                  </a:lnTo>
                  <a:lnTo>
                    <a:pt x="72" y="24"/>
                  </a:lnTo>
                  <a:lnTo>
                    <a:pt x="72" y="18"/>
                  </a:lnTo>
                  <a:lnTo>
                    <a:pt x="66" y="18"/>
                  </a:lnTo>
                  <a:lnTo>
                    <a:pt x="72" y="18"/>
                  </a:lnTo>
                  <a:lnTo>
                    <a:pt x="66" y="18"/>
                  </a:lnTo>
                  <a:lnTo>
                    <a:pt x="66" y="12"/>
                  </a:lnTo>
                  <a:lnTo>
                    <a:pt x="66" y="6"/>
                  </a:lnTo>
                  <a:lnTo>
                    <a:pt x="72" y="6"/>
                  </a:lnTo>
                  <a:lnTo>
                    <a:pt x="78" y="6"/>
                  </a:lnTo>
                  <a:lnTo>
                    <a:pt x="78" y="0"/>
                  </a:lnTo>
                  <a:lnTo>
                    <a:pt x="84" y="0"/>
                  </a:lnTo>
                  <a:lnTo>
                    <a:pt x="90" y="0"/>
                  </a:lnTo>
                  <a:lnTo>
                    <a:pt x="96" y="0"/>
                  </a:lnTo>
                  <a:lnTo>
                    <a:pt x="102" y="0"/>
                  </a:lnTo>
                  <a:lnTo>
                    <a:pt x="108" y="0"/>
                  </a:lnTo>
                  <a:lnTo>
                    <a:pt x="114" y="0"/>
                  </a:lnTo>
                  <a:lnTo>
                    <a:pt x="120" y="0"/>
                  </a:lnTo>
                  <a:lnTo>
                    <a:pt x="126" y="0"/>
                  </a:lnTo>
                  <a:lnTo>
                    <a:pt x="132" y="0"/>
                  </a:lnTo>
                  <a:lnTo>
                    <a:pt x="138" y="0"/>
                  </a:lnTo>
                  <a:lnTo>
                    <a:pt x="144" y="0"/>
                  </a:lnTo>
                  <a:lnTo>
                    <a:pt x="150" y="0"/>
                  </a:lnTo>
                  <a:lnTo>
                    <a:pt x="156" y="0"/>
                  </a:lnTo>
                  <a:lnTo>
                    <a:pt x="162" y="0"/>
                  </a:lnTo>
                  <a:lnTo>
                    <a:pt x="168" y="0"/>
                  </a:lnTo>
                  <a:lnTo>
                    <a:pt x="174" y="0"/>
                  </a:lnTo>
                  <a:lnTo>
                    <a:pt x="180" y="0"/>
                  </a:lnTo>
                  <a:lnTo>
                    <a:pt x="186" y="0"/>
                  </a:lnTo>
                  <a:lnTo>
                    <a:pt x="192" y="0"/>
                  </a:lnTo>
                  <a:lnTo>
                    <a:pt x="198" y="0"/>
                  </a:lnTo>
                  <a:lnTo>
                    <a:pt x="204" y="0"/>
                  </a:lnTo>
                  <a:lnTo>
                    <a:pt x="210" y="0"/>
                  </a:lnTo>
                  <a:lnTo>
                    <a:pt x="216" y="0"/>
                  </a:lnTo>
                  <a:lnTo>
                    <a:pt x="222" y="0"/>
                  </a:lnTo>
                  <a:lnTo>
                    <a:pt x="228" y="0"/>
                  </a:lnTo>
                  <a:lnTo>
                    <a:pt x="234" y="0"/>
                  </a:lnTo>
                  <a:lnTo>
                    <a:pt x="240" y="0"/>
                  </a:lnTo>
                  <a:lnTo>
                    <a:pt x="246" y="0"/>
                  </a:lnTo>
                  <a:lnTo>
                    <a:pt x="252" y="0"/>
                  </a:lnTo>
                  <a:lnTo>
                    <a:pt x="258" y="0"/>
                  </a:lnTo>
                  <a:lnTo>
                    <a:pt x="264" y="0"/>
                  </a:lnTo>
                  <a:lnTo>
                    <a:pt x="264" y="6"/>
                  </a:lnTo>
                  <a:lnTo>
                    <a:pt x="264" y="0"/>
                  </a:lnTo>
                  <a:lnTo>
                    <a:pt x="270" y="0"/>
                  </a:lnTo>
                  <a:lnTo>
                    <a:pt x="270" y="6"/>
                  </a:lnTo>
                  <a:lnTo>
                    <a:pt x="276" y="6"/>
                  </a:lnTo>
                  <a:lnTo>
                    <a:pt x="282" y="12"/>
                  </a:lnTo>
                  <a:lnTo>
                    <a:pt x="288" y="12"/>
                  </a:lnTo>
                  <a:lnTo>
                    <a:pt x="288" y="18"/>
                  </a:lnTo>
                  <a:lnTo>
                    <a:pt x="294" y="18"/>
                  </a:lnTo>
                  <a:lnTo>
                    <a:pt x="300" y="18"/>
                  </a:lnTo>
                  <a:lnTo>
                    <a:pt x="300" y="24"/>
                  </a:lnTo>
                  <a:lnTo>
                    <a:pt x="306" y="24"/>
                  </a:lnTo>
                  <a:lnTo>
                    <a:pt x="312" y="30"/>
                  </a:lnTo>
                  <a:lnTo>
                    <a:pt x="318" y="30"/>
                  </a:lnTo>
                  <a:lnTo>
                    <a:pt x="318" y="36"/>
                  </a:lnTo>
                  <a:lnTo>
                    <a:pt x="324" y="36"/>
                  </a:lnTo>
                  <a:lnTo>
                    <a:pt x="330" y="36"/>
                  </a:lnTo>
                  <a:lnTo>
                    <a:pt x="330" y="42"/>
                  </a:lnTo>
                  <a:lnTo>
                    <a:pt x="336" y="42"/>
                  </a:lnTo>
                  <a:lnTo>
                    <a:pt x="342" y="42"/>
                  </a:lnTo>
                  <a:lnTo>
                    <a:pt x="342" y="48"/>
                  </a:lnTo>
                  <a:lnTo>
                    <a:pt x="348" y="48"/>
                  </a:lnTo>
                  <a:lnTo>
                    <a:pt x="354" y="54"/>
                  </a:lnTo>
                  <a:lnTo>
                    <a:pt x="360" y="54"/>
                  </a:lnTo>
                  <a:lnTo>
                    <a:pt x="366" y="60"/>
                  </a:lnTo>
                  <a:lnTo>
                    <a:pt x="372" y="60"/>
                  </a:lnTo>
                  <a:lnTo>
                    <a:pt x="378" y="66"/>
                  </a:lnTo>
                  <a:lnTo>
                    <a:pt x="384" y="66"/>
                  </a:lnTo>
                  <a:lnTo>
                    <a:pt x="384" y="72"/>
                  </a:lnTo>
                  <a:lnTo>
                    <a:pt x="390" y="72"/>
                  </a:lnTo>
                  <a:lnTo>
                    <a:pt x="396" y="72"/>
                  </a:lnTo>
                  <a:lnTo>
                    <a:pt x="396" y="78"/>
                  </a:lnTo>
                  <a:lnTo>
                    <a:pt x="402" y="78"/>
                  </a:lnTo>
                  <a:lnTo>
                    <a:pt x="408" y="78"/>
                  </a:lnTo>
                  <a:lnTo>
                    <a:pt x="408" y="84"/>
                  </a:lnTo>
                  <a:lnTo>
                    <a:pt x="414" y="84"/>
                  </a:lnTo>
                  <a:lnTo>
                    <a:pt x="414" y="90"/>
                  </a:lnTo>
                  <a:lnTo>
                    <a:pt x="420" y="90"/>
                  </a:lnTo>
                  <a:lnTo>
                    <a:pt x="426" y="90"/>
                  </a:lnTo>
                  <a:lnTo>
                    <a:pt x="426" y="96"/>
                  </a:lnTo>
                  <a:lnTo>
                    <a:pt x="432" y="96"/>
                  </a:lnTo>
                  <a:lnTo>
                    <a:pt x="438" y="96"/>
                  </a:lnTo>
                  <a:lnTo>
                    <a:pt x="444" y="102"/>
                  </a:lnTo>
                  <a:lnTo>
                    <a:pt x="450" y="108"/>
                  </a:lnTo>
                  <a:lnTo>
                    <a:pt x="456" y="108"/>
                  </a:lnTo>
                  <a:lnTo>
                    <a:pt x="462" y="114"/>
                  </a:lnTo>
                  <a:lnTo>
                    <a:pt x="468" y="114"/>
                  </a:lnTo>
                  <a:lnTo>
                    <a:pt x="468" y="120"/>
                  </a:lnTo>
                  <a:lnTo>
                    <a:pt x="468" y="126"/>
                  </a:lnTo>
                  <a:lnTo>
                    <a:pt x="468" y="132"/>
                  </a:lnTo>
                  <a:lnTo>
                    <a:pt x="462" y="132"/>
                  </a:lnTo>
                  <a:lnTo>
                    <a:pt x="462" y="138"/>
                  </a:lnTo>
                  <a:lnTo>
                    <a:pt x="462" y="144"/>
                  </a:lnTo>
                  <a:lnTo>
                    <a:pt x="468" y="138"/>
                  </a:lnTo>
                  <a:lnTo>
                    <a:pt x="468" y="144"/>
                  </a:lnTo>
                  <a:lnTo>
                    <a:pt x="474" y="144"/>
                  </a:lnTo>
                  <a:lnTo>
                    <a:pt x="474" y="150"/>
                  </a:lnTo>
                  <a:lnTo>
                    <a:pt x="480" y="156"/>
                  </a:lnTo>
                  <a:lnTo>
                    <a:pt x="486" y="156"/>
                  </a:lnTo>
                  <a:lnTo>
                    <a:pt x="492" y="162"/>
                  </a:lnTo>
                  <a:lnTo>
                    <a:pt x="498" y="168"/>
                  </a:lnTo>
                  <a:lnTo>
                    <a:pt x="504" y="168"/>
                  </a:lnTo>
                  <a:lnTo>
                    <a:pt x="504" y="174"/>
                  </a:lnTo>
                  <a:lnTo>
                    <a:pt x="510" y="174"/>
                  </a:lnTo>
                  <a:lnTo>
                    <a:pt x="510" y="180"/>
                  </a:lnTo>
                  <a:lnTo>
                    <a:pt x="516" y="180"/>
                  </a:lnTo>
                  <a:lnTo>
                    <a:pt x="522" y="186"/>
                  </a:lnTo>
                  <a:lnTo>
                    <a:pt x="528" y="186"/>
                  </a:lnTo>
                  <a:lnTo>
                    <a:pt x="528" y="192"/>
                  </a:lnTo>
                  <a:lnTo>
                    <a:pt x="534" y="192"/>
                  </a:lnTo>
                  <a:lnTo>
                    <a:pt x="534" y="198"/>
                  </a:lnTo>
                  <a:lnTo>
                    <a:pt x="540" y="198"/>
                  </a:lnTo>
                  <a:lnTo>
                    <a:pt x="546" y="204"/>
                  </a:lnTo>
                  <a:lnTo>
                    <a:pt x="552" y="204"/>
                  </a:lnTo>
                  <a:lnTo>
                    <a:pt x="552" y="210"/>
                  </a:lnTo>
                  <a:lnTo>
                    <a:pt x="546" y="210"/>
                  </a:lnTo>
                  <a:lnTo>
                    <a:pt x="546" y="216"/>
                  </a:lnTo>
                  <a:lnTo>
                    <a:pt x="546" y="210"/>
                  </a:lnTo>
                  <a:lnTo>
                    <a:pt x="552" y="210"/>
                  </a:lnTo>
                  <a:lnTo>
                    <a:pt x="552" y="216"/>
                  </a:lnTo>
                  <a:lnTo>
                    <a:pt x="552" y="222"/>
                  </a:lnTo>
                  <a:lnTo>
                    <a:pt x="546" y="222"/>
                  </a:lnTo>
                  <a:lnTo>
                    <a:pt x="546" y="216"/>
                  </a:lnTo>
                  <a:lnTo>
                    <a:pt x="552" y="216"/>
                  </a:lnTo>
                  <a:lnTo>
                    <a:pt x="546" y="216"/>
                  </a:lnTo>
                  <a:lnTo>
                    <a:pt x="546" y="222"/>
                  </a:lnTo>
                  <a:lnTo>
                    <a:pt x="546" y="228"/>
                  </a:lnTo>
                  <a:lnTo>
                    <a:pt x="546" y="234"/>
                  </a:lnTo>
                  <a:lnTo>
                    <a:pt x="540" y="234"/>
                  </a:lnTo>
                  <a:lnTo>
                    <a:pt x="540" y="240"/>
                  </a:lnTo>
                  <a:lnTo>
                    <a:pt x="540" y="234"/>
                  </a:lnTo>
                  <a:lnTo>
                    <a:pt x="546" y="234"/>
                  </a:lnTo>
                  <a:lnTo>
                    <a:pt x="546" y="240"/>
                  </a:lnTo>
                  <a:lnTo>
                    <a:pt x="540" y="240"/>
                  </a:lnTo>
                  <a:lnTo>
                    <a:pt x="540" y="246"/>
                  </a:lnTo>
                  <a:lnTo>
                    <a:pt x="534" y="246"/>
                  </a:lnTo>
                  <a:lnTo>
                    <a:pt x="540" y="246"/>
                  </a:lnTo>
                  <a:lnTo>
                    <a:pt x="540" y="252"/>
                  </a:lnTo>
                  <a:lnTo>
                    <a:pt x="540" y="258"/>
                  </a:lnTo>
                  <a:lnTo>
                    <a:pt x="534" y="258"/>
                  </a:lnTo>
                  <a:lnTo>
                    <a:pt x="534" y="264"/>
                  </a:lnTo>
                  <a:lnTo>
                    <a:pt x="534" y="270"/>
                  </a:lnTo>
                  <a:lnTo>
                    <a:pt x="528" y="270"/>
                  </a:lnTo>
                  <a:lnTo>
                    <a:pt x="528" y="276"/>
                  </a:lnTo>
                  <a:lnTo>
                    <a:pt x="528" y="282"/>
                  </a:lnTo>
                  <a:lnTo>
                    <a:pt x="528" y="288"/>
                  </a:lnTo>
                  <a:lnTo>
                    <a:pt x="534" y="288"/>
                  </a:lnTo>
                  <a:lnTo>
                    <a:pt x="528" y="288"/>
                  </a:lnTo>
                  <a:lnTo>
                    <a:pt x="534" y="288"/>
                  </a:lnTo>
                  <a:lnTo>
                    <a:pt x="534" y="294"/>
                  </a:lnTo>
                  <a:lnTo>
                    <a:pt x="528" y="294"/>
                  </a:lnTo>
                  <a:lnTo>
                    <a:pt x="528" y="300"/>
                  </a:lnTo>
                  <a:lnTo>
                    <a:pt x="534" y="300"/>
                  </a:lnTo>
                  <a:lnTo>
                    <a:pt x="528" y="300"/>
                  </a:lnTo>
                  <a:lnTo>
                    <a:pt x="528" y="306"/>
                  </a:lnTo>
                  <a:lnTo>
                    <a:pt x="534" y="306"/>
                  </a:lnTo>
                  <a:lnTo>
                    <a:pt x="528" y="306"/>
                  </a:lnTo>
                  <a:lnTo>
                    <a:pt x="528" y="300"/>
                  </a:lnTo>
                  <a:lnTo>
                    <a:pt x="534" y="300"/>
                  </a:lnTo>
                  <a:lnTo>
                    <a:pt x="534" y="306"/>
                  </a:lnTo>
                  <a:lnTo>
                    <a:pt x="540" y="306"/>
                  </a:lnTo>
                  <a:lnTo>
                    <a:pt x="546" y="306"/>
                  </a:lnTo>
                  <a:lnTo>
                    <a:pt x="540" y="306"/>
                  </a:lnTo>
                  <a:lnTo>
                    <a:pt x="546" y="306"/>
                  </a:lnTo>
                  <a:lnTo>
                    <a:pt x="546" y="312"/>
                  </a:lnTo>
                  <a:lnTo>
                    <a:pt x="552" y="312"/>
                  </a:lnTo>
                  <a:lnTo>
                    <a:pt x="552" y="318"/>
                  </a:lnTo>
                  <a:lnTo>
                    <a:pt x="552" y="324"/>
                  </a:lnTo>
                  <a:lnTo>
                    <a:pt x="558" y="324"/>
                  </a:lnTo>
                  <a:lnTo>
                    <a:pt x="552" y="324"/>
                  </a:lnTo>
                  <a:lnTo>
                    <a:pt x="558" y="324"/>
                  </a:lnTo>
                  <a:lnTo>
                    <a:pt x="558" y="330"/>
                  </a:lnTo>
                  <a:lnTo>
                    <a:pt x="558" y="324"/>
                  </a:lnTo>
                  <a:lnTo>
                    <a:pt x="558" y="330"/>
                  </a:lnTo>
                  <a:lnTo>
                    <a:pt x="564" y="330"/>
                  </a:lnTo>
                  <a:lnTo>
                    <a:pt x="570" y="330"/>
                  </a:lnTo>
                  <a:lnTo>
                    <a:pt x="570" y="336"/>
                  </a:lnTo>
                  <a:lnTo>
                    <a:pt x="570" y="342"/>
                  </a:lnTo>
                  <a:lnTo>
                    <a:pt x="570" y="348"/>
                  </a:lnTo>
                  <a:lnTo>
                    <a:pt x="564" y="348"/>
                  </a:lnTo>
                  <a:lnTo>
                    <a:pt x="564" y="354"/>
                  </a:lnTo>
                  <a:lnTo>
                    <a:pt x="558" y="354"/>
                  </a:lnTo>
                  <a:lnTo>
                    <a:pt x="564" y="354"/>
                  </a:lnTo>
                  <a:lnTo>
                    <a:pt x="558" y="354"/>
                  </a:lnTo>
                  <a:lnTo>
                    <a:pt x="558" y="348"/>
                  </a:lnTo>
                  <a:lnTo>
                    <a:pt x="558" y="354"/>
                  </a:lnTo>
                  <a:lnTo>
                    <a:pt x="558" y="360"/>
                  </a:lnTo>
                  <a:lnTo>
                    <a:pt x="558" y="366"/>
                  </a:lnTo>
                  <a:lnTo>
                    <a:pt x="552" y="372"/>
                  </a:lnTo>
                  <a:lnTo>
                    <a:pt x="558" y="372"/>
                  </a:lnTo>
                  <a:lnTo>
                    <a:pt x="558" y="378"/>
                  </a:lnTo>
                  <a:lnTo>
                    <a:pt x="552" y="378"/>
                  </a:lnTo>
                  <a:lnTo>
                    <a:pt x="552" y="384"/>
                  </a:lnTo>
                  <a:lnTo>
                    <a:pt x="558" y="384"/>
                  </a:lnTo>
                  <a:lnTo>
                    <a:pt x="558" y="378"/>
                  </a:lnTo>
                  <a:lnTo>
                    <a:pt x="564" y="378"/>
                  </a:lnTo>
                  <a:lnTo>
                    <a:pt x="564" y="384"/>
                  </a:lnTo>
                  <a:lnTo>
                    <a:pt x="564" y="390"/>
                  </a:lnTo>
                  <a:lnTo>
                    <a:pt x="558" y="390"/>
                  </a:lnTo>
                  <a:lnTo>
                    <a:pt x="564" y="390"/>
                  </a:lnTo>
                  <a:lnTo>
                    <a:pt x="564" y="396"/>
                  </a:lnTo>
                  <a:lnTo>
                    <a:pt x="564" y="402"/>
                  </a:lnTo>
                  <a:lnTo>
                    <a:pt x="558" y="402"/>
                  </a:lnTo>
                  <a:lnTo>
                    <a:pt x="558" y="408"/>
                  </a:lnTo>
                  <a:lnTo>
                    <a:pt x="552" y="408"/>
                  </a:lnTo>
                  <a:lnTo>
                    <a:pt x="558" y="414"/>
                  </a:lnTo>
                  <a:lnTo>
                    <a:pt x="558" y="420"/>
                  </a:lnTo>
                  <a:lnTo>
                    <a:pt x="558" y="426"/>
                  </a:lnTo>
                  <a:lnTo>
                    <a:pt x="558" y="420"/>
                  </a:lnTo>
                  <a:lnTo>
                    <a:pt x="558" y="426"/>
                  </a:lnTo>
                  <a:lnTo>
                    <a:pt x="558" y="432"/>
                  </a:lnTo>
                  <a:lnTo>
                    <a:pt x="564" y="432"/>
                  </a:lnTo>
                  <a:lnTo>
                    <a:pt x="564" y="438"/>
                  </a:lnTo>
                  <a:lnTo>
                    <a:pt x="570" y="438"/>
                  </a:lnTo>
                  <a:lnTo>
                    <a:pt x="564" y="438"/>
                  </a:lnTo>
                  <a:lnTo>
                    <a:pt x="570" y="438"/>
                  </a:lnTo>
                  <a:lnTo>
                    <a:pt x="570" y="444"/>
                  </a:lnTo>
                  <a:lnTo>
                    <a:pt x="564" y="444"/>
                  </a:lnTo>
                  <a:lnTo>
                    <a:pt x="564" y="450"/>
                  </a:lnTo>
                  <a:lnTo>
                    <a:pt x="570" y="450"/>
                  </a:lnTo>
                  <a:lnTo>
                    <a:pt x="564" y="456"/>
                  </a:lnTo>
                  <a:lnTo>
                    <a:pt x="570" y="456"/>
                  </a:lnTo>
                  <a:lnTo>
                    <a:pt x="570" y="450"/>
                  </a:lnTo>
                  <a:lnTo>
                    <a:pt x="576" y="450"/>
                  </a:lnTo>
                  <a:lnTo>
                    <a:pt x="576" y="456"/>
                  </a:lnTo>
                  <a:lnTo>
                    <a:pt x="570" y="456"/>
                  </a:lnTo>
                  <a:lnTo>
                    <a:pt x="576" y="456"/>
                  </a:lnTo>
                  <a:lnTo>
                    <a:pt x="576" y="462"/>
                  </a:lnTo>
                  <a:lnTo>
                    <a:pt x="576" y="468"/>
                  </a:lnTo>
                  <a:lnTo>
                    <a:pt x="576" y="474"/>
                  </a:lnTo>
                  <a:lnTo>
                    <a:pt x="570" y="474"/>
                  </a:lnTo>
                  <a:lnTo>
                    <a:pt x="576" y="474"/>
                  </a:lnTo>
                  <a:lnTo>
                    <a:pt x="576" y="480"/>
                  </a:lnTo>
                  <a:lnTo>
                    <a:pt x="582" y="480"/>
                  </a:lnTo>
                  <a:lnTo>
                    <a:pt x="576" y="480"/>
                  </a:lnTo>
                  <a:lnTo>
                    <a:pt x="582" y="480"/>
                  </a:lnTo>
                  <a:lnTo>
                    <a:pt x="582" y="486"/>
                  </a:lnTo>
                  <a:lnTo>
                    <a:pt x="582" y="492"/>
                  </a:lnTo>
                  <a:lnTo>
                    <a:pt x="576" y="492"/>
                  </a:lnTo>
                  <a:lnTo>
                    <a:pt x="582" y="492"/>
                  </a:lnTo>
                  <a:lnTo>
                    <a:pt x="582" y="498"/>
                  </a:lnTo>
                  <a:lnTo>
                    <a:pt x="582" y="504"/>
                  </a:lnTo>
                  <a:lnTo>
                    <a:pt x="576" y="504"/>
                  </a:lnTo>
                  <a:lnTo>
                    <a:pt x="582" y="504"/>
                  </a:lnTo>
                  <a:lnTo>
                    <a:pt x="588" y="504"/>
                  </a:lnTo>
                  <a:lnTo>
                    <a:pt x="588" y="510"/>
                  </a:lnTo>
                  <a:lnTo>
                    <a:pt x="594" y="510"/>
                  </a:lnTo>
                  <a:lnTo>
                    <a:pt x="594" y="516"/>
                  </a:lnTo>
                  <a:lnTo>
                    <a:pt x="594" y="510"/>
                  </a:lnTo>
                  <a:lnTo>
                    <a:pt x="594" y="516"/>
                  </a:lnTo>
                  <a:lnTo>
                    <a:pt x="600" y="516"/>
                  </a:lnTo>
                  <a:lnTo>
                    <a:pt x="600" y="522"/>
                  </a:lnTo>
                  <a:lnTo>
                    <a:pt x="606" y="522"/>
                  </a:lnTo>
                  <a:lnTo>
                    <a:pt x="612" y="522"/>
                  </a:lnTo>
                  <a:lnTo>
                    <a:pt x="606" y="522"/>
                  </a:lnTo>
                  <a:lnTo>
                    <a:pt x="606" y="516"/>
                  </a:lnTo>
                  <a:lnTo>
                    <a:pt x="612" y="522"/>
                  </a:lnTo>
                  <a:lnTo>
                    <a:pt x="612" y="528"/>
                  </a:lnTo>
                  <a:lnTo>
                    <a:pt x="618" y="528"/>
                  </a:lnTo>
                  <a:lnTo>
                    <a:pt x="618" y="522"/>
                  </a:lnTo>
                  <a:lnTo>
                    <a:pt x="618" y="528"/>
                  </a:lnTo>
                  <a:lnTo>
                    <a:pt x="618" y="534"/>
                  </a:lnTo>
                  <a:lnTo>
                    <a:pt x="612" y="540"/>
                  </a:lnTo>
                  <a:lnTo>
                    <a:pt x="606" y="540"/>
                  </a:lnTo>
                  <a:lnTo>
                    <a:pt x="600" y="546"/>
                  </a:lnTo>
                  <a:lnTo>
                    <a:pt x="600" y="552"/>
                  </a:lnTo>
                  <a:lnTo>
                    <a:pt x="594" y="552"/>
                  </a:lnTo>
                  <a:lnTo>
                    <a:pt x="588" y="552"/>
                  </a:lnTo>
                  <a:lnTo>
                    <a:pt x="582" y="558"/>
                  </a:lnTo>
                  <a:lnTo>
                    <a:pt x="576" y="558"/>
                  </a:lnTo>
                  <a:lnTo>
                    <a:pt x="570" y="558"/>
                  </a:lnTo>
                  <a:lnTo>
                    <a:pt x="570" y="564"/>
                  </a:lnTo>
                  <a:lnTo>
                    <a:pt x="564" y="564"/>
                  </a:lnTo>
                  <a:lnTo>
                    <a:pt x="558" y="564"/>
                  </a:lnTo>
                  <a:lnTo>
                    <a:pt x="558" y="570"/>
                  </a:lnTo>
                  <a:lnTo>
                    <a:pt x="552" y="570"/>
                  </a:lnTo>
                  <a:lnTo>
                    <a:pt x="546" y="570"/>
                  </a:lnTo>
                  <a:lnTo>
                    <a:pt x="540" y="570"/>
                  </a:lnTo>
                  <a:lnTo>
                    <a:pt x="534" y="570"/>
                  </a:lnTo>
                  <a:lnTo>
                    <a:pt x="528" y="576"/>
                  </a:lnTo>
                  <a:lnTo>
                    <a:pt x="522" y="576"/>
                  </a:lnTo>
                  <a:lnTo>
                    <a:pt x="516" y="576"/>
                  </a:lnTo>
                  <a:lnTo>
                    <a:pt x="516" y="582"/>
                  </a:lnTo>
                  <a:lnTo>
                    <a:pt x="510" y="582"/>
                  </a:lnTo>
                  <a:lnTo>
                    <a:pt x="510" y="588"/>
                  </a:lnTo>
                  <a:lnTo>
                    <a:pt x="510" y="582"/>
                  </a:lnTo>
                  <a:lnTo>
                    <a:pt x="504" y="582"/>
                  </a:lnTo>
                  <a:lnTo>
                    <a:pt x="498" y="582"/>
                  </a:lnTo>
                  <a:lnTo>
                    <a:pt x="498" y="576"/>
                  </a:lnTo>
                  <a:lnTo>
                    <a:pt x="492" y="576"/>
                  </a:lnTo>
                  <a:lnTo>
                    <a:pt x="486" y="576"/>
                  </a:lnTo>
                  <a:lnTo>
                    <a:pt x="480" y="576"/>
                  </a:lnTo>
                  <a:lnTo>
                    <a:pt x="480" y="582"/>
                  </a:lnTo>
                  <a:lnTo>
                    <a:pt x="474" y="582"/>
                  </a:lnTo>
                  <a:lnTo>
                    <a:pt x="474" y="588"/>
                  </a:lnTo>
                  <a:lnTo>
                    <a:pt x="474" y="594"/>
                  </a:lnTo>
                  <a:lnTo>
                    <a:pt x="468" y="594"/>
                  </a:lnTo>
                  <a:lnTo>
                    <a:pt x="468" y="600"/>
                  </a:lnTo>
                  <a:lnTo>
                    <a:pt x="462" y="600"/>
                  </a:lnTo>
                  <a:lnTo>
                    <a:pt x="456" y="600"/>
                  </a:lnTo>
                  <a:lnTo>
                    <a:pt x="456" y="606"/>
                  </a:lnTo>
                  <a:lnTo>
                    <a:pt x="450" y="606"/>
                  </a:lnTo>
                  <a:lnTo>
                    <a:pt x="450" y="600"/>
                  </a:lnTo>
                  <a:lnTo>
                    <a:pt x="444" y="600"/>
                  </a:lnTo>
                  <a:lnTo>
                    <a:pt x="438" y="600"/>
                  </a:lnTo>
                  <a:lnTo>
                    <a:pt x="432" y="600"/>
                  </a:lnTo>
                  <a:lnTo>
                    <a:pt x="432" y="594"/>
                  </a:lnTo>
                  <a:lnTo>
                    <a:pt x="426" y="594"/>
                  </a:lnTo>
                  <a:lnTo>
                    <a:pt x="420" y="594"/>
                  </a:lnTo>
                  <a:lnTo>
                    <a:pt x="414" y="600"/>
                  </a:lnTo>
                  <a:lnTo>
                    <a:pt x="408" y="600"/>
                  </a:lnTo>
                  <a:lnTo>
                    <a:pt x="402" y="606"/>
                  </a:lnTo>
                  <a:lnTo>
                    <a:pt x="402" y="600"/>
                  </a:lnTo>
                  <a:lnTo>
                    <a:pt x="396" y="600"/>
                  </a:lnTo>
                  <a:lnTo>
                    <a:pt x="390" y="600"/>
                  </a:lnTo>
                  <a:lnTo>
                    <a:pt x="384" y="600"/>
                  </a:lnTo>
                  <a:lnTo>
                    <a:pt x="384" y="594"/>
                  </a:lnTo>
                  <a:lnTo>
                    <a:pt x="378" y="594"/>
                  </a:lnTo>
                  <a:lnTo>
                    <a:pt x="372" y="588"/>
                  </a:lnTo>
                  <a:lnTo>
                    <a:pt x="366" y="588"/>
                  </a:lnTo>
                  <a:lnTo>
                    <a:pt x="366" y="582"/>
                  </a:lnTo>
                  <a:lnTo>
                    <a:pt x="360" y="582"/>
                  </a:lnTo>
                  <a:lnTo>
                    <a:pt x="360" y="588"/>
                  </a:lnTo>
                  <a:lnTo>
                    <a:pt x="354" y="588"/>
                  </a:lnTo>
                  <a:lnTo>
                    <a:pt x="354" y="594"/>
                  </a:lnTo>
                  <a:lnTo>
                    <a:pt x="348" y="594"/>
                  </a:lnTo>
                  <a:lnTo>
                    <a:pt x="342" y="594"/>
                  </a:lnTo>
                  <a:lnTo>
                    <a:pt x="336" y="594"/>
                  </a:lnTo>
                  <a:lnTo>
                    <a:pt x="330" y="594"/>
                  </a:lnTo>
                  <a:lnTo>
                    <a:pt x="324" y="594"/>
                  </a:lnTo>
                  <a:lnTo>
                    <a:pt x="318" y="594"/>
                  </a:lnTo>
                  <a:lnTo>
                    <a:pt x="312" y="594"/>
                  </a:lnTo>
                  <a:lnTo>
                    <a:pt x="312" y="588"/>
                  </a:lnTo>
                  <a:lnTo>
                    <a:pt x="312" y="582"/>
                  </a:lnTo>
                  <a:lnTo>
                    <a:pt x="306" y="582"/>
                  </a:lnTo>
                  <a:lnTo>
                    <a:pt x="306" y="576"/>
                  </a:lnTo>
                  <a:lnTo>
                    <a:pt x="300" y="570"/>
                  </a:lnTo>
                  <a:lnTo>
                    <a:pt x="294" y="570"/>
                  </a:lnTo>
                  <a:lnTo>
                    <a:pt x="294" y="564"/>
                  </a:lnTo>
                  <a:lnTo>
                    <a:pt x="294" y="558"/>
                  </a:lnTo>
                  <a:lnTo>
                    <a:pt x="300" y="558"/>
                  </a:lnTo>
                  <a:lnTo>
                    <a:pt x="294" y="558"/>
                  </a:lnTo>
                  <a:lnTo>
                    <a:pt x="300" y="552"/>
                  </a:lnTo>
                  <a:lnTo>
                    <a:pt x="294" y="552"/>
                  </a:lnTo>
                  <a:lnTo>
                    <a:pt x="300" y="552"/>
                  </a:lnTo>
                  <a:lnTo>
                    <a:pt x="300" y="546"/>
                  </a:lnTo>
                  <a:lnTo>
                    <a:pt x="294" y="546"/>
                  </a:lnTo>
                  <a:lnTo>
                    <a:pt x="294" y="540"/>
                  </a:lnTo>
                  <a:lnTo>
                    <a:pt x="294" y="534"/>
                  </a:lnTo>
                  <a:lnTo>
                    <a:pt x="294" y="528"/>
                  </a:lnTo>
                  <a:lnTo>
                    <a:pt x="294" y="522"/>
                  </a:lnTo>
                  <a:lnTo>
                    <a:pt x="294" y="516"/>
                  </a:lnTo>
                  <a:lnTo>
                    <a:pt x="294" y="510"/>
                  </a:lnTo>
                  <a:lnTo>
                    <a:pt x="288" y="510"/>
                  </a:lnTo>
                  <a:lnTo>
                    <a:pt x="294" y="510"/>
                  </a:lnTo>
                  <a:lnTo>
                    <a:pt x="288" y="510"/>
                  </a:lnTo>
                  <a:lnTo>
                    <a:pt x="294" y="510"/>
                  </a:lnTo>
                  <a:lnTo>
                    <a:pt x="288" y="510"/>
                  </a:lnTo>
                  <a:lnTo>
                    <a:pt x="288" y="504"/>
                  </a:lnTo>
                  <a:lnTo>
                    <a:pt x="288" y="498"/>
                  </a:lnTo>
                  <a:lnTo>
                    <a:pt x="282" y="498"/>
                  </a:lnTo>
                  <a:lnTo>
                    <a:pt x="282" y="492"/>
                  </a:lnTo>
                  <a:lnTo>
                    <a:pt x="276" y="492"/>
                  </a:lnTo>
                  <a:lnTo>
                    <a:pt x="270" y="480"/>
                  </a:lnTo>
                  <a:lnTo>
                    <a:pt x="264" y="480"/>
                  </a:lnTo>
                  <a:lnTo>
                    <a:pt x="264" y="474"/>
                  </a:lnTo>
                  <a:lnTo>
                    <a:pt x="264" y="480"/>
                  </a:lnTo>
                  <a:lnTo>
                    <a:pt x="258" y="480"/>
                  </a:lnTo>
                  <a:lnTo>
                    <a:pt x="258" y="486"/>
                  </a:lnTo>
                  <a:lnTo>
                    <a:pt x="252" y="486"/>
                  </a:lnTo>
                  <a:lnTo>
                    <a:pt x="252" y="480"/>
                  </a:lnTo>
                  <a:lnTo>
                    <a:pt x="246" y="480"/>
                  </a:lnTo>
                  <a:lnTo>
                    <a:pt x="246" y="486"/>
                  </a:lnTo>
                  <a:lnTo>
                    <a:pt x="246" y="480"/>
                  </a:lnTo>
                  <a:lnTo>
                    <a:pt x="240" y="480"/>
                  </a:lnTo>
                  <a:lnTo>
                    <a:pt x="234" y="480"/>
                  </a:lnTo>
                  <a:lnTo>
                    <a:pt x="234" y="486"/>
                  </a:lnTo>
                  <a:lnTo>
                    <a:pt x="228" y="486"/>
                  </a:lnTo>
                  <a:lnTo>
                    <a:pt x="228" y="480"/>
                  </a:lnTo>
                  <a:lnTo>
                    <a:pt x="222" y="480"/>
                  </a:lnTo>
                  <a:lnTo>
                    <a:pt x="222" y="474"/>
                  </a:lnTo>
                  <a:lnTo>
                    <a:pt x="216" y="474"/>
                  </a:lnTo>
                  <a:lnTo>
                    <a:pt x="216" y="480"/>
                  </a:lnTo>
                  <a:lnTo>
                    <a:pt x="216" y="474"/>
                  </a:lnTo>
                  <a:lnTo>
                    <a:pt x="210" y="474"/>
                  </a:lnTo>
                  <a:lnTo>
                    <a:pt x="204" y="474"/>
                  </a:lnTo>
                  <a:lnTo>
                    <a:pt x="204" y="468"/>
                  </a:lnTo>
                  <a:lnTo>
                    <a:pt x="204" y="474"/>
                  </a:lnTo>
                  <a:lnTo>
                    <a:pt x="204" y="468"/>
                  </a:lnTo>
                  <a:lnTo>
                    <a:pt x="198" y="468"/>
                  </a:lnTo>
                  <a:lnTo>
                    <a:pt x="192" y="468"/>
                  </a:lnTo>
                  <a:lnTo>
                    <a:pt x="192" y="462"/>
                  </a:lnTo>
                  <a:lnTo>
                    <a:pt x="186" y="462"/>
                  </a:lnTo>
                  <a:lnTo>
                    <a:pt x="180" y="462"/>
                  </a:lnTo>
                  <a:lnTo>
                    <a:pt x="174" y="456"/>
                  </a:lnTo>
                  <a:lnTo>
                    <a:pt x="180" y="456"/>
                  </a:lnTo>
                  <a:lnTo>
                    <a:pt x="174" y="456"/>
                  </a:lnTo>
                  <a:lnTo>
                    <a:pt x="168" y="456"/>
                  </a:lnTo>
                  <a:lnTo>
                    <a:pt x="162" y="456"/>
                  </a:lnTo>
                  <a:lnTo>
                    <a:pt x="162" y="450"/>
                  </a:lnTo>
                  <a:lnTo>
                    <a:pt x="156" y="450"/>
                  </a:lnTo>
                  <a:lnTo>
                    <a:pt x="150" y="450"/>
                  </a:lnTo>
                  <a:lnTo>
                    <a:pt x="144" y="450"/>
                  </a:lnTo>
                  <a:lnTo>
                    <a:pt x="144" y="444"/>
                  </a:lnTo>
                  <a:lnTo>
                    <a:pt x="138" y="444"/>
                  </a:lnTo>
                  <a:lnTo>
                    <a:pt x="132" y="444"/>
                  </a:lnTo>
                  <a:lnTo>
                    <a:pt x="126" y="438"/>
                  </a:lnTo>
                  <a:lnTo>
                    <a:pt x="126" y="432"/>
                  </a:lnTo>
                  <a:lnTo>
                    <a:pt x="120" y="432"/>
                  </a:lnTo>
                  <a:lnTo>
                    <a:pt x="120" y="426"/>
                  </a:lnTo>
                  <a:lnTo>
                    <a:pt x="114" y="426"/>
                  </a:lnTo>
                  <a:lnTo>
                    <a:pt x="108" y="426"/>
                  </a:lnTo>
                  <a:lnTo>
                    <a:pt x="102" y="426"/>
                  </a:lnTo>
                  <a:lnTo>
                    <a:pt x="96" y="426"/>
                  </a:lnTo>
                  <a:lnTo>
                    <a:pt x="90" y="420"/>
                  </a:lnTo>
                  <a:lnTo>
                    <a:pt x="90" y="414"/>
                  </a:lnTo>
                  <a:lnTo>
                    <a:pt x="84" y="408"/>
                  </a:lnTo>
                  <a:lnTo>
                    <a:pt x="84" y="402"/>
                  </a:lnTo>
                  <a:lnTo>
                    <a:pt x="78" y="402"/>
                  </a:lnTo>
                  <a:lnTo>
                    <a:pt x="78" y="396"/>
                  </a:lnTo>
                  <a:lnTo>
                    <a:pt x="78" y="390"/>
                  </a:lnTo>
                  <a:lnTo>
                    <a:pt x="72" y="390"/>
                  </a:lnTo>
                  <a:lnTo>
                    <a:pt x="72" y="384"/>
                  </a:lnTo>
                  <a:lnTo>
                    <a:pt x="72" y="378"/>
                  </a:lnTo>
                  <a:lnTo>
                    <a:pt x="66" y="372"/>
                  </a:lnTo>
                  <a:lnTo>
                    <a:pt x="66" y="366"/>
                  </a:lnTo>
                  <a:lnTo>
                    <a:pt x="66" y="360"/>
                  </a:lnTo>
                  <a:lnTo>
                    <a:pt x="60" y="360"/>
                  </a:lnTo>
                  <a:lnTo>
                    <a:pt x="60" y="354"/>
                  </a:lnTo>
                  <a:lnTo>
                    <a:pt x="60" y="348"/>
                  </a:lnTo>
                  <a:lnTo>
                    <a:pt x="54" y="342"/>
                  </a:lnTo>
                  <a:lnTo>
                    <a:pt x="54" y="336"/>
                  </a:lnTo>
                  <a:lnTo>
                    <a:pt x="48" y="336"/>
                  </a:lnTo>
                  <a:lnTo>
                    <a:pt x="48" y="330"/>
                  </a:lnTo>
                  <a:lnTo>
                    <a:pt x="42" y="330"/>
                  </a:lnTo>
                  <a:lnTo>
                    <a:pt x="42" y="324"/>
                  </a:lnTo>
                  <a:lnTo>
                    <a:pt x="36" y="324"/>
                  </a:lnTo>
                  <a:lnTo>
                    <a:pt x="36" y="318"/>
                  </a:lnTo>
                  <a:lnTo>
                    <a:pt x="30" y="318"/>
                  </a:lnTo>
                  <a:lnTo>
                    <a:pt x="24" y="312"/>
                  </a:lnTo>
                  <a:lnTo>
                    <a:pt x="24" y="306"/>
                  </a:lnTo>
                  <a:lnTo>
                    <a:pt x="18" y="306"/>
                  </a:lnTo>
                  <a:lnTo>
                    <a:pt x="18" y="300"/>
                  </a:lnTo>
                  <a:lnTo>
                    <a:pt x="18" y="294"/>
                  </a:lnTo>
                  <a:lnTo>
                    <a:pt x="18" y="288"/>
                  </a:lnTo>
                  <a:lnTo>
                    <a:pt x="12" y="288"/>
                  </a:lnTo>
                  <a:lnTo>
                    <a:pt x="12" y="282"/>
                  </a:lnTo>
                  <a:lnTo>
                    <a:pt x="12" y="276"/>
                  </a:lnTo>
                  <a:lnTo>
                    <a:pt x="18" y="276"/>
                  </a:lnTo>
                  <a:lnTo>
                    <a:pt x="18" y="270"/>
                  </a:lnTo>
                  <a:lnTo>
                    <a:pt x="18" y="264"/>
                  </a:lnTo>
                  <a:lnTo>
                    <a:pt x="18" y="258"/>
                  </a:lnTo>
                  <a:lnTo>
                    <a:pt x="12" y="258"/>
                  </a:lnTo>
                  <a:lnTo>
                    <a:pt x="12" y="252"/>
                  </a:lnTo>
                  <a:lnTo>
                    <a:pt x="12" y="246"/>
                  </a:lnTo>
                  <a:lnTo>
                    <a:pt x="12" y="240"/>
                  </a:lnTo>
                  <a:lnTo>
                    <a:pt x="6" y="240"/>
                  </a:lnTo>
                  <a:lnTo>
                    <a:pt x="6" y="234"/>
                  </a:lnTo>
                  <a:lnTo>
                    <a:pt x="6" y="228"/>
                  </a:lnTo>
                  <a:lnTo>
                    <a:pt x="6" y="222"/>
                  </a:lnTo>
                  <a:lnTo>
                    <a:pt x="0" y="222"/>
                  </a:lnTo>
                  <a:lnTo>
                    <a:pt x="0" y="216"/>
                  </a:lnTo>
                  <a:lnTo>
                    <a:pt x="0" y="210"/>
                  </a:lnTo>
                  <a:lnTo>
                    <a:pt x="0" y="204"/>
                  </a:lnTo>
                  <a:lnTo>
                    <a:pt x="6" y="198"/>
                  </a:lnTo>
                  <a:lnTo>
                    <a:pt x="6" y="192"/>
                  </a:lnTo>
                  <a:close/>
                  <a:moveTo>
                    <a:pt x="552" y="288"/>
                  </a:moveTo>
                  <a:lnTo>
                    <a:pt x="552" y="282"/>
                  </a:lnTo>
                  <a:lnTo>
                    <a:pt x="552" y="276"/>
                  </a:lnTo>
                  <a:lnTo>
                    <a:pt x="552" y="270"/>
                  </a:lnTo>
                  <a:lnTo>
                    <a:pt x="558" y="270"/>
                  </a:lnTo>
                  <a:lnTo>
                    <a:pt x="558" y="264"/>
                  </a:lnTo>
                  <a:lnTo>
                    <a:pt x="558" y="270"/>
                  </a:lnTo>
                  <a:lnTo>
                    <a:pt x="558" y="276"/>
                  </a:lnTo>
                  <a:lnTo>
                    <a:pt x="558" y="282"/>
                  </a:lnTo>
                  <a:lnTo>
                    <a:pt x="564" y="282"/>
                  </a:lnTo>
                  <a:lnTo>
                    <a:pt x="564" y="288"/>
                  </a:lnTo>
                  <a:lnTo>
                    <a:pt x="564" y="294"/>
                  </a:lnTo>
                  <a:lnTo>
                    <a:pt x="564" y="288"/>
                  </a:lnTo>
                  <a:lnTo>
                    <a:pt x="564" y="294"/>
                  </a:lnTo>
                  <a:lnTo>
                    <a:pt x="564" y="288"/>
                  </a:lnTo>
                  <a:lnTo>
                    <a:pt x="564" y="294"/>
                  </a:lnTo>
                  <a:lnTo>
                    <a:pt x="564" y="288"/>
                  </a:lnTo>
                  <a:lnTo>
                    <a:pt x="570" y="288"/>
                  </a:lnTo>
                  <a:lnTo>
                    <a:pt x="570" y="294"/>
                  </a:lnTo>
                  <a:lnTo>
                    <a:pt x="570" y="288"/>
                  </a:lnTo>
                  <a:lnTo>
                    <a:pt x="564" y="288"/>
                  </a:lnTo>
                  <a:lnTo>
                    <a:pt x="570" y="288"/>
                  </a:lnTo>
                  <a:lnTo>
                    <a:pt x="570" y="294"/>
                  </a:lnTo>
                  <a:lnTo>
                    <a:pt x="570" y="300"/>
                  </a:lnTo>
                  <a:lnTo>
                    <a:pt x="570" y="306"/>
                  </a:lnTo>
                  <a:lnTo>
                    <a:pt x="564" y="306"/>
                  </a:lnTo>
                  <a:lnTo>
                    <a:pt x="564" y="300"/>
                  </a:lnTo>
                  <a:lnTo>
                    <a:pt x="564" y="294"/>
                  </a:lnTo>
                  <a:lnTo>
                    <a:pt x="564" y="300"/>
                  </a:lnTo>
                  <a:lnTo>
                    <a:pt x="558" y="300"/>
                  </a:lnTo>
                  <a:lnTo>
                    <a:pt x="564" y="300"/>
                  </a:lnTo>
                  <a:lnTo>
                    <a:pt x="558" y="300"/>
                  </a:lnTo>
                  <a:lnTo>
                    <a:pt x="558" y="294"/>
                  </a:lnTo>
                  <a:lnTo>
                    <a:pt x="558" y="300"/>
                  </a:lnTo>
                  <a:lnTo>
                    <a:pt x="558" y="294"/>
                  </a:lnTo>
                  <a:lnTo>
                    <a:pt x="558" y="300"/>
                  </a:lnTo>
                  <a:lnTo>
                    <a:pt x="552" y="300"/>
                  </a:lnTo>
                  <a:lnTo>
                    <a:pt x="552" y="294"/>
                  </a:lnTo>
                  <a:lnTo>
                    <a:pt x="552" y="288"/>
                  </a:lnTo>
                  <a:close/>
                  <a:moveTo>
                    <a:pt x="576" y="246"/>
                  </a:moveTo>
                  <a:lnTo>
                    <a:pt x="576" y="240"/>
                  </a:lnTo>
                  <a:lnTo>
                    <a:pt x="576" y="246"/>
                  </a:lnTo>
                  <a:lnTo>
                    <a:pt x="576" y="240"/>
                  </a:lnTo>
                  <a:lnTo>
                    <a:pt x="582" y="240"/>
                  </a:lnTo>
                  <a:lnTo>
                    <a:pt x="576" y="240"/>
                  </a:lnTo>
                  <a:lnTo>
                    <a:pt x="582" y="240"/>
                  </a:lnTo>
                  <a:lnTo>
                    <a:pt x="582" y="234"/>
                  </a:lnTo>
                  <a:lnTo>
                    <a:pt x="582" y="240"/>
                  </a:lnTo>
                  <a:lnTo>
                    <a:pt x="576" y="234"/>
                  </a:lnTo>
                  <a:lnTo>
                    <a:pt x="582" y="234"/>
                  </a:lnTo>
                  <a:lnTo>
                    <a:pt x="576" y="234"/>
                  </a:lnTo>
                  <a:lnTo>
                    <a:pt x="582" y="234"/>
                  </a:lnTo>
                  <a:lnTo>
                    <a:pt x="576" y="234"/>
                  </a:lnTo>
                  <a:lnTo>
                    <a:pt x="576" y="228"/>
                  </a:lnTo>
                  <a:lnTo>
                    <a:pt x="582" y="228"/>
                  </a:lnTo>
                  <a:lnTo>
                    <a:pt x="576" y="228"/>
                  </a:lnTo>
                  <a:lnTo>
                    <a:pt x="576" y="222"/>
                  </a:lnTo>
                  <a:lnTo>
                    <a:pt x="576" y="228"/>
                  </a:lnTo>
                  <a:lnTo>
                    <a:pt x="576" y="222"/>
                  </a:lnTo>
                  <a:lnTo>
                    <a:pt x="576" y="228"/>
                  </a:lnTo>
                  <a:lnTo>
                    <a:pt x="576" y="222"/>
                  </a:lnTo>
                  <a:lnTo>
                    <a:pt x="582" y="222"/>
                  </a:lnTo>
                  <a:lnTo>
                    <a:pt x="576" y="222"/>
                  </a:lnTo>
                  <a:lnTo>
                    <a:pt x="576" y="216"/>
                  </a:lnTo>
                  <a:lnTo>
                    <a:pt x="576" y="222"/>
                  </a:lnTo>
                  <a:lnTo>
                    <a:pt x="582" y="222"/>
                  </a:lnTo>
                  <a:lnTo>
                    <a:pt x="576" y="222"/>
                  </a:lnTo>
                  <a:lnTo>
                    <a:pt x="582" y="222"/>
                  </a:lnTo>
                  <a:lnTo>
                    <a:pt x="582" y="216"/>
                  </a:lnTo>
                  <a:lnTo>
                    <a:pt x="582" y="222"/>
                  </a:lnTo>
                  <a:lnTo>
                    <a:pt x="588" y="222"/>
                  </a:lnTo>
                  <a:lnTo>
                    <a:pt x="582" y="222"/>
                  </a:lnTo>
                  <a:lnTo>
                    <a:pt x="588" y="222"/>
                  </a:lnTo>
                  <a:lnTo>
                    <a:pt x="588" y="216"/>
                  </a:lnTo>
                  <a:lnTo>
                    <a:pt x="588" y="222"/>
                  </a:lnTo>
                  <a:lnTo>
                    <a:pt x="588" y="228"/>
                  </a:lnTo>
                  <a:lnTo>
                    <a:pt x="588" y="222"/>
                  </a:lnTo>
                  <a:lnTo>
                    <a:pt x="588" y="228"/>
                  </a:lnTo>
                  <a:lnTo>
                    <a:pt x="588" y="222"/>
                  </a:lnTo>
                  <a:lnTo>
                    <a:pt x="588" y="228"/>
                  </a:lnTo>
                  <a:lnTo>
                    <a:pt x="588" y="234"/>
                  </a:lnTo>
                  <a:lnTo>
                    <a:pt x="588" y="228"/>
                  </a:lnTo>
                  <a:lnTo>
                    <a:pt x="588" y="234"/>
                  </a:lnTo>
                  <a:lnTo>
                    <a:pt x="588" y="240"/>
                  </a:lnTo>
                  <a:lnTo>
                    <a:pt x="582" y="240"/>
                  </a:lnTo>
                  <a:lnTo>
                    <a:pt x="588" y="240"/>
                  </a:lnTo>
                  <a:lnTo>
                    <a:pt x="582" y="240"/>
                  </a:lnTo>
                  <a:lnTo>
                    <a:pt x="582" y="246"/>
                  </a:lnTo>
                  <a:lnTo>
                    <a:pt x="582" y="252"/>
                  </a:lnTo>
                  <a:lnTo>
                    <a:pt x="576" y="252"/>
                  </a:lnTo>
                  <a:lnTo>
                    <a:pt x="576" y="246"/>
                  </a:lnTo>
                  <a:close/>
                  <a:moveTo>
                    <a:pt x="570" y="390"/>
                  </a:moveTo>
                  <a:lnTo>
                    <a:pt x="576" y="390"/>
                  </a:lnTo>
                  <a:lnTo>
                    <a:pt x="576" y="384"/>
                  </a:lnTo>
                  <a:lnTo>
                    <a:pt x="582" y="384"/>
                  </a:lnTo>
                  <a:lnTo>
                    <a:pt x="576" y="384"/>
                  </a:lnTo>
                  <a:lnTo>
                    <a:pt x="582" y="384"/>
                  </a:lnTo>
                  <a:lnTo>
                    <a:pt x="582" y="378"/>
                  </a:lnTo>
                  <a:lnTo>
                    <a:pt x="588" y="378"/>
                  </a:lnTo>
                  <a:lnTo>
                    <a:pt x="582" y="378"/>
                  </a:lnTo>
                  <a:lnTo>
                    <a:pt x="588" y="378"/>
                  </a:lnTo>
                  <a:lnTo>
                    <a:pt x="588" y="372"/>
                  </a:lnTo>
                  <a:lnTo>
                    <a:pt x="588" y="378"/>
                  </a:lnTo>
                  <a:lnTo>
                    <a:pt x="588" y="384"/>
                  </a:lnTo>
                  <a:lnTo>
                    <a:pt x="588" y="390"/>
                  </a:lnTo>
                  <a:lnTo>
                    <a:pt x="582" y="390"/>
                  </a:lnTo>
                  <a:lnTo>
                    <a:pt x="582" y="384"/>
                  </a:lnTo>
                  <a:lnTo>
                    <a:pt x="582" y="390"/>
                  </a:lnTo>
                  <a:lnTo>
                    <a:pt x="582" y="384"/>
                  </a:lnTo>
                  <a:lnTo>
                    <a:pt x="582" y="390"/>
                  </a:lnTo>
                  <a:lnTo>
                    <a:pt x="576" y="390"/>
                  </a:lnTo>
                  <a:lnTo>
                    <a:pt x="570" y="390"/>
                  </a:lnTo>
                  <a:close/>
                  <a:moveTo>
                    <a:pt x="582" y="390"/>
                  </a:moveTo>
                  <a:lnTo>
                    <a:pt x="582" y="396"/>
                  </a:lnTo>
                  <a:lnTo>
                    <a:pt x="583" y="396"/>
                  </a:lnTo>
                  <a:lnTo>
                    <a:pt x="582" y="390"/>
                  </a:lnTo>
                  <a:close/>
                  <a:moveTo>
                    <a:pt x="564" y="444"/>
                  </a:moveTo>
                  <a:lnTo>
                    <a:pt x="570" y="444"/>
                  </a:lnTo>
                  <a:lnTo>
                    <a:pt x="570" y="450"/>
                  </a:lnTo>
                  <a:lnTo>
                    <a:pt x="564" y="450"/>
                  </a:lnTo>
                  <a:lnTo>
                    <a:pt x="564" y="444"/>
                  </a:lnTo>
                  <a:close/>
                  <a:moveTo>
                    <a:pt x="570" y="246"/>
                  </a:moveTo>
                  <a:lnTo>
                    <a:pt x="576" y="246"/>
                  </a:lnTo>
                  <a:lnTo>
                    <a:pt x="576" y="252"/>
                  </a:lnTo>
                  <a:lnTo>
                    <a:pt x="570" y="252"/>
                  </a:lnTo>
                  <a:lnTo>
                    <a:pt x="570" y="246"/>
                  </a:lnTo>
                  <a:close/>
                  <a:moveTo>
                    <a:pt x="576" y="222"/>
                  </a:moveTo>
                  <a:lnTo>
                    <a:pt x="576" y="228"/>
                  </a:lnTo>
                  <a:lnTo>
                    <a:pt x="577" y="228"/>
                  </a:lnTo>
                  <a:lnTo>
                    <a:pt x="576" y="222"/>
                  </a:lnTo>
                  <a:close/>
                  <a:moveTo>
                    <a:pt x="558" y="360"/>
                  </a:moveTo>
                  <a:lnTo>
                    <a:pt x="564" y="360"/>
                  </a:lnTo>
                  <a:lnTo>
                    <a:pt x="558" y="360"/>
                  </a:lnTo>
                  <a:close/>
                  <a:moveTo>
                    <a:pt x="612" y="516"/>
                  </a:moveTo>
                  <a:lnTo>
                    <a:pt x="612" y="522"/>
                  </a:lnTo>
                  <a:lnTo>
                    <a:pt x="613" y="522"/>
                  </a:lnTo>
                  <a:lnTo>
                    <a:pt x="612" y="516"/>
                  </a:lnTo>
                  <a:close/>
                  <a:moveTo>
                    <a:pt x="546" y="228"/>
                  </a:moveTo>
                  <a:lnTo>
                    <a:pt x="546" y="234"/>
                  </a:lnTo>
                  <a:lnTo>
                    <a:pt x="547" y="234"/>
                  </a:lnTo>
                  <a:lnTo>
                    <a:pt x="546" y="228"/>
                  </a:lnTo>
                  <a:close/>
                  <a:moveTo>
                    <a:pt x="558" y="378"/>
                  </a:moveTo>
                  <a:lnTo>
                    <a:pt x="558" y="384"/>
                  </a:lnTo>
                  <a:lnTo>
                    <a:pt x="559" y="384"/>
                  </a:lnTo>
                  <a:lnTo>
                    <a:pt x="558" y="378"/>
                  </a:lnTo>
                  <a:close/>
                  <a:moveTo>
                    <a:pt x="582" y="246"/>
                  </a:moveTo>
                  <a:lnTo>
                    <a:pt x="582" y="252"/>
                  </a:lnTo>
                  <a:lnTo>
                    <a:pt x="583" y="252"/>
                  </a:lnTo>
                  <a:lnTo>
                    <a:pt x="582" y="246"/>
                  </a:lnTo>
                  <a:close/>
                  <a:moveTo>
                    <a:pt x="576" y="228"/>
                  </a:moveTo>
                  <a:lnTo>
                    <a:pt x="576" y="234"/>
                  </a:lnTo>
                  <a:lnTo>
                    <a:pt x="577" y="234"/>
                  </a:lnTo>
                  <a:lnTo>
                    <a:pt x="576" y="228"/>
                  </a:lnTo>
                  <a:close/>
                  <a:moveTo>
                    <a:pt x="582" y="222"/>
                  </a:moveTo>
                  <a:lnTo>
                    <a:pt x="588" y="222"/>
                  </a:lnTo>
                  <a:lnTo>
                    <a:pt x="582" y="222"/>
                  </a:lnTo>
                  <a:close/>
                  <a:moveTo>
                    <a:pt x="570" y="240"/>
                  </a:moveTo>
                  <a:lnTo>
                    <a:pt x="576" y="240"/>
                  </a:lnTo>
                  <a:lnTo>
                    <a:pt x="570" y="240"/>
                  </a:lnTo>
                  <a:close/>
                  <a:moveTo>
                    <a:pt x="570" y="408"/>
                  </a:moveTo>
                  <a:lnTo>
                    <a:pt x="576" y="408"/>
                  </a:lnTo>
                  <a:lnTo>
                    <a:pt x="570" y="408"/>
                  </a:lnTo>
                  <a:close/>
                  <a:moveTo>
                    <a:pt x="552" y="384"/>
                  </a:moveTo>
                  <a:lnTo>
                    <a:pt x="558" y="384"/>
                  </a:lnTo>
                  <a:lnTo>
                    <a:pt x="552" y="38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1" name="Freeform 46"/>
            <p:cNvSpPr>
              <a:spLocks/>
            </p:cNvSpPr>
            <p:nvPr>
              <p:custDataLst>
                <p:tags r:id="rId94"/>
              </p:custDataLst>
            </p:nvPr>
          </p:nvSpPr>
          <p:spPr bwMode="gray">
            <a:xfrm>
              <a:off x="5191125" y="3757613"/>
              <a:ext cx="127000" cy="149225"/>
            </a:xfrm>
            <a:custGeom>
              <a:avLst/>
              <a:gdLst>
                <a:gd name="T0" fmla="*/ 8787 w 102"/>
                <a:gd name="T1" fmla="*/ 41010 h 120"/>
                <a:gd name="T2" fmla="*/ 8787 w 102"/>
                <a:gd name="T3" fmla="*/ 37104 h 120"/>
                <a:gd name="T4" fmla="*/ 6835 w 102"/>
                <a:gd name="T5" fmla="*/ 34175 h 120"/>
                <a:gd name="T6" fmla="*/ 3906 w 102"/>
                <a:gd name="T7" fmla="*/ 32222 h 120"/>
                <a:gd name="T8" fmla="*/ 3906 w 102"/>
                <a:gd name="T9" fmla="*/ 28317 h 120"/>
                <a:gd name="T10" fmla="*/ 3906 w 102"/>
                <a:gd name="T11" fmla="*/ 23434 h 120"/>
                <a:gd name="T12" fmla="*/ 3906 w 102"/>
                <a:gd name="T13" fmla="*/ 19529 h 120"/>
                <a:gd name="T14" fmla="*/ 3906 w 102"/>
                <a:gd name="T15" fmla="*/ 15623 h 120"/>
                <a:gd name="T16" fmla="*/ 1953 w 102"/>
                <a:gd name="T17" fmla="*/ 12694 h 120"/>
                <a:gd name="T18" fmla="*/ 0 w 102"/>
                <a:gd name="T19" fmla="*/ 10741 h 120"/>
                <a:gd name="T20" fmla="*/ 1953 w 102"/>
                <a:gd name="T21" fmla="*/ 8788 h 120"/>
                <a:gd name="T22" fmla="*/ 3906 w 102"/>
                <a:gd name="T23" fmla="*/ 6835 h 120"/>
                <a:gd name="T24" fmla="*/ 6835 w 102"/>
                <a:gd name="T25" fmla="*/ 8788 h 120"/>
                <a:gd name="T26" fmla="*/ 8787 w 102"/>
                <a:gd name="T27" fmla="*/ 10741 h 120"/>
                <a:gd name="T28" fmla="*/ 12693 w 102"/>
                <a:gd name="T29" fmla="*/ 10741 h 120"/>
                <a:gd name="T30" fmla="*/ 17576 w 102"/>
                <a:gd name="T31" fmla="*/ 10741 h 120"/>
                <a:gd name="T32" fmla="*/ 19529 w 102"/>
                <a:gd name="T33" fmla="*/ 8788 h 120"/>
                <a:gd name="T34" fmla="*/ 19529 w 102"/>
                <a:gd name="T35" fmla="*/ 3906 h 120"/>
                <a:gd name="T36" fmla="*/ 19529 w 102"/>
                <a:gd name="T37" fmla="*/ 0 h 120"/>
                <a:gd name="T38" fmla="*/ 21481 w 102"/>
                <a:gd name="T39" fmla="*/ 1953 h 120"/>
                <a:gd name="T40" fmla="*/ 23434 w 102"/>
                <a:gd name="T41" fmla="*/ 1953 h 120"/>
                <a:gd name="T42" fmla="*/ 28316 w 102"/>
                <a:gd name="T43" fmla="*/ 1953 h 120"/>
                <a:gd name="T44" fmla="*/ 28316 w 102"/>
                <a:gd name="T45" fmla="*/ 1953 h 120"/>
                <a:gd name="T46" fmla="*/ 30269 w 102"/>
                <a:gd name="T47" fmla="*/ 0 h 120"/>
                <a:gd name="T48" fmla="*/ 32222 w 102"/>
                <a:gd name="T49" fmla="*/ 1953 h 120"/>
                <a:gd name="T50" fmla="*/ 30269 w 102"/>
                <a:gd name="T51" fmla="*/ 3906 h 120"/>
                <a:gd name="T52" fmla="*/ 28316 w 102"/>
                <a:gd name="T53" fmla="*/ 6835 h 120"/>
                <a:gd name="T54" fmla="*/ 30269 w 102"/>
                <a:gd name="T55" fmla="*/ 8788 h 120"/>
                <a:gd name="T56" fmla="*/ 30269 w 102"/>
                <a:gd name="T57" fmla="*/ 10741 h 120"/>
                <a:gd name="T58" fmla="*/ 28316 w 102"/>
                <a:gd name="T59" fmla="*/ 12694 h 120"/>
                <a:gd name="T60" fmla="*/ 32222 w 102"/>
                <a:gd name="T61" fmla="*/ 12694 h 120"/>
                <a:gd name="T62" fmla="*/ 34175 w 102"/>
                <a:gd name="T63" fmla="*/ 15623 h 120"/>
                <a:gd name="T64" fmla="*/ 37104 w 102"/>
                <a:gd name="T65" fmla="*/ 17576 h 120"/>
                <a:gd name="T66" fmla="*/ 34175 w 102"/>
                <a:gd name="T67" fmla="*/ 19529 h 120"/>
                <a:gd name="T68" fmla="*/ 32222 w 102"/>
                <a:gd name="T69" fmla="*/ 22458 h 120"/>
                <a:gd name="T70" fmla="*/ 34175 w 102"/>
                <a:gd name="T71" fmla="*/ 23434 h 120"/>
                <a:gd name="T72" fmla="*/ 30269 w 102"/>
                <a:gd name="T73" fmla="*/ 23434 h 120"/>
                <a:gd name="T74" fmla="*/ 28316 w 102"/>
                <a:gd name="T75" fmla="*/ 26364 h 120"/>
                <a:gd name="T76" fmla="*/ 28316 w 102"/>
                <a:gd name="T77" fmla="*/ 30270 h 120"/>
                <a:gd name="T78" fmla="*/ 26363 w 102"/>
                <a:gd name="T79" fmla="*/ 32222 h 120"/>
                <a:gd name="T80" fmla="*/ 23434 w 102"/>
                <a:gd name="T81" fmla="*/ 34175 h 120"/>
                <a:gd name="T82" fmla="*/ 21481 w 102"/>
                <a:gd name="T83" fmla="*/ 37104 h 120"/>
                <a:gd name="T84" fmla="*/ 21481 w 102"/>
                <a:gd name="T85" fmla="*/ 41010 h 120"/>
                <a:gd name="T86" fmla="*/ 17576 w 102"/>
                <a:gd name="T87" fmla="*/ 41010 h 120"/>
                <a:gd name="T88" fmla="*/ 17576 w 102"/>
                <a:gd name="T89" fmla="*/ 41010 h 120"/>
                <a:gd name="T90" fmla="*/ 15623 w 102"/>
                <a:gd name="T91" fmla="*/ 42963 h 120"/>
                <a:gd name="T92" fmla="*/ 10740 w 102"/>
                <a:gd name="T93" fmla="*/ 42963 h 1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2" h="120">
                  <a:moveTo>
                    <a:pt x="24" y="120"/>
                  </a:moveTo>
                  <a:lnTo>
                    <a:pt x="24" y="114"/>
                  </a:lnTo>
                  <a:lnTo>
                    <a:pt x="24" y="108"/>
                  </a:lnTo>
                  <a:lnTo>
                    <a:pt x="24" y="102"/>
                  </a:lnTo>
                  <a:lnTo>
                    <a:pt x="18" y="102"/>
                  </a:lnTo>
                  <a:lnTo>
                    <a:pt x="18" y="96"/>
                  </a:lnTo>
                  <a:lnTo>
                    <a:pt x="18" y="90"/>
                  </a:lnTo>
                  <a:lnTo>
                    <a:pt x="12" y="90"/>
                  </a:lnTo>
                  <a:lnTo>
                    <a:pt x="12" y="84"/>
                  </a:lnTo>
                  <a:lnTo>
                    <a:pt x="12" y="78"/>
                  </a:lnTo>
                  <a:lnTo>
                    <a:pt x="12" y="72"/>
                  </a:lnTo>
                  <a:lnTo>
                    <a:pt x="12" y="66"/>
                  </a:lnTo>
                  <a:lnTo>
                    <a:pt x="12" y="60"/>
                  </a:lnTo>
                  <a:lnTo>
                    <a:pt x="12" y="54"/>
                  </a:lnTo>
                  <a:lnTo>
                    <a:pt x="12" y="48"/>
                  </a:lnTo>
                  <a:lnTo>
                    <a:pt x="12" y="42"/>
                  </a:lnTo>
                  <a:lnTo>
                    <a:pt x="12" y="36"/>
                  </a:lnTo>
                  <a:lnTo>
                    <a:pt x="6" y="36"/>
                  </a:lnTo>
                  <a:lnTo>
                    <a:pt x="6" y="30"/>
                  </a:lnTo>
                  <a:lnTo>
                    <a:pt x="0" y="30"/>
                  </a:lnTo>
                  <a:lnTo>
                    <a:pt x="0" y="24"/>
                  </a:lnTo>
                  <a:lnTo>
                    <a:pt x="6" y="24"/>
                  </a:lnTo>
                  <a:lnTo>
                    <a:pt x="6" y="18"/>
                  </a:lnTo>
                  <a:lnTo>
                    <a:pt x="12" y="18"/>
                  </a:lnTo>
                  <a:lnTo>
                    <a:pt x="18" y="18"/>
                  </a:lnTo>
                  <a:lnTo>
                    <a:pt x="18" y="24"/>
                  </a:lnTo>
                  <a:lnTo>
                    <a:pt x="18" y="30"/>
                  </a:lnTo>
                  <a:lnTo>
                    <a:pt x="24" y="30"/>
                  </a:lnTo>
                  <a:lnTo>
                    <a:pt x="30" y="30"/>
                  </a:lnTo>
                  <a:lnTo>
                    <a:pt x="36" y="30"/>
                  </a:lnTo>
                  <a:lnTo>
                    <a:pt x="42" y="30"/>
                  </a:lnTo>
                  <a:lnTo>
                    <a:pt x="48" y="30"/>
                  </a:lnTo>
                  <a:lnTo>
                    <a:pt x="48" y="24"/>
                  </a:lnTo>
                  <a:lnTo>
                    <a:pt x="54" y="24"/>
                  </a:lnTo>
                  <a:lnTo>
                    <a:pt x="54" y="18"/>
                  </a:lnTo>
                  <a:lnTo>
                    <a:pt x="54" y="12"/>
                  </a:lnTo>
                  <a:lnTo>
                    <a:pt x="54" y="6"/>
                  </a:lnTo>
                  <a:lnTo>
                    <a:pt x="54" y="0"/>
                  </a:lnTo>
                  <a:lnTo>
                    <a:pt x="54" y="6"/>
                  </a:lnTo>
                  <a:lnTo>
                    <a:pt x="60" y="6"/>
                  </a:lnTo>
                  <a:lnTo>
                    <a:pt x="66" y="12"/>
                  </a:lnTo>
                  <a:lnTo>
                    <a:pt x="66" y="6"/>
                  </a:lnTo>
                  <a:lnTo>
                    <a:pt x="72" y="6"/>
                  </a:lnTo>
                  <a:lnTo>
                    <a:pt x="78" y="6"/>
                  </a:lnTo>
                  <a:lnTo>
                    <a:pt x="78" y="0"/>
                  </a:lnTo>
                  <a:lnTo>
                    <a:pt x="78" y="6"/>
                  </a:lnTo>
                  <a:lnTo>
                    <a:pt x="78" y="0"/>
                  </a:lnTo>
                  <a:lnTo>
                    <a:pt x="84" y="0"/>
                  </a:lnTo>
                  <a:lnTo>
                    <a:pt x="84" y="6"/>
                  </a:lnTo>
                  <a:lnTo>
                    <a:pt x="90" y="6"/>
                  </a:lnTo>
                  <a:lnTo>
                    <a:pt x="84" y="6"/>
                  </a:lnTo>
                  <a:lnTo>
                    <a:pt x="84" y="12"/>
                  </a:lnTo>
                  <a:lnTo>
                    <a:pt x="84" y="18"/>
                  </a:lnTo>
                  <a:lnTo>
                    <a:pt x="78" y="18"/>
                  </a:lnTo>
                  <a:lnTo>
                    <a:pt x="78" y="24"/>
                  </a:lnTo>
                  <a:lnTo>
                    <a:pt x="84" y="24"/>
                  </a:lnTo>
                  <a:lnTo>
                    <a:pt x="78" y="24"/>
                  </a:lnTo>
                  <a:lnTo>
                    <a:pt x="84" y="30"/>
                  </a:lnTo>
                  <a:lnTo>
                    <a:pt x="78" y="30"/>
                  </a:lnTo>
                  <a:lnTo>
                    <a:pt x="78" y="36"/>
                  </a:lnTo>
                  <a:lnTo>
                    <a:pt x="84" y="36"/>
                  </a:lnTo>
                  <a:lnTo>
                    <a:pt x="90" y="36"/>
                  </a:lnTo>
                  <a:lnTo>
                    <a:pt x="90" y="42"/>
                  </a:lnTo>
                  <a:lnTo>
                    <a:pt x="96" y="42"/>
                  </a:lnTo>
                  <a:lnTo>
                    <a:pt x="102" y="42"/>
                  </a:lnTo>
                  <a:lnTo>
                    <a:pt x="102" y="48"/>
                  </a:lnTo>
                  <a:lnTo>
                    <a:pt x="102" y="54"/>
                  </a:lnTo>
                  <a:lnTo>
                    <a:pt x="96" y="54"/>
                  </a:lnTo>
                  <a:lnTo>
                    <a:pt x="96" y="60"/>
                  </a:lnTo>
                  <a:lnTo>
                    <a:pt x="90" y="60"/>
                  </a:lnTo>
                  <a:lnTo>
                    <a:pt x="96" y="60"/>
                  </a:lnTo>
                  <a:lnTo>
                    <a:pt x="96" y="66"/>
                  </a:lnTo>
                  <a:lnTo>
                    <a:pt x="90" y="66"/>
                  </a:lnTo>
                  <a:lnTo>
                    <a:pt x="84" y="66"/>
                  </a:lnTo>
                  <a:lnTo>
                    <a:pt x="84" y="72"/>
                  </a:lnTo>
                  <a:lnTo>
                    <a:pt x="78" y="72"/>
                  </a:lnTo>
                  <a:lnTo>
                    <a:pt x="78" y="78"/>
                  </a:lnTo>
                  <a:lnTo>
                    <a:pt x="78" y="84"/>
                  </a:lnTo>
                  <a:lnTo>
                    <a:pt x="72" y="84"/>
                  </a:lnTo>
                  <a:lnTo>
                    <a:pt x="72" y="90"/>
                  </a:lnTo>
                  <a:lnTo>
                    <a:pt x="72" y="96"/>
                  </a:lnTo>
                  <a:lnTo>
                    <a:pt x="66" y="96"/>
                  </a:lnTo>
                  <a:lnTo>
                    <a:pt x="66" y="102"/>
                  </a:lnTo>
                  <a:lnTo>
                    <a:pt x="60" y="102"/>
                  </a:lnTo>
                  <a:lnTo>
                    <a:pt x="60" y="108"/>
                  </a:lnTo>
                  <a:lnTo>
                    <a:pt x="60" y="114"/>
                  </a:lnTo>
                  <a:lnTo>
                    <a:pt x="54" y="114"/>
                  </a:lnTo>
                  <a:lnTo>
                    <a:pt x="48" y="114"/>
                  </a:lnTo>
                  <a:lnTo>
                    <a:pt x="48" y="120"/>
                  </a:lnTo>
                  <a:lnTo>
                    <a:pt x="48" y="114"/>
                  </a:lnTo>
                  <a:lnTo>
                    <a:pt x="48" y="120"/>
                  </a:lnTo>
                  <a:lnTo>
                    <a:pt x="42" y="120"/>
                  </a:lnTo>
                  <a:lnTo>
                    <a:pt x="36" y="120"/>
                  </a:lnTo>
                  <a:lnTo>
                    <a:pt x="30" y="120"/>
                  </a:lnTo>
                  <a:lnTo>
                    <a:pt x="24" y="12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2" name="Freeform 47"/>
            <p:cNvSpPr>
              <a:spLocks/>
            </p:cNvSpPr>
            <p:nvPr>
              <p:custDataLst>
                <p:tags r:id="rId95"/>
              </p:custDataLst>
            </p:nvPr>
          </p:nvSpPr>
          <p:spPr bwMode="gray">
            <a:xfrm>
              <a:off x="5181600" y="3675063"/>
              <a:ext cx="141288" cy="119063"/>
            </a:xfrm>
            <a:custGeom>
              <a:avLst/>
              <a:gdLst>
                <a:gd name="T0" fmla="*/ 31937 w 114"/>
                <a:gd name="T1" fmla="*/ 26113 h 96"/>
                <a:gd name="T2" fmla="*/ 30002 w 114"/>
                <a:gd name="T3" fmla="*/ 23212 h 96"/>
                <a:gd name="T4" fmla="*/ 30002 w 114"/>
                <a:gd name="T5" fmla="*/ 23212 h 96"/>
                <a:gd name="T6" fmla="*/ 27098 w 114"/>
                <a:gd name="T7" fmla="*/ 26113 h 96"/>
                <a:gd name="T8" fmla="*/ 26131 w 114"/>
                <a:gd name="T9" fmla="*/ 27080 h 96"/>
                <a:gd name="T10" fmla="*/ 21291 w 114"/>
                <a:gd name="T11" fmla="*/ 26113 h 96"/>
                <a:gd name="T12" fmla="*/ 21291 w 114"/>
                <a:gd name="T13" fmla="*/ 26113 h 96"/>
                <a:gd name="T14" fmla="*/ 21291 w 114"/>
                <a:gd name="T15" fmla="*/ 29982 h 96"/>
                <a:gd name="T16" fmla="*/ 19356 w 114"/>
                <a:gd name="T17" fmla="*/ 31916 h 96"/>
                <a:gd name="T18" fmla="*/ 17421 w 114"/>
                <a:gd name="T19" fmla="*/ 33851 h 96"/>
                <a:gd name="T20" fmla="*/ 12581 w 114"/>
                <a:gd name="T21" fmla="*/ 33851 h 96"/>
                <a:gd name="T22" fmla="*/ 8710 w 114"/>
                <a:gd name="T23" fmla="*/ 33851 h 96"/>
                <a:gd name="T24" fmla="*/ 8710 w 114"/>
                <a:gd name="T25" fmla="*/ 29982 h 96"/>
                <a:gd name="T26" fmla="*/ 3872 w 114"/>
                <a:gd name="T27" fmla="*/ 29982 h 96"/>
                <a:gd name="T28" fmla="*/ 1935 w 114"/>
                <a:gd name="T29" fmla="*/ 31916 h 96"/>
                <a:gd name="T30" fmla="*/ 0 w 114"/>
                <a:gd name="T31" fmla="*/ 29982 h 96"/>
                <a:gd name="T32" fmla="*/ 0 w 114"/>
                <a:gd name="T33" fmla="*/ 26113 h 96"/>
                <a:gd name="T34" fmla="*/ 1935 w 114"/>
                <a:gd name="T35" fmla="*/ 23212 h 96"/>
                <a:gd name="T36" fmla="*/ 6775 w 114"/>
                <a:gd name="T37" fmla="*/ 21277 h 96"/>
                <a:gd name="T38" fmla="*/ 3872 w 114"/>
                <a:gd name="T39" fmla="*/ 17409 h 96"/>
                <a:gd name="T40" fmla="*/ 6775 w 114"/>
                <a:gd name="T41" fmla="*/ 14508 h 96"/>
                <a:gd name="T42" fmla="*/ 6775 w 114"/>
                <a:gd name="T43" fmla="*/ 10639 h 96"/>
                <a:gd name="T44" fmla="*/ 8710 w 114"/>
                <a:gd name="T45" fmla="*/ 8705 h 96"/>
                <a:gd name="T46" fmla="*/ 12581 w 114"/>
                <a:gd name="T47" fmla="*/ 8705 h 96"/>
                <a:gd name="T48" fmla="*/ 14517 w 114"/>
                <a:gd name="T49" fmla="*/ 6770 h 96"/>
                <a:gd name="T50" fmla="*/ 17421 w 114"/>
                <a:gd name="T51" fmla="*/ 6770 h 96"/>
                <a:gd name="T52" fmla="*/ 19356 w 114"/>
                <a:gd name="T53" fmla="*/ 6770 h 96"/>
                <a:gd name="T54" fmla="*/ 21291 w 114"/>
                <a:gd name="T55" fmla="*/ 6770 h 96"/>
                <a:gd name="T56" fmla="*/ 26131 w 114"/>
                <a:gd name="T57" fmla="*/ 6770 h 96"/>
                <a:gd name="T58" fmla="*/ 26131 w 114"/>
                <a:gd name="T59" fmla="*/ 6770 h 96"/>
                <a:gd name="T60" fmla="*/ 27098 w 114"/>
                <a:gd name="T61" fmla="*/ 3869 h 96"/>
                <a:gd name="T62" fmla="*/ 27098 w 114"/>
                <a:gd name="T63" fmla="*/ 0 h 96"/>
                <a:gd name="T64" fmla="*/ 31937 w 114"/>
                <a:gd name="T65" fmla="*/ 0 h 96"/>
                <a:gd name="T66" fmla="*/ 31937 w 114"/>
                <a:gd name="T67" fmla="*/ 3869 h 96"/>
                <a:gd name="T68" fmla="*/ 31937 w 114"/>
                <a:gd name="T69" fmla="*/ 3869 h 96"/>
                <a:gd name="T70" fmla="*/ 33873 w 114"/>
                <a:gd name="T71" fmla="*/ 6770 h 96"/>
                <a:gd name="T72" fmla="*/ 36777 w 114"/>
                <a:gd name="T73" fmla="*/ 8705 h 96"/>
                <a:gd name="T74" fmla="*/ 37744 w 114"/>
                <a:gd name="T75" fmla="*/ 12573 h 96"/>
                <a:gd name="T76" fmla="*/ 37744 w 114"/>
                <a:gd name="T77" fmla="*/ 17409 h 96"/>
                <a:gd name="T78" fmla="*/ 40647 w 114"/>
                <a:gd name="T79" fmla="*/ 19343 h 96"/>
                <a:gd name="T80" fmla="*/ 37744 w 114"/>
                <a:gd name="T81" fmla="*/ 21277 h 96"/>
                <a:gd name="T82" fmla="*/ 37744 w 114"/>
                <a:gd name="T83" fmla="*/ 26113 h 96"/>
                <a:gd name="T84" fmla="*/ 33873 w 114"/>
                <a:gd name="T85" fmla="*/ 26113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4" h="96">
                  <a:moveTo>
                    <a:pt x="96" y="72"/>
                  </a:moveTo>
                  <a:lnTo>
                    <a:pt x="90" y="72"/>
                  </a:lnTo>
                  <a:lnTo>
                    <a:pt x="90" y="66"/>
                  </a:lnTo>
                  <a:lnTo>
                    <a:pt x="84" y="66"/>
                  </a:lnTo>
                  <a:lnTo>
                    <a:pt x="84" y="72"/>
                  </a:lnTo>
                  <a:lnTo>
                    <a:pt x="84" y="66"/>
                  </a:lnTo>
                  <a:lnTo>
                    <a:pt x="84" y="72"/>
                  </a:lnTo>
                  <a:lnTo>
                    <a:pt x="78" y="72"/>
                  </a:lnTo>
                  <a:lnTo>
                    <a:pt x="72" y="72"/>
                  </a:lnTo>
                  <a:lnTo>
                    <a:pt x="72" y="78"/>
                  </a:lnTo>
                  <a:lnTo>
                    <a:pt x="66" y="72"/>
                  </a:lnTo>
                  <a:lnTo>
                    <a:pt x="60" y="72"/>
                  </a:lnTo>
                  <a:lnTo>
                    <a:pt x="60" y="66"/>
                  </a:lnTo>
                  <a:lnTo>
                    <a:pt x="60" y="72"/>
                  </a:lnTo>
                  <a:lnTo>
                    <a:pt x="60" y="78"/>
                  </a:lnTo>
                  <a:lnTo>
                    <a:pt x="60" y="84"/>
                  </a:lnTo>
                  <a:lnTo>
                    <a:pt x="60" y="90"/>
                  </a:lnTo>
                  <a:lnTo>
                    <a:pt x="54" y="90"/>
                  </a:lnTo>
                  <a:lnTo>
                    <a:pt x="54" y="96"/>
                  </a:lnTo>
                  <a:lnTo>
                    <a:pt x="48" y="96"/>
                  </a:lnTo>
                  <a:lnTo>
                    <a:pt x="42" y="96"/>
                  </a:lnTo>
                  <a:lnTo>
                    <a:pt x="36" y="96"/>
                  </a:lnTo>
                  <a:lnTo>
                    <a:pt x="30" y="96"/>
                  </a:lnTo>
                  <a:lnTo>
                    <a:pt x="24" y="96"/>
                  </a:lnTo>
                  <a:lnTo>
                    <a:pt x="24" y="90"/>
                  </a:lnTo>
                  <a:lnTo>
                    <a:pt x="24" y="84"/>
                  </a:lnTo>
                  <a:lnTo>
                    <a:pt x="18" y="84"/>
                  </a:lnTo>
                  <a:lnTo>
                    <a:pt x="12" y="84"/>
                  </a:lnTo>
                  <a:lnTo>
                    <a:pt x="12" y="90"/>
                  </a:lnTo>
                  <a:lnTo>
                    <a:pt x="6" y="90"/>
                  </a:lnTo>
                  <a:lnTo>
                    <a:pt x="0" y="90"/>
                  </a:lnTo>
                  <a:lnTo>
                    <a:pt x="0" y="84"/>
                  </a:lnTo>
                  <a:lnTo>
                    <a:pt x="0" y="78"/>
                  </a:lnTo>
                  <a:lnTo>
                    <a:pt x="0" y="72"/>
                  </a:lnTo>
                  <a:lnTo>
                    <a:pt x="6" y="72"/>
                  </a:lnTo>
                  <a:lnTo>
                    <a:pt x="6" y="66"/>
                  </a:lnTo>
                  <a:lnTo>
                    <a:pt x="12" y="66"/>
                  </a:lnTo>
                  <a:lnTo>
                    <a:pt x="18" y="60"/>
                  </a:lnTo>
                  <a:lnTo>
                    <a:pt x="18" y="54"/>
                  </a:lnTo>
                  <a:lnTo>
                    <a:pt x="12" y="48"/>
                  </a:lnTo>
                  <a:lnTo>
                    <a:pt x="12" y="42"/>
                  </a:lnTo>
                  <a:lnTo>
                    <a:pt x="18" y="42"/>
                  </a:lnTo>
                  <a:lnTo>
                    <a:pt x="18" y="36"/>
                  </a:lnTo>
                  <a:lnTo>
                    <a:pt x="18" y="30"/>
                  </a:lnTo>
                  <a:lnTo>
                    <a:pt x="24" y="30"/>
                  </a:lnTo>
                  <a:lnTo>
                    <a:pt x="24" y="24"/>
                  </a:lnTo>
                  <a:lnTo>
                    <a:pt x="30" y="24"/>
                  </a:lnTo>
                  <a:lnTo>
                    <a:pt x="36" y="24"/>
                  </a:lnTo>
                  <a:lnTo>
                    <a:pt x="36" y="18"/>
                  </a:lnTo>
                  <a:lnTo>
                    <a:pt x="42" y="18"/>
                  </a:lnTo>
                  <a:lnTo>
                    <a:pt x="48" y="12"/>
                  </a:lnTo>
                  <a:lnTo>
                    <a:pt x="48" y="18"/>
                  </a:lnTo>
                  <a:lnTo>
                    <a:pt x="54" y="12"/>
                  </a:lnTo>
                  <a:lnTo>
                    <a:pt x="54" y="18"/>
                  </a:lnTo>
                  <a:lnTo>
                    <a:pt x="60" y="24"/>
                  </a:lnTo>
                  <a:lnTo>
                    <a:pt x="60" y="18"/>
                  </a:lnTo>
                  <a:lnTo>
                    <a:pt x="66" y="18"/>
                  </a:lnTo>
                  <a:lnTo>
                    <a:pt x="72" y="18"/>
                  </a:lnTo>
                  <a:lnTo>
                    <a:pt x="72" y="12"/>
                  </a:lnTo>
                  <a:lnTo>
                    <a:pt x="72" y="18"/>
                  </a:lnTo>
                  <a:lnTo>
                    <a:pt x="72" y="12"/>
                  </a:lnTo>
                  <a:lnTo>
                    <a:pt x="78" y="12"/>
                  </a:lnTo>
                  <a:lnTo>
                    <a:pt x="78" y="6"/>
                  </a:lnTo>
                  <a:lnTo>
                    <a:pt x="78" y="0"/>
                  </a:lnTo>
                  <a:lnTo>
                    <a:pt x="84" y="0"/>
                  </a:lnTo>
                  <a:lnTo>
                    <a:pt x="90" y="0"/>
                  </a:lnTo>
                  <a:lnTo>
                    <a:pt x="90" y="6"/>
                  </a:lnTo>
                  <a:lnTo>
                    <a:pt x="90" y="12"/>
                  </a:lnTo>
                  <a:lnTo>
                    <a:pt x="96" y="12"/>
                  </a:lnTo>
                  <a:lnTo>
                    <a:pt x="90" y="12"/>
                  </a:lnTo>
                  <a:lnTo>
                    <a:pt x="96" y="12"/>
                  </a:lnTo>
                  <a:lnTo>
                    <a:pt x="96" y="18"/>
                  </a:lnTo>
                  <a:lnTo>
                    <a:pt x="102" y="18"/>
                  </a:lnTo>
                  <a:lnTo>
                    <a:pt x="102" y="24"/>
                  </a:lnTo>
                  <a:lnTo>
                    <a:pt x="108" y="30"/>
                  </a:lnTo>
                  <a:lnTo>
                    <a:pt x="108" y="36"/>
                  </a:lnTo>
                  <a:lnTo>
                    <a:pt x="108" y="42"/>
                  </a:lnTo>
                  <a:lnTo>
                    <a:pt x="108" y="48"/>
                  </a:lnTo>
                  <a:lnTo>
                    <a:pt x="108" y="54"/>
                  </a:lnTo>
                  <a:lnTo>
                    <a:pt x="114" y="54"/>
                  </a:lnTo>
                  <a:lnTo>
                    <a:pt x="114" y="60"/>
                  </a:lnTo>
                  <a:lnTo>
                    <a:pt x="108" y="60"/>
                  </a:lnTo>
                  <a:lnTo>
                    <a:pt x="108" y="66"/>
                  </a:lnTo>
                  <a:lnTo>
                    <a:pt x="108" y="72"/>
                  </a:lnTo>
                  <a:lnTo>
                    <a:pt x="102" y="72"/>
                  </a:lnTo>
                  <a:lnTo>
                    <a:pt x="96" y="72"/>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3" name="Freeform 48"/>
            <p:cNvSpPr>
              <a:spLocks noEditPoints="1"/>
            </p:cNvSpPr>
            <p:nvPr>
              <p:custDataLst>
                <p:tags r:id="rId96"/>
              </p:custDataLst>
            </p:nvPr>
          </p:nvSpPr>
          <p:spPr bwMode="gray">
            <a:xfrm>
              <a:off x="4029075" y="3227388"/>
              <a:ext cx="1325563" cy="1312863"/>
            </a:xfrm>
            <a:custGeom>
              <a:avLst/>
              <a:gdLst>
                <a:gd name="T0" fmla="*/ 335643 w 1068"/>
                <a:gd name="T1" fmla="*/ 276204 h 1056"/>
                <a:gd name="T2" fmla="*/ 320122 w 1068"/>
                <a:gd name="T3" fmla="*/ 295655 h 1056"/>
                <a:gd name="T4" fmla="*/ 324003 w 1068"/>
                <a:gd name="T5" fmla="*/ 313160 h 1056"/>
                <a:gd name="T6" fmla="*/ 323032 w 1068"/>
                <a:gd name="T7" fmla="*/ 338447 h 1056"/>
                <a:gd name="T8" fmla="*/ 339524 w 1068"/>
                <a:gd name="T9" fmla="*/ 355952 h 1056"/>
                <a:gd name="T10" fmla="*/ 350194 w 1068"/>
                <a:gd name="T11" fmla="*/ 368595 h 1056"/>
                <a:gd name="T12" fmla="*/ 335643 w 1068"/>
                <a:gd name="T13" fmla="*/ 374431 h 1056"/>
                <a:gd name="T14" fmla="*/ 323032 w 1068"/>
                <a:gd name="T15" fmla="*/ 362760 h 1056"/>
                <a:gd name="T16" fmla="*/ 305572 w 1068"/>
                <a:gd name="T17" fmla="*/ 354008 h 1056"/>
                <a:gd name="T18" fmla="*/ 292961 w 1068"/>
                <a:gd name="T19" fmla="*/ 345254 h 1056"/>
                <a:gd name="T20" fmla="*/ 271619 w 1068"/>
                <a:gd name="T21" fmla="*/ 343309 h 1056"/>
                <a:gd name="T22" fmla="*/ 256098 w 1068"/>
                <a:gd name="T23" fmla="*/ 332611 h 1056"/>
                <a:gd name="T24" fmla="*/ 236697 w 1068"/>
                <a:gd name="T25" fmla="*/ 327749 h 1056"/>
                <a:gd name="T26" fmla="*/ 218265 w 1068"/>
                <a:gd name="T27" fmla="*/ 329693 h 1056"/>
                <a:gd name="T28" fmla="*/ 198864 w 1068"/>
                <a:gd name="T29" fmla="*/ 325804 h 1056"/>
                <a:gd name="T30" fmla="*/ 194983 w 1068"/>
                <a:gd name="T31" fmla="*/ 299545 h 1056"/>
                <a:gd name="T32" fmla="*/ 194983 w 1068"/>
                <a:gd name="T33" fmla="*/ 279121 h 1056"/>
                <a:gd name="T34" fmla="*/ 192073 w 1068"/>
                <a:gd name="T35" fmla="*/ 254808 h 1056"/>
                <a:gd name="T36" fmla="*/ 166851 w 1068"/>
                <a:gd name="T37" fmla="*/ 245082 h 1056"/>
                <a:gd name="T38" fmla="*/ 145510 w 1068"/>
                <a:gd name="T39" fmla="*/ 256753 h 1056"/>
                <a:gd name="T40" fmla="*/ 121259 w 1068"/>
                <a:gd name="T41" fmla="*/ 265505 h 1056"/>
                <a:gd name="T42" fmla="*/ 104767 w 1068"/>
                <a:gd name="T43" fmla="*/ 263560 h 1056"/>
                <a:gd name="T44" fmla="*/ 94096 w 1068"/>
                <a:gd name="T45" fmla="*/ 248972 h 1056"/>
                <a:gd name="T46" fmla="*/ 90216 w 1068"/>
                <a:gd name="T47" fmla="*/ 229521 h 1056"/>
                <a:gd name="T48" fmla="*/ 72755 w 1068"/>
                <a:gd name="T49" fmla="*/ 225631 h 1056"/>
                <a:gd name="T50" fmla="*/ 40743 w 1068"/>
                <a:gd name="T51" fmla="*/ 225631 h 1056"/>
                <a:gd name="T52" fmla="*/ 17462 w 1068"/>
                <a:gd name="T53" fmla="*/ 222714 h 1056"/>
                <a:gd name="T54" fmla="*/ 0 w 1068"/>
                <a:gd name="T55" fmla="*/ 220768 h 1056"/>
                <a:gd name="T56" fmla="*/ 14551 w 1068"/>
                <a:gd name="T57" fmla="*/ 201317 h 1056"/>
                <a:gd name="T58" fmla="*/ 30072 w 1068"/>
                <a:gd name="T59" fmla="*/ 197427 h 1056"/>
                <a:gd name="T60" fmla="*/ 44623 w 1068"/>
                <a:gd name="T61" fmla="*/ 199372 h 1056"/>
                <a:gd name="T62" fmla="*/ 62084 w 1068"/>
                <a:gd name="T63" fmla="*/ 192564 h 1056"/>
                <a:gd name="T64" fmla="*/ 78575 w 1068"/>
                <a:gd name="T65" fmla="*/ 176031 h 1056"/>
                <a:gd name="T66" fmla="*/ 78575 w 1068"/>
                <a:gd name="T67" fmla="*/ 150745 h 1056"/>
                <a:gd name="T68" fmla="*/ 96037 w 1068"/>
                <a:gd name="T69" fmla="*/ 128376 h 1056"/>
                <a:gd name="T70" fmla="*/ 110587 w 1068"/>
                <a:gd name="T71" fmla="*/ 105035 h 1056"/>
                <a:gd name="T72" fmla="*/ 115438 w 1068"/>
                <a:gd name="T73" fmla="*/ 79749 h 1056"/>
                <a:gd name="T74" fmla="*/ 124169 w 1068"/>
                <a:gd name="T75" fmla="*/ 51545 h 1056"/>
                <a:gd name="T76" fmla="*/ 126108 w 1068"/>
                <a:gd name="T77" fmla="*/ 23341 h 1056"/>
                <a:gd name="T78" fmla="*/ 143570 w 1068"/>
                <a:gd name="T79" fmla="*/ 3890 h 1056"/>
                <a:gd name="T80" fmla="*/ 166851 w 1068"/>
                <a:gd name="T81" fmla="*/ 19451 h 1056"/>
                <a:gd name="T82" fmla="*/ 195954 w 1068"/>
                <a:gd name="T83" fmla="*/ 23341 h 1056"/>
                <a:gd name="T84" fmla="*/ 211475 w 1068"/>
                <a:gd name="T85" fmla="*/ 10698 h 1056"/>
                <a:gd name="T86" fmla="*/ 234756 w 1068"/>
                <a:gd name="T87" fmla="*/ 10698 h 1056"/>
                <a:gd name="T88" fmla="*/ 249308 w 1068"/>
                <a:gd name="T89" fmla="*/ 8753 h 1056"/>
                <a:gd name="T90" fmla="*/ 266768 w 1068"/>
                <a:gd name="T91" fmla="*/ 0 h 1056"/>
                <a:gd name="T92" fmla="*/ 275499 w 1068"/>
                <a:gd name="T93" fmla="*/ 3890 h 1056"/>
                <a:gd name="T94" fmla="*/ 290050 w 1068"/>
                <a:gd name="T95" fmla="*/ 6808 h 1056"/>
                <a:gd name="T96" fmla="*/ 309452 w 1068"/>
                <a:gd name="T97" fmla="*/ 12643 h 1056"/>
                <a:gd name="T98" fmla="*/ 324003 w 1068"/>
                <a:gd name="T99" fmla="*/ 19451 h 1056"/>
                <a:gd name="T100" fmla="*/ 343404 w 1068"/>
                <a:gd name="T101" fmla="*/ 14588 h 1056"/>
                <a:gd name="T102" fmla="*/ 354074 w 1068"/>
                <a:gd name="T103" fmla="*/ 26259 h 1056"/>
                <a:gd name="T104" fmla="*/ 371536 w 1068"/>
                <a:gd name="T105" fmla="*/ 37929 h 1056"/>
                <a:gd name="T106" fmla="*/ 367656 w 1068"/>
                <a:gd name="T107" fmla="*/ 56408 h 1056"/>
                <a:gd name="T108" fmla="*/ 371536 w 1068"/>
                <a:gd name="T109" fmla="*/ 74886 h 1056"/>
                <a:gd name="T110" fmla="*/ 352135 w 1068"/>
                <a:gd name="T111" fmla="*/ 92392 h 1056"/>
                <a:gd name="T112" fmla="*/ 346314 w 1068"/>
                <a:gd name="T113" fmla="*/ 121568 h 1056"/>
                <a:gd name="T114" fmla="*/ 337584 w 1068"/>
                <a:gd name="T115" fmla="*/ 141019 h 1056"/>
                <a:gd name="T116" fmla="*/ 335643 w 1068"/>
                <a:gd name="T117" fmla="*/ 165333 h 1056"/>
                <a:gd name="T118" fmla="*/ 342434 w 1068"/>
                <a:gd name="T119" fmla="*/ 192564 h 1056"/>
                <a:gd name="T120" fmla="*/ 346314 w 1068"/>
                <a:gd name="T121" fmla="*/ 220768 h 1056"/>
                <a:gd name="T122" fmla="*/ 354074 w 1068"/>
                <a:gd name="T123" fmla="*/ 245082 h 1056"/>
                <a:gd name="T124" fmla="*/ 367656 w 1068"/>
                <a:gd name="T125" fmla="*/ 270368 h 10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68" h="1056">
                  <a:moveTo>
                    <a:pt x="1038" y="756"/>
                  </a:moveTo>
                  <a:lnTo>
                    <a:pt x="1032" y="762"/>
                  </a:lnTo>
                  <a:lnTo>
                    <a:pt x="1026" y="762"/>
                  </a:lnTo>
                  <a:lnTo>
                    <a:pt x="1020" y="762"/>
                  </a:lnTo>
                  <a:lnTo>
                    <a:pt x="1014" y="762"/>
                  </a:lnTo>
                  <a:lnTo>
                    <a:pt x="1008" y="762"/>
                  </a:lnTo>
                  <a:lnTo>
                    <a:pt x="1002" y="762"/>
                  </a:lnTo>
                  <a:lnTo>
                    <a:pt x="990" y="762"/>
                  </a:lnTo>
                  <a:lnTo>
                    <a:pt x="984" y="768"/>
                  </a:lnTo>
                  <a:lnTo>
                    <a:pt x="978" y="768"/>
                  </a:lnTo>
                  <a:lnTo>
                    <a:pt x="972" y="768"/>
                  </a:lnTo>
                  <a:lnTo>
                    <a:pt x="966" y="768"/>
                  </a:lnTo>
                  <a:lnTo>
                    <a:pt x="960" y="768"/>
                  </a:lnTo>
                  <a:lnTo>
                    <a:pt x="954" y="768"/>
                  </a:lnTo>
                  <a:lnTo>
                    <a:pt x="948" y="768"/>
                  </a:lnTo>
                  <a:lnTo>
                    <a:pt x="942" y="774"/>
                  </a:lnTo>
                  <a:lnTo>
                    <a:pt x="936" y="774"/>
                  </a:lnTo>
                  <a:lnTo>
                    <a:pt x="930" y="774"/>
                  </a:lnTo>
                  <a:lnTo>
                    <a:pt x="936" y="780"/>
                  </a:lnTo>
                  <a:lnTo>
                    <a:pt x="936" y="786"/>
                  </a:lnTo>
                  <a:lnTo>
                    <a:pt x="930" y="786"/>
                  </a:lnTo>
                  <a:lnTo>
                    <a:pt x="930" y="792"/>
                  </a:lnTo>
                  <a:lnTo>
                    <a:pt x="924" y="798"/>
                  </a:lnTo>
                  <a:lnTo>
                    <a:pt x="924" y="804"/>
                  </a:lnTo>
                  <a:lnTo>
                    <a:pt x="918" y="804"/>
                  </a:lnTo>
                  <a:lnTo>
                    <a:pt x="918" y="810"/>
                  </a:lnTo>
                  <a:lnTo>
                    <a:pt x="912" y="810"/>
                  </a:lnTo>
                  <a:lnTo>
                    <a:pt x="906" y="810"/>
                  </a:lnTo>
                  <a:lnTo>
                    <a:pt x="906" y="816"/>
                  </a:lnTo>
                  <a:lnTo>
                    <a:pt x="900" y="816"/>
                  </a:lnTo>
                  <a:lnTo>
                    <a:pt x="900" y="822"/>
                  </a:lnTo>
                  <a:lnTo>
                    <a:pt x="900" y="828"/>
                  </a:lnTo>
                  <a:lnTo>
                    <a:pt x="906" y="828"/>
                  </a:lnTo>
                  <a:lnTo>
                    <a:pt x="906" y="822"/>
                  </a:lnTo>
                  <a:lnTo>
                    <a:pt x="912" y="822"/>
                  </a:lnTo>
                  <a:lnTo>
                    <a:pt x="912" y="828"/>
                  </a:lnTo>
                  <a:lnTo>
                    <a:pt x="912" y="834"/>
                  </a:lnTo>
                  <a:lnTo>
                    <a:pt x="918" y="834"/>
                  </a:lnTo>
                  <a:lnTo>
                    <a:pt x="912" y="834"/>
                  </a:lnTo>
                  <a:lnTo>
                    <a:pt x="918" y="834"/>
                  </a:lnTo>
                  <a:lnTo>
                    <a:pt x="918" y="840"/>
                  </a:lnTo>
                  <a:lnTo>
                    <a:pt x="918" y="846"/>
                  </a:lnTo>
                  <a:lnTo>
                    <a:pt x="918" y="852"/>
                  </a:lnTo>
                  <a:lnTo>
                    <a:pt x="918" y="858"/>
                  </a:lnTo>
                  <a:lnTo>
                    <a:pt x="918" y="864"/>
                  </a:lnTo>
                  <a:lnTo>
                    <a:pt x="918" y="870"/>
                  </a:lnTo>
                  <a:lnTo>
                    <a:pt x="912" y="870"/>
                  </a:lnTo>
                  <a:lnTo>
                    <a:pt x="912" y="876"/>
                  </a:lnTo>
                  <a:lnTo>
                    <a:pt x="918" y="876"/>
                  </a:lnTo>
                  <a:lnTo>
                    <a:pt x="918" y="882"/>
                  </a:lnTo>
                  <a:lnTo>
                    <a:pt x="918" y="888"/>
                  </a:lnTo>
                  <a:lnTo>
                    <a:pt x="918" y="894"/>
                  </a:lnTo>
                  <a:lnTo>
                    <a:pt x="918" y="900"/>
                  </a:lnTo>
                  <a:lnTo>
                    <a:pt x="912" y="900"/>
                  </a:lnTo>
                  <a:lnTo>
                    <a:pt x="912" y="906"/>
                  </a:lnTo>
                  <a:lnTo>
                    <a:pt x="912" y="912"/>
                  </a:lnTo>
                  <a:lnTo>
                    <a:pt x="912" y="918"/>
                  </a:lnTo>
                  <a:lnTo>
                    <a:pt x="906" y="918"/>
                  </a:lnTo>
                  <a:lnTo>
                    <a:pt x="906" y="924"/>
                  </a:lnTo>
                  <a:lnTo>
                    <a:pt x="906" y="930"/>
                  </a:lnTo>
                  <a:lnTo>
                    <a:pt x="906" y="936"/>
                  </a:lnTo>
                  <a:lnTo>
                    <a:pt x="906" y="942"/>
                  </a:lnTo>
                  <a:lnTo>
                    <a:pt x="900" y="948"/>
                  </a:lnTo>
                  <a:lnTo>
                    <a:pt x="906" y="948"/>
                  </a:lnTo>
                  <a:lnTo>
                    <a:pt x="906" y="954"/>
                  </a:lnTo>
                  <a:lnTo>
                    <a:pt x="906" y="960"/>
                  </a:lnTo>
                  <a:lnTo>
                    <a:pt x="906" y="966"/>
                  </a:lnTo>
                  <a:lnTo>
                    <a:pt x="912" y="966"/>
                  </a:lnTo>
                  <a:lnTo>
                    <a:pt x="918" y="966"/>
                  </a:lnTo>
                  <a:lnTo>
                    <a:pt x="918" y="972"/>
                  </a:lnTo>
                  <a:lnTo>
                    <a:pt x="924" y="972"/>
                  </a:lnTo>
                  <a:lnTo>
                    <a:pt x="924" y="978"/>
                  </a:lnTo>
                  <a:lnTo>
                    <a:pt x="930" y="978"/>
                  </a:lnTo>
                  <a:lnTo>
                    <a:pt x="930" y="984"/>
                  </a:lnTo>
                  <a:lnTo>
                    <a:pt x="936" y="984"/>
                  </a:lnTo>
                  <a:lnTo>
                    <a:pt x="936" y="990"/>
                  </a:lnTo>
                  <a:lnTo>
                    <a:pt x="936" y="996"/>
                  </a:lnTo>
                  <a:lnTo>
                    <a:pt x="942" y="996"/>
                  </a:lnTo>
                  <a:lnTo>
                    <a:pt x="948" y="996"/>
                  </a:lnTo>
                  <a:lnTo>
                    <a:pt x="954" y="996"/>
                  </a:lnTo>
                  <a:lnTo>
                    <a:pt x="960" y="996"/>
                  </a:lnTo>
                  <a:lnTo>
                    <a:pt x="966" y="1002"/>
                  </a:lnTo>
                  <a:lnTo>
                    <a:pt x="966" y="996"/>
                  </a:lnTo>
                  <a:lnTo>
                    <a:pt x="960" y="990"/>
                  </a:lnTo>
                  <a:lnTo>
                    <a:pt x="966" y="984"/>
                  </a:lnTo>
                  <a:lnTo>
                    <a:pt x="972" y="984"/>
                  </a:lnTo>
                  <a:lnTo>
                    <a:pt x="978" y="984"/>
                  </a:lnTo>
                  <a:lnTo>
                    <a:pt x="984" y="984"/>
                  </a:lnTo>
                  <a:lnTo>
                    <a:pt x="984" y="990"/>
                  </a:lnTo>
                  <a:lnTo>
                    <a:pt x="984" y="996"/>
                  </a:lnTo>
                  <a:lnTo>
                    <a:pt x="984" y="1002"/>
                  </a:lnTo>
                  <a:lnTo>
                    <a:pt x="984" y="1008"/>
                  </a:lnTo>
                  <a:lnTo>
                    <a:pt x="984" y="1014"/>
                  </a:lnTo>
                  <a:lnTo>
                    <a:pt x="984" y="1020"/>
                  </a:lnTo>
                  <a:lnTo>
                    <a:pt x="984" y="1026"/>
                  </a:lnTo>
                  <a:lnTo>
                    <a:pt x="984" y="1032"/>
                  </a:lnTo>
                  <a:lnTo>
                    <a:pt x="984" y="1038"/>
                  </a:lnTo>
                  <a:lnTo>
                    <a:pt x="984" y="1044"/>
                  </a:lnTo>
                  <a:lnTo>
                    <a:pt x="984" y="1050"/>
                  </a:lnTo>
                  <a:lnTo>
                    <a:pt x="984" y="1056"/>
                  </a:lnTo>
                  <a:lnTo>
                    <a:pt x="978" y="1056"/>
                  </a:lnTo>
                  <a:lnTo>
                    <a:pt x="972" y="1056"/>
                  </a:lnTo>
                  <a:lnTo>
                    <a:pt x="972" y="1050"/>
                  </a:lnTo>
                  <a:lnTo>
                    <a:pt x="972" y="1044"/>
                  </a:lnTo>
                  <a:lnTo>
                    <a:pt x="966" y="1044"/>
                  </a:lnTo>
                  <a:lnTo>
                    <a:pt x="960" y="1044"/>
                  </a:lnTo>
                  <a:lnTo>
                    <a:pt x="960" y="1050"/>
                  </a:lnTo>
                  <a:lnTo>
                    <a:pt x="954" y="1050"/>
                  </a:lnTo>
                  <a:lnTo>
                    <a:pt x="948" y="1050"/>
                  </a:lnTo>
                  <a:lnTo>
                    <a:pt x="948" y="1056"/>
                  </a:lnTo>
                  <a:lnTo>
                    <a:pt x="948" y="1050"/>
                  </a:lnTo>
                  <a:lnTo>
                    <a:pt x="942" y="1050"/>
                  </a:lnTo>
                  <a:lnTo>
                    <a:pt x="936" y="1050"/>
                  </a:lnTo>
                  <a:lnTo>
                    <a:pt x="936" y="1056"/>
                  </a:lnTo>
                  <a:lnTo>
                    <a:pt x="936" y="1050"/>
                  </a:lnTo>
                  <a:lnTo>
                    <a:pt x="936" y="1044"/>
                  </a:lnTo>
                  <a:lnTo>
                    <a:pt x="930" y="1044"/>
                  </a:lnTo>
                  <a:lnTo>
                    <a:pt x="930" y="1038"/>
                  </a:lnTo>
                  <a:lnTo>
                    <a:pt x="930" y="1032"/>
                  </a:lnTo>
                  <a:lnTo>
                    <a:pt x="924" y="1032"/>
                  </a:lnTo>
                  <a:lnTo>
                    <a:pt x="924" y="1026"/>
                  </a:lnTo>
                  <a:lnTo>
                    <a:pt x="924" y="1020"/>
                  </a:lnTo>
                  <a:lnTo>
                    <a:pt x="918" y="1020"/>
                  </a:lnTo>
                  <a:lnTo>
                    <a:pt x="912" y="1020"/>
                  </a:lnTo>
                  <a:lnTo>
                    <a:pt x="912" y="1026"/>
                  </a:lnTo>
                  <a:lnTo>
                    <a:pt x="912" y="1020"/>
                  </a:lnTo>
                  <a:lnTo>
                    <a:pt x="912" y="1014"/>
                  </a:lnTo>
                  <a:lnTo>
                    <a:pt x="906" y="1014"/>
                  </a:lnTo>
                  <a:lnTo>
                    <a:pt x="912" y="1014"/>
                  </a:lnTo>
                  <a:lnTo>
                    <a:pt x="912" y="1008"/>
                  </a:lnTo>
                  <a:lnTo>
                    <a:pt x="906" y="1008"/>
                  </a:lnTo>
                  <a:lnTo>
                    <a:pt x="906" y="1002"/>
                  </a:lnTo>
                  <a:lnTo>
                    <a:pt x="900" y="1002"/>
                  </a:lnTo>
                  <a:lnTo>
                    <a:pt x="900" y="996"/>
                  </a:lnTo>
                  <a:lnTo>
                    <a:pt x="894" y="996"/>
                  </a:lnTo>
                  <a:lnTo>
                    <a:pt x="888" y="996"/>
                  </a:lnTo>
                  <a:lnTo>
                    <a:pt x="888" y="990"/>
                  </a:lnTo>
                  <a:lnTo>
                    <a:pt x="882" y="990"/>
                  </a:lnTo>
                  <a:lnTo>
                    <a:pt x="876" y="990"/>
                  </a:lnTo>
                  <a:lnTo>
                    <a:pt x="876" y="984"/>
                  </a:lnTo>
                  <a:lnTo>
                    <a:pt x="870" y="984"/>
                  </a:lnTo>
                  <a:lnTo>
                    <a:pt x="870" y="990"/>
                  </a:lnTo>
                  <a:lnTo>
                    <a:pt x="864" y="990"/>
                  </a:lnTo>
                  <a:lnTo>
                    <a:pt x="858" y="990"/>
                  </a:lnTo>
                  <a:lnTo>
                    <a:pt x="858" y="984"/>
                  </a:lnTo>
                  <a:lnTo>
                    <a:pt x="852" y="984"/>
                  </a:lnTo>
                  <a:lnTo>
                    <a:pt x="852" y="978"/>
                  </a:lnTo>
                  <a:lnTo>
                    <a:pt x="852" y="972"/>
                  </a:lnTo>
                  <a:lnTo>
                    <a:pt x="852" y="966"/>
                  </a:lnTo>
                  <a:lnTo>
                    <a:pt x="846" y="966"/>
                  </a:lnTo>
                  <a:lnTo>
                    <a:pt x="846" y="960"/>
                  </a:lnTo>
                  <a:lnTo>
                    <a:pt x="840" y="960"/>
                  </a:lnTo>
                  <a:lnTo>
                    <a:pt x="840" y="954"/>
                  </a:lnTo>
                  <a:lnTo>
                    <a:pt x="840" y="948"/>
                  </a:lnTo>
                  <a:lnTo>
                    <a:pt x="834" y="948"/>
                  </a:lnTo>
                  <a:lnTo>
                    <a:pt x="828" y="948"/>
                  </a:lnTo>
                  <a:lnTo>
                    <a:pt x="828" y="954"/>
                  </a:lnTo>
                  <a:lnTo>
                    <a:pt x="828" y="960"/>
                  </a:lnTo>
                  <a:lnTo>
                    <a:pt x="828" y="966"/>
                  </a:lnTo>
                  <a:lnTo>
                    <a:pt x="822" y="966"/>
                  </a:lnTo>
                  <a:lnTo>
                    <a:pt x="822" y="972"/>
                  </a:lnTo>
                  <a:lnTo>
                    <a:pt x="816" y="972"/>
                  </a:lnTo>
                  <a:lnTo>
                    <a:pt x="810" y="972"/>
                  </a:lnTo>
                  <a:lnTo>
                    <a:pt x="804" y="972"/>
                  </a:lnTo>
                  <a:lnTo>
                    <a:pt x="798" y="972"/>
                  </a:lnTo>
                  <a:lnTo>
                    <a:pt x="798" y="966"/>
                  </a:lnTo>
                  <a:lnTo>
                    <a:pt x="792" y="966"/>
                  </a:lnTo>
                  <a:lnTo>
                    <a:pt x="792" y="972"/>
                  </a:lnTo>
                  <a:lnTo>
                    <a:pt x="786" y="972"/>
                  </a:lnTo>
                  <a:lnTo>
                    <a:pt x="780" y="966"/>
                  </a:lnTo>
                  <a:lnTo>
                    <a:pt x="774" y="972"/>
                  </a:lnTo>
                  <a:lnTo>
                    <a:pt x="768" y="966"/>
                  </a:lnTo>
                  <a:lnTo>
                    <a:pt x="768" y="972"/>
                  </a:lnTo>
                  <a:lnTo>
                    <a:pt x="768" y="966"/>
                  </a:lnTo>
                  <a:lnTo>
                    <a:pt x="762" y="966"/>
                  </a:lnTo>
                  <a:lnTo>
                    <a:pt x="762" y="960"/>
                  </a:lnTo>
                  <a:lnTo>
                    <a:pt x="756" y="960"/>
                  </a:lnTo>
                  <a:lnTo>
                    <a:pt x="750" y="960"/>
                  </a:lnTo>
                  <a:lnTo>
                    <a:pt x="750" y="954"/>
                  </a:lnTo>
                  <a:lnTo>
                    <a:pt x="750" y="960"/>
                  </a:lnTo>
                  <a:lnTo>
                    <a:pt x="744" y="960"/>
                  </a:lnTo>
                  <a:lnTo>
                    <a:pt x="744" y="954"/>
                  </a:lnTo>
                  <a:lnTo>
                    <a:pt x="738" y="954"/>
                  </a:lnTo>
                  <a:lnTo>
                    <a:pt x="732" y="954"/>
                  </a:lnTo>
                  <a:lnTo>
                    <a:pt x="732" y="948"/>
                  </a:lnTo>
                  <a:lnTo>
                    <a:pt x="732" y="942"/>
                  </a:lnTo>
                  <a:lnTo>
                    <a:pt x="732" y="936"/>
                  </a:lnTo>
                  <a:lnTo>
                    <a:pt x="732" y="930"/>
                  </a:lnTo>
                  <a:lnTo>
                    <a:pt x="732" y="924"/>
                  </a:lnTo>
                  <a:lnTo>
                    <a:pt x="732" y="930"/>
                  </a:lnTo>
                  <a:lnTo>
                    <a:pt x="726" y="930"/>
                  </a:lnTo>
                  <a:lnTo>
                    <a:pt x="720" y="930"/>
                  </a:lnTo>
                  <a:lnTo>
                    <a:pt x="714" y="930"/>
                  </a:lnTo>
                  <a:lnTo>
                    <a:pt x="708" y="930"/>
                  </a:lnTo>
                  <a:lnTo>
                    <a:pt x="702" y="930"/>
                  </a:lnTo>
                  <a:lnTo>
                    <a:pt x="702" y="936"/>
                  </a:lnTo>
                  <a:lnTo>
                    <a:pt x="696" y="936"/>
                  </a:lnTo>
                  <a:lnTo>
                    <a:pt x="690" y="942"/>
                  </a:lnTo>
                  <a:lnTo>
                    <a:pt x="684" y="942"/>
                  </a:lnTo>
                  <a:lnTo>
                    <a:pt x="678" y="942"/>
                  </a:lnTo>
                  <a:lnTo>
                    <a:pt x="678" y="936"/>
                  </a:lnTo>
                  <a:lnTo>
                    <a:pt x="672" y="936"/>
                  </a:lnTo>
                  <a:lnTo>
                    <a:pt x="678" y="936"/>
                  </a:lnTo>
                  <a:lnTo>
                    <a:pt x="678" y="930"/>
                  </a:lnTo>
                  <a:lnTo>
                    <a:pt x="678" y="924"/>
                  </a:lnTo>
                  <a:lnTo>
                    <a:pt x="678" y="918"/>
                  </a:lnTo>
                  <a:lnTo>
                    <a:pt x="672" y="918"/>
                  </a:lnTo>
                  <a:lnTo>
                    <a:pt x="666" y="918"/>
                  </a:lnTo>
                  <a:lnTo>
                    <a:pt x="666" y="912"/>
                  </a:lnTo>
                  <a:lnTo>
                    <a:pt x="660" y="912"/>
                  </a:lnTo>
                  <a:lnTo>
                    <a:pt x="654" y="912"/>
                  </a:lnTo>
                  <a:lnTo>
                    <a:pt x="654" y="918"/>
                  </a:lnTo>
                  <a:lnTo>
                    <a:pt x="648" y="918"/>
                  </a:lnTo>
                  <a:lnTo>
                    <a:pt x="642" y="918"/>
                  </a:lnTo>
                  <a:lnTo>
                    <a:pt x="636" y="918"/>
                  </a:lnTo>
                  <a:lnTo>
                    <a:pt x="636" y="912"/>
                  </a:lnTo>
                  <a:lnTo>
                    <a:pt x="630" y="912"/>
                  </a:lnTo>
                  <a:lnTo>
                    <a:pt x="624" y="912"/>
                  </a:lnTo>
                  <a:lnTo>
                    <a:pt x="624" y="918"/>
                  </a:lnTo>
                  <a:lnTo>
                    <a:pt x="618" y="918"/>
                  </a:lnTo>
                  <a:lnTo>
                    <a:pt x="612" y="918"/>
                  </a:lnTo>
                  <a:lnTo>
                    <a:pt x="612" y="924"/>
                  </a:lnTo>
                  <a:lnTo>
                    <a:pt x="612" y="918"/>
                  </a:lnTo>
                  <a:lnTo>
                    <a:pt x="612" y="924"/>
                  </a:lnTo>
                  <a:lnTo>
                    <a:pt x="606" y="924"/>
                  </a:lnTo>
                  <a:lnTo>
                    <a:pt x="600" y="924"/>
                  </a:lnTo>
                  <a:lnTo>
                    <a:pt x="600" y="918"/>
                  </a:lnTo>
                  <a:lnTo>
                    <a:pt x="594" y="918"/>
                  </a:lnTo>
                  <a:lnTo>
                    <a:pt x="594" y="924"/>
                  </a:lnTo>
                  <a:lnTo>
                    <a:pt x="588" y="924"/>
                  </a:lnTo>
                  <a:lnTo>
                    <a:pt x="582" y="918"/>
                  </a:lnTo>
                  <a:lnTo>
                    <a:pt x="576" y="918"/>
                  </a:lnTo>
                  <a:lnTo>
                    <a:pt x="576" y="924"/>
                  </a:lnTo>
                  <a:lnTo>
                    <a:pt x="570" y="924"/>
                  </a:lnTo>
                  <a:lnTo>
                    <a:pt x="564" y="924"/>
                  </a:lnTo>
                  <a:lnTo>
                    <a:pt x="564" y="930"/>
                  </a:lnTo>
                  <a:lnTo>
                    <a:pt x="564" y="924"/>
                  </a:lnTo>
                  <a:lnTo>
                    <a:pt x="558" y="924"/>
                  </a:lnTo>
                  <a:lnTo>
                    <a:pt x="558" y="918"/>
                  </a:lnTo>
                  <a:lnTo>
                    <a:pt x="558" y="912"/>
                  </a:lnTo>
                  <a:lnTo>
                    <a:pt x="558" y="906"/>
                  </a:lnTo>
                  <a:lnTo>
                    <a:pt x="564" y="906"/>
                  </a:lnTo>
                  <a:lnTo>
                    <a:pt x="564" y="900"/>
                  </a:lnTo>
                  <a:lnTo>
                    <a:pt x="564" y="894"/>
                  </a:lnTo>
                  <a:lnTo>
                    <a:pt x="564" y="888"/>
                  </a:lnTo>
                  <a:lnTo>
                    <a:pt x="564" y="882"/>
                  </a:lnTo>
                  <a:lnTo>
                    <a:pt x="564" y="876"/>
                  </a:lnTo>
                  <a:lnTo>
                    <a:pt x="564" y="870"/>
                  </a:lnTo>
                  <a:lnTo>
                    <a:pt x="558" y="870"/>
                  </a:lnTo>
                  <a:lnTo>
                    <a:pt x="558" y="864"/>
                  </a:lnTo>
                  <a:lnTo>
                    <a:pt x="558" y="858"/>
                  </a:lnTo>
                  <a:lnTo>
                    <a:pt x="558" y="852"/>
                  </a:lnTo>
                  <a:lnTo>
                    <a:pt x="552" y="852"/>
                  </a:lnTo>
                  <a:lnTo>
                    <a:pt x="546" y="852"/>
                  </a:lnTo>
                  <a:lnTo>
                    <a:pt x="546" y="846"/>
                  </a:lnTo>
                  <a:lnTo>
                    <a:pt x="546" y="840"/>
                  </a:lnTo>
                  <a:lnTo>
                    <a:pt x="540" y="840"/>
                  </a:lnTo>
                  <a:lnTo>
                    <a:pt x="540" y="834"/>
                  </a:lnTo>
                  <a:lnTo>
                    <a:pt x="540" y="828"/>
                  </a:lnTo>
                  <a:lnTo>
                    <a:pt x="534" y="828"/>
                  </a:lnTo>
                  <a:lnTo>
                    <a:pt x="534" y="822"/>
                  </a:lnTo>
                  <a:lnTo>
                    <a:pt x="540" y="822"/>
                  </a:lnTo>
                  <a:lnTo>
                    <a:pt x="540" y="816"/>
                  </a:lnTo>
                  <a:lnTo>
                    <a:pt x="540" y="810"/>
                  </a:lnTo>
                  <a:lnTo>
                    <a:pt x="540" y="804"/>
                  </a:lnTo>
                  <a:lnTo>
                    <a:pt x="540" y="798"/>
                  </a:lnTo>
                  <a:lnTo>
                    <a:pt x="540" y="792"/>
                  </a:lnTo>
                  <a:lnTo>
                    <a:pt x="540" y="786"/>
                  </a:lnTo>
                  <a:lnTo>
                    <a:pt x="540" y="780"/>
                  </a:lnTo>
                  <a:lnTo>
                    <a:pt x="546" y="780"/>
                  </a:lnTo>
                  <a:lnTo>
                    <a:pt x="540" y="780"/>
                  </a:lnTo>
                  <a:lnTo>
                    <a:pt x="546" y="780"/>
                  </a:lnTo>
                  <a:lnTo>
                    <a:pt x="546" y="774"/>
                  </a:lnTo>
                  <a:lnTo>
                    <a:pt x="546" y="768"/>
                  </a:lnTo>
                  <a:lnTo>
                    <a:pt x="540" y="768"/>
                  </a:lnTo>
                  <a:lnTo>
                    <a:pt x="546" y="768"/>
                  </a:lnTo>
                  <a:lnTo>
                    <a:pt x="546" y="762"/>
                  </a:lnTo>
                  <a:lnTo>
                    <a:pt x="540" y="762"/>
                  </a:lnTo>
                  <a:lnTo>
                    <a:pt x="540" y="756"/>
                  </a:lnTo>
                  <a:lnTo>
                    <a:pt x="540" y="750"/>
                  </a:lnTo>
                  <a:lnTo>
                    <a:pt x="534" y="750"/>
                  </a:lnTo>
                  <a:lnTo>
                    <a:pt x="534" y="744"/>
                  </a:lnTo>
                  <a:lnTo>
                    <a:pt x="534" y="738"/>
                  </a:lnTo>
                  <a:lnTo>
                    <a:pt x="534" y="732"/>
                  </a:lnTo>
                  <a:lnTo>
                    <a:pt x="534" y="726"/>
                  </a:lnTo>
                  <a:lnTo>
                    <a:pt x="540" y="726"/>
                  </a:lnTo>
                  <a:lnTo>
                    <a:pt x="540" y="720"/>
                  </a:lnTo>
                  <a:lnTo>
                    <a:pt x="540" y="714"/>
                  </a:lnTo>
                  <a:lnTo>
                    <a:pt x="540" y="708"/>
                  </a:lnTo>
                  <a:lnTo>
                    <a:pt x="534" y="708"/>
                  </a:lnTo>
                  <a:lnTo>
                    <a:pt x="528" y="708"/>
                  </a:lnTo>
                  <a:lnTo>
                    <a:pt x="522" y="708"/>
                  </a:lnTo>
                  <a:lnTo>
                    <a:pt x="516" y="708"/>
                  </a:lnTo>
                  <a:lnTo>
                    <a:pt x="510" y="708"/>
                  </a:lnTo>
                  <a:lnTo>
                    <a:pt x="504" y="708"/>
                  </a:lnTo>
                  <a:lnTo>
                    <a:pt x="492" y="708"/>
                  </a:lnTo>
                  <a:lnTo>
                    <a:pt x="486" y="708"/>
                  </a:lnTo>
                  <a:lnTo>
                    <a:pt x="480" y="708"/>
                  </a:lnTo>
                  <a:lnTo>
                    <a:pt x="474" y="708"/>
                  </a:lnTo>
                  <a:lnTo>
                    <a:pt x="468" y="708"/>
                  </a:lnTo>
                  <a:lnTo>
                    <a:pt x="468" y="702"/>
                  </a:lnTo>
                  <a:lnTo>
                    <a:pt x="468" y="696"/>
                  </a:lnTo>
                  <a:lnTo>
                    <a:pt x="468" y="690"/>
                  </a:lnTo>
                  <a:lnTo>
                    <a:pt x="468" y="684"/>
                  </a:lnTo>
                  <a:lnTo>
                    <a:pt x="462" y="684"/>
                  </a:lnTo>
                  <a:lnTo>
                    <a:pt x="456" y="684"/>
                  </a:lnTo>
                  <a:lnTo>
                    <a:pt x="456" y="690"/>
                  </a:lnTo>
                  <a:lnTo>
                    <a:pt x="450" y="690"/>
                  </a:lnTo>
                  <a:lnTo>
                    <a:pt x="444" y="690"/>
                  </a:lnTo>
                  <a:lnTo>
                    <a:pt x="438" y="690"/>
                  </a:lnTo>
                  <a:lnTo>
                    <a:pt x="432" y="690"/>
                  </a:lnTo>
                  <a:lnTo>
                    <a:pt x="426" y="690"/>
                  </a:lnTo>
                  <a:lnTo>
                    <a:pt x="420" y="690"/>
                  </a:lnTo>
                  <a:lnTo>
                    <a:pt x="408" y="690"/>
                  </a:lnTo>
                  <a:lnTo>
                    <a:pt x="414" y="696"/>
                  </a:lnTo>
                  <a:lnTo>
                    <a:pt x="408" y="696"/>
                  </a:lnTo>
                  <a:lnTo>
                    <a:pt x="408" y="702"/>
                  </a:lnTo>
                  <a:lnTo>
                    <a:pt x="408" y="708"/>
                  </a:lnTo>
                  <a:lnTo>
                    <a:pt x="408" y="714"/>
                  </a:lnTo>
                  <a:lnTo>
                    <a:pt x="408" y="720"/>
                  </a:lnTo>
                  <a:lnTo>
                    <a:pt x="402" y="720"/>
                  </a:lnTo>
                  <a:lnTo>
                    <a:pt x="402" y="726"/>
                  </a:lnTo>
                  <a:lnTo>
                    <a:pt x="402" y="732"/>
                  </a:lnTo>
                  <a:lnTo>
                    <a:pt x="402" y="738"/>
                  </a:lnTo>
                  <a:lnTo>
                    <a:pt x="402" y="744"/>
                  </a:lnTo>
                  <a:lnTo>
                    <a:pt x="396" y="744"/>
                  </a:lnTo>
                  <a:lnTo>
                    <a:pt x="390" y="744"/>
                  </a:lnTo>
                  <a:lnTo>
                    <a:pt x="384" y="744"/>
                  </a:lnTo>
                  <a:lnTo>
                    <a:pt x="378" y="744"/>
                  </a:lnTo>
                  <a:lnTo>
                    <a:pt x="372" y="744"/>
                  </a:lnTo>
                  <a:lnTo>
                    <a:pt x="366" y="744"/>
                  </a:lnTo>
                  <a:lnTo>
                    <a:pt x="354" y="744"/>
                  </a:lnTo>
                  <a:lnTo>
                    <a:pt x="348" y="744"/>
                  </a:lnTo>
                  <a:lnTo>
                    <a:pt x="348" y="750"/>
                  </a:lnTo>
                  <a:lnTo>
                    <a:pt x="342" y="750"/>
                  </a:lnTo>
                  <a:lnTo>
                    <a:pt x="342" y="744"/>
                  </a:lnTo>
                  <a:lnTo>
                    <a:pt x="342" y="750"/>
                  </a:lnTo>
                  <a:lnTo>
                    <a:pt x="342" y="744"/>
                  </a:lnTo>
                  <a:lnTo>
                    <a:pt x="336" y="744"/>
                  </a:lnTo>
                  <a:lnTo>
                    <a:pt x="330" y="744"/>
                  </a:lnTo>
                  <a:lnTo>
                    <a:pt x="330" y="750"/>
                  </a:lnTo>
                  <a:lnTo>
                    <a:pt x="324" y="750"/>
                  </a:lnTo>
                  <a:lnTo>
                    <a:pt x="318" y="750"/>
                  </a:lnTo>
                  <a:lnTo>
                    <a:pt x="312" y="750"/>
                  </a:lnTo>
                  <a:lnTo>
                    <a:pt x="306" y="750"/>
                  </a:lnTo>
                  <a:lnTo>
                    <a:pt x="306" y="756"/>
                  </a:lnTo>
                  <a:lnTo>
                    <a:pt x="300" y="756"/>
                  </a:lnTo>
                  <a:lnTo>
                    <a:pt x="300" y="750"/>
                  </a:lnTo>
                  <a:lnTo>
                    <a:pt x="294" y="750"/>
                  </a:lnTo>
                  <a:lnTo>
                    <a:pt x="300" y="750"/>
                  </a:lnTo>
                  <a:lnTo>
                    <a:pt x="294" y="744"/>
                  </a:lnTo>
                  <a:lnTo>
                    <a:pt x="294" y="738"/>
                  </a:lnTo>
                  <a:lnTo>
                    <a:pt x="288" y="738"/>
                  </a:lnTo>
                  <a:lnTo>
                    <a:pt x="288" y="732"/>
                  </a:lnTo>
                  <a:lnTo>
                    <a:pt x="282" y="726"/>
                  </a:lnTo>
                  <a:lnTo>
                    <a:pt x="288" y="726"/>
                  </a:lnTo>
                  <a:lnTo>
                    <a:pt x="282" y="726"/>
                  </a:lnTo>
                  <a:lnTo>
                    <a:pt x="282" y="720"/>
                  </a:lnTo>
                  <a:lnTo>
                    <a:pt x="276" y="720"/>
                  </a:lnTo>
                  <a:lnTo>
                    <a:pt x="276" y="714"/>
                  </a:lnTo>
                  <a:lnTo>
                    <a:pt x="282" y="714"/>
                  </a:lnTo>
                  <a:lnTo>
                    <a:pt x="276" y="714"/>
                  </a:lnTo>
                  <a:lnTo>
                    <a:pt x="276" y="708"/>
                  </a:lnTo>
                  <a:lnTo>
                    <a:pt x="270" y="708"/>
                  </a:lnTo>
                  <a:lnTo>
                    <a:pt x="270" y="702"/>
                  </a:lnTo>
                  <a:lnTo>
                    <a:pt x="264" y="702"/>
                  </a:lnTo>
                  <a:lnTo>
                    <a:pt x="270" y="702"/>
                  </a:lnTo>
                  <a:lnTo>
                    <a:pt x="264" y="696"/>
                  </a:lnTo>
                  <a:lnTo>
                    <a:pt x="270" y="696"/>
                  </a:lnTo>
                  <a:lnTo>
                    <a:pt x="270" y="690"/>
                  </a:lnTo>
                  <a:lnTo>
                    <a:pt x="264" y="690"/>
                  </a:lnTo>
                  <a:lnTo>
                    <a:pt x="264" y="684"/>
                  </a:lnTo>
                  <a:lnTo>
                    <a:pt x="264" y="678"/>
                  </a:lnTo>
                  <a:lnTo>
                    <a:pt x="258" y="678"/>
                  </a:lnTo>
                  <a:lnTo>
                    <a:pt x="258" y="672"/>
                  </a:lnTo>
                  <a:lnTo>
                    <a:pt x="258" y="666"/>
                  </a:lnTo>
                  <a:lnTo>
                    <a:pt x="252" y="666"/>
                  </a:lnTo>
                  <a:lnTo>
                    <a:pt x="258" y="666"/>
                  </a:lnTo>
                  <a:lnTo>
                    <a:pt x="252" y="660"/>
                  </a:lnTo>
                  <a:lnTo>
                    <a:pt x="252" y="654"/>
                  </a:lnTo>
                  <a:lnTo>
                    <a:pt x="252" y="660"/>
                  </a:lnTo>
                  <a:lnTo>
                    <a:pt x="252" y="654"/>
                  </a:lnTo>
                  <a:lnTo>
                    <a:pt x="252" y="648"/>
                  </a:lnTo>
                  <a:lnTo>
                    <a:pt x="252" y="642"/>
                  </a:lnTo>
                  <a:lnTo>
                    <a:pt x="246" y="642"/>
                  </a:lnTo>
                  <a:lnTo>
                    <a:pt x="252" y="642"/>
                  </a:lnTo>
                  <a:lnTo>
                    <a:pt x="246" y="642"/>
                  </a:lnTo>
                  <a:lnTo>
                    <a:pt x="246" y="636"/>
                  </a:lnTo>
                  <a:lnTo>
                    <a:pt x="246" y="630"/>
                  </a:lnTo>
                  <a:lnTo>
                    <a:pt x="240" y="630"/>
                  </a:lnTo>
                  <a:lnTo>
                    <a:pt x="234" y="630"/>
                  </a:lnTo>
                  <a:lnTo>
                    <a:pt x="234" y="624"/>
                  </a:lnTo>
                  <a:lnTo>
                    <a:pt x="228" y="624"/>
                  </a:lnTo>
                  <a:lnTo>
                    <a:pt x="222" y="624"/>
                  </a:lnTo>
                  <a:lnTo>
                    <a:pt x="222" y="630"/>
                  </a:lnTo>
                  <a:lnTo>
                    <a:pt x="216" y="630"/>
                  </a:lnTo>
                  <a:lnTo>
                    <a:pt x="216" y="624"/>
                  </a:lnTo>
                  <a:lnTo>
                    <a:pt x="216" y="630"/>
                  </a:lnTo>
                  <a:lnTo>
                    <a:pt x="210" y="630"/>
                  </a:lnTo>
                  <a:lnTo>
                    <a:pt x="204" y="630"/>
                  </a:lnTo>
                  <a:lnTo>
                    <a:pt x="198" y="624"/>
                  </a:lnTo>
                  <a:lnTo>
                    <a:pt x="192" y="624"/>
                  </a:lnTo>
                  <a:lnTo>
                    <a:pt x="186" y="630"/>
                  </a:lnTo>
                  <a:lnTo>
                    <a:pt x="180" y="630"/>
                  </a:lnTo>
                  <a:lnTo>
                    <a:pt x="174" y="630"/>
                  </a:lnTo>
                  <a:lnTo>
                    <a:pt x="168" y="624"/>
                  </a:lnTo>
                  <a:lnTo>
                    <a:pt x="162" y="624"/>
                  </a:lnTo>
                  <a:lnTo>
                    <a:pt x="156" y="624"/>
                  </a:lnTo>
                  <a:lnTo>
                    <a:pt x="156" y="630"/>
                  </a:lnTo>
                  <a:lnTo>
                    <a:pt x="150" y="630"/>
                  </a:lnTo>
                  <a:lnTo>
                    <a:pt x="144" y="630"/>
                  </a:lnTo>
                  <a:lnTo>
                    <a:pt x="138" y="630"/>
                  </a:lnTo>
                  <a:lnTo>
                    <a:pt x="132" y="630"/>
                  </a:lnTo>
                  <a:lnTo>
                    <a:pt x="126" y="630"/>
                  </a:lnTo>
                  <a:lnTo>
                    <a:pt x="120" y="630"/>
                  </a:lnTo>
                  <a:lnTo>
                    <a:pt x="114" y="630"/>
                  </a:lnTo>
                  <a:lnTo>
                    <a:pt x="114" y="624"/>
                  </a:lnTo>
                  <a:lnTo>
                    <a:pt x="108" y="624"/>
                  </a:lnTo>
                  <a:lnTo>
                    <a:pt x="108" y="630"/>
                  </a:lnTo>
                  <a:lnTo>
                    <a:pt x="102" y="630"/>
                  </a:lnTo>
                  <a:lnTo>
                    <a:pt x="102" y="624"/>
                  </a:lnTo>
                  <a:lnTo>
                    <a:pt x="96" y="624"/>
                  </a:lnTo>
                  <a:lnTo>
                    <a:pt x="90" y="630"/>
                  </a:lnTo>
                  <a:lnTo>
                    <a:pt x="84" y="630"/>
                  </a:lnTo>
                  <a:lnTo>
                    <a:pt x="78" y="630"/>
                  </a:lnTo>
                  <a:lnTo>
                    <a:pt x="72" y="624"/>
                  </a:lnTo>
                  <a:lnTo>
                    <a:pt x="66" y="624"/>
                  </a:lnTo>
                  <a:lnTo>
                    <a:pt x="66" y="630"/>
                  </a:lnTo>
                  <a:lnTo>
                    <a:pt x="60" y="624"/>
                  </a:lnTo>
                  <a:lnTo>
                    <a:pt x="54" y="630"/>
                  </a:lnTo>
                  <a:lnTo>
                    <a:pt x="48" y="630"/>
                  </a:lnTo>
                  <a:lnTo>
                    <a:pt x="48" y="624"/>
                  </a:lnTo>
                  <a:lnTo>
                    <a:pt x="48" y="630"/>
                  </a:lnTo>
                  <a:lnTo>
                    <a:pt x="42" y="630"/>
                  </a:lnTo>
                  <a:lnTo>
                    <a:pt x="36" y="630"/>
                  </a:lnTo>
                  <a:lnTo>
                    <a:pt x="30" y="630"/>
                  </a:lnTo>
                  <a:lnTo>
                    <a:pt x="30" y="636"/>
                  </a:lnTo>
                  <a:lnTo>
                    <a:pt x="24" y="636"/>
                  </a:lnTo>
                  <a:lnTo>
                    <a:pt x="18" y="636"/>
                  </a:lnTo>
                  <a:lnTo>
                    <a:pt x="12" y="636"/>
                  </a:lnTo>
                  <a:lnTo>
                    <a:pt x="18" y="636"/>
                  </a:lnTo>
                  <a:lnTo>
                    <a:pt x="18" y="630"/>
                  </a:lnTo>
                  <a:lnTo>
                    <a:pt x="12" y="636"/>
                  </a:lnTo>
                  <a:lnTo>
                    <a:pt x="12" y="630"/>
                  </a:lnTo>
                  <a:lnTo>
                    <a:pt x="6" y="630"/>
                  </a:lnTo>
                  <a:lnTo>
                    <a:pt x="6" y="624"/>
                  </a:lnTo>
                  <a:lnTo>
                    <a:pt x="0" y="624"/>
                  </a:lnTo>
                  <a:lnTo>
                    <a:pt x="0" y="618"/>
                  </a:lnTo>
                  <a:lnTo>
                    <a:pt x="6" y="618"/>
                  </a:lnTo>
                  <a:lnTo>
                    <a:pt x="12" y="618"/>
                  </a:lnTo>
                  <a:lnTo>
                    <a:pt x="18" y="618"/>
                  </a:lnTo>
                  <a:lnTo>
                    <a:pt x="18" y="612"/>
                  </a:lnTo>
                  <a:lnTo>
                    <a:pt x="18" y="606"/>
                  </a:lnTo>
                  <a:lnTo>
                    <a:pt x="18" y="600"/>
                  </a:lnTo>
                  <a:lnTo>
                    <a:pt x="18" y="594"/>
                  </a:lnTo>
                  <a:lnTo>
                    <a:pt x="18" y="588"/>
                  </a:lnTo>
                  <a:lnTo>
                    <a:pt x="18" y="582"/>
                  </a:lnTo>
                  <a:lnTo>
                    <a:pt x="24" y="582"/>
                  </a:lnTo>
                  <a:lnTo>
                    <a:pt x="24" y="576"/>
                  </a:lnTo>
                  <a:lnTo>
                    <a:pt x="30" y="576"/>
                  </a:lnTo>
                  <a:lnTo>
                    <a:pt x="30" y="570"/>
                  </a:lnTo>
                  <a:lnTo>
                    <a:pt x="36" y="570"/>
                  </a:lnTo>
                  <a:lnTo>
                    <a:pt x="36" y="564"/>
                  </a:lnTo>
                  <a:lnTo>
                    <a:pt x="42" y="564"/>
                  </a:lnTo>
                  <a:lnTo>
                    <a:pt x="48" y="564"/>
                  </a:lnTo>
                  <a:lnTo>
                    <a:pt x="48" y="558"/>
                  </a:lnTo>
                  <a:lnTo>
                    <a:pt x="54" y="558"/>
                  </a:lnTo>
                  <a:lnTo>
                    <a:pt x="60" y="558"/>
                  </a:lnTo>
                  <a:lnTo>
                    <a:pt x="60" y="564"/>
                  </a:lnTo>
                  <a:lnTo>
                    <a:pt x="66" y="564"/>
                  </a:lnTo>
                  <a:lnTo>
                    <a:pt x="66" y="570"/>
                  </a:lnTo>
                  <a:lnTo>
                    <a:pt x="72" y="576"/>
                  </a:lnTo>
                  <a:lnTo>
                    <a:pt x="72" y="570"/>
                  </a:lnTo>
                  <a:lnTo>
                    <a:pt x="78" y="570"/>
                  </a:lnTo>
                  <a:lnTo>
                    <a:pt x="78" y="564"/>
                  </a:lnTo>
                  <a:lnTo>
                    <a:pt x="84" y="564"/>
                  </a:lnTo>
                  <a:lnTo>
                    <a:pt x="84" y="558"/>
                  </a:lnTo>
                  <a:lnTo>
                    <a:pt x="90" y="558"/>
                  </a:lnTo>
                  <a:lnTo>
                    <a:pt x="90" y="552"/>
                  </a:lnTo>
                  <a:lnTo>
                    <a:pt x="84" y="552"/>
                  </a:lnTo>
                  <a:lnTo>
                    <a:pt x="84" y="546"/>
                  </a:lnTo>
                  <a:lnTo>
                    <a:pt x="90" y="546"/>
                  </a:lnTo>
                  <a:lnTo>
                    <a:pt x="96" y="546"/>
                  </a:lnTo>
                  <a:lnTo>
                    <a:pt x="96" y="552"/>
                  </a:lnTo>
                  <a:lnTo>
                    <a:pt x="102" y="552"/>
                  </a:lnTo>
                  <a:lnTo>
                    <a:pt x="102" y="546"/>
                  </a:lnTo>
                  <a:lnTo>
                    <a:pt x="108" y="546"/>
                  </a:lnTo>
                  <a:lnTo>
                    <a:pt x="114" y="546"/>
                  </a:lnTo>
                  <a:lnTo>
                    <a:pt x="114" y="540"/>
                  </a:lnTo>
                  <a:lnTo>
                    <a:pt x="120" y="540"/>
                  </a:lnTo>
                  <a:lnTo>
                    <a:pt x="126" y="540"/>
                  </a:lnTo>
                  <a:lnTo>
                    <a:pt x="126" y="546"/>
                  </a:lnTo>
                  <a:lnTo>
                    <a:pt x="126" y="552"/>
                  </a:lnTo>
                  <a:lnTo>
                    <a:pt x="120" y="552"/>
                  </a:lnTo>
                  <a:lnTo>
                    <a:pt x="120" y="558"/>
                  </a:lnTo>
                  <a:lnTo>
                    <a:pt x="126" y="558"/>
                  </a:lnTo>
                  <a:lnTo>
                    <a:pt x="120" y="558"/>
                  </a:lnTo>
                  <a:lnTo>
                    <a:pt x="126" y="558"/>
                  </a:lnTo>
                  <a:lnTo>
                    <a:pt x="126" y="564"/>
                  </a:lnTo>
                  <a:lnTo>
                    <a:pt x="126" y="570"/>
                  </a:lnTo>
                  <a:lnTo>
                    <a:pt x="132" y="570"/>
                  </a:lnTo>
                  <a:lnTo>
                    <a:pt x="138" y="570"/>
                  </a:lnTo>
                  <a:lnTo>
                    <a:pt x="138" y="576"/>
                  </a:lnTo>
                  <a:lnTo>
                    <a:pt x="144" y="570"/>
                  </a:lnTo>
                  <a:lnTo>
                    <a:pt x="150" y="570"/>
                  </a:lnTo>
                  <a:lnTo>
                    <a:pt x="150" y="564"/>
                  </a:lnTo>
                  <a:lnTo>
                    <a:pt x="150" y="558"/>
                  </a:lnTo>
                  <a:lnTo>
                    <a:pt x="156" y="558"/>
                  </a:lnTo>
                  <a:lnTo>
                    <a:pt x="162" y="552"/>
                  </a:lnTo>
                  <a:lnTo>
                    <a:pt x="168" y="546"/>
                  </a:lnTo>
                  <a:lnTo>
                    <a:pt x="168" y="540"/>
                  </a:lnTo>
                  <a:lnTo>
                    <a:pt x="174" y="540"/>
                  </a:lnTo>
                  <a:lnTo>
                    <a:pt x="180" y="540"/>
                  </a:lnTo>
                  <a:lnTo>
                    <a:pt x="186" y="540"/>
                  </a:lnTo>
                  <a:lnTo>
                    <a:pt x="186" y="534"/>
                  </a:lnTo>
                  <a:lnTo>
                    <a:pt x="186" y="528"/>
                  </a:lnTo>
                  <a:lnTo>
                    <a:pt x="186" y="522"/>
                  </a:lnTo>
                  <a:lnTo>
                    <a:pt x="192" y="522"/>
                  </a:lnTo>
                  <a:lnTo>
                    <a:pt x="198" y="522"/>
                  </a:lnTo>
                  <a:lnTo>
                    <a:pt x="204" y="522"/>
                  </a:lnTo>
                  <a:lnTo>
                    <a:pt x="210" y="522"/>
                  </a:lnTo>
                  <a:lnTo>
                    <a:pt x="210" y="516"/>
                  </a:lnTo>
                  <a:lnTo>
                    <a:pt x="210" y="510"/>
                  </a:lnTo>
                  <a:lnTo>
                    <a:pt x="216" y="510"/>
                  </a:lnTo>
                  <a:lnTo>
                    <a:pt x="216" y="504"/>
                  </a:lnTo>
                  <a:lnTo>
                    <a:pt x="216" y="498"/>
                  </a:lnTo>
                  <a:lnTo>
                    <a:pt x="222" y="498"/>
                  </a:lnTo>
                  <a:lnTo>
                    <a:pt x="222" y="492"/>
                  </a:lnTo>
                  <a:lnTo>
                    <a:pt x="222" y="486"/>
                  </a:lnTo>
                  <a:lnTo>
                    <a:pt x="228" y="486"/>
                  </a:lnTo>
                  <a:lnTo>
                    <a:pt x="228" y="480"/>
                  </a:lnTo>
                  <a:lnTo>
                    <a:pt x="222" y="480"/>
                  </a:lnTo>
                  <a:lnTo>
                    <a:pt x="222" y="474"/>
                  </a:lnTo>
                  <a:lnTo>
                    <a:pt x="222" y="468"/>
                  </a:lnTo>
                  <a:lnTo>
                    <a:pt x="222" y="462"/>
                  </a:lnTo>
                  <a:lnTo>
                    <a:pt x="222" y="456"/>
                  </a:lnTo>
                  <a:lnTo>
                    <a:pt x="222" y="450"/>
                  </a:lnTo>
                  <a:lnTo>
                    <a:pt x="228" y="450"/>
                  </a:lnTo>
                  <a:lnTo>
                    <a:pt x="228" y="444"/>
                  </a:lnTo>
                  <a:lnTo>
                    <a:pt x="228" y="438"/>
                  </a:lnTo>
                  <a:lnTo>
                    <a:pt x="222" y="438"/>
                  </a:lnTo>
                  <a:lnTo>
                    <a:pt x="222" y="432"/>
                  </a:lnTo>
                  <a:lnTo>
                    <a:pt x="222" y="426"/>
                  </a:lnTo>
                  <a:lnTo>
                    <a:pt x="222" y="420"/>
                  </a:lnTo>
                  <a:lnTo>
                    <a:pt x="228" y="420"/>
                  </a:lnTo>
                  <a:lnTo>
                    <a:pt x="228" y="414"/>
                  </a:lnTo>
                  <a:lnTo>
                    <a:pt x="234" y="414"/>
                  </a:lnTo>
                  <a:lnTo>
                    <a:pt x="234" y="408"/>
                  </a:lnTo>
                  <a:lnTo>
                    <a:pt x="240" y="408"/>
                  </a:lnTo>
                  <a:lnTo>
                    <a:pt x="240" y="402"/>
                  </a:lnTo>
                  <a:lnTo>
                    <a:pt x="246" y="402"/>
                  </a:lnTo>
                  <a:lnTo>
                    <a:pt x="246" y="396"/>
                  </a:lnTo>
                  <a:lnTo>
                    <a:pt x="252" y="390"/>
                  </a:lnTo>
                  <a:lnTo>
                    <a:pt x="252" y="384"/>
                  </a:lnTo>
                  <a:lnTo>
                    <a:pt x="252" y="378"/>
                  </a:lnTo>
                  <a:lnTo>
                    <a:pt x="258" y="378"/>
                  </a:lnTo>
                  <a:lnTo>
                    <a:pt x="258" y="372"/>
                  </a:lnTo>
                  <a:lnTo>
                    <a:pt x="264" y="366"/>
                  </a:lnTo>
                  <a:lnTo>
                    <a:pt x="270" y="366"/>
                  </a:lnTo>
                  <a:lnTo>
                    <a:pt x="270" y="360"/>
                  </a:lnTo>
                  <a:lnTo>
                    <a:pt x="276" y="360"/>
                  </a:lnTo>
                  <a:lnTo>
                    <a:pt x="282" y="360"/>
                  </a:lnTo>
                  <a:lnTo>
                    <a:pt x="282" y="354"/>
                  </a:lnTo>
                  <a:lnTo>
                    <a:pt x="288" y="354"/>
                  </a:lnTo>
                  <a:lnTo>
                    <a:pt x="294" y="348"/>
                  </a:lnTo>
                  <a:lnTo>
                    <a:pt x="300" y="342"/>
                  </a:lnTo>
                  <a:lnTo>
                    <a:pt x="300" y="336"/>
                  </a:lnTo>
                  <a:lnTo>
                    <a:pt x="306" y="336"/>
                  </a:lnTo>
                  <a:lnTo>
                    <a:pt x="306" y="330"/>
                  </a:lnTo>
                  <a:lnTo>
                    <a:pt x="312" y="324"/>
                  </a:lnTo>
                  <a:lnTo>
                    <a:pt x="312" y="318"/>
                  </a:lnTo>
                  <a:lnTo>
                    <a:pt x="306" y="312"/>
                  </a:lnTo>
                  <a:lnTo>
                    <a:pt x="306" y="306"/>
                  </a:lnTo>
                  <a:lnTo>
                    <a:pt x="312" y="306"/>
                  </a:lnTo>
                  <a:lnTo>
                    <a:pt x="312" y="300"/>
                  </a:lnTo>
                  <a:lnTo>
                    <a:pt x="312" y="294"/>
                  </a:lnTo>
                  <a:lnTo>
                    <a:pt x="312" y="288"/>
                  </a:lnTo>
                  <a:lnTo>
                    <a:pt x="318" y="288"/>
                  </a:lnTo>
                  <a:lnTo>
                    <a:pt x="318" y="282"/>
                  </a:lnTo>
                  <a:lnTo>
                    <a:pt x="324" y="282"/>
                  </a:lnTo>
                  <a:lnTo>
                    <a:pt x="324" y="276"/>
                  </a:lnTo>
                  <a:lnTo>
                    <a:pt x="324" y="270"/>
                  </a:lnTo>
                  <a:lnTo>
                    <a:pt x="318" y="270"/>
                  </a:lnTo>
                  <a:lnTo>
                    <a:pt x="318" y="264"/>
                  </a:lnTo>
                  <a:lnTo>
                    <a:pt x="318" y="258"/>
                  </a:lnTo>
                  <a:lnTo>
                    <a:pt x="318" y="252"/>
                  </a:lnTo>
                  <a:lnTo>
                    <a:pt x="318" y="246"/>
                  </a:lnTo>
                  <a:lnTo>
                    <a:pt x="318" y="240"/>
                  </a:lnTo>
                  <a:lnTo>
                    <a:pt x="318" y="234"/>
                  </a:lnTo>
                  <a:lnTo>
                    <a:pt x="324" y="234"/>
                  </a:lnTo>
                  <a:lnTo>
                    <a:pt x="324" y="228"/>
                  </a:lnTo>
                  <a:lnTo>
                    <a:pt x="324" y="222"/>
                  </a:lnTo>
                  <a:lnTo>
                    <a:pt x="324" y="216"/>
                  </a:lnTo>
                  <a:lnTo>
                    <a:pt x="330" y="216"/>
                  </a:lnTo>
                  <a:lnTo>
                    <a:pt x="330" y="210"/>
                  </a:lnTo>
                  <a:lnTo>
                    <a:pt x="330" y="204"/>
                  </a:lnTo>
                  <a:lnTo>
                    <a:pt x="330" y="198"/>
                  </a:lnTo>
                  <a:lnTo>
                    <a:pt x="330" y="192"/>
                  </a:lnTo>
                  <a:lnTo>
                    <a:pt x="330" y="186"/>
                  </a:lnTo>
                  <a:lnTo>
                    <a:pt x="330" y="180"/>
                  </a:lnTo>
                  <a:lnTo>
                    <a:pt x="330" y="174"/>
                  </a:lnTo>
                  <a:lnTo>
                    <a:pt x="336" y="174"/>
                  </a:lnTo>
                  <a:lnTo>
                    <a:pt x="336" y="168"/>
                  </a:lnTo>
                  <a:lnTo>
                    <a:pt x="336" y="162"/>
                  </a:lnTo>
                  <a:lnTo>
                    <a:pt x="342" y="156"/>
                  </a:lnTo>
                  <a:lnTo>
                    <a:pt x="342" y="150"/>
                  </a:lnTo>
                  <a:lnTo>
                    <a:pt x="348" y="150"/>
                  </a:lnTo>
                  <a:lnTo>
                    <a:pt x="348" y="144"/>
                  </a:lnTo>
                  <a:lnTo>
                    <a:pt x="348" y="138"/>
                  </a:lnTo>
                  <a:lnTo>
                    <a:pt x="348" y="132"/>
                  </a:lnTo>
                  <a:lnTo>
                    <a:pt x="354" y="132"/>
                  </a:lnTo>
                  <a:lnTo>
                    <a:pt x="354" y="126"/>
                  </a:lnTo>
                  <a:lnTo>
                    <a:pt x="360" y="126"/>
                  </a:lnTo>
                  <a:lnTo>
                    <a:pt x="360" y="120"/>
                  </a:lnTo>
                  <a:lnTo>
                    <a:pt x="360" y="114"/>
                  </a:lnTo>
                  <a:lnTo>
                    <a:pt x="360" y="108"/>
                  </a:lnTo>
                  <a:lnTo>
                    <a:pt x="360" y="102"/>
                  </a:lnTo>
                  <a:lnTo>
                    <a:pt x="360" y="96"/>
                  </a:lnTo>
                  <a:lnTo>
                    <a:pt x="360" y="90"/>
                  </a:lnTo>
                  <a:lnTo>
                    <a:pt x="360" y="84"/>
                  </a:lnTo>
                  <a:lnTo>
                    <a:pt x="360" y="78"/>
                  </a:lnTo>
                  <a:lnTo>
                    <a:pt x="360" y="72"/>
                  </a:lnTo>
                  <a:lnTo>
                    <a:pt x="360" y="66"/>
                  </a:lnTo>
                  <a:lnTo>
                    <a:pt x="354" y="66"/>
                  </a:lnTo>
                  <a:lnTo>
                    <a:pt x="354" y="60"/>
                  </a:lnTo>
                  <a:lnTo>
                    <a:pt x="360" y="54"/>
                  </a:lnTo>
                  <a:lnTo>
                    <a:pt x="360" y="60"/>
                  </a:lnTo>
                  <a:lnTo>
                    <a:pt x="360" y="54"/>
                  </a:lnTo>
                  <a:lnTo>
                    <a:pt x="366" y="54"/>
                  </a:lnTo>
                  <a:lnTo>
                    <a:pt x="372" y="48"/>
                  </a:lnTo>
                  <a:lnTo>
                    <a:pt x="372" y="42"/>
                  </a:lnTo>
                  <a:lnTo>
                    <a:pt x="378" y="42"/>
                  </a:lnTo>
                  <a:lnTo>
                    <a:pt x="378" y="36"/>
                  </a:lnTo>
                  <a:lnTo>
                    <a:pt x="384" y="30"/>
                  </a:lnTo>
                  <a:lnTo>
                    <a:pt x="384" y="24"/>
                  </a:lnTo>
                  <a:lnTo>
                    <a:pt x="390" y="24"/>
                  </a:lnTo>
                  <a:lnTo>
                    <a:pt x="390" y="18"/>
                  </a:lnTo>
                  <a:lnTo>
                    <a:pt x="396" y="18"/>
                  </a:lnTo>
                  <a:lnTo>
                    <a:pt x="402" y="18"/>
                  </a:lnTo>
                  <a:lnTo>
                    <a:pt x="402" y="12"/>
                  </a:lnTo>
                  <a:lnTo>
                    <a:pt x="408" y="12"/>
                  </a:lnTo>
                  <a:lnTo>
                    <a:pt x="414" y="12"/>
                  </a:lnTo>
                  <a:lnTo>
                    <a:pt x="420" y="12"/>
                  </a:lnTo>
                  <a:lnTo>
                    <a:pt x="426" y="18"/>
                  </a:lnTo>
                  <a:lnTo>
                    <a:pt x="432" y="18"/>
                  </a:lnTo>
                  <a:lnTo>
                    <a:pt x="432" y="24"/>
                  </a:lnTo>
                  <a:lnTo>
                    <a:pt x="438" y="24"/>
                  </a:lnTo>
                  <a:lnTo>
                    <a:pt x="444" y="24"/>
                  </a:lnTo>
                  <a:lnTo>
                    <a:pt x="444" y="30"/>
                  </a:lnTo>
                  <a:lnTo>
                    <a:pt x="450" y="30"/>
                  </a:lnTo>
                  <a:lnTo>
                    <a:pt x="450" y="36"/>
                  </a:lnTo>
                  <a:lnTo>
                    <a:pt x="456" y="36"/>
                  </a:lnTo>
                  <a:lnTo>
                    <a:pt x="462" y="42"/>
                  </a:lnTo>
                  <a:lnTo>
                    <a:pt x="462" y="48"/>
                  </a:lnTo>
                  <a:lnTo>
                    <a:pt x="462" y="54"/>
                  </a:lnTo>
                  <a:lnTo>
                    <a:pt x="468" y="54"/>
                  </a:lnTo>
                  <a:lnTo>
                    <a:pt x="474" y="54"/>
                  </a:lnTo>
                  <a:lnTo>
                    <a:pt x="480" y="54"/>
                  </a:lnTo>
                  <a:lnTo>
                    <a:pt x="486" y="54"/>
                  </a:lnTo>
                  <a:lnTo>
                    <a:pt x="492" y="54"/>
                  </a:lnTo>
                  <a:lnTo>
                    <a:pt x="498" y="54"/>
                  </a:lnTo>
                  <a:lnTo>
                    <a:pt x="498" y="60"/>
                  </a:lnTo>
                  <a:lnTo>
                    <a:pt x="504" y="60"/>
                  </a:lnTo>
                  <a:lnTo>
                    <a:pt x="510" y="60"/>
                  </a:lnTo>
                  <a:lnTo>
                    <a:pt x="516" y="60"/>
                  </a:lnTo>
                  <a:lnTo>
                    <a:pt x="522" y="60"/>
                  </a:lnTo>
                  <a:lnTo>
                    <a:pt x="528" y="60"/>
                  </a:lnTo>
                  <a:lnTo>
                    <a:pt x="534" y="60"/>
                  </a:lnTo>
                  <a:lnTo>
                    <a:pt x="540" y="60"/>
                  </a:lnTo>
                  <a:lnTo>
                    <a:pt x="540" y="66"/>
                  </a:lnTo>
                  <a:lnTo>
                    <a:pt x="546" y="66"/>
                  </a:lnTo>
                  <a:lnTo>
                    <a:pt x="552" y="66"/>
                  </a:lnTo>
                  <a:lnTo>
                    <a:pt x="558" y="66"/>
                  </a:lnTo>
                  <a:lnTo>
                    <a:pt x="558" y="72"/>
                  </a:lnTo>
                  <a:lnTo>
                    <a:pt x="564" y="72"/>
                  </a:lnTo>
                  <a:lnTo>
                    <a:pt x="570" y="72"/>
                  </a:lnTo>
                  <a:lnTo>
                    <a:pt x="576" y="66"/>
                  </a:lnTo>
                  <a:lnTo>
                    <a:pt x="576" y="60"/>
                  </a:lnTo>
                  <a:lnTo>
                    <a:pt x="582" y="60"/>
                  </a:lnTo>
                  <a:lnTo>
                    <a:pt x="582" y="54"/>
                  </a:lnTo>
                  <a:lnTo>
                    <a:pt x="582" y="48"/>
                  </a:lnTo>
                  <a:lnTo>
                    <a:pt x="588" y="48"/>
                  </a:lnTo>
                  <a:lnTo>
                    <a:pt x="588" y="42"/>
                  </a:lnTo>
                  <a:lnTo>
                    <a:pt x="588" y="36"/>
                  </a:lnTo>
                  <a:lnTo>
                    <a:pt x="594" y="36"/>
                  </a:lnTo>
                  <a:lnTo>
                    <a:pt x="600" y="36"/>
                  </a:lnTo>
                  <a:lnTo>
                    <a:pt x="594" y="36"/>
                  </a:lnTo>
                  <a:lnTo>
                    <a:pt x="594" y="30"/>
                  </a:lnTo>
                  <a:lnTo>
                    <a:pt x="600" y="30"/>
                  </a:lnTo>
                  <a:lnTo>
                    <a:pt x="600" y="36"/>
                  </a:lnTo>
                  <a:lnTo>
                    <a:pt x="606" y="36"/>
                  </a:lnTo>
                  <a:lnTo>
                    <a:pt x="612" y="36"/>
                  </a:lnTo>
                  <a:lnTo>
                    <a:pt x="618" y="36"/>
                  </a:lnTo>
                  <a:lnTo>
                    <a:pt x="618" y="42"/>
                  </a:lnTo>
                  <a:lnTo>
                    <a:pt x="624" y="42"/>
                  </a:lnTo>
                  <a:lnTo>
                    <a:pt x="630" y="42"/>
                  </a:lnTo>
                  <a:lnTo>
                    <a:pt x="630" y="36"/>
                  </a:lnTo>
                  <a:lnTo>
                    <a:pt x="636" y="36"/>
                  </a:lnTo>
                  <a:lnTo>
                    <a:pt x="642" y="36"/>
                  </a:lnTo>
                  <a:lnTo>
                    <a:pt x="642" y="30"/>
                  </a:lnTo>
                  <a:lnTo>
                    <a:pt x="648" y="36"/>
                  </a:lnTo>
                  <a:lnTo>
                    <a:pt x="648" y="30"/>
                  </a:lnTo>
                  <a:lnTo>
                    <a:pt x="654" y="30"/>
                  </a:lnTo>
                  <a:lnTo>
                    <a:pt x="660" y="30"/>
                  </a:lnTo>
                  <a:lnTo>
                    <a:pt x="660" y="24"/>
                  </a:lnTo>
                  <a:lnTo>
                    <a:pt x="666" y="24"/>
                  </a:lnTo>
                  <a:lnTo>
                    <a:pt x="672" y="24"/>
                  </a:lnTo>
                  <a:lnTo>
                    <a:pt x="672" y="18"/>
                  </a:lnTo>
                  <a:lnTo>
                    <a:pt x="678" y="18"/>
                  </a:lnTo>
                  <a:lnTo>
                    <a:pt x="684" y="18"/>
                  </a:lnTo>
                  <a:lnTo>
                    <a:pt x="678" y="18"/>
                  </a:lnTo>
                  <a:lnTo>
                    <a:pt x="678" y="12"/>
                  </a:lnTo>
                  <a:lnTo>
                    <a:pt x="684" y="12"/>
                  </a:lnTo>
                  <a:lnTo>
                    <a:pt x="684" y="18"/>
                  </a:lnTo>
                  <a:lnTo>
                    <a:pt x="684" y="12"/>
                  </a:lnTo>
                  <a:lnTo>
                    <a:pt x="684" y="18"/>
                  </a:lnTo>
                  <a:lnTo>
                    <a:pt x="690" y="18"/>
                  </a:lnTo>
                  <a:lnTo>
                    <a:pt x="696" y="18"/>
                  </a:lnTo>
                  <a:lnTo>
                    <a:pt x="696" y="24"/>
                  </a:lnTo>
                  <a:lnTo>
                    <a:pt x="702" y="24"/>
                  </a:lnTo>
                  <a:lnTo>
                    <a:pt x="708" y="24"/>
                  </a:lnTo>
                  <a:lnTo>
                    <a:pt x="714" y="24"/>
                  </a:lnTo>
                  <a:lnTo>
                    <a:pt x="720" y="24"/>
                  </a:lnTo>
                  <a:lnTo>
                    <a:pt x="720" y="18"/>
                  </a:lnTo>
                  <a:lnTo>
                    <a:pt x="726" y="18"/>
                  </a:lnTo>
                  <a:lnTo>
                    <a:pt x="732" y="18"/>
                  </a:lnTo>
                  <a:lnTo>
                    <a:pt x="732" y="12"/>
                  </a:lnTo>
                  <a:lnTo>
                    <a:pt x="732" y="6"/>
                  </a:lnTo>
                  <a:lnTo>
                    <a:pt x="738" y="6"/>
                  </a:lnTo>
                  <a:lnTo>
                    <a:pt x="732" y="6"/>
                  </a:lnTo>
                  <a:lnTo>
                    <a:pt x="732" y="0"/>
                  </a:lnTo>
                  <a:lnTo>
                    <a:pt x="738" y="0"/>
                  </a:lnTo>
                  <a:lnTo>
                    <a:pt x="744" y="0"/>
                  </a:lnTo>
                  <a:lnTo>
                    <a:pt x="750" y="0"/>
                  </a:lnTo>
                  <a:lnTo>
                    <a:pt x="750" y="6"/>
                  </a:lnTo>
                  <a:lnTo>
                    <a:pt x="750" y="0"/>
                  </a:lnTo>
                  <a:lnTo>
                    <a:pt x="750" y="6"/>
                  </a:lnTo>
                  <a:lnTo>
                    <a:pt x="756" y="6"/>
                  </a:lnTo>
                  <a:lnTo>
                    <a:pt x="762" y="6"/>
                  </a:lnTo>
                  <a:lnTo>
                    <a:pt x="762" y="12"/>
                  </a:lnTo>
                  <a:lnTo>
                    <a:pt x="762" y="6"/>
                  </a:lnTo>
                  <a:lnTo>
                    <a:pt x="762" y="12"/>
                  </a:lnTo>
                  <a:lnTo>
                    <a:pt x="768" y="12"/>
                  </a:lnTo>
                  <a:lnTo>
                    <a:pt x="762" y="12"/>
                  </a:lnTo>
                  <a:lnTo>
                    <a:pt x="768" y="12"/>
                  </a:lnTo>
                  <a:lnTo>
                    <a:pt x="768" y="6"/>
                  </a:lnTo>
                  <a:lnTo>
                    <a:pt x="768" y="12"/>
                  </a:lnTo>
                  <a:lnTo>
                    <a:pt x="774" y="12"/>
                  </a:lnTo>
                  <a:lnTo>
                    <a:pt x="774" y="6"/>
                  </a:lnTo>
                  <a:lnTo>
                    <a:pt x="774" y="12"/>
                  </a:lnTo>
                  <a:lnTo>
                    <a:pt x="774" y="6"/>
                  </a:lnTo>
                  <a:lnTo>
                    <a:pt x="774" y="12"/>
                  </a:lnTo>
                  <a:lnTo>
                    <a:pt x="774" y="6"/>
                  </a:lnTo>
                  <a:lnTo>
                    <a:pt x="780" y="6"/>
                  </a:lnTo>
                  <a:lnTo>
                    <a:pt x="780" y="12"/>
                  </a:lnTo>
                  <a:lnTo>
                    <a:pt x="786" y="12"/>
                  </a:lnTo>
                  <a:lnTo>
                    <a:pt x="780" y="12"/>
                  </a:lnTo>
                  <a:lnTo>
                    <a:pt x="786" y="12"/>
                  </a:lnTo>
                  <a:lnTo>
                    <a:pt x="792" y="12"/>
                  </a:lnTo>
                  <a:lnTo>
                    <a:pt x="792" y="18"/>
                  </a:lnTo>
                  <a:lnTo>
                    <a:pt x="798" y="18"/>
                  </a:lnTo>
                  <a:lnTo>
                    <a:pt x="792" y="18"/>
                  </a:lnTo>
                  <a:lnTo>
                    <a:pt x="798" y="18"/>
                  </a:lnTo>
                  <a:lnTo>
                    <a:pt x="804" y="18"/>
                  </a:lnTo>
                  <a:lnTo>
                    <a:pt x="810" y="18"/>
                  </a:lnTo>
                  <a:lnTo>
                    <a:pt x="810" y="12"/>
                  </a:lnTo>
                  <a:lnTo>
                    <a:pt x="810" y="18"/>
                  </a:lnTo>
                  <a:lnTo>
                    <a:pt x="816" y="18"/>
                  </a:lnTo>
                  <a:lnTo>
                    <a:pt x="822" y="18"/>
                  </a:lnTo>
                  <a:lnTo>
                    <a:pt x="822" y="12"/>
                  </a:lnTo>
                  <a:lnTo>
                    <a:pt x="828" y="12"/>
                  </a:lnTo>
                  <a:lnTo>
                    <a:pt x="834" y="12"/>
                  </a:lnTo>
                  <a:lnTo>
                    <a:pt x="840" y="12"/>
                  </a:lnTo>
                  <a:lnTo>
                    <a:pt x="846" y="12"/>
                  </a:lnTo>
                  <a:lnTo>
                    <a:pt x="846" y="18"/>
                  </a:lnTo>
                  <a:lnTo>
                    <a:pt x="852" y="18"/>
                  </a:lnTo>
                  <a:lnTo>
                    <a:pt x="852" y="24"/>
                  </a:lnTo>
                  <a:lnTo>
                    <a:pt x="858" y="24"/>
                  </a:lnTo>
                  <a:lnTo>
                    <a:pt x="858" y="30"/>
                  </a:lnTo>
                  <a:lnTo>
                    <a:pt x="858" y="24"/>
                  </a:lnTo>
                  <a:lnTo>
                    <a:pt x="864" y="24"/>
                  </a:lnTo>
                  <a:lnTo>
                    <a:pt x="864" y="30"/>
                  </a:lnTo>
                  <a:lnTo>
                    <a:pt x="870" y="30"/>
                  </a:lnTo>
                  <a:lnTo>
                    <a:pt x="870" y="36"/>
                  </a:lnTo>
                  <a:lnTo>
                    <a:pt x="870" y="42"/>
                  </a:lnTo>
                  <a:lnTo>
                    <a:pt x="876" y="48"/>
                  </a:lnTo>
                  <a:lnTo>
                    <a:pt x="876" y="42"/>
                  </a:lnTo>
                  <a:lnTo>
                    <a:pt x="876" y="48"/>
                  </a:lnTo>
                  <a:lnTo>
                    <a:pt x="882" y="48"/>
                  </a:lnTo>
                  <a:lnTo>
                    <a:pt x="882" y="54"/>
                  </a:lnTo>
                  <a:lnTo>
                    <a:pt x="888" y="54"/>
                  </a:lnTo>
                  <a:lnTo>
                    <a:pt x="894" y="54"/>
                  </a:lnTo>
                  <a:lnTo>
                    <a:pt x="894" y="60"/>
                  </a:lnTo>
                  <a:lnTo>
                    <a:pt x="894" y="54"/>
                  </a:lnTo>
                  <a:lnTo>
                    <a:pt x="894" y="60"/>
                  </a:lnTo>
                  <a:lnTo>
                    <a:pt x="900" y="60"/>
                  </a:lnTo>
                  <a:lnTo>
                    <a:pt x="900" y="54"/>
                  </a:lnTo>
                  <a:lnTo>
                    <a:pt x="900" y="60"/>
                  </a:lnTo>
                  <a:lnTo>
                    <a:pt x="906" y="60"/>
                  </a:lnTo>
                  <a:lnTo>
                    <a:pt x="912" y="54"/>
                  </a:lnTo>
                  <a:lnTo>
                    <a:pt x="918" y="54"/>
                  </a:lnTo>
                  <a:lnTo>
                    <a:pt x="918" y="48"/>
                  </a:lnTo>
                  <a:lnTo>
                    <a:pt x="924" y="48"/>
                  </a:lnTo>
                  <a:lnTo>
                    <a:pt x="918" y="48"/>
                  </a:lnTo>
                  <a:lnTo>
                    <a:pt x="924" y="48"/>
                  </a:lnTo>
                  <a:lnTo>
                    <a:pt x="930" y="48"/>
                  </a:lnTo>
                  <a:lnTo>
                    <a:pt x="936" y="48"/>
                  </a:lnTo>
                  <a:lnTo>
                    <a:pt x="942" y="54"/>
                  </a:lnTo>
                  <a:lnTo>
                    <a:pt x="948" y="54"/>
                  </a:lnTo>
                  <a:lnTo>
                    <a:pt x="948" y="60"/>
                  </a:lnTo>
                  <a:lnTo>
                    <a:pt x="948" y="54"/>
                  </a:lnTo>
                  <a:lnTo>
                    <a:pt x="954" y="54"/>
                  </a:lnTo>
                  <a:lnTo>
                    <a:pt x="954" y="48"/>
                  </a:lnTo>
                  <a:lnTo>
                    <a:pt x="960" y="48"/>
                  </a:lnTo>
                  <a:lnTo>
                    <a:pt x="960" y="42"/>
                  </a:lnTo>
                  <a:lnTo>
                    <a:pt x="966" y="42"/>
                  </a:lnTo>
                  <a:lnTo>
                    <a:pt x="960" y="42"/>
                  </a:lnTo>
                  <a:lnTo>
                    <a:pt x="966" y="42"/>
                  </a:lnTo>
                  <a:lnTo>
                    <a:pt x="966" y="36"/>
                  </a:lnTo>
                  <a:lnTo>
                    <a:pt x="966" y="42"/>
                  </a:lnTo>
                  <a:lnTo>
                    <a:pt x="972" y="42"/>
                  </a:lnTo>
                  <a:lnTo>
                    <a:pt x="978" y="42"/>
                  </a:lnTo>
                  <a:lnTo>
                    <a:pt x="978" y="48"/>
                  </a:lnTo>
                  <a:lnTo>
                    <a:pt x="984" y="48"/>
                  </a:lnTo>
                  <a:lnTo>
                    <a:pt x="978" y="48"/>
                  </a:lnTo>
                  <a:lnTo>
                    <a:pt x="984" y="48"/>
                  </a:lnTo>
                  <a:lnTo>
                    <a:pt x="984" y="54"/>
                  </a:lnTo>
                  <a:lnTo>
                    <a:pt x="984" y="60"/>
                  </a:lnTo>
                  <a:lnTo>
                    <a:pt x="990" y="60"/>
                  </a:lnTo>
                  <a:lnTo>
                    <a:pt x="990" y="66"/>
                  </a:lnTo>
                  <a:lnTo>
                    <a:pt x="996" y="66"/>
                  </a:lnTo>
                  <a:lnTo>
                    <a:pt x="996" y="72"/>
                  </a:lnTo>
                  <a:lnTo>
                    <a:pt x="1002" y="72"/>
                  </a:lnTo>
                  <a:lnTo>
                    <a:pt x="1002" y="78"/>
                  </a:lnTo>
                  <a:lnTo>
                    <a:pt x="1008" y="78"/>
                  </a:lnTo>
                  <a:lnTo>
                    <a:pt x="1014" y="78"/>
                  </a:lnTo>
                  <a:lnTo>
                    <a:pt x="1014" y="84"/>
                  </a:lnTo>
                  <a:lnTo>
                    <a:pt x="1020" y="84"/>
                  </a:lnTo>
                  <a:lnTo>
                    <a:pt x="1026" y="84"/>
                  </a:lnTo>
                  <a:lnTo>
                    <a:pt x="1026" y="90"/>
                  </a:lnTo>
                  <a:lnTo>
                    <a:pt x="1026" y="96"/>
                  </a:lnTo>
                  <a:lnTo>
                    <a:pt x="1026" y="102"/>
                  </a:lnTo>
                  <a:lnTo>
                    <a:pt x="1026" y="96"/>
                  </a:lnTo>
                  <a:lnTo>
                    <a:pt x="1032" y="96"/>
                  </a:lnTo>
                  <a:lnTo>
                    <a:pt x="1038" y="96"/>
                  </a:lnTo>
                  <a:lnTo>
                    <a:pt x="1038" y="102"/>
                  </a:lnTo>
                  <a:lnTo>
                    <a:pt x="1038" y="108"/>
                  </a:lnTo>
                  <a:lnTo>
                    <a:pt x="1044" y="108"/>
                  </a:lnTo>
                  <a:lnTo>
                    <a:pt x="1044" y="102"/>
                  </a:lnTo>
                  <a:lnTo>
                    <a:pt x="1044" y="108"/>
                  </a:lnTo>
                  <a:lnTo>
                    <a:pt x="1044" y="114"/>
                  </a:lnTo>
                  <a:lnTo>
                    <a:pt x="1038" y="114"/>
                  </a:lnTo>
                  <a:lnTo>
                    <a:pt x="1038" y="120"/>
                  </a:lnTo>
                  <a:lnTo>
                    <a:pt x="1038" y="126"/>
                  </a:lnTo>
                  <a:lnTo>
                    <a:pt x="1038" y="132"/>
                  </a:lnTo>
                  <a:lnTo>
                    <a:pt x="1032" y="132"/>
                  </a:lnTo>
                  <a:lnTo>
                    <a:pt x="1038" y="132"/>
                  </a:lnTo>
                  <a:lnTo>
                    <a:pt x="1038" y="138"/>
                  </a:lnTo>
                  <a:lnTo>
                    <a:pt x="1044" y="138"/>
                  </a:lnTo>
                  <a:lnTo>
                    <a:pt x="1044" y="144"/>
                  </a:lnTo>
                  <a:lnTo>
                    <a:pt x="1038" y="144"/>
                  </a:lnTo>
                  <a:lnTo>
                    <a:pt x="1038" y="150"/>
                  </a:lnTo>
                  <a:lnTo>
                    <a:pt x="1038" y="156"/>
                  </a:lnTo>
                  <a:lnTo>
                    <a:pt x="1032" y="156"/>
                  </a:lnTo>
                  <a:lnTo>
                    <a:pt x="1032" y="162"/>
                  </a:lnTo>
                  <a:lnTo>
                    <a:pt x="1038" y="162"/>
                  </a:lnTo>
                  <a:lnTo>
                    <a:pt x="1038" y="168"/>
                  </a:lnTo>
                  <a:lnTo>
                    <a:pt x="1044" y="168"/>
                  </a:lnTo>
                  <a:lnTo>
                    <a:pt x="1050" y="168"/>
                  </a:lnTo>
                  <a:lnTo>
                    <a:pt x="1050" y="174"/>
                  </a:lnTo>
                  <a:lnTo>
                    <a:pt x="1056" y="174"/>
                  </a:lnTo>
                  <a:lnTo>
                    <a:pt x="1062" y="174"/>
                  </a:lnTo>
                  <a:lnTo>
                    <a:pt x="1062" y="180"/>
                  </a:lnTo>
                  <a:lnTo>
                    <a:pt x="1068" y="180"/>
                  </a:lnTo>
                  <a:lnTo>
                    <a:pt x="1062" y="186"/>
                  </a:lnTo>
                  <a:lnTo>
                    <a:pt x="1056" y="192"/>
                  </a:lnTo>
                  <a:lnTo>
                    <a:pt x="1050" y="198"/>
                  </a:lnTo>
                  <a:lnTo>
                    <a:pt x="1050" y="204"/>
                  </a:lnTo>
                  <a:lnTo>
                    <a:pt x="1044" y="204"/>
                  </a:lnTo>
                  <a:lnTo>
                    <a:pt x="1044" y="210"/>
                  </a:lnTo>
                  <a:lnTo>
                    <a:pt x="1038" y="210"/>
                  </a:lnTo>
                  <a:lnTo>
                    <a:pt x="1032" y="216"/>
                  </a:lnTo>
                  <a:lnTo>
                    <a:pt x="1032" y="222"/>
                  </a:lnTo>
                  <a:lnTo>
                    <a:pt x="1026" y="222"/>
                  </a:lnTo>
                  <a:lnTo>
                    <a:pt x="1020" y="228"/>
                  </a:lnTo>
                  <a:lnTo>
                    <a:pt x="1020" y="234"/>
                  </a:lnTo>
                  <a:lnTo>
                    <a:pt x="1014" y="234"/>
                  </a:lnTo>
                  <a:lnTo>
                    <a:pt x="1008" y="234"/>
                  </a:lnTo>
                  <a:lnTo>
                    <a:pt x="1008" y="240"/>
                  </a:lnTo>
                  <a:lnTo>
                    <a:pt x="1002" y="246"/>
                  </a:lnTo>
                  <a:lnTo>
                    <a:pt x="1008" y="246"/>
                  </a:lnTo>
                  <a:lnTo>
                    <a:pt x="1002" y="246"/>
                  </a:lnTo>
                  <a:lnTo>
                    <a:pt x="1002" y="252"/>
                  </a:lnTo>
                  <a:lnTo>
                    <a:pt x="996" y="252"/>
                  </a:lnTo>
                  <a:lnTo>
                    <a:pt x="990" y="252"/>
                  </a:lnTo>
                  <a:lnTo>
                    <a:pt x="990" y="258"/>
                  </a:lnTo>
                  <a:lnTo>
                    <a:pt x="990" y="264"/>
                  </a:lnTo>
                  <a:lnTo>
                    <a:pt x="990" y="270"/>
                  </a:lnTo>
                  <a:lnTo>
                    <a:pt x="990" y="276"/>
                  </a:lnTo>
                  <a:lnTo>
                    <a:pt x="984" y="276"/>
                  </a:lnTo>
                  <a:lnTo>
                    <a:pt x="984" y="282"/>
                  </a:lnTo>
                  <a:lnTo>
                    <a:pt x="984" y="288"/>
                  </a:lnTo>
                  <a:lnTo>
                    <a:pt x="978" y="288"/>
                  </a:lnTo>
                  <a:lnTo>
                    <a:pt x="978" y="294"/>
                  </a:lnTo>
                  <a:lnTo>
                    <a:pt x="978" y="300"/>
                  </a:lnTo>
                  <a:lnTo>
                    <a:pt x="978" y="306"/>
                  </a:lnTo>
                  <a:lnTo>
                    <a:pt x="978" y="312"/>
                  </a:lnTo>
                  <a:lnTo>
                    <a:pt x="972" y="318"/>
                  </a:lnTo>
                  <a:lnTo>
                    <a:pt x="972" y="324"/>
                  </a:lnTo>
                  <a:lnTo>
                    <a:pt x="972" y="330"/>
                  </a:lnTo>
                  <a:lnTo>
                    <a:pt x="972" y="336"/>
                  </a:lnTo>
                  <a:lnTo>
                    <a:pt x="972" y="342"/>
                  </a:lnTo>
                  <a:lnTo>
                    <a:pt x="972" y="348"/>
                  </a:lnTo>
                  <a:lnTo>
                    <a:pt x="972" y="354"/>
                  </a:lnTo>
                  <a:lnTo>
                    <a:pt x="972" y="360"/>
                  </a:lnTo>
                  <a:lnTo>
                    <a:pt x="966" y="360"/>
                  </a:lnTo>
                  <a:lnTo>
                    <a:pt x="972" y="366"/>
                  </a:lnTo>
                  <a:lnTo>
                    <a:pt x="966" y="366"/>
                  </a:lnTo>
                  <a:lnTo>
                    <a:pt x="972" y="366"/>
                  </a:lnTo>
                  <a:lnTo>
                    <a:pt x="972" y="372"/>
                  </a:lnTo>
                  <a:lnTo>
                    <a:pt x="972" y="378"/>
                  </a:lnTo>
                  <a:lnTo>
                    <a:pt x="966" y="378"/>
                  </a:lnTo>
                  <a:lnTo>
                    <a:pt x="966" y="384"/>
                  </a:lnTo>
                  <a:lnTo>
                    <a:pt x="960" y="384"/>
                  </a:lnTo>
                  <a:lnTo>
                    <a:pt x="954" y="384"/>
                  </a:lnTo>
                  <a:lnTo>
                    <a:pt x="954" y="390"/>
                  </a:lnTo>
                  <a:lnTo>
                    <a:pt x="948" y="390"/>
                  </a:lnTo>
                  <a:lnTo>
                    <a:pt x="948" y="396"/>
                  </a:lnTo>
                  <a:lnTo>
                    <a:pt x="948" y="402"/>
                  </a:lnTo>
                  <a:lnTo>
                    <a:pt x="942" y="402"/>
                  </a:lnTo>
                  <a:lnTo>
                    <a:pt x="942" y="408"/>
                  </a:lnTo>
                  <a:lnTo>
                    <a:pt x="948" y="414"/>
                  </a:lnTo>
                  <a:lnTo>
                    <a:pt x="948" y="420"/>
                  </a:lnTo>
                  <a:lnTo>
                    <a:pt x="942" y="426"/>
                  </a:lnTo>
                  <a:lnTo>
                    <a:pt x="936" y="426"/>
                  </a:lnTo>
                  <a:lnTo>
                    <a:pt x="936" y="432"/>
                  </a:lnTo>
                  <a:lnTo>
                    <a:pt x="930" y="432"/>
                  </a:lnTo>
                  <a:lnTo>
                    <a:pt x="930" y="438"/>
                  </a:lnTo>
                  <a:lnTo>
                    <a:pt x="930" y="444"/>
                  </a:lnTo>
                  <a:lnTo>
                    <a:pt x="930" y="450"/>
                  </a:lnTo>
                  <a:lnTo>
                    <a:pt x="936" y="450"/>
                  </a:lnTo>
                  <a:lnTo>
                    <a:pt x="936" y="456"/>
                  </a:lnTo>
                  <a:lnTo>
                    <a:pt x="942" y="456"/>
                  </a:lnTo>
                  <a:lnTo>
                    <a:pt x="942" y="462"/>
                  </a:lnTo>
                  <a:lnTo>
                    <a:pt x="948" y="462"/>
                  </a:lnTo>
                  <a:lnTo>
                    <a:pt x="948" y="468"/>
                  </a:lnTo>
                  <a:lnTo>
                    <a:pt x="948" y="474"/>
                  </a:lnTo>
                  <a:lnTo>
                    <a:pt x="948" y="480"/>
                  </a:lnTo>
                  <a:lnTo>
                    <a:pt x="948" y="486"/>
                  </a:lnTo>
                  <a:lnTo>
                    <a:pt x="948" y="492"/>
                  </a:lnTo>
                  <a:lnTo>
                    <a:pt x="948" y="498"/>
                  </a:lnTo>
                  <a:lnTo>
                    <a:pt x="948" y="504"/>
                  </a:lnTo>
                  <a:lnTo>
                    <a:pt x="948" y="510"/>
                  </a:lnTo>
                  <a:lnTo>
                    <a:pt x="948" y="516"/>
                  </a:lnTo>
                  <a:lnTo>
                    <a:pt x="954" y="516"/>
                  </a:lnTo>
                  <a:lnTo>
                    <a:pt x="954" y="522"/>
                  </a:lnTo>
                  <a:lnTo>
                    <a:pt x="954" y="528"/>
                  </a:lnTo>
                  <a:lnTo>
                    <a:pt x="960" y="528"/>
                  </a:lnTo>
                  <a:lnTo>
                    <a:pt x="960" y="534"/>
                  </a:lnTo>
                  <a:lnTo>
                    <a:pt x="960" y="540"/>
                  </a:lnTo>
                  <a:lnTo>
                    <a:pt x="960" y="546"/>
                  </a:lnTo>
                  <a:lnTo>
                    <a:pt x="960" y="552"/>
                  </a:lnTo>
                  <a:lnTo>
                    <a:pt x="954" y="558"/>
                  </a:lnTo>
                  <a:lnTo>
                    <a:pt x="954" y="564"/>
                  </a:lnTo>
                  <a:lnTo>
                    <a:pt x="954" y="570"/>
                  </a:lnTo>
                  <a:lnTo>
                    <a:pt x="954" y="576"/>
                  </a:lnTo>
                  <a:lnTo>
                    <a:pt x="960" y="576"/>
                  </a:lnTo>
                  <a:lnTo>
                    <a:pt x="960" y="582"/>
                  </a:lnTo>
                  <a:lnTo>
                    <a:pt x="960" y="588"/>
                  </a:lnTo>
                  <a:lnTo>
                    <a:pt x="960" y="594"/>
                  </a:lnTo>
                  <a:lnTo>
                    <a:pt x="966" y="594"/>
                  </a:lnTo>
                  <a:lnTo>
                    <a:pt x="966" y="600"/>
                  </a:lnTo>
                  <a:lnTo>
                    <a:pt x="966" y="606"/>
                  </a:lnTo>
                  <a:lnTo>
                    <a:pt x="966" y="612"/>
                  </a:lnTo>
                  <a:lnTo>
                    <a:pt x="972" y="612"/>
                  </a:lnTo>
                  <a:lnTo>
                    <a:pt x="972" y="618"/>
                  </a:lnTo>
                  <a:lnTo>
                    <a:pt x="972" y="624"/>
                  </a:lnTo>
                  <a:lnTo>
                    <a:pt x="972" y="630"/>
                  </a:lnTo>
                  <a:lnTo>
                    <a:pt x="966" y="630"/>
                  </a:lnTo>
                  <a:lnTo>
                    <a:pt x="966" y="636"/>
                  </a:lnTo>
                  <a:lnTo>
                    <a:pt x="966" y="642"/>
                  </a:lnTo>
                  <a:lnTo>
                    <a:pt x="972" y="642"/>
                  </a:lnTo>
                  <a:lnTo>
                    <a:pt x="972" y="648"/>
                  </a:lnTo>
                  <a:lnTo>
                    <a:pt x="972" y="654"/>
                  </a:lnTo>
                  <a:lnTo>
                    <a:pt x="972" y="660"/>
                  </a:lnTo>
                  <a:lnTo>
                    <a:pt x="978" y="660"/>
                  </a:lnTo>
                  <a:lnTo>
                    <a:pt x="978" y="666"/>
                  </a:lnTo>
                  <a:lnTo>
                    <a:pt x="984" y="672"/>
                  </a:lnTo>
                  <a:lnTo>
                    <a:pt x="990" y="672"/>
                  </a:lnTo>
                  <a:lnTo>
                    <a:pt x="990" y="678"/>
                  </a:lnTo>
                  <a:lnTo>
                    <a:pt x="996" y="678"/>
                  </a:lnTo>
                  <a:lnTo>
                    <a:pt x="996" y="684"/>
                  </a:lnTo>
                  <a:lnTo>
                    <a:pt x="1002" y="684"/>
                  </a:lnTo>
                  <a:lnTo>
                    <a:pt x="1002" y="690"/>
                  </a:lnTo>
                  <a:lnTo>
                    <a:pt x="1008" y="690"/>
                  </a:lnTo>
                  <a:lnTo>
                    <a:pt x="1008" y="696"/>
                  </a:lnTo>
                  <a:lnTo>
                    <a:pt x="1014" y="702"/>
                  </a:lnTo>
                  <a:lnTo>
                    <a:pt x="1014" y="708"/>
                  </a:lnTo>
                  <a:lnTo>
                    <a:pt x="1014" y="714"/>
                  </a:lnTo>
                  <a:lnTo>
                    <a:pt x="1020" y="714"/>
                  </a:lnTo>
                  <a:lnTo>
                    <a:pt x="1020" y="720"/>
                  </a:lnTo>
                  <a:lnTo>
                    <a:pt x="1020" y="726"/>
                  </a:lnTo>
                  <a:lnTo>
                    <a:pt x="1026" y="732"/>
                  </a:lnTo>
                  <a:lnTo>
                    <a:pt x="1026" y="738"/>
                  </a:lnTo>
                  <a:lnTo>
                    <a:pt x="1026" y="744"/>
                  </a:lnTo>
                  <a:lnTo>
                    <a:pt x="1032" y="744"/>
                  </a:lnTo>
                  <a:lnTo>
                    <a:pt x="1032" y="750"/>
                  </a:lnTo>
                  <a:lnTo>
                    <a:pt x="1032" y="756"/>
                  </a:lnTo>
                  <a:lnTo>
                    <a:pt x="1038" y="756"/>
                  </a:lnTo>
                  <a:close/>
                  <a:moveTo>
                    <a:pt x="12" y="636"/>
                  </a:moveTo>
                  <a:lnTo>
                    <a:pt x="18" y="636"/>
                  </a:lnTo>
                  <a:lnTo>
                    <a:pt x="12" y="636"/>
                  </a:lnTo>
                  <a:close/>
                  <a:moveTo>
                    <a:pt x="36" y="630"/>
                  </a:moveTo>
                  <a:lnTo>
                    <a:pt x="42" y="630"/>
                  </a:lnTo>
                  <a:lnTo>
                    <a:pt x="36" y="630"/>
                  </a:lnTo>
                  <a:close/>
                  <a:moveTo>
                    <a:pt x="12" y="636"/>
                  </a:moveTo>
                  <a:lnTo>
                    <a:pt x="18" y="636"/>
                  </a:lnTo>
                  <a:lnTo>
                    <a:pt x="12" y="636"/>
                  </a:lnTo>
                  <a:close/>
                  <a:moveTo>
                    <a:pt x="36" y="630"/>
                  </a:moveTo>
                  <a:lnTo>
                    <a:pt x="42" y="630"/>
                  </a:lnTo>
                  <a:lnTo>
                    <a:pt x="36" y="63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4" name="Freeform 49"/>
            <p:cNvSpPr>
              <a:spLocks/>
            </p:cNvSpPr>
            <p:nvPr>
              <p:custDataLst>
                <p:tags r:id="rId97"/>
              </p:custDataLst>
            </p:nvPr>
          </p:nvSpPr>
          <p:spPr bwMode="gray">
            <a:xfrm>
              <a:off x="3960813" y="3346451"/>
              <a:ext cx="514350" cy="604838"/>
            </a:xfrm>
            <a:custGeom>
              <a:avLst/>
              <a:gdLst>
                <a:gd name="T0" fmla="*/ 30126 w 414"/>
                <a:gd name="T1" fmla="*/ 163809 h 486"/>
                <a:gd name="T2" fmla="*/ 19436 w 414"/>
                <a:gd name="T3" fmla="*/ 167709 h 486"/>
                <a:gd name="T4" fmla="*/ 14577 w 414"/>
                <a:gd name="T5" fmla="*/ 172584 h 486"/>
                <a:gd name="T6" fmla="*/ 8746 w 414"/>
                <a:gd name="T7" fmla="*/ 161858 h 486"/>
                <a:gd name="T8" fmla="*/ 0 w 414"/>
                <a:gd name="T9" fmla="*/ 153083 h 486"/>
                <a:gd name="T10" fmla="*/ 8746 w 414"/>
                <a:gd name="T11" fmla="*/ 144308 h 486"/>
                <a:gd name="T12" fmla="*/ 14577 w 414"/>
                <a:gd name="T13" fmla="*/ 142358 h 486"/>
                <a:gd name="T14" fmla="*/ 14577 w 414"/>
                <a:gd name="T15" fmla="*/ 131632 h 486"/>
                <a:gd name="T16" fmla="*/ 8746 w 414"/>
                <a:gd name="T17" fmla="*/ 124807 h 486"/>
                <a:gd name="T18" fmla="*/ 14577 w 414"/>
                <a:gd name="T19" fmla="*/ 120906 h 486"/>
                <a:gd name="T20" fmla="*/ 26239 w 414"/>
                <a:gd name="T21" fmla="*/ 117006 h 486"/>
                <a:gd name="T22" fmla="*/ 32069 w 414"/>
                <a:gd name="T23" fmla="*/ 112131 h 486"/>
                <a:gd name="T24" fmla="*/ 40815 w 414"/>
                <a:gd name="T25" fmla="*/ 120906 h 486"/>
                <a:gd name="T26" fmla="*/ 53448 w 414"/>
                <a:gd name="T27" fmla="*/ 117006 h 486"/>
                <a:gd name="T28" fmla="*/ 60251 w 414"/>
                <a:gd name="T29" fmla="*/ 117981 h 486"/>
                <a:gd name="T30" fmla="*/ 64138 w 414"/>
                <a:gd name="T31" fmla="*/ 105306 h 486"/>
                <a:gd name="T32" fmla="*/ 64138 w 414"/>
                <a:gd name="T33" fmla="*/ 97505 h 486"/>
                <a:gd name="T34" fmla="*/ 62195 w 414"/>
                <a:gd name="T35" fmla="*/ 81904 h 486"/>
                <a:gd name="T36" fmla="*/ 53448 w 414"/>
                <a:gd name="T37" fmla="*/ 73129 h 486"/>
                <a:gd name="T38" fmla="*/ 57335 w 414"/>
                <a:gd name="T39" fmla="*/ 64354 h 486"/>
                <a:gd name="T40" fmla="*/ 64138 w 414"/>
                <a:gd name="T41" fmla="*/ 57528 h 486"/>
                <a:gd name="T42" fmla="*/ 62195 w 414"/>
                <a:gd name="T43" fmla="*/ 47778 h 486"/>
                <a:gd name="T44" fmla="*/ 49561 w 414"/>
                <a:gd name="T45" fmla="*/ 47778 h 486"/>
                <a:gd name="T46" fmla="*/ 37899 w 414"/>
                <a:gd name="T47" fmla="*/ 47778 h 486"/>
                <a:gd name="T48" fmla="*/ 37899 w 414"/>
                <a:gd name="T49" fmla="*/ 42902 h 486"/>
                <a:gd name="T50" fmla="*/ 40815 w 414"/>
                <a:gd name="T51" fmla="*/ 37052 h 486"/>
                <a:gd name="T52" fmla="*/ 47618 w 414"/>
                <a:gd name="T53" fmla="*/ 30227 h 486"/>
                <a:gd name="T54" fmla="*/ 64138 w 414"/>
                <a:gd name="T55" fmla="*/ 30227 h 486"/>
                <a:gd name="T56" fmla="*/ 72884 w 414"/>
                <a:gd name="T57" fmla="*/ 32176 h 486"/>
                <a:gd name="T58" fmla="*/ 76772 w 414"/>
                <a:gd name="T59" fmla="*/ 32176 h 486"/>
                <a:gd name="T60" fmla="*/ 87461 w 414"/>
                <a:gd name="T61" fmla="*/ 34127 h 486"/>
                <a:gd name="T62" fmla="*/ 96207 w 414"/>
                <a:gd name="T63" fmla="*/ 39002 h 486"/>
                <a:gd name="T64" fmla="*/ 98151 w 414"/>
                <a:gd name="T65" fmla="*/ 28276 h 486"/>
                <a:gd name="T66" fmla="*/ 104953 w 414"/>
                <a:gd name="T67" fmla="*/ 17551 h 486"/>
                <a:gd name="T68" fmla="*/ 106897 w 414"/>
                <a:gd name="T69" fmla="*/ 3900 h 486"/>
                <a:gd name="T70" fmla="*/ 120501 w 414"/>
                <a:gd name="T71" fmla="*/ 0 h 486"/>
                <a:gd name="T72" fmla="*/ 133135 w 414"/>
                <a:gd name="T73" fmla="*/ 0 h 486"/>
                <a:gd name="T74" fmla="*/ 141881 w 414"/>
                <a:gd name="T75" fmla="*/ 0 h 486"/>
                <a:gd name="T76" fmla="*/ 147712 w 414"/>
                <a:gd name="T77" fmla="*/ 3900 h 486"/>
                <a:gd name="T78" fmla="*/ 143825 w 414"/>
                <a:gd name="T79" fmla="*/ 17551 h 486"/>
                <a:gd name="T80" fmla="*/ 137022 w 414"/>
                <a:gd name="T81" fmla="*/ 30227 h 486"/>
                <a:gd name="T82" fmla="*/ 135078 w 414"/>
                <a:gd name="T83" fmla="*/ 44852 h 486"/>
                <a:gd name="T84" fmla="*/ 133135 w 414"/>
                <a:gd name="T85" fmla="*/ 60454 h 486"/>
                <a:gd name="T86" fmla="*/ 131191 w 414"/>
                <a:gd name="T87" fmla="*/ 71179 h 486"/>
                <a:gd name="T88" fmla="*/ 128276 w 414"/>
                <a:gd name="T89" fmla="*/ 86779 h 486"/>
                <a:gd name="T90" fmla="*/ 115643 w 414"/>
                <a:gd name="T91" fmla="*/ 94580 h 486"/>
                <a:gd name="T92" fmla="*/ 106897 w 414"/>
                <a:gd name="T93" fmla="*/ 107255 h 486"/>
                <a:gd name="T94" fmla="*/ 98151 w 414"/>
                <a:gd name="T95" fmla="*/ 117006 h 486"/>
                <a:gd name="T96" fmla="*/ 98151 w 414"/>
                <a:gd name="T97" fmla="*/ 129682 h 486"/>
                <a:gd name="T98" fmla="*/ 98151 w 414"/>
                <a:gd name="T99" fmla="*/ 142358 h 486"/>
                <a:gd name="T100" fmla="*/ 92320 w 414"/>
                <a:gd name="T101" fmla="*/ 153083 h 486"/>
                <a:gd name="T102" fmla="*/ 81630 w 414"/>
                <a:gd name="T103" fmla="*/ 159909 h 486"/>
                <a:gd name="T104" fmla="*/ 70940 w 414"/>
                <a:gd name="T105" fmla="*/ 170634 h 486"/>
                <a:gd name="T106" fmla="*/ 64138 w 414"/>
                <a:gd name="T107" fmla="*/ 165759 h 486"/>
                <a:gd name="T108" fmla="*/ 60251 w 414"/>
                <a:gd name="T109" fmla="*/ 161858 h 486"/>
                <a:gd name="T110" fmla="*/ 49561 w 414"/>
                <a:gd name="T111" fmla="*/ 163809 h 486"/>
                <a:gd name="T112" fmla="*/ 44703 w 414"/>
                <a:gd name="T113" fmla="*/ 172584 h 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4" h="486">
                  <a:moveTo>
                    <a:pt x="108" y="462"/>
                  </a:moveTo>
                  <a:lnTo>
                    <a:pt x="102" y="462"/>
                  </a:lnTo>
                  <a:lnTo>
                    <a:pt x="102" y="456"/>
                  </a:lnTo>
                  <a:lnTo>
                    <a:pt x="96" y="456"/>
                  </a:lnTo>
                  <a:lnTo>
                    <a:pt x="96" y="450"/>
                  </a:lnTo>
                  <a:lnTo>
                    <a:pt x="90" y="450"/>
                  </a:lnTo>
                  <a:lnTo>
                    <a:pt x="84" y="450"/>
                  </a:lnTo>
                  <a:lnTo>
                    <a:pt x="84" y="456"/>
                  </a:lnTo>
                  <a:lnTo>
                    <a:pt x="78" y="456"/>
                  </a:lnTo>
                  <a:lnTo>
                    <a:pt x="72" y="462"/>
                  </a:lnTo>
                  <a:lnTo>
                    <a:pt x="66" y="462"/>
                  </a:lnTo>
                  <a:lnTo>
                    <a:pt x="66" y="468"/>
                  </a:lnTo>
                  <a:lnTo>
                    <a:pt x="60" y="468"/>
                  </a:lnTo>
                  <a:lnTo>
                    <a:pt x="60" y="474"/>
                  </a:lnTo>
                  <a:lnTo>
                    <a:pt x="60" y="468"/>
                  </a:lnTo>
                  <a:lnTo>
                    <a:pt x="54" y="468"/>
                  </a:lnTo>
                  <a:lnTo>
                    <a:pt x="54" y="474"/>
                  </a:lnTo>
                  <a:lnTo>
                    <a:pt x="54" y="480"/>
                  </a:lnTo>
                  <a:lnTo>
                    <a:pt x="48" y="480"/>
                  </a:lnTo>
                  <a:lnTo>
                    <a:pt x="48" y="486"/>
                  </a:lnTo>
                  <a:lnTo>
                    <a:pt x="42" y="486"/>
                  </a:lnTo>
                  <a:lnTo>
                    <a:pt x="42" y="480"/>
                  </a:lnTo>
                  <a:lnTo>
                    <a:pt x="42" y="474"/>
                  </a:lnTo>
                  <a:lnTo>
                    <a:pt x="42" y="480"/>
                  </a:lnTo>
                  <a:lnTo>
                    <a:pt x="36" y="474"/>
                  </a:lnTo>
                  <a:lnTo>
                    <a:pt x="36" y="468"/>
                  </a:lnTo>
                  <a:lnTo>
                    <a:pt x="30" y="468"/>
                  </a:lnTo>
                  <a:lnTo>
                    <a:pt x="30" y="462"/>
                  </a:lnTo>
                  <a:lnTo>
                    <a:pt x="36" y="462"/>
                  </a:lnTo>
                  <a:lnTo>
                    <a:pt x="30" y="456"/>
                  </a:lnTo>
                  <a:lnTo>
                    <a:pt x="30" y="450"/>
                  </a:lnTo>
                  <a:lnTo>
                    <a:pt x="24" y="450"/>
                  </a:lnTo>
                  <a:lnTo>
                    <a:pt x="18" y="444"/>
                  </a:lnTo>
                  <a:lnTo>
                    <a:pt x="12" y="438"/>
                  </a:lnTo>
                  <a:lnTo>
                    <a:pt x="12" y="432"/>
                  </a:lnTo>
                  <a:lnTo>
                    <a:pt x="6" y="432"/>
                  </a:lnTo>
                  <a:lnTo>
                    <a:pt x="6" y="426"/>
                  </a:lnTo>
                  <a:lnTo>
                    <a:pt x="0" y="426"/>
                  </a:lnTo>
                  <a:lnTo>
                    <a:pt x="6" y="426"/>
                  </a:lnTo>
                  <a:lnTo>
                    <a:pt x="0" y="426"/>
                  </a:lnTo>
                  <a:lnTo>
                    <a:pt x="0" y="420"/>
                  </a:lnTo>
                  <a:lnTo>
                    <a:pt x="0" y="414"/>
                  </a:lnTo>
                  <a:lnTo>
                    <a:pt x="0" y="408"/>
                  </a:lnTo>
                  <a:lnTo>
                    <a:pt x="6" y="408"/>
                  </a:lnTo>
                  <a:lnTo>
                    <a:pt x="6" y="402"/>
                  </a:lnTo>
                  <a:lnTo>
                    <a:pt x="12" y="402"/>
                  </a:lnTo>
                  <a:lnTo>
                    <a:pt x="18" y="402"/>
                  </a:lnTo>
                  <a:lnTo>
                    <a:pt x="24" y="402"/>
                  </a:lnTo>
                  <a:lnTo>
                    <a:pt x="24" y="408"/>
                  </a:lnTo>
                  <a:lnTo>
                    <a:pt x="30" y="408"/>
                  </a:lnTo>
                  <a:lnTo>
                    <a:pt x="36" y="408"/>
                  </a:lnTo>
                  <a:lnTo>
                    <a:pt x="36" y="414"/>
                  </a:lnTo>
                  <a:lnTo>
                    <a:pt x="42" y="408"/>
                  </a:lnTo>
                  <a:lnTo>
                    <a:pt x="42" y="402"/>
                  </a:lnTo>
                  <a:lnTo>
                    <a:pt x="36" y="402"/>
                  </a:lnTo>
                  <a:lnTo>
                    <a:pt x="42" y="396"/>
                  </a:lnTo>
                  <a:lnTo>
                    <a:pt x="48" y="390"/>
                  </a:lnTo>
                  <a:lnTo>
                    <a:pt x="48" y="384"/>
                  </a:lnTo>
                  <a:lnTo>
                    <a:pt x="42" y="384"/>
                  </a:lnTo>
                  <a:lnTo>
                    <a:pt x="42" y="378"/>
                  </a:lnTo>
                  <a:lnTo>
                    <a:pt x="48" y="378"/>
                  </a:lnTo>
                  <a:lnTo>
                    <a:pt x="48" y="372"/>
                  </a:lnTo>
                  <a:lnTo>
                    <a:pt x="48" y="366"/>
                  </a:lnTo>
                  <a:lnTo>
                    <a:pt x="42" y="366"/>
                  </a:lnTo>
                  <a:lnTo>
                    <a:pt x="36" y="366"/>
                  </a:lnTo>
                  <a:lnTo>
                    <a:pt x="36" y="360"/>
                  </a:lnTo>
                  <a:lnTo>
                    <a:pt x="30" y="360"/>
                  </a:lnTo>
                  <a:lnTo>
                    <a:pt x="24" y="360"/>
                  </a:lnTo>
                  <a:lnTo>
                    <a:pt x="24" y="354"/>
                  </a:lnTo>
                  <a:lnTo>
                    <a:pt x="30" y="354"/>
                  </a:lnTo>
                  <a:lnTo>
                    <a:pt x="30" y="348"/>
                  </a:lnTo>
                  <a:lnTo>
                    <a:pt x="24" y="348"/>
                  </a:lnTo>
                  <a:lnTo>
                    <a:pt x="24" y="342"/>
                  </a:lnTo>
                  <a:lnTo>
                    <a:pt x="24" y="336"/>
                  </a:lnTo>
                  <a:lnTo>
                    <a:pt x="24" y="330"/>
                  </a:lnTo>
                  <a:lnTo>
                    <a:pt x="24" y="336"/>
                  </a:lnTo>
                  <a:lnTo>
                    <a:pt x="30" y="336"/>
                  </a:lnTo>
                  <a:lnTo>
                    <a:pt x="30" y="342"/>
                  </a:lnTo>
                  <a:lnTo>
                    <a:pt x="36" y="336"/>
                  </a:lnTo>
                  <a:lnTo>
                    <a:pt x="42" y="336"/>
                  </a:lnTo>
                  <a:lnTo>
                    <a:pt x="48" y="336"/>
                  </a:lnTo>
                  <a:lnTo>
                    <a:pt x="48" y="342"/>
                  </a:lnTo>
                  <a:lnTo>
                    <a:pt x="54" y="336"/>
                  </a:lnTo>
                  <a:lnTo>
                    <a:pt x="60" y="336"/>
                  </a:lnTo>
                  <a:lnTo>
                    <a:pt x="66" y="336"/>
                  </a:lnTo>
                  <a:lnTo>
                    <a:pt x="72" y="336"/>
                  </a:lnTo>
                  <a:lnTo>
                    <a:pt x="72" y="330"/>
                  </a:lnTo>
                  <a:lnTo>
                    <a:pt x="72" y="324"/>
                  </a:lnTo>
                  <a:lnTo>
                    <a:pt x="72" y="318"/>
                  </a:lnTo>
                  <a:lnTo>
                    <a:pt x="72" y="312"/>
                  </a:lnTo>
                  <a:lnTo>
                    <a:pt x="72" y="306"/>
                  </a:lnTo>
                  <a:lnTo>
                    <a:pt x="72" y="312"/>
                  </a:lnTo>
                  <a:lnTo>
                    <a:pt x="78" y="306"/>
                  </a:lnTo>
                  <a:lnTo>
                    <a:pt x="84" y="306"/>
                  </a:lnTo>
                  <a:lnTo>
                    <a:pt x="90" y="306"/>
                  </a:lnTo>
                  <a:lnTo>
                    <a:pt x="90" y="312"/>
                  </a:lnTo>
                  <a:lnTo>
                    <a:pt x="90" y="318"/>
                  </a:lnTo>
                  <a:lnTo>
                    <a:pt x="96" y="318"/>
                  </a:lnTo>
                  <a:lnTo>
                    <a:pt x="96" y="324"/>
                  </a:lnTo>
                  <a:lnTo>
                    <a:pt x="102" y="324"/>
                  </a:lnTo>
                  <a:lnTo>
                    <a:pt x="102" y="330"/>
                  </a:lnTo>
                  <a:lnTo>
                    <a:pt x="102" y="336"/>
                  </a:lnTo>
                  <a:lnTo>
                    <a:pt x="108" y="336"/>
                  </a:lnTo>
                  <a:lnTo>
                    <a:pt x="114" y="336"/>
                  </a:lnTo>
                  <a:lnTo>
                    <a:pt x="120" y="336"/>
                  </a:lnTo>
                  <a:lnTo>
                    <a:pt x="126" y="336"/>
                  </a:lnTo>
                  <a:lnTo>
                    <a:pt x="132" y="336"/>
                  </a:lnTo>
                  <a:lnTo>
                    <a:pt x="132" y="330"/>
                  </a:lnTo>
                  <a:lnTo>
                    <a:pt x="138" y="330"/>
                  </a:lnTo>
                  <a:lnTo>
                    <a:pt x="138" y="324"/>
                  </a:lnTo>
                  <a:lnTo>
                    <a:pt x="144" y="324"/>
                  </a:lnTo>
                  <a:lnTo>
                    <a:pt x="150" y="324"/>
                  </a:lnTo>
                  <a:lnTo>
                    <a:pt x="150" y="330"/>
                  </a:lnTo>
                  <a:lnTo>
                    <a:pt x="150" y="336"/>
                  </a:lnTo>
                  <a:lnTo>
                    <a:pt x="150" y="342"/>
                  </a:lnTo>
                  <a:lnTo>
                    <a:pt x="156" y="342"/>
                  </a:lnTo>
                  <a:lnTo>
                    <a:pt x="162" y="342"/>
                  </a:lnTo>
                  <a:lnTo>
                    <a:pt x="162" y="336"/>
                  </a:lnTo>
                  <a:lnTo>
                    <a:pt x="168" y="336"/>
                  </a:lnTo>
                  <a:lnTo>
                    <a:pt x="168" y="330"/>
                  </a:lnTo>
                  <a:lnTo>
                    <a:pt x="162" y="324"/>
                  </a:lnTo>
                  <a:lnTo>
                    <a:pt x="168" y="324"/>
                  </a:lnTo>
                  <a:lnTo>
                    <a:pt x="168" y="318"/>
                  </a:lnTo>
                  <a:lnTo>
                    <a:pt x="168" y="312"/>
                  </a:lnTo>
                  <a:lnTo>
                    <a:pt x="174" y="312"/>
                  </a:lnTo>
                  <a:lnTo>
                    <a:pt x="180" y="306"/>
                  </a:lnTo>
                  <a:lnTo>
                    <a:pt x="180" y="300"/>
                  </a:lnTo>
                  <a:lnTo>
                    <a:pt x="180" y="294"/>
                  </a:lnTo>
                  <a:lnTo>
                    <a:pt x="174" y="294"/>
                  </a:lnTo>
                  <a:lnTo>
                    <a:pt x="180" y="294"/>
                  </a:lnTo>
                  <a:lnTo>
                    <a:pt x="180" y="288"/>
                  </a:lnTo>
                  <a:lnTo>
                    <a:pt x="180" y="282"/>
                  </a:lnTo>
                  <a:lnTo>
                    <a:pt x="186" y="282"/>
                  </a:lnTo>
                  <a:lnTo>
                    <a:pt x="180" y="282"/>
                  </a:lnTo>
                  <a:lnTo>
                    <a:pt x="180" y="276"/>
                  </a:lnTo>
                  <a:lnTo>
                    <a:pt x="180" y="270"/>
                  </a:lnTo>
                  <a:lnTo>
                    <a:pt x="180" y="264"/>
                  </a:lnTo>
                  <a:lnTo>
                    <a:pt x="180" y="258"/>
                  </a:lnTo>
                  <a:lnTo>
                    <a:pt x="180" y="252"/>
                  </a:lnTo>
                  <a:lnTo>
                    <a:pt x="180" y="246"/>
                  </a:lnTo>
                  <a:lnTo>
                    <a:pt x="186" y="240"/>
                  </a:lnTo>
                  <a:lnTo>
                    <a:pt x="180" y="234"/>
                  </a:lnTo>
                  <a:lnTo>
                    <a:pt x="180" y="228"/>
                  </a:lnTo>
                  <a:lnTo>
                    <a:pt x="174" y="228"/>
                  </a:lnTo>
                  <a:lnTo>
                    <a:pt x="168" y="228"/>
                  </a:lnTo>
                  <a:lnTo>
                    <a:pt x="168" y="222"/>
                  </a:lnTo>
                  <a:lnTo>
                    <a:pt x="162" y="222"/>
                  </a:lnTo>
                  <a:lnTo>
                    <a:pt x="162" y="216"/>
                  </a:lnTo>
                  <a:lnTo>
                    <a:pt x="156" y="216"/>
                  </a:lnTo>
                  <a:lnTo>
                    <a:pt x="150" y="216"/>
                  </a:lnTo>
                  <a:lnTo>
                    <a:pt x="150" y="210"/>
                  </a:lnTo>
                  <a:lnTo>
                    <a:pt x="150" y="204"/>
                  </a:lnTo>
                  <a:lnTo>
                    <a:pt x="156" y="204"/>
                  </a:lnTo>
                  <a:lnTo>
                    <a:pt x="156" y="198"/>
                  </a:lnTo>
                  <a:lnTo>
                    <a:pt x="150" y="198"/>
                  </a:lnTo>
                  <a:lnTo>
                    <a:pt x="150" y="192"/>
                  </a:lnTo>
                  <a:lnTo>
                    <a:pt x="150" y="186"/>
                  </a:lnTo>
                  <a:lnTo>
                    <a:pt x="156" y="186"/>
                  </a:lnTo>
                  <a:lnTo>
                    <a:pt x="156" y="180"/>
                  </a:lnTo>
                  <a:lnTo>
                    <a:pt x="162" y="180"/>
                  </a:lnTo>
                  <a:lnTo>
                    <a:pt x="162" y="174"/>
                  </a:lnTo>
                  <a:lnTo>
                    <a:pt x="168" y="174"/>
                  </a:lnTo>
                  <a:lnTo>
                    <a:pt x="174" y="174"/>
                  </a:lnTo>
                  <a:lnTo>
                    <a:pt x="174" y="168"/>
                  </a:lnTo>
                  <a:lnTo>
                    <a:pt x="180" y="168"/>
                  </a:lnTo>
                  <a:lnTo>
                    <a:pt x="174" y="168"/>
                  </a:lnTo>
                  <a:lnTo>
                    <a:pt x="174" y="162"/>
                  </a:lnTo>
                  <a:lnTo>
                    <a:pt x="180" y="162"/>
                  </a:lnTo>
                  <a:lnTo>
                    <a:pt x="180" y="156"/>
                  </a:lnTo>
                  <a:lnTo>
                    <a:pt x="186" y="156"/>
                  </a:lnTo>
                  <a:lnTo>
                    <a:pt x="186" y="150"/>
                  </a:lnTo>
                  <a:lnTo>
                    <a:pt x="180" y="150"/>
                  </a:lnTo>
                  <a:lnTo>
                    <a:pt x="180" y="144"/>
                  </a:lnTo>
                  <a:lnTo>
                    <a:pt x="174" y="144"/>
                  </a:lnTo>
                  <a:lnTo>
                    <a:pt x="174" y="138"/>
                  </a:lnTo>
                  <a:lnTo>
                    <a:pt x="174" y="132"/>
                  </a:lnTo>
                  <a:lnTo>
                    <a:pt x="174" y="126"/>
                  </a:lnTo>
                  <a:lnTo>
                    <a:pt x="168" y="126"/>
                  </a:lnTo>
                  <a:lnTo>
                    <a:pt x="162" y="126"/>
                  </a:lnTo>
                  <a:lnTo>
                    <a:pt x="156" y="126"/>
                  </a:lnTo>
                  <a:lnTo>
                    <a:pt x="150" y="126"/>
                  </a:lnTo>
                  <a:lnTo>
                    <a:pt x="144" y="126"/>
                  </a:lnTo>
                  <a:lnTo>
                    <a:pt x="138" y="126"/>
                  </a:lnTo>
                  <a:lnTo>
                    <a:pt x="138" y="132"/>
                  </a:lnTo>
                  <a:lnTo>
                    <a:pt x="132" y="132"/>
                  </a:lnTo>
                  <a:lnTo>
                    <a:pt x="126" y="132"/>
                  </a:lnTo>
                  <a:lnTo>
                    <a:pt x="120" y="132"/>
                  </a:lnTo>
                  <a:lnTo>
                    <a:pt x="120" y="138"/>
                  </a:lnTo>
                  <a:lnTo>
                    <a:pt x="114" y="132"/>
                  </a:lnTo>
                  <a:lnTo>
                    <a:pt x="114" y="138"/>
                  </a:lnTo>
                  <a:lnTo>
                    <a:pt x="108" y="138"/>
                  </a:lnTo>
                  <a:lnTo>
                    <a:pt x="108" y="132"/>
                  </a:lnTo>
                  <a:lnTo>
                    <a:pt x="114" y="132"/>
                  </a:lnTo>
                  <a:lnTo>
                    <a:pt x="114" y="126"/>
                  </a:lnTo>
                  <a:lnTo>
                    <a:pt x="114" y="132"/>
                  </a:lnTo>
                  <a:lnTo>
                    <a:pt x="114" y="126"/>
                  </a:lnTo>
                  <a:lnTo>
                    <a:pt x="114" y="120"/>
                  </a:lnTo>
                  <a:lnTo>
                    <a:pt x="108" y="120"/>
                  </a:lnTo>
                  <a:lnTo>
                    <a:pt x="114" y="120"/>
                  </a:lnTo>
                  <a:lnTo>
                    <a:pt x="108" y="120"/>
                  </a:lnTo>
                  <a:lnTo>
                    <a:pt x="114" y="120"/>
                  </a:lnTo>
                  <a:lnTo>
                    <a:pt x="108" y="120"/>
                  </a:lnTo>
                  <a:lnTo>
                    <a:pt x="108" y="114"/>
                  </a:lnTo>
                  <a:lnTo>
                    <a:pt x="108" y="108"/>
                  </a:lnTo>
                  <a:lnTo>
                    <a:pt x="108" y="102"/>
                  </a:lnTo>
                  <a:lnTo>
                    <a:pt x="114" y="102"/>
                  </a:lnTo>
                  <a:lnTo>
                    <a:pt x="108" y="102"/>
                  </a:lnTo>
                  <a:lnTo>
                    <a:pt x="114" y="102"/>
                  </a:lnTo>
                  <a:lnTo>
                    <a:pt x="108" y="102"/>
                  </a:lnTo>
                  <a:lnTo>
                    <a:pt x="108" y="96"/>
                  </a:lnTo>
                  <a:lnTo>
                    <a:pt x="114" y="96"/>
                  </a:lnTo>
                  <a:lnTo>
                    <a:pt x="114" y="90"/>
                  </a:lnTo>
                  <a:lnTo>
                    <a:pt x="114" y="84"/>
                  </a:lnTo>
                  <a:lnTo>
                    <a:pt x="120" y="84"/>
                  </a:lnTo>
                  <a:lnTo>
                    <a:pt x="126" y="84"/>
                  </a:lnTo>
                  <a:lnTo>
                    <a:pt x="132" y="84"/>
                  </a:lnTo>
                  <a:lnTo>
                    <a:pt x="138" y="84"/>
                  </a:lnTo>
                  <a:lnTo>
                    <a:pt x="144" y="84"/>
                  </a:lnTo>
                  <a:lnTo>
                    <a:pt x="150" y="84"/>
                  </a:lnTo>
                  <a:lnTo>
                    <a:pt x="156" y="84"/>
                  </a:lnTo>
                  <a:lnTo>
                    <a:pt x="162" y="84"/>
                  </a:lnTo>
                  <a:lnTo>
                    <a:pt x="168" y="84"/>
                  </a:lnTo>
                  <a:lnTo>
                    <a:pt x="174" y="84"/>
                  </a:lnTo>
                  <a:lnTo>
                    <a:pt x="180" y="84"/>
                  </a:lnTo>
                  <a:lnTo>
                    <a:pt x="186" y="84"/>
                  </a:lnTo>
                  <a:lnTo>
                    <a:pt x="186" y="78"/>
                  </a:lnTo>
                  <a:lnTo>
                    <a:pt x="192" y="84"/>
                  </a:lnTo>
                  <a:lnTo>
                    <a:pt x="198" y="84"/>
                  </a:lnTo>
                  <a:lnTo>
                    <a:pt x="198" y="90"/>
                  </a:lnTo>
                  <a:lnTo>
                    <a:pt x="198" y="84"/>
                  </a:lnTo>
                  <a:lnTo>
                    <a:pt x="198" y="90"/>
                  </a:lnTo>
                  <a:lnTo>
                    <a:pt x="204" y="90"/>
                  </a:lnTo>
                  <a:lnTo>
                    <a:pt x="204" y="84"/>
                  </a:lnTo>
                  <a:lnTo>
                    <a:pt x="204" y="90"/>
                  </a:lnTo>
                  <a:lnTo>
                    <a:pt x="210" y="90"/>
                  </a:lnTo>
                  <a:lnTo>
                    <a:pt x="216" y="90"/>
                  </a:lnTo>
                  <a:lnTo>
                    <a:pt x="216" y="96"/>
                  </a:lnTo>
                  <a:lnTo>
                    <a:pt x="216" y="90"/>
                  </a:lnTo>
                  <a:lnTo>
                    <a:pt x="216" y="96"/>
                  </a:lnTo>
                  <a:lnTo>
                    <a:pt x="216" y="90"/>
                  </a:lnTo>
                  <a:lnTo>
                    <a:pt x="222" y="90"/>
                  </a:lnTo>
                  <a:lnTo>
                    <a:pt x="228" y="90"/>
                  </a:lnTo>
                  <a:lnTo>
                    <a:pt x="222" y="90"/>
                  </a:lnTo>
                  <a:lnTo>
                    <a:pt x="228" y="90"/>
                  </a:lnTo>
                  <a:lnTo>
                    <a:pt x="228" y="96"/>
                  </a:lnTo>
                  <a:lnTo>
                    <a:pt x="234" y="96"/>
                  </a:lnTo>
                  <a:lnTo>
                    <a:pt x="240" y="96"/>
                  </a:lnTo>
                  <a:lnTo>
                    <a:pt x="246" y="96"/>
                  </a:lnTo>
                  <a:lnTo>
                    <a:pt x="252" y="96"/>
                  </a:lnTo>
                  <a:lnTo>
                    <a:pt x="258" y="96"/>
                  </a:lnTo>
                  <a:lnTo>
                    <a:pt x="258" y="102"/>
                  </a:lnTo>
                  <a:lnTo>
                    <a:pt x="264" y="102"/>
                  </a:lnTo>
                  <a:lnTo>
                    <a:pt x="264" y="108"/>
                  </a:lnTo>
                  <a:lnTo>
                    <a:pt x="270" y="108"/>
                  </a:lnTo>
                  <a:lnTo>
                    <a:pt x="270" y="114"/>
                  </a:lnTo>
                  <a:lnTo>
                    <a:pt x="270" y="108"/>
                  </a:lnTo>
                  <a:lnTo>
                    <a:pt x="276" y="108"/>
                  </a:lnTo>
                  <a:lnTo>
                    <a:pt x="276" y="102"/>
                  </a:lnTo>
                  <a:lnTo>
                    <a:pt x="276" y="96"/>
                  </a:lnTo>
                  <a:lnTo>
                    <a:pt x="270" y="96"/>
                  </a:lnTo>
                  <a:lnTo>
                    <a:pt x="270" y="90"/>
                  </a:lnTo>
                  <a:lnTo>
                    <a:pt x="270" y="84"/>
                  </a:lnTo>
                  <a:lnTo>
                    <a:pt x="276" y="84"/>
                  </a:lnTo>
                  <a:lnTo>
                    <a:pt x="276" y="78"/>
                  </a:lnTo>
                  <a:lnTo>
                    <a:pt x="282" y="78"/>
                  </a:lnTo>
                  <a:lnTo>
                    <a:pt x="282" y="72"/>
                  </a:lnTo>
                  <a:lnTo>
                    <a:pt x="282" y="66"/>
                  </a:lnTo>
                  <a:lnTo>
                    <a:pt x="288" y="66"/>
                  </a:lnTo>
                  <a:lnTo>
                    <a:pt x="288" y="60"/>
                  </a:lnTo>
                  <a:lnTo>
                    <a:pt x="288" y="54"/>
                  </a:lnTo>
                  <a:lnTo>
                    <a:pt x="294" y="54"/>
                  </a:lnTo>
                  <a:lnTo>
                    <a:pt x="294" y="48"/>
                  </a:lnTo>
                  <a:lnTo>
                    <a:pt x="294" y="42"/>
                  </a:lnTo>
                  <a:lnTo>
                    <a:pt x="294" y="36"/>
                  </a:lnTo>
                  <a:lnTo>
                    <a:pt x="300" y="30"/>
                  </a:lnTo>
                  <a:lnTo>
                    <a:pt x="294" y="30"/>
                  </a:lnTo>
                  <a:lnTo>
                    <a:pt x="294" y="24"/>
                  </a:lnTo>
                  <a:lnTo>
                    <a:pt x="300" y="24"/>
                  </a:lnTo>
                  <a:lnTo>
                    <a:pt x="300" y="18"/>
                  </a:lnTo>
                  <a:lnTo>
                    <a:pt x="300" y="12"/>
                  </a:lnTo>
                  <a:lnTo>
                    <a:pt x="300" y="6"/>
                  </a:lnTo>
                  <a:lnTo>
                    <a:pt x="306" y="6"/>
                  </a:lnTo>
                  <a:lnTo>
                    <a:pt x="312" y="6"/>
                  </a:lnTo>
                  <a:lnTo>
                    <a:pt x="318" y="6"/>
                  </a:lnTo>
                  <a:lnTo>
                    <a:pt x="324" y="6"/>
                  </a:lnTo>
                  <a:lnTo>
                    <a:pt x="330" y="6"/>
                  </a:lnTo>
                  <a:lnTo>
                    <a:pt x="336" y="6"/>
                  </a:lnTo>
                  <a:lnTo>
                    <a:pt x="336" y="0"/>
                  </a:lnTo>
                  <a:lnTo>
                    <a:pt x="342" y="0"/>
                  </a:lnTo>
                  <a:lnTo>
                    <a:pt x="348" y="0"/>
                  </a:lnTo>
                  <a:lnTo>
                    <a:pt x="354" y="0"/>
                  </a:lnTo>
                  <a:lnTo>
                    <a:pt x="360" y="0"/>
                  </a:lnTo>
                  <a:lnTo>
                    <a:pt x="366" y="0"/>
                  </a:lnTo>
                  <a:lnTo>
                    <a:pt x="372" y="0"/>
                  </a:lnTo>
                  <a:lnTo>
                    <a:pt x="372" y="6"/>
                  </a:lnTo>
                  <a:lnTo>
                    <a:pt x="372" y="0"/>
                  </a:lnTo>
                  <a:lnTo>
                    <a:pt x="378" y="0"/>
                  </a:lnTo>
                  <a:lnTo>
                    <a:pt x="378" y="6"/>
                  </a:lnTo>
                  <a:lnTo>
                    <a:pt x="384" y="6"/>
                  </a:lnTo>
                  <a:lnTo>
                    <a:pt x="390" y="6"/>
                  </a:lnTo>
                  <a:lnTo>
                    <a:pt x="390" y="12"/>
                  </a:lnTo>
                  <a:lnTo>
                    <a:pt x="390" y="6"/>
                  </a:lnTo>
                  <a:lnTo>
                    <a:pt x="396" y="6"/>
                  </a:lnTo>
                  <a:lnTo>
                    <a:pt x="396" y="0"/>
                  </a:lnTo>
                  <a:lnTo>
                    <a:pt x="402" y="6"/>
                  </a:lnTo>
                  <a:lnTo>
                    <a:pt x="402" y="0"/>
                  </a:lnTo>
                  <a:lnTo>
                    <a:pt x="402" y="6"/>
                  </a:lnTo>
                  <a:lnTo>
                    <a:pt x="402" y="0"/>
                  </a:lnTo>
                  <a:lnTo>
                    <a:pt x="408" y="0"/>
                  </a:lnTo>
                  <a:lnTo>
                    <a:pt x="408" y="6"/>
                  </a:lnTo>
                  <a:lnTo>
                    <a:pt x="414" y="6"/>
                  </a:lnTo>
                  <a:lnTo>
                    <a:pt x="414" y="12"/>
                  </a:lnTo>
                  <a:lnTo>
                    <a:pt x="414" y="18"/>
                  </a:lnTo>
                  <a:lnTo>
                    <a:pt x="414" y="24"/>
                  </a:lnTo>
                  <a:lnTo>
                    <a:pt x="414" y="30"/>
                  </a:lnTo>
                  <a:lnTo>
                    <a:pt x="408" y="30"/>
                  </a:lnTo>
                  <a:lnTo>
                    <a:pt x="408" y="36"/>
                  </a:lnTo>
                  <a:lnTo>
                    <a:pt x="402" y="36"/>
                  </a:lnTo>
                  <a:lnTo>
                    <a:pt x="402" y="42"/>
                  </a:lnTo>
                  <a:lnTo>
                    <a:pt x="402" y="48"/>
                  </a:lnTo>
                  <a:lnTo>
                    <a:pt x="402" y="54"/>
                  </a:lnTo>
                  <a:lnTo>
                    <a:pt x="396" y="54"/>
                  </a:lnTo>
                  <a:lnTo>
                    <a:pt x="396" y="60"/>
                  </a:lnTo>
                  <a:lnTo>
                    <a:pt x="390" y="66"/>
                  </a:lnTo>
                  <a:lnTo>
                    <a:pt x="390" y="72"/>
                  </a:lnTo>
                  <a:lnTo>
                    <a:pt x="390" y="78"/>
                  </a:lnTo>
                  <a:lnTo>
                    <a:pt x="384" y="78"/>
                  </a:lnTo>
                  <a:lnTo>
                    <a:pt x="384" y="84"/>
                  </a:lnTo>
                  <a:lnTo>
                    <a:pt x="384" y="90"/>
                  </a:lnTo>
                  <a:lnTo>
                    <a:pt x="384" y="96"/>
                  </a:lnTo>
                  <a:lnTo>
                    <a:pt x="384" y="102"/>
                  </a:lnTo>
                  <a:lnTo>
                    <a:pt x="384" y="108"/>
                  </a:lnTo>
                  <a:lnTo>
                    <a:pt x="384" y="114"/>
                  </a:lnTo>
                  <a:lnTo>
                    <a:pt x="384" y="120"/>
                  </a:lnTo>
                  <a:lnTo>
                    <a:pt x="378" y="120"/>
                  </a:lnTo>
                  <a:lnTo>
                    <a:pt x="378" y="126"/>
                  </a:lnTo>
                  <a:lnTo>
                    <a:pt x="378" y="132"/>
                  </a:lnTo>
                  <a:lnTo>
                    <a:pt x="378" y="138"/>
                  </a:lnTo>
                  <a:lnTo>
                    <a:pt x="372" y="138"/>
                  </a:lnTo>
                  <a:lnTo>
                    <a:pt x="372" y="144"/>
                  </a:lnTo>
                  <a:lnTo>
                    <a:pt x="372" y="150"/>
                  </a:lnTo>
                  <a:lnTo>
                    <a:pt x="372" y="156"/>
                  </a:lnTo>
                  <a:lnTo>
                    <a:pt x="372" y="162"/>
                  </a:lnTo>
                  <a:lnTo>
                    <a:pt x="372" y="168"/>
                  </a:lnTo>
                  <a:lnTo>
                    <a:pt x="372" y="174"/>
                  </a:lnTo>
                  <a:lnTo>
                    <a:pt x="378" y="174"/>
                  </a:lnTo>
                  <a:lnTo>
                    <a:pt x="378" y="180"/>
                  </a:lnTo>
                  <a:lnTo>
                    <a:pt x="378" y="186"/>
                  </a:lnTo>
                  <a:lnTo>
                    <a:pt x="372" y="186"/>
                  </a:lnTo>
                  <a:lnTo>
                    <a:pt x="372" y="192"/>
                  </a:lnTo>
                  <a:lnTo>
                    <a:pt x="366" y="192"/>
                  </a:lnTo>
                  <a:lnTo>
                    <a:pt x="366" y="198"/>
                  </a:lnTo>
                  <a:lnTo>
                    <a:pt x="366" y="204"/>
                  </a:lnTo>
                  <a:lnTo>
                    <a:pt x="366" y="210"/>
                  </a:lnTo>
                  <a:lnTo>
                    <a:pt x="360" y="210"/>
                  </a:lnTo>
                  <a:lnTo>
                    <a:pt x="360" y="216"/>
                  </a:lnTo>
                  <a:lnTo>
                    <a:pt x="366" y="222"/>
                  </a:lnTo>
                  <a:lnTo>
                    <a:pt x="366" y="228"/>
                  </a:lnTo>
                  <a:lnTo>
                    <a:pt x="360" y="234"/>
                  </a:lnTo>
                  <a:lnTo>
                    <a:pt x="360" y="240"/>
                  </a:lnTo>
                  <a:lnTo>
                    <a:pt x="354" y="240"/>
                  </a:lnTo>
                  <a:lnTo>
                    <a:pt x="354" y="246"/>
                  </a:lnTo>
                  <a:lnTo>
                    <a:pt x="348" y="252"/>
                  </a:lnTo>
                  <a:lnTo>
                    <a:pt x="342" y="258"/>
                  </a:lnTo>
                  <a:lnTo>
                    <a:pt x="336" y="258"/>
                  </a:lnTo>
                  <a:lnTo>
                    <a:pt x="336" y="264"/>
                  </a:lnTo>
                  <a:lnTo>
                    <a:pt x="330" y="264"/>
                  </a:lnTo>
                  <a:lnTo>
                    <a:pt x="324" y="264"/>
                  </a:lnTo>
                  <a:lnTo>
                    <a:pt x="324" y="270"/>
                  </a:lnTo>
                  <a:lnTo>
                    <a:pt x="318" y="270"/>
                  </a:lnTo>
                  <a:lnTo>
                    <a:pt x="312" y="276"/>
                  </a:lnTo>
                  <a:lnTo>
                    <a:pt x="312" y="282"/>
                  </a:lnTo>
                  <a:lnTo>
                    <a:pt x="306" y="282"/>
                  </a:lnTo>
                  <a:lnTo>
                    <a:pt x="306" y="288"/>
                  </a:lnTo>
                  <a:lnTo>
                    <a:pt x="306" y="294"/>
                  </a:lnTo>
                  <a:lnTo>
                    <a:pt x="300" y="300"/>
                  </a:lnTo>
                  <a:lnTo>
                    <a:pt x="300" y="306"/>
                  </a:lnTo>
                  <a:lnTo>
                    <a:pt x="294" y="306"/>
                  </a:lnTo>
                  <a:lnTo>
                    <a:pt x="294" y="312"/>
                  </a:lnTo>
                  <a:lnTo>
                    <a:pt x="288" y="312"/>
                  </a:lnTo>
                  <a:lnTo>
                    <a:pt x="288" y="318"/>
                  </a:lnTo>
                  <a:lnTo>
                    <a:pt x="282" y="318"/>
                  </a:lnTo>
                  <a:lnTo>
                    <a:pt x="282" y="324"/>
                  </a:lnTo>
                  <a:lnTo>
                    <a:pt x="276" y="324"/>
                  </a:lnTo>
                  <a:lnTo>
                    <a:pt x="276" y="330"/>
                  </a:lnTo>
                  <a:lnTo>
                    <a:pt x="276" y="336"/>
                  </a:lnTo>
                  <a:lnTo>
                    <a:pt x="276" y="342"/>
                  </a:lnTo>
                  <a:lnTo>
                    <a:pt x="282" y="342"/>
                  </a:lnTo>
                  <a:lnTo>
                    <a:pt x="282" y="348"/>
                  </a:lnTo>
                  <a:lnTo>
                    <a:pt x="282" y="354"/>
                  </a:lnTo>
                  <a:lnTo>
                    <a:pt x="276" y="354"/>
                  </a:lnTo>
                  <a:lnTo>
                    <a:pt x="276" y="360"/>
                  </a:lnTo>
                  <a:lnTo>
                    <a:pt x="276" y="366"/>
                  </a:lnTo>
                  <a:lnTo>
                    <a:pt x="276" y="372"/>
                  </a:lnTo>
                  <a:lnTo>
                    <a:pt x="276" y="378"/>
                  </a:lnTo>
                  <a:lnTo>
                    <a:pt x="276" y="384"/>
                  </a:lnTo>
                  <a:lnTo>
                    <a:pt x="282" y="384"/>
                  </a:lnTo>
                  <a:lnTo>
                    <a:pt x="282" y="390"/>
                  </a:lnTo>
                  <a:lnTo>
                    <a:pt x="276" y="390"/>
                  </a:lnTo>
                  <a:lnTo>
                    <a:pt x="276" y="396"/>
                  </a:lnTo>
                  <a:lnTo>
                    <a:pt x="276" y="402"/>
                  </a:lnTo>
                  <a:lnTo>
                    <a:pt x="270" y="402"/>
                  </a:lnTo>
                  <a:lnTo>
                    <a:pt x="270" y="408"/>
                  </a:lnTo>
                  <a:lnTo>
                    <a:pt x="270" y="414"/>
                  </a:lnTo>
                  <a:lnTo>
                    <a:pt x="264" y="414"/>
                  </a:lnTo>
                  <a:lnTo>
                    <a:pt x="264" y="420"/>
                  </a:lnTo>
                  <a:lnTo>
                    <a:pt x="264" y="426"/>
                  </a:lnTo>
                  <a:lnTo>
                    <a:pt x="258" y="426"/>
                  </a:lnTo>
                  <a:lnTo>
                    <a:pt x="252" y="426"/>
                  </a:lnTo>
                  <a:lnTo>
                    <a:pt x="246" y="426"/>
                  </a:lnTo>
                  <a:lnTo>
                    <a:pt x="240" y="426"/>
                  </a:lnTo>
                  <a:lnTo>
                    <a:pt x="240" y="432"/>
                  </a:lnTo>
                  <a:lnTo>
                    <a:pt x="240" y="438"/>
                  </a:lnTo>
                  <a:lnTo>
                    <a:pt x="240" y="444"/>
                  </a:lnTo>
                  <a:lnTo>
                    <a:pt x="234" y="444"/>
                  </a:lnTo>
                  <a:lnTo>
                    <a:pt x="228" y="444"/>
                  </a:lnTo>
                  <a:lnTo>
                    <a:pt x="222" y="444"/>
                  </a:lnTo>
                  <a:lnTo>
                    <a:pt x="222" y="450"/>
                  </a:lnTo>
                  <a:lnTo>
                    <a:pt x="216" y="456"/>
                  </a:lnTo>
                  <a:lnTo>
                    <a:pt x="210" y="462"/>
                  </a:lnTo>
                  <a:lnTo>
                    <a:pt x="204" y="462"/>
                  </a:lnTo>
                  <a:lnTo>
                    <a:pt x="204" y="468"/>
                  </a:lnTo>
                  <a:lnTo>
                    <a:pt x="204" y="474"/>
                  </a:lnTo>
                  <a:lnTo>
                    <a:pt x="198" y="474"/>
                  </a:lnTo>
                  <a:lnTo>
                    <a:pt x="192" y="480"/>
                  </a:lnTo>
                  <a:lnTo>
                    <a:pt x="192" y="474"/>
                  </a:lnTo>
                  <a:lnTo>
                    <a:pt x="186" y="474"/>
                  </a:lnTo>
                  <a:lnTo>
                    <a:pt x="180" y="474"/>
                  </a:lnTo>
                  <a:lnTo>
                    <a:pt x="180" y="468"/>
                  </a:lnTo>
                  <a:lnTo>
                    <a:pt x="180" y="462"/>
                  </a:lnTo>
                  <a:lnTo>
                    <a:pt x="174" y="462"/>
                  </a:lnTo>
                  <a:lnTo>
                    <a:pt x="180" y="462"/>
                  </a:lnTo>
                  <a:lnTo>
                    <a:pt x="174" y="462"/>
                  </a:lnTo>
                  <a:lnTo>
                    <a:pt x="174" y="456"/>
                  </a:lnTo>
                  <a:lnTo>
                    <a:pt x="180" y="456"/>
                  </a:lnTo>
                  <a:lnTo>
                    <a:pt x="180" y="450"/>
                  </a:lnTo>
                  <a:lnTo>
                    <a:pt x="180" y="444"/>
                  </a:lnTo>
                  <a:lnTo>
                    <a:pt x="174" y="444"/>
                  </a:lnTo>
                  <a:lnTo>
                    <a:pt x="168" y="444"/>
                  </a:lnTo>
                  <a:lnTo>
                    <a:pt x="168" y="450"/>
                  </a:lnTo>
                  <a:lnTo>
                    <a:pt x="162" y="450"/>
                  </a:lnTo>
                  <a:lnTo>
                    <a:pt x="156" y="450"/>
                  </a:lnTo>
                  <a:lnTo>
                    <a:pt x="156" y="456"/>
                  </a:lnTo>
                  <a:lnTo>
                    <a:pt x="150" y="456"/>
                  </a:lnTo>
                  <a:lnTo>
                    <a:pt x="150" y="450"/>
                  </a:lnTo>
                  <a:lnTo>
                    <a:pt x="144" y="450"/>
                  </a:lnTo>
                  <a:lnTo>
                    <a:pt x="138" y="450"/>
                  </a:lnTo>
                  <a:lnTo>
                    <a:pt x="138" y="456"/>
                  </a:lnTo>
                  <a:lnTo>
                    <a:pt x="144" y="456"/>
                  </a:lnTo>
                  <a:lnTo>
                    <a:pt x="144" y="462"/>
                  </a:lnTo>
                  <a:lnTo>
                    <a:pt x="138" y="462"/>
                  </a:lnTo>
                  <a:lnTo>
                    <a:pt x="138" y="468"/>
                  </a:lnTo>
                  <a:lnTo>
                    <a:pt x="132" y="468"/>
                  </a:lnTo>
                  <a:lnTo>
                    <a:pt x="132" y="474"/>
                  </a:lnTo>
                  <a:lnTo>
                    <a:pt x="126" y="474"/>
                  </a:lnTo>
                  <a:lnTo>
                    <a:pt x="126" y="480"/>
                  </a:lnTo>
                  <a:lnTo>
                    <a:pt x="120" y="474"/>
                  </a:lnTo>
                  <a:lnTo>
                    <a:pt x="120" y="468"/>
                  </a:lnTo>
                  <a:lnTo>
                    <a:pt x="114" y="468"/>
                  </a:lnTo>
                  <a:lnTo>
                    <a:pt x="114" y="462"/>
                  </a:lnTo>
                  <a:lnTo>
                    <a:pt x="108" y="46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5" name="Freeform 50"/>
            <p:cNvSpPr>
              <a:spLocks noEditPoints="1"/>
            </p:cNvSpPr>
            <p:nvPr>
              <p:custDataLst>
                <p:tags r:id="rId98"/>
              </p:custDataLst>
            </p:nvPr>
          </p:nvSpPr>
          <p:spPr bwMode="gray">
            <a:xfrm>
              <a:off x="3790950" y="3436938"/>
              <a:ext cx="401638" cy="438150"/>
            </a:xfrm>
            <a:custGeom>
              <a:avLst/>
              <a:gdLst>
                <a:gd name="T0" fmla="*/ 44504 w 324"/>
                <a:gd name="T1" fmla="*/ 120720 h 354"/>
                <a:gd name="T2" fmla="*/ 37731 w 324"/>
                <a:gd name="T3" fmla="*/ 113960 h 354"/>
                <a:gd name="T4" fmla="*/ 29991 w 324"/>
                <a:gd name="T5" fmla="*/ 104302 h 354"/>
                <a:gd name="T6" fmla="*/ 27089 w 324"/>
                <a:gd name="T7" fmla="*/ 101405 h 354"/>
                <a:gd name="T8" fmla="*/ 19350 w 324"/>
                <a:gd name="T9" fmla="*/ 95611 h 354"/>
                <a:gd name="T10" fmla="*/ 12577 w 324"/>
                <a:gd name="T11" fmla="*/ 86918 h 354"/>
                <a:gd name="T12" fmla="*/ 8707 w 324"/>
                <a:gd name="T13" fmla="*/ 78227 h 354"/>
                <a:gd name="T14" fmla="*/ 6772 w 324"/>
                <a:gd name="T15" fmla="*/ 71466 h 354"/>
                <a:gd name="T16" fmla="*/ 1935 w 324"/>
                <a:gd name="T17" fmla="*/ 65672 h 354"/>
                <a:gd name="T18" fmla="*/ 0 w 324"/>
                <a:gd name="T19" fmla="*/ 59877 h 354"/>
                <a:gd name="T20" fmla="*/ 3870 w 324"/>
                <a:gd name="T21" fmla="*/ 60843 h 354"/>
                <a:gd name="T22" fmla="*/ 6772 w 324"/>
                <a:gd name="T23" fmla="*/ 59877 h 354"/>
                <a:gd name="T24" fmla="*/ 6772 w 324"/>
                <a:gd name="T25" fmla="*/ 59877 h 354"/>
                <a:gd name="T26" fmla="*/ 10642 w 324"/>
                <a:gd name="T27" fmla="*/ 51186 h 354"/>
                <a:gd name="T28" fmla="*/ 10642 w 324"/>
                <a:gd name="T29" fmla="*/ 42493 h 354"/>
                <a:gd name="T30" fmla="*/ 14512 w 324"/>
                <a:gd name="T31" fmla="*/ 42493 h 354"/>
                <a:gd name="T32" fmla="*/ 19350 w 324"/>
                <a:gd name="T33" fmla="*/ 44425 h 354"/>
                <a:gd name="T34" fmla="*/ 17415 w 324"/>
                <a:gd name="T35" fmla="*/ 40562 h 354"/>
                <a:gd name="T36" fmla="*/ 10642 w 324"/>
                <a:gd name="T37" fmla="*/ 33801 h 354"/>
                <a:gd name="T38" fmla="*/ 17415 w 324"/>
                <a:gd name="T39" fmla="*/ 31870 h 354"/>
                <a:gd name="T40" fmla="*/ 21285 w 324"/>
                <a:gd name="T41" fmla="*/ 26076 h 354"/>
                <a:gd name="T42" fmla="*/ 31926 w 324"/>
                <a:gd name="T43" fmla="*/ 27041 h 354"/>
                <a:gd name="T44" fmla="*/ 44504 w 324"/>
                <a:gd name="T45" fmla="*/ 27041 h 354"/>
                <a:gd name="T46" fmla="*/ 51276 w 324"/>
                <a:gd name="T47" fmla="*/ 21247 h 354"/>
                <a:gd name="T48" fmla="*/ 51276 w 324"/>
                <a:gd name="T49" fmla="*/ 8692 h 354"/>
                <a:gd name="T50" fmla="*/ 55146 w 324"/>
                <a:gd name="T51" fmla="*/ 0 h 354"/>
                <a:gd name="T52" fmla="*/ 59984 w 324"/>
                <a:gd name="T53" fmla="*/ 0 h 354"/>
                <a:gd name="T54" fmla="*/ 70626 w 324"/>
                <a:gd name="T55" fmla="*/ 1931 h 354"/>
                <a:gd name="T56" fmla="*/ 83203 w 324"/>
                <a:gd name="T57" fmla="*/ 1931 h 354"/>
                <a:gd name="T58" fmla="*/ 90943 w 324"/>
                <a:gd name="T59" fmla="*/ 1931 h 354"/>
                <a:gd name="T60" fmla="*/ 87073 w 324"/>
                <a:gd name="T61" fmla="*/ 10624 h 354"/>
                <a:gd name="T62" fmla="*/ 87073 w 324"/>
                <a:gd name="T63" fmla="*/ 14486 h 354"/>
                <a:gd name="T64" fmla="*/ 89008 w 324"/>
                <a:gd name="T65" fmla="*/ 17383 h 354"/>
                <a:gd name="T66" fmla="*/ 87073 w 324"/>
                <a:gd name="T67" fmla="*/ 23179 h 354"/>
                <a:gd name="T68" fmla="*/ 95780 w 324"/>
                <a:gd name="T69" fmla="*/ 21247 h 354"/>
                <a:gd name="T70" fmla="*/ 105455 w 324"/>
                <a:gd name="T71" fmla="*/ 19315 h 354"/>
                <a:gd name="T72" fmla="*/ 112227 w 324"/>
                <a:gd name="T73" fmla="*/ 26076 h 354"/>
                <a:gd name="T74" fmla="*/ 110292 w 324"/>
                <a:gd name="T75" fmla="*/ 31870 h 354"/>
                <a:gd name="T76" fmla="*/ 105455 w 324"/>
                <a:gd name="T77" fmla="*/ 35733 h 354"/>
                <a:gd name="T78" fmla="*/ 101585 w 324"/>
                <a:gd name="T79" fmla="*/ 44425 h 354"/>
                <a:gd name="T80" fmla="*/ 104487 w 324"/>
                <a:gd name="T81" fmla="*/ 51186 h 354"/>
                <a:gd name="T82" fmla="*/ 112227 w 324"/>
                <a:gd name="T83" fmla="*/ 55048 h 354"/>
                <a:gd name="T84" fmla="*/ 112227 w 324"/>
                <a:gd name="T85" fmla="*/ 67603 h 354"/>
                <a:gd name="T86" fmla="*/ 112227 w 324"/>
                <a:gd name="T87" fmla="*/ 76295 h 354"/>
                <a:gd name="T88" fmla="*/ 110292 w 324"/>
                <a:gd name="T89" fmla="*/ 84987 h 354"/>
                <a:gd name="T90" fmla="*/ 108357 w 324"/>
                <a:gd name="T91" fmla="*/ 93679 h 354"/>
                <a:gd name="T92" fmla="*/ 101585 w 324"/>
                <a:gd name="T93" fmla="*/ 90781 h 354"/>
                <a:gd name="T94" fmla="*/ 95780 w 324"/>
                <a:gd name="T95" fmla="*/ 93679 h 354"/>
                <a:gd name="T96" fmla="*/ 85138 w 324"/>
                <a:gd name="T97" fmla="*/ 90781 h 354"/>
                <a:gd name="T98" fmla="*/ 80300 w 324"/>
                <a:gd name="T99" fmla="*/ 82090 h 354"/>
                <a:gd name="T100" fmla="*/ 74496 w 324"/>
                <a:gd name="T101" fmla="*/ 86918 h 354"/>
                <a:gd name="T102" fmla="*/ 67724 w 324"/>
                <a:gd name="T103" fmla="*/ 93679 h 354"/>
                <a:gd name="T104" fmla="*/ 59984 w 324"/>
                <a:gd name="T105" fmla="*/ 93679 h 354"/>
                <a:gd name="T106" fmla="*/ 59984 w 324"/>
                <a:gd name="T107" fmla="*/ 97542 h 354"/>
                <a:gd name="T108" fmla="*/ 61919 w 324"/>
                <a:gd name="T109" fmla="*/ 104302 h 354"/>
                <a:gd name="T110" fmla="*/ 63854 w 324"/>
                <a:gd name="T111" fmla="*/ 110097 h 354"/>
                <a:gd name="T112" fmla="*/ 63854 w 324"/>
                <a:gd name="T113" fmla="*/ 118788 h 354"/>
                <a:gd name="T114" fmla="*/ 55146 w 324"/>
                <a:gd name="T115" fmla="*/ 115891 h 354"/>
                <a:gd name="T116" fmla="*/ 48374 w 324"/>
                <a:gd name="T117" fmla="*/ 122652 h 354"/>
                <a:gd name="T118" fmla="*/ 1935 w 324"/>
                <a:gd name="T119" fmla="*/ 63740 h 354"/>
                <a:gd name="T120" fmla="*/ 12577 w 324"/>
                <a:gd name="T121" fmla="*/ 3187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24" h="354">
                  <a:moveTo>
                    <a:pt x="138" y="354"/>
                  </a:moveTo>
                  <a:lnTo>
                    <a:pt x="138" y="348"/>
                  </a:lnTo>
                  <a:lnTo>
                    <a:pt x="138" y="354"/>
                  </a:lnTo>
                  <a:lnTo>
                    <a:pt x="132" y="348"/>
                  </a:lnTo>
                  <a:lnTo>
                    <a:pt x="126" y="348"/>
                  </a:lnTo>
                  <a:lnTo>
                    <a:pt x="126" y="342"/>
                  </a:lnTo>
                  <a:lnTo>
                    <a:pt x="126" y="336"/>
                  </a:lnTo>
                  <a:lnTo>
                    <a:pt x="120" y="336"/>
                  </a:lnTo>
                  <a:lnTo>
                    <a:pt x="120" y="330"/>
                  </a:lnTo>
                  <a:lnTo>
                    <a:pt x="114" y="330"/>
                  </a:lnTo>
                  <a:lnTo>
                    <a:pt x="114" y="324"/>
                  </a:lnTo>
                  <a:lnTo>
                    <a:pt x="108" y="324"/>
                  </a:lnTo>
                  <a:lnTo>
                    <a:pt x="108" y="318"/>
                  </a:lnTo>
                  <a:lnTo>
                    <a:pt x="102" y="312"/>
                  </a:lnTo>
                  <a:lnTo>
                    <a:pt x="96" y="306"/>
                  </a:lnTo>
                  <a:lnTo>
                    <a:pt x="90" y="306"/>
                  </a:lnTo>
                  <a:lnTo>
                    <a:pt x="90" y="300"/>
                  </a:lnTo>
                  <a:lnTo>
                    <a:pt x="84" y="294"/>
                  </a:lnTo>
                  <a:lnTo>
                    <a:pt x="84" y="300"/>
                  </a:lnTo>
                  <a:lnTo>
                    <a:pt x="90" y="300"/>
                  </a:lnTo>
                  <a:lnTo>
                    <a:pt x="84" y="300"/>
                  </a:lnTo>
                  <a:lnTo>
                    <a:pt x="84" y="294"/>
                  </a:lnTo>
                  <a:lnTo>
                    <a:pt x="78" y="294"/>
                  </a:lnTo>
                  <a:lnTo>
                    <a:pt x="78" y="288"/>
                  </a:lnTo>
                  <a:lnTo>
                    <a:pt x="72" y="288"/>
                  </a:lnTo>
                  <a:lnTo>
                    <a:pt x="72" y="282"/>
                  </a:lnTo>
                  <a:lnTo>
                    <a:pt x="66" y="282"/>
                  </a:lnTo>
                  <a:lnTo>
                    <a:pt x="66" y="276"/>
                  </a:lnTo>
                  <a:lnTo>
                    <a:pt x="60" y="276"/>
                  </a:lnTo>
                  <a:lnTo>
                    <a:pt x="54" y="270"/>
                  </a:lnTo>
                  <a:lnTo>
                    <a:pt x="48" y="264"/>
                  </a:lnTo>
                  <a:lnTo>
                    <a:pt x="48" y="258"/>
                  </a:lnTo>
                  <a:lnTo>
                    <a:pt x="48" y="252"/>
                  </a:lnTo>
                  <a:lnTo>
                    <a:pt x="42" y="252"/>
                  </a:lnTo>
                  <a:lnTo>
                    <a:pt x="42" y="246"/>
                  </a:lnTo>
                  <a:lnTo>
                    <a:pt x="36" y="246"/>
                  </a:lnTo>
                  <a:lnTo>
                    <a:pt x="36" y="240"/>
                  </a:lnTo>
                  <a:lnTo>
                    <a:pt x="30" y="240"/>
                  </a:lnTo>
                  <a:lnTo>
                    <a:pt x="30" y="234"/>
                  </a:lnTo>
                  <a:lnTo>
                    <a:pt x="30" y="228"/>
                  </a:lnTo>
                  <a:lnTo>
                    <a:pt x="30" y="222"/>
                  </a:lnTo>
                  <a:lnTo>
                    <a:pt x="24" y="222"/>
                  </a:lnTo>
                  <a:lnTo>
                    <a:pt x="24" y="216"/>
                  </a:lnTo>
                  <a:lnTo>
                    <a:pt x="24" y="210"/>
                  </a:lnTo>
                  <a:lnTo>
                    <a:pt x="18" y="210"/>
                  </a:lnTo>
                  <a:lnTo>
                    <a:pt x="18" y="204"/>
                  </a:lnTo>
                  <a:lnTo>
                    <a:pt x="12" y="204"/>
                  </a:lnTo>
                  <a:lnTo>
                    <a:pt x="18" y="204"/>
                  </a:lnTo>
                  <a:lnTo>
                    <a:pt x="12" y="204"/>
                  </a:lnTo>
                  <a:lnTo>
                    <a:pt x="18" y="204"/>
                  </a:lnTo>
                  <a:lnTo>
                    <a:pt x="18" y="198"/>
                  </a:lnTo>
                  <a:lnTo>
                    <a:pt x="12" y="198"/>
                  </a:lnTo>
                  <a:lnTo>
                    <a:pt x="12" y="192"/>
                  </a:lnTo>
                  <a:lnTo>
                    <a:pt x="6" y="186"/>
                  </a:lnTo>
                  <a:lnTo>
                    <a:pt x="12" y="192"/>
                  </a:lnTo>
                  <a:lnTo>
                    <a:pt x="12" y="186"/>
                  </a:lnTo>
                  <a:lnTo>
                    <a:pt x="6" y="186"/>
                  </a:lnTo>
                  <a:lnTo>
                    <a:pt x="6" y="180"/>
                  </a:lnTo>
                  <a:lnTo>
                    <a:pt x="0" y="174"/>
                  </a:lnTo>
                  <a:lnTo>
                    <a:pt x="0" y="168"/>
                  </a:lnTo>
                  <a:lnTo>
                    <a:pt x="6" y="168"/>
                  </a:lnTo>
                  <a:lnTo>
                    <a:pt x="0" y="168"/>
                  </a:lnTo>
                  <a:lnTo>
                    <a:pt x="6" y="174"/>
                  </a:lnTo>
                  <a:lnTo>
                    <a:pt x="6" y="180"/>
                  </a:lnTo>
                  <a:lnTo>
                    <a:pt x="6" y="174"/>
                  </a:lnTo>
                  <a:lnTo>
                    <a:pt x="12" y="174"/>
                  </a:lnTo>
                  <a:lnTo>
                    <a:pt x="12" y="168"/>
                  </a:lnTo>
                  <a:lnTo>
                    <a:pt x="18" y="168"/>
                  </a:lnTo>
                  <a:lnTo>
                    <a:pt x="12" y="168"/>
                  </a:lnTo>
                  <a:lnTo>
                    <a:pt x="18" y="168"/>
                  </a:lnTo>
                  <a:lnTo>
                    <a:pt x="12" y="168"/>
                  </a:lnTo>
                  <a:lnTo>
                    <a:pt x="18" y="168"/>
                  </a:lnTo>
                  <a:lnTo>
                    <a:pt x="18" y="174"/>
                  </a:lnTo>
                  <a:lnTo>
                    <a:pt x="18" y="168"/>
                  </a:lnTo>
                  <a:lnTo>
                    <a:pt x="18" y="174"/>
                  </a:lnTo>
                  <a:lnTo>
                    <a:pt x="18" y="168"/>
                  </a:lnTo>
                  <a:lnTo>
                    <a:pt x="24" y="168"/>
                  </a:lnTo>
                  <a:lnTo>
                    <a:pt x="18" y="168"/>
                  </a:lnTo>
                  <a:lnTo>
                    <a:pt x="24" y="168"/>
                  </a:lnTo>
                  <a:lnTo>
                    <a:pt x="24" y="162"/>
                  </a:lnTo>
                  <a:lnTo>
                    <a:pt x="30" y="162"/>
                  </a:lnTo>
                  <a:lnTo>
                    <a:pt x="30" y="156"/>
                  </a:lnTo>
                  <a:lnTo>
                    <a:pt x="30" y="150"/>
                  </a:lnTo>
                  <a:lnTo>
                    <a:pt x="30" y="144"/>
                  </a:lnTo>
                  <a:lnTo>
                    <a:pt x="36" y="144"/>
                  </a:lnTo>
                  <a:lnTo>
                    <a:pt x="36" y="138"/>
                  </a:lnTo>
                  <a:lnTo>
                    <a:pt x="36" y="132"/>
                  </a:lnTo>
                  <a:lnTo>
                    <a:pt x="36" y="126"/>
                  </a:lnTo>
                  <a:lnTo>
                    <a:pt x="36" y="120"/>
                  </a:lnTo>
                  <a:lnTo>
                    <a:pt x="30" y="120"/>
                  </a:lnTo>
                  <a:lnTo>
                    <a:pt x="36" y="120"/>
                  </a:lnTo>
                  <a:lnTo>
                    <a:pt x="30" y="120"/>
                  </a:lnTo>
                  <a:lnTo>
                    <a:pt x="30" y="114"/>
                  </a:lnTo>
                  <a:lnTo>
                    <a:pt x="36" y="114"/>
                  </a:lnTo>
                  <a:lnTo>
                    <a:pt x="36" y="120"/>
                  </a:lnTo>
                  <a:lnTo>
                    <a:pt x="42" y="120"/>
                  </a:lnTo>
                  <a:lnTo>
                    <a:pt x="42" y="126"/>
                  </a:lnTo>
                  <a:lnTo>
                    <a:pt x="42" y="120"/>
                  </a:lnTo>
                  <a:lnTo>
                    <a:pt x="48" y="120"/>
                  </a:lnTo>
                  <a:lnTo>
                    <a:pt x="48" y="126"/>
                  </a:lnTo>
                  <a:lnTo>
                    <a:pt x="48" y="120"/>
                  </a:lnTo>
                  <a:lnTo>
                    <a:pt x="54" y="126"/>
                  </a:lnTo>
                  <a:lnTo>
                    <a:pt x="60" y="126"/>
                  </a:lnTo>
                  <a:lnTo>
                    <a:pt x="66" y="120"/>
                  </a:lnTo>
                  <a:lnTo>
                    <a:pt x="60" y="120"/>
                  </a:lnTo>
                  <a:lnTo>
                    <a:pt x="54" y="120"/>
                  </a:lnTo>
                  <a:lnTo>
                    <a:pt x="48" y="120"/>
                  </a:lnTo>
                  <a:lnTo>
                    <a:pt x="48" y="114"/>
                  </a:lnTo>
                  <a:lnTo>
                    <a:pt x="42" y="114"/>
                  </a:lnTo>
                  <a:lnTo>
                    <a:pt x="42" y="108"/>
                  </a:lnTo>
                  <a:lnTo>
                    <a:pt x="36" y="108"/>
                  </a:lnTo>
                  <a:lnTo>
                    <a:pt x="36" y="102"/>
                  </a:lnTo>
                  <a:lnTo>
                    <a:pt x="30" y="102"/>
                  </a:lnTo>
                  <a:lnTo>
                    <a:pt x="30" y="96"/>
                  </a:lnTo>
                  <a:lnTo>
                    <a:pt x="36" y="96"/>
                  </a:lnTo>
                  <a:lnTo>
                    <a:pt x="42" y="96"/>
                  </a:lnTo>
                  <a:lnTo>
                    <a:pt x="48" y="96"/>
                  </a:lnTo>
                  <a:lnTo>
                    <a:pt x="48" y="102"/>
                  </a:lnTo>
                  <a:lnTo>
                    <a:pt x="48" y="96"/>
                  </a:lnTo>
                  <a:lnTo>
                    <a:pt x="48" y="90"/>
                  </a:lnTo>
                  <a:lnTo>
                    <a:pt x="48" y="84"/>
                  </a:lnTo>
                  <a:lnTo>
                    <a:pt x="48" y="78"/>
                  </a:lnTo>
                  <a:lnTo>
                    <a:pt x="48" y="72"/>
                  </a:lnTo>
                  <a:lnTo>
                    <a:pt x="48" y="78"/>
                  </a:lnTo>
                  <a:lnTo>
                    <a:pt x="54" y="72"/>
                  </a:lnTo>
                  <a:lnTo>
                    <a:pt x="60" y="72"/>
                  </a:lnTo>
                  <a:lnTo>
                    <a:pt x="60" y="78"/>
                  </a:lnTo>
                  <a:lnTo>
                    <a:pt x="66" y="78"/>
                  </a:lnTo>
                  <a:lnTo>
                    <a:pt x="72" y="78"/>
                  </a:lnTo>
                  <a:lnTo>
                    <a:pt x="78" y="78"/>
                  </a:lnTo>
                  <a:lnTo>
                    <a:pt x="84" y="78"/>
                  </a:lnTo>
                  <a:lnTo>
                    <a:pt x="90" y="78"/>
                  </a:lnTo>
                  <a:lnTo>
                    <a:pt x="96" y="78"/>
                  </a:lnTo>
                  <a:lnTo>
                    <a:pt x="102" y="78"/>
                  </a:lnTo>
                  <a:lnTo>
                    <a:pt x="108" y="78"/>
                  </a:lnTo>
                  <a:lnTo>
                    <a:pt x="114" y="78"/>
                  </a:lnTo>
                  <a:lnTo>
                    <a:pt x="120" y="78"/>
                  </a:lnTo>
                  <a:lnTo>
                    <a:pt x="126" y="78"/>
                  </a:lnTo>
                  <a:lnTo>
                    <a:pt x="132" y="78"/>
                  </a:lnTo>
                  <a:lnTo>
                    <a:pt x="138" y="78"/>
                  </a:lnTo>
                  <a:lnTo>
                    <a:pt x="144" y="78"/>
                  </a:lnTo>
                  <a:lnTo>
                    <a:pt x="144" y="72"/>
                  </a:lnTo>
                  <a:lnTo>
                    <a:pt x="144" y="66"/>
                  </a:lnTo>
                  <a:lnTo>
                    <a:pt x="144" y="60"/>
                  </a:lnTo>
                  <a:lnTo>
                    <a:pt x="144" y="54"/>
                  </a:lnTo>
                  <a:lnTo>
                    <a:pt x="144" y="48"/>
                  </a:lnTo>
                  <a:lnTo>
                    <a:pt x="144" y="42"/>
                  </a:lnTo>
                  <a:lnTo>
                    <a:pt x="144" y="36"/>
                  </a:lnTo>
                  <a:lnTo>
                    <a:pt x="144" y="30"/>
                  </a:lnTo>
                  <a:lnTo>
                    <a:pt x="144" y="24"/>
                  </a:lnTo>
                  <a:lnTo>
                    <a:pt x="144" y="18"/>
                  </a:lnTo>
                  <a:lnTo>
                    <a:pt x="144" y="12"/>
                  </a:lnTo>
                  <a:lnTo>
                    <a:pt x="144" y="6"/>
                  </a:lnTo>
                  <a:lnTo>
                    <a:pt x="150" y="6"/>
                  </a:lnTo>
                  <a:lnTo>
                    <a:pt x="156" y="6"/>
                  </a:lnTo>
                  <a:lnTo>
                    <a:pt x="156" y="0"/>
                  </a:lnTo>
                  <a:lnTo>
                    <a:pt x="162" y="0"/>
                  </a:lnTo>
                  <a:lnTo>
                    <a:pt x="162" y="6"/>
                  </a:lnTo>
                  <a:lnTo>
                    <a:pt x="162" y="0"/>
                  </a:lnTo>
                  <a:lnTo>
                    <a:pt x="162" y="6"/>
                  </a:lnTo>
                  <a:lnTo>
                    <a:pt x="162" y="0"/>
                  </a:lnTo>
                  <a:lnTo>
                    <a:pt x="168" y="0"/>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34" y="6"/>
                  </a:lnTo>
                  <a:lnTo>
                    <a:pt x="240" y="6"/>
                  </a:lnTo>
                  <a:lnTo>
                    <a:pt x="246" y="6"/>
                  </a:lnTo>
                  <a:lnTo>
                    <a:pt x="252" y="6"/>
                  </a:lnTo>
                  <a:lnTo>
                    <a:pt x="246" y="6"/>
                  </a:lnTo>
                  <a:lnTo>
                    <a:pt x="252" y="6"/>
                  </a:lnTo>
                  <a:lnTo>
                    <a:pt x="258" y="6"/>
                  </a:lnTo>
                  <a:lnTo>
                    <a:pt x="252" y="6"/>
                  </a:lnTo>
                  <a:lnTo>
                    <a:pt x="252" y="12"/>
                  </a:lnTo>
                  <a:lnTo>
                    <a:pt x="252" y="18"/>
                  </a:lnTo>
                  <a:lnTo>
                    <a:pt x="252" y="24"/>
                  </a:lnTo>
                  <a:lnTo>
                    <a:pt x="246" y="24"/>
                  </a:lnTo>
                  <a:lnTo>
                    <a:pt x="246" y="30"/>
                  </a:lnTo>
                  <a:lnTo>
                    <a:pt x="252" y="30"/>
                  </a:lnTo>
                  <a:lnTo>
                    <a:pt x="246" y="30"/>
                  </a:lnTo>
                  <a:lnTo>
                    <a:pt x="252" y="30"/>
                  </a:lnTo>
                  <a:lnTo>
                    <a:pt x="246" y="30"/>
                  </a:lnTo>
                  <a:lnTo>
                    <a:pt x="246" y="36"/>
                  </a:lnTo>
                  <a:lnTo>
                    <a:pt x="246" y="42"/>
                  </a:lnTo>
                  <a:lnTo>
                    <a:pt x="246" y="48"/>
                  </a:lnTo>
                  <a:lnTo>
                    <a:pt x="252" y="48"/>
                  </a:lnTo>
                  <a:lnTo>
                    <a:pt x="246" y="48"/>
                  </a:lnTo>
                  <a:lnTo>
                    <a:pt x="252" y="48"/>
                  </a:lnTo>
                  <a:lnTo>
                    <a:pt x="246" y="48"/>
                  </a:lnTo>
                  <a:lnTo>
                    <a:pt x="252" y="48"/>
                  </a:lnTo>
                  <a:lnTo>
                    <a:pt x="252" y="54"/>
                  </a:lnTo>
                  <a:lnTo>
                    <a:pt x="252" y="60"/>
                  </a:lnTo>
                  <a:lnTo>
                    <a:pt x="252" y="54"/>
                  </a:lnTo>
                  <a:lnTo>
                    <a:pt x="252" y="60"/>
                  </a:lnTo>
                  <a:lnTo>
                    <a:pt x="246" y="60"/>
                  </a:lnTo>
                  <a:lnTo>
                    <a:pt x="246" y="66"/>
                  </a:lnTo>
                  <a:lnTo>
                    <a:pt x="252" y="66"/>
                  </a:lnTo>
                  <a:lnTo>
                    <a:pt x="252" y="60"/>
                  </a:lnTo>
                  <a:lnTo>
                    <a:pt x="258" y="66"/>
                  </a:lnTo>
                  <a:lnTo>
                    <a:pt x="258" y="60"/>
                  </a:lnTo>
                  <a:lnTo>
                    <a:pt x="264" y="60"/>
                  </a:lnTo>
                  <a:lnTo>
                    <a:pt x="270" y="60"/>
                  </a:lnTo>
                  <a:lnTo>
                    <a:pt x="276" y="60"/>
                  </a:lnTo>
                  <a:lnTo>
                    <a:pt x="276" y="54"/>
                  </a:lnTo>
                  <a:lnTo>
                    <a:pt x="282" y="54"/>
                  </a:lnTo>
                  <a:lnTo>
                    <a:pt x="288" y="54"/>
                  </a:lnTo>
                  <a:lnTo>
                    <a:pt x="294" y="54"/>
                  </a:lnTo>
                  <a:lnTo>
                    <a:pt x="300" y="54"/>
                  </a:lnTo>
                  <a:lnTo>
                    <a:pt x="306" y="54"/>
                  </a:lnTo>
                  <a:lnTo>
                    <a:pt x="312" y="54"/>
                  </a:lnTo>
                  <a:lnTo>
                    <a:pt x="312" y="60"/>
                  </a:lnTo>
                  <a:lnTo>
                    <a:pt x="312" y="66"/>
                  </a:lnTo>
                  <a:lnTo>
                    <a:pt x="312" y="72"/>
                  </a:lnTo>
                  <a:lnTo>
                    <a:pt x="318" y="72"/>
                  </a:lnTo>
                  <a:lnTo>
                    <a:pt x="318" y="78"/>
                  </a:lnTo>
                  <a:lnTo>
                    <a:pt x="324" y="78"/>
                  </a:lnTo>
                  <a:lnTo>
                    <a:pt x="324" y="84"/>
                  </a:lnTo>
                  <a:lnTo>
                    <a:pt x="318" y="84"/>
                  </a:lnTo>
                  <a:lnTo>
                    <a:pt x="318" y="90"/>
                  </a:lnTo>
                  <a:lnTo>
                    <a:pt x="312" y="90"/>
                  </a:lnTo>
                  <a:lnTo>
                    <a:pt x="312" y="96"/>
                  </a:lnTo>
                  <a:lnTo>
                    <a:pt x="318" y="96"/>
                  </a:lnTo>
                  <a:lnTo>
                    <a:pt x="312" y="96"/>
                  </a:lnTo>
                  <a:lnTo>
                    <a:pt x="312" y="102"/>
                  </a:lnTo>
                  <a:lnTo>
                    <a:pt x="306" y="102"/>
                  </a:lnTo>
                  <a:lnTo>
                    <a:pt x="300" y="102"/>
                  </a:lnTo>
                  <a:lnTo>
                    <a:pt x="300" y="108"/>
                  </a:lnTo>
                  <a:lnTo>
                    <a:pt x="294" y="108"/>
                  </a:lnTo>
                  <a:lnTo>
                    <a:pt x="294" y="114"/>
                  </a:lnTo>
                  <a:lnTo>
                    <a:pt x="288" y="114"/>
                  </a:lnTo>
                  <a:lnTo>
                    <a:pt x="288" y="120"/>
                  </a:lnTo>
                  <a:lnTo>
                    <a:pt x="288" y="126"/>
                  </a:lnTo>
                  <a:lnTo>
                    <a:pt x="294" y="126"/>
                  </a:lnTo>
                  <a:lnTo>
                    <a:pt x="294" y="132"/>
                  </a:lnTo>
                  <a:lnTo>
                    <a:pt x="288" y="132"/>
                  </a:lnTo>
                  <a:lnTo>
                    <a:pt x="288" y="138"/>
                  </a:lnTo>
                  <a:lnTo>
                    <a:pt x="288" y="144"/>
                  </a:lnTo>
                  <a:lnTo>
                    <a:pt x="294" y="144"/>
                  </a:lnTo>
                  <a:lnTo>
                    <a:pt x="300" y="144"/>
                  </a:lnTo>
                  <a:lnTo>
                    <a:pt x="300" y="150"/>
                  </a:lnTo>
                  <a:lnTo>
                    <a:pt x="306" y="150"/>
                  </a:lnTo>
                  <a:lnTo>
                    <a:pt x="306" y="156"/>
                  </a:lnTo>
                  <a:lnTo>
                    <a:pt x="312" y="156"/>
                  </a:lnTo>
                  <a:lnTo>
                    <a:pt x="318" y="156"/>
                  </a:lnTo>
                  <a:lnTo>
                    <a:pt x="318" y="162"/>
                  </a:lnTo>
                  <a:lnTo>
                    <a:pt x="324" y="168"/>
                  </a:lnTo>
                  <a:lnTo>
                    <a:pt x="318" y="174"/>
                  </a:lnTo>
                  <a:lnTo>
                    <a:pt x="318" y="180"/>
                  </a:lnTo>
                  <a:lnTo>
                    <a:pt x="318" y="186"/>
                  </a:lnTo>
                  <a:lnTo>
                    <a:pt x="318" y="192"/>
                  </a:lnTo>
                  <a:lnTo>
                    <a:pt x="318" y="198"/>
                  </a:lnTo>
                  <a:lnTo>
                    <a:pt x="318" y="204"/>
                  </a:lnTo>
                  <a:lnTo>
                    <a:pt x="318" y="210"/>
                  </a:lnTo>
                  <a:lnTo>
                    <a:pt x="324" y="210"/>
                  </a:lnTo>
                  <a:lnTo>
                    <a:pt x="318" y="210"/>
                  </a:lnTo>
                  <a:lnTo>
                    <a:pt x="318" y="216"/>
                  </a:lnTo>
                  <a:lnTo>
                    <a:pt x="318" y="222"/>
                  </a:lnTo>
                  <a:lnTo>
                    <a:pt x="312" y="222"/>
                  </a:lnTo>
                  <a:lnTo>
                    <a:pt x="318" y="222"/>
                  </a:lnTo>
                  <a:lnTo>
                    <a:pt x="318" y="228"/>
                  </a:lnTo>
                  <a:lnTo>
                    <a:pt x="318" y="234"/>
                  </a:lnTo>
                  <a:lnTo>
                    <a:pt x="312" y="240"/>
                  </a:lnTo>
                  <a:lnTo>
                    <a:pt x="306" y="240"/>
                  </a:lnTo>
                  <a:lnTo>
                    <a:pt x="306" y="246"/>
                  </a:lnTo>
                  <a:lnTo>
                    <a:pt x="306" y="252"/>
                  </a:lnTo>
                  <a:lnTo>
                    <a:pt x="300" y="252"/>
                  </a:lnTo>
                  <a:lnTo>
                    <a:pt x="306" y="258"/>
                  </a:lnTo>
                  <a:lnTo>
                    <a:pt x="306" y="264"/>
                  </a:lnTo>
                  <a:lnTo>
                    <a:pt x="300" y="264"/>
                  </a:lnTo>
                  <a:lnTo>
                    <a:pt x="300" y="270"/>
                  </a:lnTo>
                  <a:lnTo>
                    <a:pt x="294" y="270"/>
                  </a:lnTo>
                  <a:lnTo>
                    <a:pt x="288" y="270"/>
                  </a:lnTo>
                  <a:lnTo>
                    <a:pt x="288" y="264"/>
                  </a:lnTo>
                  <a:lnTo>
                    <a:pt x="288" y="258"/>
                  </a:lnTo>
                  <a:lnTo>
                    <a:pt x="288" y="252"/>
                  </a:lnTo>
                  <a:lnTo>
                    <a:pt x="282" y="252"/>
                  </a:lnTo>
                  <a:lnTo>
                    <a:pt x="276" y="252"/>
                  </a:lnTo>
                  <a:lnTo>
                    <a:pt x="276" y="258"/>
                  </a:lnTo>
                  <a:lnTo>
                    <a:pt x="270" y="258"/>
                  </a:lnTo>
                  <a:lnTo>
                    <a:pt x="270" y="264"/>
                  </a:lnTo>
                  <a:lnTo>
                    <a:pt x="264" y="264"/>
                  </a:lnTo>
                  <a:lnTo>
                    <a:pt x="258" y="264"/>
                  </a:lnTo>
                  <a:lnTo>
                    <a:pt x="252" y="264"/>
                  </a:lnTo>
                  <a:lnTo>
                    <a:pt x="246" y="264"/>
                  </a:lnTo>
                  <a:lnTo>
                    <a:pt x="240" y="264"/>
                  </a:lnTo>
                  <a:lnTo>
                    <a:pt x="240" y="258"/>
                  </a:lnTo>
                  <a:lnTo>
                    <a:pt x="240" y="252"/>
                  </a:lnTo>
                  <a:lnTo>
                    <a:pt x="234" y="252"/>
                  </a:lnTo>
                  <a:lnTo>
                    <a:pt x="234" y="246"/>
                  </a:lnTo>
                  <a:lnTo>
                    <a:pt x="228" y="246"/>
                  </a:lnTo>
                  <a:lnTo>
                    <a:pt x="228" y="240"/>
                  </a:lnTo>
                  <a:lnTo>
                    <a:pt x="228" y="234"/>
                  </a:lnTo>
                  <a:lnTo>
                    <a:pt x="222" y="234"/>
                  </a:lnTo>
                  <a:lnTo>
                    <a:pt x="216" y="234"/>
                  </a:lnTo>
                  <a:lnTo>
                    <a:pt x="210" y="240"/>
                  </a:lnTo>
                  <a:lnTo>
                    <a:pt x="210" y="234"/>
                  </a:lnTo>
                  <a:lnTo>
                    <a:pt x="210" y="240"/>
                  </a:lnTo>
                  <a:lnTo>
                    <a:pt x="210" y="246"/>
                  </a:lnTo>
                  <a:lnTo>
                    <a:pt x="210" y="252"/>
                  </a:lnTo>
                  <a:lnTo>
                    <a:pt x="210" y="258"/>
                  </a:lnTo>
                  <a:lnTo>
                    <a:pt x="210" y="264"/>
                  </a:lnTo>
                  <a:lnTo>
                    <a:pt x="204" y="264"/>
                  </a:lnTo>
                  <a:lnTo>
                    <a:pt x="198" y="264"/>
                  </a:lnTo>
                  <a:lnTo>
                    <a:pt x="192" y="264"/>
                  </a:lnTo>
                  <a:lnTo>
                    <a:pt x="186" y="270"/>
                  </a:lnTo>
                  <a:lnTo>
                    <a:pt x="186" y="264"/>
                  </a:lnTo>
                  <a:lnTo>
                    <a:pt x="180" y="264"/>
                  </a:lnTo>
                  <a:lnTo>
                    <a:pt x="174" y="264"/>
                  </a:lnTo>
                  <a:lnTo>
                    <a:pt x="168" y="270"/>
                  </a:lnTo>
                  <a:lnTo>
                    <a:pt x="168" y="264"/>
                  </a:lnTo>
                  <a:lnTo>
                    <a:pt x="162" y="264"/>
                  </a:lnTo>
                  <a:lnTo>
                    <a:pt x="162" y="258"/>
                  </a:lnTo>
                  <a:lnTo>
                    <a:pt x="162" y="264"/>
                  </a:lnTo>
                  <a:lnTo>
                    <a:pt x="162" y="270"/>
                  </a:lnTo>
                  <a:lnTo>
                    <a:pt x="162" y="276"/>
                  </a:lnTo>
                  <a:lnTo>
                    <a:pt x="168" y="276"/>
                  </a:lnTo>
                  <a:lnTo>
                    <a:pt x="168" y="282"/>
                  </a:lnTo>
                  <a:lnTo>
                    <a:pt x="162" y="282"/>
                  </a:lnTo>
                  <a:lnTo>
                    <a:pt x="162" y="288"/>
                  </a:lnTo>
                  <a:lnTo>
                    <a:pt x="168" y="288"/>
                  </a:lnTo>
                  <a:lnTo>
                    <a:pt x="174" y="288"/>
                  </a:lnTo>
                  <a:lnTo>
                    <a:pt x="174" y="294"/>
                  </a:lnTo>
                  <a:lnTo>
                    <a:pt x="180" y="294"/>
                  </a:lnTo>
                  <a:lnTo>
                    <a:pt x="186" y="294"/>
                  </a:lnTo>
                  <a:lnTo>
                    <a:pt x="186" y="300"/>
                  </a:lnTo>
                  <a:lnTo>
                    <a:pt x="186" y="306"/>
                  </a:lnTo>
                  <a:lnTo>
                    <a:pt x="180" y="306"/>
                  </a:lnTo>
                  <a:lnTo>
                    <a:pt x="180" y="312"/>
                  </a:lnTo>
                  <a:lnTo>
                    <a:pt x="186" y="312"/>
                  </a:lnTo>
                  <a:lnTo>
                    <a:pt x="186" y="318"/>
                  </a:lnTo>
                  <a:lnTo>
                    <a:pt x="180" y="324"/>
                  </a:lnTo>
                  <a:lnTo>
                    <a:pt x="174" y="330"/>
                  </a:lnTo>
                  <a:lnTo>
                    <a:pt x="180" y="330"/>
                  </a:lnTo>
                  <a:lnTo>
                    <a:pt x="180" y="336"/>
                  </a:lnTo>
                  <a:lnTo>
                    <a:pt x="174" y="342"/>
                  </a:lnTo>
                  <a:lnTo>
                    <a:pt x="174" y="336"/>
                  </a:lnTo>
                  <a:lnTo>
                    <a:pt x="168" y="336"/>
                  </a:lnTo>
                  <a:lnTo>
                    <a:pt x="162" y="336"/>
                  </a:lnTo>
                  <a:lnTo>
                    <a:pt x="162" y="330"/>
                  </a:lnTo>
                  <a:lnTo>
                    <a:pt x="156" y="330"/>
                  </a:lnTo>
                  <a:lnTo>
                    <a:pt x="150" y="330"/>
                  </a:lnTo>
                  <a:lnTo>
                    <a:pt x="144" y="330"/>
                  </a:lnTo>
                  <a:lnTo>
                    <a:pt x="144" y="336"/>
                  </a:lnTo>
                  <a:lnTo>
                    <a:pt x="138" y="336"/>
                  </a:lnTo>
                  <a:lnTo>
                    <a:pt x="138" y="342"/>
                  </a:lnTo>
                  <a:lnTo>
                    <a:pt x="138" y="348"/>
                  </a:lnTo>
                  <a:lnTo>
                    <a:pt x="138" y="354"/>
                  </a:lnTo>
                  <a:close/>
                  <a:moveTo>
                    <a:pt x="48" y="114"/>
                  </a:moveTo>
                  <a:lnTo>
                    <a:pt x="48" y="120"/>
                  </a:lnTo>
                  <a:lnTo>
                    <a:pt x="49" y="120"/>
                  </a:lnTo>
                  <a:lnTo>
                    <a:pt x="48" y="114"/>
                  </a:lnTo>
                  <a:close/>
                  <a:moveTo>
                    <a:pt x="6" y="180"/>
                  </a:moveTo>
                  <a:lnTo>
                    <a:pt x="6" y="186"/>
                  </a:lnTo>
                  <a:lnTo>
                    <a:pt x="7" y="186"/>
                  </a:lnTo>
                  <a:lnTo>
                    <a:pt x="6" y="180"/>
                  </a:lnTo>
                  <a:close/>
                  <a:moveTo>
                    <a:pt x="36" y="84"/>
                  </a:moveTo>
                  <a:lnTo>
                    <a:pt x="36" y="90"/>
                  </a:lnTo>
                  <a:lnTo>
                    <a:pt x="37" y="90"/>
                  </a:lnTo>
                  <a:lnTo>
                    <a:pt x="36" y="8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6" name="Freeform 51"/>
            <p:cNvSpPr>
              <a:spLocks noEditPoints="1"/>
            </p:cNvSpPr>
            <p:nvPr>
              <p:custDataLst>
                <p:tags r:id="rId99"/>
              </p:custDataLst>
            </p:nvPr>
          </p:nvSpPr>
          <p:spPr bwMode="gray">
            <a:xfrm>
              <a:off x="3992563" y="3906838"/>
              <a:ext cx="862013" cy="960438"/>
            </a:xfrm>
            <a:custGeom>
              <a:avLst/>
              <a:gdLst>
                <a:gd name="T0" fmla="*/ 182675 w 696"/>
                <a:gd name="T1" fmla="*/ 273684 h 774"/>
                <a:gd name="T2" fmla="*/ 172043 w 696"/>
                <a:gd name="T3" fmla="*/ 271743 h 774"/>
                <a:gd name="T4" fmla="*/ 159478 w 696"/>
                <a:gd name="T5" fmla="*/ 273684 h 774"/>
                <a:gd name="T6" fmla="*/ 140148 w 696"/>
                <a:gd name="T7" fmla="*/ 269802 h 774"/>
                <a:gd name="T8" fmla="*/ 123717 w 696"/>
                <a:gd name="T9" fmla="*/ 263008 h 774"/>
                <a:gd name="T10" fmla="*/ 65724 w 696"/>
                <a:gd name="T11" fmla="*/ 263008 h 774"/>
                <a:gd name="T12" fmla="*/ 37695 w 696"/>
                <a:gd name="T13" fmla="*/ 259126 h 774"/>
                <a:gd name="T14" fmla="*/ 23197 w 696"/>
                <a:gd name="T15" fmla="*/ 256214 h 774"/>
                <a:gd name="T16" fmla="*/ 8699 w 696"/>
                <a:gd name="T17" fmla="*/ 256214 h 774"/>
                <a:gd name="T18" fmla="*/ 1933 w 696"/>
                <a:gd name="T19" fmla="*/ 252333 h 774"/>
                <a:gd name="T20" fmla="*/ 3866 w 696"/>
                <a:gd name="T21" fmla="*/ 234864 h 774"/>
                <a:gd name="T22" fmla="*/ 8699 w 696"/>
                <a:gd name="T23" fmla="*/ 220305 h 774"/>
                <a:gd name="T24" fmla="*/ 12565 w 696"/>
                <a:gd name="T25" fmla="*/ 207689 h 774"/>
                <a:gd name="T26" fmla="*/ 17398 w 696"/>
                <a:gd name="T27" fmla="*/ 188279 h 774"/>
                <a:gd name="T28" fmla="*/ 17398 w 696"/>
                <a:gd name="T29" fmla="*/ 181485 h 774"/>
                <a:gd name="T30" fmla="*/ 26097 w 696"/>
                <a:gd name="T31" fmla="*/ 168868 h 774"/>
                <a:gd name="T32" fmla="*/ 40595 w 696"/>
                <a:gd name="T33" fmla="*/ 158193 h 774"/>
                <a:gd name="T34" fmla="*/ 42527 w 696"/>
                <a:gd name="T35" fmla="*/ 136842 h 774"/>
                <a:gd name="T36" fmla="*/ 40595 w 696"/>
                <a:gd name="T37" fmla="*/ 121313 h 774"/>
                <a:gd name="T38" fmla="*/ 33829 w 696"/>
                <a:gd name="T39" fmla="*/ 111608 h 774"/>
                <a:gd name="T40" fmla="*/ 27063 w 696"/>
                <a:gd name="T41" fmla="*/ 94139 h 774"/>
                <a:gd name="T42" fmla="*/ 29963 w 696"/>
                <a:gd name="T43" fmla="*/ 90258 h 774"/>
                <a:gd name="T44" fmla="*/ 33829 w 696"/>
                <a:gd name="T45" fmla="*/ 76670 h 774"/>
                <a:gd name="T46" fmla="*/ 26097 w 696"/>
                <a:gd name="T47" fmla="*/ 57260 h 774"/>
                <a:gd name="T48" fmla="*/ 17398 w 696"/>
                <a:gd name="T49" fmla="*/ 42703 h 774"/>
                <a:gd name="T50" fmla="*/ 14498 w 696"/>
                <a:gd name="T51" fmla="*/ 33968 h 774"/>
                <a:gd name="T52" fmla="*/ 27063 w 696"/>
                <a:gd name="T53" fmla="*/ 27174 h 774"/>
                <a:gd name="T54" fmla="*/ 46394 w 696"/>
                <a:gd name="T55" fmla="*/ 27174 h 774"/>
                <a:gd name="T56" fmla="*/ 63792 w 696"/>
                <a:gd name="T57" fmla="*/ 30086 h 774"/>
                <a:gd name="T58" fmla="*/ 85055 w 696"/>
                <a:gd name="T59" fmla="*/ 30086 h 774"/>
                <a:gd name="T60" fmla="*/ 97620 w 696"/>
                <a:gd name="T61" fmla="*/ 32027 h 774"/>
                <a:gd name="T62" fmla="*/ 99553 w 696"/>
                <a:gd name="T63" fmla="*/ 42703 h 774"/>
                <a:gd name="T64" fmla="*/ 104386 w 696"/>
                <a:gd name="T65" fmla="*/ 56289 h 774"/>
                <a:gd name="T66" fmla="*/ 110185 w 696"/>
                <a:gd name="T67" fmla="*/ 64053 h 774"/>
                <a:gd name="T68" fmla="*/ 120817 w 696"/>
                <a:gd name="T69" fmla="*/ 72788 h 774"/>
                <a:gd name="T70" fmla="*/ 134348 w 696"/>
                <a:gd name="T71" fmla="*/ 70848 h 774"/>
                <a:gd name="T72" fmla="*/ 152713 w 696"/>
                <a:gd name="T73" fmla="*/ 64053 h 774"/>
                <a:gd name="T74" fmla="*/ 163345 w 696"/>
                <a:gd name="T75" fmla="*/ 51437 h 774"/>
                <a:gd name="T76" fmla="*/ 175909 w 696"/>
                <a:gd name="T77" fmla="*/ 57260 h 774"/>
                <a:gd name="T78" fmla="*/ 202006 w 696"/>
                <a:gd name="T79" fmla="*/ 57260 h 774"/>
                <a:gd name="T80" fmla="*/ 202006 w 696"/>
                <a:gd name="T81" fmla="*/ 76670 h 774"/>
                <a:gd name="T82" fmla="*/ 202006 w 696"/>
                <a:gd name="T83" fmla="*/ 87346 h 774"/>
                <a:gd name="T84" fmla="*/ 203939 w 696"/>
                <a:gd name="T85" fmla="*/ 104815 h 774"/>
                <a:gd name="T86" fmla="*/ 209738 w 696"/>
                <a:gd name="T87" fmla="*/ 121313 h 774"/>
                <a:gd name="T88" fmla="*/ 212638 w 696"/>
                <a:gd name="T89" fmla="*/ 134901 h 774"/>
                <a:gd name="T90" fmla="*/ 227135 w 696"/>
                <a:gd name="T91" fmla="*/ 131989 h 774"/>
                <a:gd name="T92" fmla="*/ 241633 w 696"/>
                <a:gd name="T93" fmla="*/ 131989 h 774"/>
                <a:gd name="T94" fmla="*/ 243567 w 696"/>
                <a:gd name="T95" fmla="*/ 145576 h 774"/>
                <a:gd name="T96" fmla="*/ 241633 w 696"/>
                <a:gd name="T97" fmla="*/ 162075 h 774"/>
                <a:gd name="T98" fmla="*/ 203939 w 696"/>
                <a:gd name="T99" fmla="*/ 192161 h 774"/>
                <a:gd name="T100" fmla="*/ 207805 w 696"/>
                <a:gd name="T101" fmla="*/ 243598 h 774"/>
                <a:gd name="T102" fmla="*/ 218437 w 696"/>
                <a:gd name="T103" fmla="*/ 256214 h 774"/>
                <a:gd name="T104" fmla="*/ 231969 w 696"/>
                <a:gd name="T105" fmla="*/ 266890 h 774"/>
                <a:gd name="T106" fmla="*/ 17398 w 696"/>
                <a:gd name="T107" fmla="*/ 3882 h 774"/>
                <a:gd name="T108" fmla="*/ 27063 w 696"/>
                <a:gd name="T109" fmla="*/ 6793 h 774"/>
                <a:gd name="T110" fmla="*/ 17398 w 696"/>
                <a:gd name="T111" fmla="*/ 19410 h 774"/>
                <a:gd name="T112" fmla="*/ 12565 w 696"/>
                <a:gd name="T113" fmla="*/ 21351 h 774"/>
                <a:gd name="T114" fmla="*/ 1933 w 696"/>
                <a:gd name="T115" fmla="*/ 250391 h 774"/>
                <a:gd name="T116" fmla="*/ 21264 w 696"/>
                <a:gd name="T117" fmla="*/ 30086 h 774"/>
                <a:gd name="T118" fmla="*/ 23197 w 696"/>
                <a:gd name="T119" fmla="*/ 32027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96" h="774">
                  <a:moveTo>
                    <a:pt x="654" y="750"/>
                  </a:moveTo>
                  <a:lnTo>
                    <a:pt x="648" y="750"/>
                  </a:lnTo>
                  <a:lnTo>
                    <a:pt x="630" y="756"/>
                  </a:lnTo>
                  <a:lnTo>
                    <a:pt x="564" y="768"/>
                  </a:lnTo>
                  <a:lnTo>
                    <a:pt x="546" y="774"/>
                  </a:lnTo>
                  <a:lnTo>
                    <a:pt x="540" y="774"/>
                  </a:lnTo>
                  <a:lnTo>
                    <a:pt x="540" y="768"/>
                  </a:lnTo>
                  <a:lnTo>
                    <a:pt x="534" y="768"/>
                  </a:lnTo>
                  <a:lnTo>
                    <a:pt x="528" y="768"/>
                  </a:lnTo>
                  <a:lnTo>
                    <a:pt x="522" y="768"/>
                  </a:lnTo>
                  <a:lnTo>
                    <a:pt x="516" y="768"/>
                  </a:lnTo>
                  <a:lnTo>
                    <a:pt x="516" y="774"/>
                  </a:lnTo>
                  <a:lnTo>
                    <a:pt x="510" y="774"/>
                  </a:lnTo>
                  <a:lnTo>
                    <a:pt x="504" y="774"/>
                  </a:lnTo>
                  <a:lnTo>
                    <a:pt x="498" y="774"/>
                  </a:lnTo>
                  <a:lnTo>
                    <a:pt x="498" y="768"/>
                  </a:lnTo>
                  <a:lnTo>
                    <a:pt x="498" y="774"/>
                  </a:lnTo>
                  <a:lnTo>
                    <a:pt x="498" y="768"/>
                  </a:lnTo>
                  <a:lnTo>
                    <a:pt x="498" y="774"/>
                  </a:lnTo>
                  <a:lnTo>
                    <a:pt x="492" y="768"/>
                  </a:lnTo>
                  <a:lnTo>
                    <a:pt x="486" y="768"/>
                  </a:lnTo>
                  <a:lnTo>
                    <a:pt x="486" y="762"/>
                  </a:lnTo>
                  <a:lnTo>
                    <a:pt x="480" y="762"/>
                  </a:lnTo>
                  <a:lnTo>
                    <a:pt x="480" y="768"/>
                  </a:lnTo>
                  <a:lnTo>
                    <a:pt x="480" y="762"/>
                  </a:lnTo>
                  <a:lnTo>
                    <a:pt x="480" y="768"/>
                  </a:lnTo>
                  <a:lnTo>
                    <a:pt x="474" y="768"/>
                  </a:lnTo>
                  <a:lnTo>
                    <a:pt x="468" y="768"/>
                  </a:lnTo>
                  <a:lnTo>
                    <a:pt x="462" y="768"/>
                  </a:lnTo>
                  <a:lnTo>
                    <a:pt x="462" y="762"/>
                  </a:lnTo>
                  <a:lnTo>
                    <a:pt x="462" y="768"/>
                  </a:lnTo>
                  <a:lnTo>
                    <a:pt x="456" y="768"/>
                  </a:lnTo>
                  <a:lnTo>
                    <a:pt x="450" y="768"/>
                  </a:lnTo>
                  <a:lnTo>
                    <a:pt x="450" y="762"/>
                  </a:lnTo>
                  <a:lnTo>
                    <a:pt x="444" y="762"/>
                  </a:lnTo>
                  <a:lnTo>
                    <a:pt x="438" y="762"/>
                  </a:lnTo>
                  <a:lnTo>
                    <a:pt x="432" y="762"/>
                  </a:lnTo>
                  <a:lnTo>
                    <a:pt x="426" y="762"/>
                  </a:lnTo>
                  <a:lnTo>
                    <a:pt x="420" y="762"/>
                  </a:lnTo>
                  <a:lnTo>
                    <a:pt x="414" y="762"/>
                  </a:lnTo>
                  <a:lnTo>
                    <a:pt x="408" y="762"/>
                  </a:lnTo>
                  <a:lnTo>
                    <a:pt x="402" y="762"/>
                  </a:lnTo>
                  <a:lnTo>
                    <a:pt x="396" y="762"/>
                  </a:lnTo>
                  <a:lnTo>
                    <a:pt x="396" y="756"/>
                  </a:lnTo>
                  <a:lnTo>
                    <a:pt x="390" y="756"/>
                  </a:lnTo>
                  <a:lnTo>
                    <a:pt x="390" y="750"/>
                  </a:lnTo>
                  <a:lnTo>
                    <a:pt x="384" y="750"/>
                  </a:lnTo>
                  <a:lnTo>
                    <a:pt x="384" y="744"/>
                  </a:lnTo>
                  <a:lnTo>
                    <a:pt x="378" y="744"/>
                  </a:lnTo>
                  <a:lnTo>
                    <a:pt x="378" y="738"/>
                  </a:lnTo>
                  <a:lnTo>
                    <a:pt x="372" y="738"/>
                  </a:lnTo>
                  <a:lnTo>
                    <a:pt x="366" y="738"/>
                  </a:lnTo>
                  <a:lnTo>
                    <a:pt x="360" y="738"/>
                  </a:lnTo>
                  <a:lnTo>
                    <a:pt x="354" y="738"/>
                  </a:lnTo>
                  <a:lnTo>
                    <a:pt x="348" y="738"/>
                  </a:lnTo>
                  <a:lnTo>
                    <a:pt x="342" y="738"/>
                  </a:lnTo>
                  <a:lnTo>
                    <a:pt x="336" y="738"/>
                  </a:lnTo>
                  <a:lnTo>
                    <a:pt x="330" y="738"/>
                  </a:lnTo>
                  <a:lnTo>
                    <a:pt x="324" y="738"/>
                  </a:lnTo>
                  <a:lnTo>
                    <a:pt x="318" y="738"/>
                  </a:lnTo>
                  <a:lnTo>
                    <a:pt x="312" y="738"/>
                  </a:lnTo>
                  <a:lnTo>
                    <a:pt x="306" y="738"/>
                  </a:lnTo>
                  <a:lnTo>
                    <a:pt x="300" y="738"/>
                  </a:lnTo>
                  <a:lnTo>
                    <a:pt x="210" y="738"/>
                  </a:lnTo>
                  <a:lnTo>
                    <a:pt x="198" y="738"/>
                  </a:lnTo>
                  <a:lnTo>
                    <a:pt x="186" y="738"/>
                  </a:lnTo>
                  <a:lnTo>
                    <a:pt x="168" y="738"/>
                  </a:lnTo>
                  <a:lnTo>
                    <a:pt x="150" y="738"/>
                  </a:lnTo>
                  <a:lnTo>
                    <a:pt x="144" y="738"/>
                  </a:lnTo>
                  <a:lnTo>
                    <a:pt x="138" y="738"/>
                  </a:lnTo>
                  <a:lnTo>
                    <a:pt x="132" y="738"/>
                  </a:lnTo>
                  <a:lnTo>
                    <a:pt x="126" y="738"/>
                  </a:lnTo>
                  <a:lnTo>
                    <a:pt x="126" y="732"/>
                  </a:lnTo>
                  <a:lnTo>
                    <a:pt x="120" y="732"/>
                  </a:lnTo>
                  <a:lnTo>
                    <a:pt x="114" y="732"/>
                  </a:lnTo>
                  <a:lnTo>
                    <a:pt x="114" y="726"/>
                  </a:lnTo>
                  <a:lnTo>
                    <a:pt x="108" y="726"/>
                  </a:lnTo>
                  <a:lnTo>
                    <a:pt x="108" y="720"/>
                  </a:lnTo>
                  <a:lnTo>
                    <a:pt x="102" y="720"/>
                  </a:lnTo>
                  <a:lnTo>
                    <a:pt x="108" y="720"/>
                  </a:lnTo>
                  <a:lnTo>
                    <a:pt x="102" y="720"/>
                  </a:lnTo>
                  <a:lnTo>
                    <a:pt x="102" y="714"/>
                  </a:lnTo>
                  <a:lnTo>
                    <a:pt x="96" y="714"/>
                  </a:lnTo>
                  <a:lnTo>
                    <a:pt x="90" y="714"/>
                  </a:lnTo>
                  <a:lnTo>
                    <a:pt x="84" y="714"/>
                  </a:lnTo>
                  <a:lnTo>
                    <a:pt x="78" y="714"/>
                  </a:lnTo>
                  <a:lnTo>
                    <a:pt x="72" y="714"/>
                  </a:lnTo>
                  <a:lnTo>
                    <a:pt x="66" y="720"/>
                  </a:lnTo>
                  <a:lnTo>
                    <a:pt x="60" y="720"/>
                  </a:lnTo>
                  <a:lnTo>
                    <a:pt x="60" y="726"/>
                  </a:lnTo>
                  <a:lnTo>
                    <a:pt x="54" y="726"/>
                  </a:lnTo>
                  <a:lnTo>
                    <a:pt x="48" y="726"/>
                  </a:lnTo>
                  <a:lnTo>
                    <a:pt x="48" y="732"/>
                  </a:lnTo>
                  <a:lnTo>
                    <a:pt x="42" y="732"/>
                  </a:lnTo>
                  <a:lnTo>
                    <a:pt x="42" y="726"/>
                  </a:lnTo>
                  <a:lnTo>
                    <a:pt x="36" y="726"/>
                  </a:lnTo>
                  <a:lnTo>
                    <a:pt x="30" y="726"/>
                  </a:lnTo>
                  <a:lnTo>
                    <a:pt x="24" y="726"/>
                  </a:lnTo>
                  <a:lnTo>
                    <a:pt x="24" y="720"/>
                  </a:lnTo>
                  <a:lnTo>
                    <a:pt x="24" y="726"/>
                  </a:lnTo>
                  <a:lnTo>
                    <a:pt x="24" y="720"/>
                  </a:lnTo>
                  <a:lnTo>
                    <a:pt x="24" y="726"/>
                  </a:lnTo>
                  <a:lnTo>
                    <a:pt x="18" y="726"/>
                  </a:lnTo>
                  <a:lnTo>
                    <a:pt x="12" y="726"/>
                  </a:lnTo>
                  <a:lnTo>
                    <a:pt x="12" y="732"/>
                  </a:lnTo>
                  <a:lnTo>
                    <a:pt x="6" y="732"/>
                  </a:lnTo>
                  <a:lnTo>
                    <a:pt x="6" y="726"/>
                  </a:lnTo>
                  <a:lnTo>
                    <a:pt x="6" y="720"/>
                  </a:lnTo>
                  <a:lnTo>
                    <a:pt x="6" y="714"/>
                  </a:lnTo>
                  <a:lnTo>
                    <a:pt x="6" y="708"/>
                  </a:lnTo>
                  <a:lnTo>
                    <a:pt x="6" y="702"/>
                  </a:lnTo>
                  <a:lnTo>
                    <a:pt x="12" y="702"/>
                  </a:lnTo>
                  <a:lnTo>
                    <a:pt x="12" y="696"/>
                  </a:lnTo>
                  <a:lnTo>
                    <a:pt x="12" y="690"/>
                  </a:lnTo>
                  <a:lnTo>
                    <a:pt x="12" y="684"/>
                  </a:lnTo>
                  <a:lnTo>
                    <a:pt x="12" y="678"/>
                  </a:lnTo>
                  <a:lnTo>
                    <a:pt x="12" y="672"/>
                  </a:lnTo>
                  <a:lnTo>
                    <a:pt x="12" y="666"/>
                  </a:lnTo>
                  <a:lnTo>
                    <a:pt x="6" y="666"/>
                  </a:lnTo>
                  <a:lnTo>
                    <a:pt x="6" y="660"/>
                  </a:lnTo>
                  <a:lnTo>
                    <a:pt x="12" y="660"/>
                  </a:lnTo>
                  <a:lnTo>
                    <a:pt x="12" y="654"/>
                  </a:lnTo>
                  <a:lnTo>
                    <a:pt x="6" y="654"/>
                  </a:lnTo>
                  <a:lnTo>
                    <a:pt x="6" y="648"/>
                  </a:lnTo>
                  <a:lnTo>
                    <a:pt x="6" y="642"/>
                  </a:lnTo>
                  <a:lnTo>
                    <a:pt x="12" y="642"/>
                  </a:lnTo>
                  <a:lnTo>
                    <a:pt x="18" y="642"/>
                  </a:lnTo>
                  <a:lnTo>
                    <a:pt x="18" y="636"/>
                  </a:lnTo>
                  <a:lnTo>
                    <a:pt x="18" y="630"/>
                  </a:lnTo>
                  <a:lnTo>
                    <a:pt x="24" y="630"/>
                  </a:lnTo>
                  <a:lnTo>
                    <a:pt x="24" y="624"/>
                  </a:lnTo>
                  <a:lnTo>
                    <a:pt x="24" y="618"/>
                  </a:lnTo>
                  <a:lnTo>
                    <a:pt x="24" y="612"/>
                  </a:lnTo>
                  <a:lnTo>
                    <a:pt x="30" y="606"/>
                  </a:lnTo>
                  <a:lnTo>
                    <a:pt x="30" y="612"/>
                  </a:lnTo>
                  <a:lnTo>
                    <a:pt x="30" y="606"/>
                  </a:lnTo>
                  <a:lnTo>
                    <a:pt x="24" y="606"/>
                  </a:lnTo>
                  <a:lnTo>
                    <a:pt x="30" y="606"/>
                  </a:lnTo>
                  <a:lnTo>
                    <a:pt x="30" y="600"/>
                  </a:lnTo>
                  <a:lnTo>
                    <a:pt x="30" y="594"/>
                  </a:lnTo>
                  <a:lnTo>
                    <a:pt x="30" y="588"/>
                  </a:lnTo>
                  <a:lnTo>
                    <a:pt x="36" y="588"/>
                  </a:lnTo>
                  <a:lnTo>
                    <a:pt x="36" y="582"/>
                  </a:lnTo>
                  <a:lnTo>
                    <a:pt x="36" y="576"/>
                  </a:lnTo>
                  <a:lnTo>
                    <a:pt x="36" y="570"/>
                  </a:lnTo>
                  <a:lnTo>
                    <a:pt x="42" y="570"/>
                  </a:lnTo>
                  <a:lnTo>
                    <a:pt x="42" y="564"/>
                  </a:lnTo>
                  <a:lnTo>
                    <a:pt x="42" y="558"/>
                  </a:lnTo>
                  <a:lnTo>
                    <a:pt x="42" y="552"/>
                  </a:lnTo>
                  <a:lnTo>
                    <a:pt x="42" y="546"/>
                  </a:lnTo>
                  <a:lnTo>
                    <a:pt x="42" y="540"/>
                  </a:lnTo>
                  <a:lnTo>
                    <a:pt x="42" y="534"/>
                  </a:lnTo>
                  <a:lnTo>
                    <a:pt x="48" y="534"/>
                  </a:lnTo>
                  <a:lnTo>
                    <a:pt x="48" y="528"/>
                  </a:lnTo>
                  <a:lnTo>
                    <a:pt x="48" y="522"/>
                  </a:lnTo>
                  <a:lnTo>
                    <a:pt x="48" y="516"/>
                  </a:lnTo>
                  <a:lnTo>
                    <a:pt x="54" y="516"/>
                  </a:lnTo>
                  <a:lnTo>
                    <a:pt x="48" y="516"/>
                  </a:lnTo>
                  <a:lnTo>
                    <a:pt x="54" y="516"/>
                  </a:lnTo>
                  <a:lnTo>
                    <a:pt x="48" y="516"/>
                  </a:lnTo>
                  <a:lnTo>
                    <a:pt x="48" y="510"/>
                  </a:lnTo>
                  <a:lnTo>
                    <a:pt x="54" y="510"/>
                  </a:lnTo>
                  <a:lnTo>
                    <a:pt x="48" y="510"/>
                  </a:lnTo>
                  <a:lnTo>
                    <a:pt x="48" y="504"/>
                  </a:lnTo>
                  <a:lnTo>
                    <a:pt x="48" y="510"/>
                  </a:lnTo>
                  <a:lnTo>
                    <a:pt x="54" y="504"/>
                  </a:lnTo>
                  <a:lnTo>
                    <a:pt x="54" y="498"/>
                  </a:lnTo>
                  <a:lnTo>
                    <a:pt x="60" y="498"/>
                  </a:lnTo>
                  <a:lnTo>
                    <a:pt x="54" y="498"/>
                  </a:lnTo>
                  <a:lnTo>
                    <a:pt x="60" y="498"/>
                  </a:lnTo>
                  <a:lnTo>
                    <a:pt x="60" y="492"/>
                  </a:lnTo>
                  <a:lnTo>
                    <a:pt x="66" y="492"/>
                  </a:lnTo>
                  <a:lnTo>
                    <a:pt x="72" y="492"/>
                  </a:lnTo>
                  <a:lnTo>
                    <a:pt x="72" y="486"/>
                  </a:lnTo>
                  <a:lnTo>
                    <a:pt x="72" y="480"/>
                  </a:lnTo>
                  <a:lnTo>
                    <a:pt x="72" y="474"/>
                  </a:lnTo>
                  <a:lnTo>
                    <a:pt x="78" y="474"/>
                  </a:lnTo>
                  <a:lnTo>
                    <a:pt x="78" y="468"/>
                  </a:lnTo>
                  <a:lnTo>
                    <a:pt x="84" y="468"/>
                  </a:lnTo>
                  <a:lnTo>
                    <a:pt x="84" y="462"/>
                  </a:lnTo>
                  <a:lnTo>
                    <a:pt x="90" y="462"/>
                  </a:lnTo>
                  <a:lnTo>
                    <a:pt x="96" y="462"/>
                  </a:lnTo>
                  <a:lnTo>
                    <a:pt x="96" y="456"/>
                  </a:lnTo>
                  <a:lnTo>
                    <a:pt x="102" y="456"/>
                  </a:lnTo>
                  <a:lnTo>
                    <a:pt x="102" y="450"/>
                  </a:lnTo>
                  <a:lnTo>
                    <a:pt x="108" y="444"/>
                  </a:lnTo>
                  <a:lnTo>
                    <a:pt x="114" y="444"/>
                  </a:lnTo>
                  <a:lnTo>
                    <a:pt x="114" y="438"/>
                  </a:lnTo>
                  <a:lnTo>
                    <a:pt x="114" y="432"/>
                  </a:lnTo>
                  <a:lnTo>
                    <a:pt x="114" y="426"/>
                  </a:lnTo>
                  <a:lnTo>
                    <a:pt x="120" y="426"/>
                  </a:lnTo>
                  <a:lnTo>
                    <a:pt x="120" y="420"/>
                  </a:lnTo>
                  <a:lnTo>
                    <a:pt x="120" y="414"/>
                  </a:lnTo>
                  <a:lnTo>
                    <a:pt x="120" y="408"/>
                  </a:lnTo>
                  <a:lnTo>
                    <a:pt x="120" y="402"/>
                  </a:lnTo>
                  <a:lnTo>
                    <a:pt x="120" y="396"/>
                  </a:lnTo>
                  <a:lnTo>
                    <a:pt x="120" y="390"/>
                  </a:lnTo>
                  <a:lnTo>
                    <a:pt x="120" y="384"/>
                  </a:lnTo>
                  <a:lnTo>
                    <a:pt x="120" y="378"/>
                  </a:lnTo>
                  <a:lnTo>
                    <a:pt x="126" y="378"/>
                  </a:lnTo>
                  <a:lnTo>
                    <a:pt x="126" y="372"/>
                  </a:lnTo>
                  <a:lnTo>
                    <a:pt x="126" y="366"/>
                  </a:lnTo>
                  <a:lnTo>
                    <a:pt x="120" y="366"/>
                  </a:lnTo>
                  <a:lnTo>
                    <a:pt x="120" y="360"/>
                  </a:lnTo>
                  <a:lnTo>
                    <a:pt x="114" y="354"/>
                  </a:lnTo>
                  <a:lnTo>
                    <a:pt x="120" y="354"/>
                  </a:lnTo>
                  <a:lnTo>
                    <a:pt x="120" y="348"/>
                  </a:lnTo>
                  <a:lnTo>
                    <a:pt x="114" y="348"/>
                  </a:lnTo>
                  <a:lnTo>
                    <a:pt x="114" y="342"/>
                  </a:lnTo>
                  <a:lnTo>
                    <a:pt x="108" y="342"/>
                  </a:lnTo>
                  <a:lnTo>
                    <a:pt x="108" y="336"/>
                  </a:lnTo>
                  <a:lnTo>
                    <a:pt x="108" y="330"/>
                  </a:lnTo>
                  <a:lnTo>
                    <a:pt x="102" y="330"/>
                  </a:lnTo>
                  <a:lnTo>
                    <a:pt x="102" y="324"/>
                  </a:lnTo>
                  <a:lnTo>
                    <a:pt x="108" y="330"/>
                  </a:lnTo>
                  <a:lnTo>
                    <a:pt x="102" y="330"/>
                  </a:lnTo>
                  <a:lnTo>
                    <a:pt x="102" y="324"/>
                  </a:lnTo>
                  <a:lnTo>
                    <a:pt x="102" y="318"/>
                  </a:lnTo>
                  <a:lnTo>
                    <a:pt x="96" y="318"/>
                  </a:lnTo>
                  <a:lnTo>
                    <a:pt x="96" y="312"/>
                  </a:lnTo>
                  <a:lnTo>
                    <a:pt x="96" y="306"/>
                  </a:lnTo>
                  <a:lnTo>
                    <a:pt x="90" y="300"/>
                  </a:lnTo>
                  <a:lnTo>
                    <a:pt x="90" y="294"/>
                  </a:lnTo>
                  <a:lnTo>
                    <a:pt x="90" y="288"/>
                  </a:lnTo>
                  <a:lnTo>
                    <a:pt x="84" y="288"/>
                  </a:lnTo>
                  <a:lnTo>
                    <a:pt x="90" y="288"/>
                  </a:lnTo>
                  <a:lnTo>
                    <a:pt x="84" y="282"/>
                  </a:lnTo>
                  <a:lnTo>
                    <a:pt x="84" y="276"/>
                  </a:lnTo>
                  <a:lnTo>
                    <a:pt x="84" y="270"/>
                  </a:lnTo>
                  <a:lnTo>
                    <a:pt x="78" y="270"/>
                  </a:lnTo>
                  <a:lnTo>
                    <a:pt x="78" y="264"/>
                  </a:lnTo>
                  <a:lnTo>
                    <a:pt x="78" y="258"/>
                  </a:lnTo>
                  <a:lnTo>
                    <a:pt x="78" y="252"/>
                  </a:lnTo>
                  <a:lnTo>
                    <a:pt x="84" y="252"/>
                  </a:lnTo>
                  <a:lnTo>
                    <a:pt x="84" y="246"/>
                  </a:lnTo>
                  <a:lnTo>
                    <a:pt x="84" y="252"/>
                  </a:lnTo>
                  <a:lnTo>
                    <a:pt x="78" y="252"/>
                  </a:lnTo>
                  <a:lnTo>
                    <a:pt x="78" y="258"/>
                  </a:lnTo>
                  <a:lnTo>
                    <a:pt x="78" y="264"/>
                  </a:lnTo>
                  <a:lnTo>
                    <a:pt x="78" y="258"/>
                  </a:lnTo>
                  <a:lnTo>
                    <a:pt x="84" y="258"/>
                  </a:lnTo>
                  <a:lnTo>
                    <a:pt x="84" y="252"/>
                  </a:lnTo>
                  <a:lnTo>
                    <a:pt x="90" y="246"/>
                  </a:lnTo>
                  <a:lnTo>
                    <a:pt x="90" y="240"/>
                  </a:lnTo>
                  <a:lnTo>
                    <a:pt x="96" y="240"/>
                  </a:lnTo>
                  <a:lnTo>
                    <a:pt x="96" y="246"/>
                  </a:lnTo>
                  <a:lnTo>
                    <a:pt x="96" y="240"/>
                  </a:lnTo>
                  <a:lnTo>
                    <a:pt x="102" y="240"/>
                  </a:lnTo>
                  <a:lnTo>
                    <a:pt x="102" y="234"/>
                  </a:lnTo>
                  <a:lnTo>
                    <a:pt x="96" y="234"/>
                  </a:lnTo>
                  <a:lnTo>
                    <a:pt x="96" y="228"/>
                  </a:lnTo>
                  <a:lnTo>
                    <a:pt x="96" y="222"/>
                  </a:lnTo>
                  <a:lnTo>
                    <a:pt x="96" y="216"/>
                  </a:lnTo>
                  <a:lnTo>
                    <a:pt x="90" y="210"/>
                  </a:lnTo>
                  <a:lnTo>
                    <a:pt x="90" y="204"/>
                  </a:lnTo>
                  <a:lnTo>
                    <a:pt x="84" y="198"/>
                  </a:lnTo>
                  <a:lnTo>
                    <a:pt x="84" y="192"/>
                  </a:lnTo>
                  <a:lnTo>
                    <a:pt x="84" y="186"/>
                  </a:lnTo>
                  <a:lnTo>
                    <a:pt x="78" y="186"/>
                  </a:lnTo>
                  <a:lnTo>
                    <a:pt x="78" y="180"/>
                  </a:lnTo>
                  <a:lnTo>
                    <a:pt x="78" y="174"/>
                  </a:lnTo>
                  <a:lnTo>
                    <a:pt x="72" y="174"/>
                  </a:lnTo>
                  <a:lnTo>
                    <a:pt x="72" y="168"/>
                  </a:lnTo>
                  <a:lnTo>
                    <a:pt x="72" y="162"/>
                  </a:lnTo>
                  <a:lnTo>
                    <a:pt x="66" y="162"/>
                  </a:lnTo>
                  <a:lnTo>
                    <a:pt x="66" y="156"/>
                  </a:lnTo>
                  <a:lnTo>
                    <a:pt x="66" y="150"/>
                  </a:lnTo>
                  <a:lnTo>
                    <a:pt x="66" y="144"/>
                  </a:lnTo>
                  <a:lnTo>
                    <a:pt x="66" y="138"/>
                  </a:lnTo>
                  <a:lnTo>
                    <a:pt x="60" y="138"/>
                  </a:lnTo>
                  <a:lnTo>
                    <a:pt x="60" y="132"/>
                  </a:lnTo>
                  <a:lnTo>
                    <a:pt x="54" y="132"/>
                  </a:lnTo>
                  <a:lnTo>
                    <a:pt x="54" y="126"/>
                  </a:lnTo>
                  <a:lnTo>
                    <a:pt x="54" y="120"/>
                  </a:lnTo>
                  <a:lnTo>
                    <a:pt x="48" y="120"/>
                  </a:lnTo>
                  <a:lnTo>
                    <a:pt x="48" y="114"/>
                  </a:lnTo>
                  <a:lnTo>
                    <a:pt x="42" y="108"/>
                  </a:lnTo>
                  <a:lnTo>
                    <a:pt x="42" y="102"/>
                  </a:lnTo>
                  <a:lnTo>
                    <a:pt x="36" y="102"/>
                  </a:lnTo>
                  <a:lnTo>
                    <a:pt x="36" y="96"/>
                  </a:lnTo>
                  <a:lnTo>
                    <a:pt x="36" y="90"/>
                  </a:lnTo>
                  <a:lnTo>
                    <a:pt x="42" y="90"/>
                  </a:lnTo>
                  <a:lnTo>
                    <a:pt x="36" y="96"/>
                  </a:lnTo>
                  <a:lnTo>
                    <a:pt x="42" y="96"/>
                  </a:lnTo>
                  <a:lnTo>
                    <a:pt x="36" y="96"/>
                  </a:lnTo>
                  <a:lnTo>
                    <a:pt x="42" y="96"/>
                  </a:lnTo>
                  <a:lnTo>
                    <a:pt x="48" y="96"/>
                  </a:lnTo>
                  <a:lnTo>
                    <a:pt x="48" y="90"/>
                  </a:lnTo>
                  <a:lnTo>
                    <a:pt x="48" y="96"/>
                  </a:lnTo>
                  <a:lnTo>
                    <a:pt x="48" y="90"/>
                  </a:lnTo>
                  <a:lnTo>
                    <a:pt x="54" y="90"/>
                  </a:lnTo>
                  <a:lnTo>
                    <a:pt x="60" y="90"/>
                  </a:lnTo>
                  <a:lnTo>
                    <a:pt x="66" y="90"/>
                  </a:lnTo>
                  <a:lnTo>
                    <a:pt x="72" y="90"/>
                  </a:lnTo>
                  <a:lnTo>
                    <a:pt x="72" y="84"/>
                  </a:lnTo>
                  <a:lnTo>
                    <a:pt x="78" y="84"/>
                  </a:lnTo>
                  <a:lnTo>
                    <a:pt x="78" y="78"/>
                  </a:lnTo>
                  <a:lnTo>
                    <a:pt x="78" y="84"/>
                  </a:lnTo>
                  <a:lnTo>
                    <a:pt x="84" y="84"/>
                  </a:lnTo>
                  <a:lnTo>
                    <a:pt x="90" y="78"/>
                  </a:lnTo>
                  <a:lnTo>
                    <a:pt x="96" y="84"/>
                  </a:lnTo>
                  <a:lnTo>
                    <a:pt x="96" y="78"/>
                  </a:lnTo>
                  <a:lnTo>
                    <a:pt x="102" y="78"/>
                  </a:lnTo>
                  <a:lnTo>
                    <a:pt x="108" y="84"/>
                  </a:lnTo>
                  <a:lnTo>
                    <a:pt x="114" y="84"/>
                  </a:lnTo>
                  <a:lnTo>
                    <a:pt x="120" y="84"/>
                  </a:lnTo>
                  <a:lnTo>
                    <a:pt x="126" y="78"/>
                  </a:lnTo>
                  <a:lnTo>
                    <a:pt x="132" y="78"/>
                  </a:lnTo>
                  <a:lnTo>
                    <a:pt x="132" y="84"/>
                  </a:lnTo>
                  <a:lnTo>
                    <a:pt x="138" y="84"/>
                  </a:lnTo>
                  <a:lnTo>
                    <a:pt x="138" y="78"/>
                  </a:lnTo>
                  <a:lnTo>
                    <a:pt x="144" y="78"/>
                  </a:lnTo>
                  <a:lnTo>
                    <a:pt x="144" y="84"/>
                  </a:lnTo>
                  <a:lnTo>
                    <a:pt x="150" y="84"/>
                  </a:lnTo>
                  <a:lnTo>
                    <a:pt x="156" y="84"/>
                  </a:lnTo>
                  <a:lnTo>
                    <a:pt x="162" y="84"/>
                  </a:lnTo>
                  <a:lnTo>
                    <a:pt x="168" y="84"/>
                  </a:lnTo>
                  <a:lnTo>
                    <a:pt x="174" y="84"/>
                  </a:lnTo>
                  <a:lnTo>
                    <a:pt x="180" y="84"/>
                  </a:lnTo>
                  <a:lnTo>
                    <a:pt x="186" y="84"/>
                  </a:lnTo>
                  <a:lnTo>
                    <a:pt x="186" y="78"/>
                  </a:lnTo>
                  <a:lnTo>
                    <a:pt x="192" y="78"/>
                  </a:lnTo>
                  <a:lnTo>
                    <a:pt x="198" y="78"/>
                  </a:lnTo>
                  <a:lnTo>
                    <a:pt x="204" y="84"/>
                  </a:lnTo>
                  <a:lnTo>
                    <a:pt x="210" y="84"/>
                  </a:lnTo>
                  <a:lnTo>
                    <a:pt x="216" y="84"/>
                  </a:lnTo>
                  <a:lnTo>
                    <a:pt x="222" y="78"/>
                  </a:lnTo>
                  <a:lnTo>
                    <a:pt x="228" y="78"/>
                  </a:lnTo>
                  <a:lnTo>
                    <a:pt x="234" y="84"/>
                  </a:lnTo>
                  <a:lnTo>
                    <a:pt x="240" y="84"/>
                  </a:lnTo>
                  <a:lnTo>
                    <a:pt x="246" y="84"/>
                  </a:lnTo>
                  <a:lnTo>
                    <a:pt x="246" y="78"/>
                  </a:lnTo>
                  <a:lnTo>
                    <a:pt x="246" y="84"/>
                  </a:lnTo>
                  <a:lnTo>
                    <a:pt x="252" y="84"/>
                  </a:lnTo>
                  <a:lnTo>
                    <a:pt x="252" y="78"/>
                  </a:lnTo>
                  <a:lnTo>
                    <a:pt x="258" y="78"/>
                  </a:lnTo>
                  <a:lnTo>
                    <a:pt x="264" y="78"/>
                  </a:lnTo>
                  <a:lnTo>
                    <a:pt x="264" y="84"/>
                  </a:lnTo>
                  <a:lnTo>
                    <a:pt x="270" y="84"/>
                  </a:lnTo>
                  <a:lnTo>
                    <a:pt x="276" y="84"/>
                  </a:lnTo>
                  <a:lnTo>
                    <a:pt x="276" y="90"/>
                  </a:lnTo>
                  <a:lnTo>
                    <a:pt x="276" y="96"/>
                  </a:lnTo>
                  <a:lnTo>
                    <a:pt x="282" y="96"/>
                  </a:lnTo>
                  <a:lnTo>
                    <a:pt x="276" y="96"/>
                  </a:lnTo>
                  <a:lnTo>
                    <a:pt x="282" y="96"/>
                  </a:lnTo>
                  <a:lnTo>
                    <a:pt x="282" y="102"/>
                  </a:lnTo>
                  <a:lnTo>
                    <a:pt x="282" y="108"/>
                  </a:lnTo>
                  <a:lnTo>
                    <a:pt x="282" y="114"/>
                  </a:lnTo>
                  <a:lnTo>
                    <a:pt x="282" y="108"/>
                  </a:lnTo>
                  <a:lnTo>
                    <a:pt x="282" y="114"/>
                  </a:lnTo>
                  <a:lnTo>
                    <a:pt x="288" y="120"/>
                  </a:lnTo>
                  <a:lnTo>
                    <a:pt x="282" y="120"/>
                  </a:lnTo>
                  <a:lnTo>
                    <a:pt x="288" y="120"/>
                  </a:lnTo>
                  <a:lnTo>
                    <a:pt x="288" y="126"/>
                  </a:lnTo>
                  <a:lnTo>
                    <a:pt x="288" y="132"/>
                  </a:lnTo>
                  <a:lnTo>
                    <a:pt x="294" y="132"/>
                  </a:lnTo>
                  <a:lnTo>
                    <a:pt x="294" y="138"/>
                  </a:lnTo>
                  <a:lnTo>
                    <a:pt x="294" y="144"/>
                  </a:lnTo>
                  <a:lnTo>
                    <a:pt x="300" y="144"/>
                  </a:lnTo>
                  <a:lnTo>
                    <a:pt x="300" y="150"/>
                  </a:lnTo>
                  <a:lnTo>
                    <a:pt x="294" y="150"/>
                  </a:lnTo>
                  <a:lnTo>
                    <a:pt x="300" y="156"/>
                  </a:lnTo>
                  <a:lnTo>
                    <a:pt x="294" y="156"/>
                  </a:lnTo>
                  <a:lnTo>
                    <a:pt x="300" y="156"/>
                  </a:lnTo>
                  <a:lnTo>
                    <a:pt x="300" y="162"/>
                  </a:lnTo>
                  <a:lnTo>
                    <a:pt x="306" y="162"/>
                  </a:lnTo>
                  <a:lnTo>
                    <a:pt x="306" y="168"/>
                  </a:lnTo>
                  <a:lnTo>
                    <a:pt x="312" y="168"/>
                  </a:lnTo>
                  <a:lnTo>
                    <a:pt x="306" y="168"/>
                  </a:lnTo>
                  <a:lnTo>
                    <a:pt x="306" y="174"/>
                  </a:lnTo>
                  <a:lnTo>
                    <a:pt x="312" y="174"/>
                  </a:lnTo>
                  <a:lnTo>
                    <a:pt x="312" y="180"/>
                  </a:lnTo>
                  <a:lnTo>
                    <a:pt x="318" y="180"/>
                  </a:lnTo>
                  <a:lnTo>
                    <a:pt x="312" y="180"/>
                  </a:lnTo>
                  <a:lnTo>
                    <a:pt x="318" y="186"/>
                  </a:lnTo>
                  <a:lnTo>
                    <a:pt x="318" y="192"/>
                  </a:lnTo>
                  <a:lnTo>
                    <a:pt x="324" y="192"/>
                  </a:lnTo>
                  <a:lnTo>
                    <a:pt x="324" y="198"/>
                  </a:lnTo>
                  <a:lnTo>
                    <a:pt x="330" y="204"/>
                  </a:lnTo>
                  <a:lnTo>
                    <a:pt x="324" y="204"/>
                  </a:lnTo>
                  <a:lnTo>
                    <a:pt x="330" y="204"/>
                  </a:lnTo>
                  <a:lnTo>
                    <a:pt x="330" y="210"/>
                  </a:lnTo>
                  <a:lnTo>
                    <a:pt x="336" y="210"/>
                  </a:lnTo>
                  <a:lnTo>
                    <a:pt x="336" y="204"/>
                  </a:lnTo>
                  <a:lnTo>
                    <a:pt x="342" y="204"/>
                  </a:lnTo>
                  <a:lnTo>
                    <a:pt x="348" y="204"/>
                  </a:lnTo>
                  <a:lnTo>
                    <a:pt x="354" y="204"/>
                  </a:lnTo>
                  <a:lnTo>
                    <a:pt x="360" y="204"/>
                  </a:lnTo>
                  <a:lnTo>
                    <a:pt x="360" y="198"/>
                  </a:lnTo>
                  <a:lnTo>
                    <a:pt x="366" y="198"/>
                  </a:lnTo>
                  <a:lnTo>
                    <a:pt x="372" y="198"/>
                  </a:lnTo>
                  <a:lnTo>
                    <a:pt x="372" y="204"/>
                  </a:lnTo>
                  <a:lnTo>
                    <a:pt x="372" y="198"/>
                  </a:lnTo>
                  <a:lnTo>
                    <a:pt x="372" y="204"/>
                  </a:lnTo>
                  <a:lnTo>
                    <a:pt x="378" y="204"/>
                  </a:lnTo>
                  <a:lnTo>
                    <a:pt x="378" y="198"/>
                  </a:lnTo>
                  <a:lnTo>
                    <a:pt x="384" y="198"/>
                  </a:lnTo>
                  <a:lnTo>
                    <a:pt x="396" y="198"/>
                  </a:lnTo>
                  <a:lnTo>
                    <a:pt x="402" y="198"/>
                  </a:lnTo>
                  <a:lnTo>
                    <a:pt x="408" y="198"/>
                  </a:lnTo>
                  <a:lnTo>
                    <a:pt x="414" y="198"/>
                  </a:lnTo>
                  <a:lnTo>
                    <a:pt x="420" y="198"/>
                  </a:lnTo>
                  <a:lnTo>
                    <a:pt x="426" y="198"/>
                  </a:lnTo>
                  <a:lnTo>
                    <a:pt x="432" y="198"/>
                  </a:lnTo>
                  <a:lnTo>
                    <a:pt x="432" y="192"/>
                  </a:lnTo>
                  <a:lnTo>
                    <a:pt x="432" y="186"/>
                  </a:lnTo>
                  <a:lnTo>
                    <a:pt x="432" y="180"/>
                  </a:lnTo>
                  <a:lnTo>
                    <a:pt x="432" y="174"/>
                  </a:lnTo>
                  <a:lnTo>
                    <a:pt x="438" y="174"/>
                  </a:lnTo>
                  <a:lnTo>
                    <a:pt x="438" y="168"/>
                  </a:lnTo>
                  <a:lnTo>
                    <a:pt x="438" y="162"/>
                  </a:lnTo>
                  <a:lnTo>
                    <a:pt x="438" y="156"/>
                  </a:lnTo>
                  <a:lnTo>
                    <a:pt x="438" y="150"/>
                  </a:lnTo>
                  <a:lnTo>
                    <a:pt x="444" y="150"/>
                  </a:lnTo>
                  <a:lnTo>
                    <a:pt x="438" y="144"/>
                  </a:lnTo>
                  <a:lnTo>
                    <a:pt x="450" y="144"/>
                  </a:lnTo>
                  <a:lnTo>
                    <a:pt x="456" y="144"/>
                  </a:lnTo>
                  <a:lnTo>
                    <a:pt x="462" y="144"/>
                  </a:lnTo>
                  <a:lnTo>
                    <a:pt x="468" y="144"/>
                  </a:lnTo>
                  <a:lnTo>
                    <a:pt x="474" y="144"/>
                  </a:lnTo>
                  <a:lnTo>
                    <a:pt x="480" y="144"/>
                  </a:lnTo>
                  <a:lnTo>
                    <a:pt x="486" y="144"/>
                  </a:lnTo>
                  <a:lnTo>
                    <a:pt x="486" y="138"/>
                  </a:lnTo>
                  <a:lnTo>
                    <a:pt x="492" y="138"/>
                  </a:lnTo>
                  <a:lnTo>
                    <a:pt x="498" y="138"/>
                  </a:lnTo>
                  <a:lnTo>
                    <a:pt x="498" y="144"/>
                  </a:lnTo>
                  <a:lnTo>
                    <a:pt x="498" y="150"/>
                  </a:lnTo>
                  <a:lnTo>
                    <a:pt x="498" y="156"/>
                  </a:lnTo>
                  <a:lnTo>
                    <a:pt x="498" y="162"/>
                  </a:lnTo>
                  <a:lnTo>
                    <a:pt x="504" y="162"/>
                  </a:lnTo>
                  <a:lnTo>
                    <a:pt x="510" y="162"/>
                  </a:lnTo>
                  <a:lnTo>
                    <a:pt x="516" y="162"/>
                  </a:lnTo>
                  <a:lnTo>
                    <a:pt x="522" y="162"/>
                  </a:lnTo>
                  <a:lnTo>
                    <a:pt x="534" y="162"/>
                  </a:lnTo>
                  <a:lnTo>
                    <a:pt x="540" y="162"/>
                  </a:lnTo>
                  <a:lnTo>
                    <a:pt x="546" y="162"/>
                  </a:lnTo>
                  <a:lnTo>
                    <a:pt x="552" y="162"/>
                  </a:lnTo>
                  <a:lnTo>
                    <a:pt x="558" y="162"/>
                  </a:lnTo>
                  <a:lnTo>
                    <a:pt x="564" y="162"/>
                  </a:lnTo>
                  <a:lnTo>
                    <a:pt x="570" y="162"/>
                  </a:lnTo>
                  <a:lnTo>
                    <a:pt x="570" y="168"/>
                  </a:lnTo>
                  <a:lnTo>
                    <a:pt x="570" y="174"/>
                  </a:lnTo>
                  <a:lnTo>
                    <a:pt x="570" y="180"/>
                  </a:lnTo>
                  <a:lnTo>
                    <a:pt x="564" y="180"/>
                  </a:lnTo>
                  <a:lnTo>
                    <a:pt x="564" y="186"/>
                  </a:lnTo>
                  <a:lnTo>
                    <a:pt x="564" y="192"/>
                  </a:lnTo>
                  <a:lnTo>
                    <a:pt x="564" y="198"/>
                  </a:lnTo>
                  <a:lnTo>
                    <a:pt x="564" y="204"/>
                  </a:lnTo>
                  <a:lnTo>
                    <a:pt x="570" y="204"/>
                  </a:lnTo>
                  <a:lnTo>
                    <a:pt x="570" y="210"/>
                  </a:lnTo>
                  <a:lnTo>
                    <a:pt x="570" y="216"/>
                  </a:lnTo>
                  <a:lnTo>
                    <a:pt x="576" y="216"/>
                  </a:lnTo>
                  <a:lnTo>
                    <a:pt x="576" y="222"/>
                  </a:lnTo>
                  <a:lnTo>
                    <a:pt x="570" y="222"/>
                  </a:lnTo>
                  <a:lnTo>
                    <a:pt x="576" y="222"/>
                  </a:lnTo>
                  <a:lnTo>
                    <a:pt x="576" y="228"/>
                  </a:lnTo>
                  <a:lnTo>
                    <a:pt x="576" y="234"/>
                  </a:lnTo>
                  <a:lnTo>
                    <a:pt x="570" y="234"/>
                  </a:lnTo>
                  <a:lnTo>
                    <a:pt x="576" y="234"/>
                  </a:lnTo>
                  <a:lnTo>
                    <a:pt x="570" y="234"/>
                  </a:lnTo>
                  <a:lnTo>
                    <a:pt x="570" y="240"/>
                  </a:lnTo>
                  <a:lnTo>
                    <a:pt x="570" y="246"/>
                  </a:lnTo>
                  <a:lnTo>
                    <a:pt x="570" y="252"/>
                  </a:lnTo>
                  <a:lnTo>
                    <a:pt x="570" y="258"/>
                  </a:lnTo>
                  <a:lnTo>
                    <a:pt x="570" y="264"/>
                  </a:lnTo>
                  <a:lnTo>
                    <a:pt x="570" y="270"/>
                  </a:lnTo>
                  <a:lnTo>
                    <a:pt x="570" y="276"/>
                  </a:lnTo>
                  <a:lnTo>
                    <a:pt x="564" y="276"/>
                  </a:lnTo>
                  <a:lnTo>
                    <a:pt x="564" y="282"/>
                  </a:lnTo>
                  <a:lnTo>
                    <a:pt x="570" y="282"/>
                  </a:lnTo>
                  <a:lnTo>
                    <a:pt x="570" y="288"/>
                  </a:lnTo>
                  <a:lnTo>
                    <a:pt x="570" y="294"/>
                  </a:lnTo>
                  <a:lnTo>
                    <a:pt x="576" y="294"/>
                  </a:lnTo>
                  <a:lnTo>
                    <a:pt x="576" y="300"/>
                  </a:lnTo>
                  <a:lnTo>
                    <a:pt x="576" y="306"/>
                  </a:lnTo>
                  <a:lnTo>
                    <a:pt x="582" y="306"/>
                  </a:lnTo>
                  <a:lnTo>
                    <a:pt x="588" y="306"/>
                  </a:lnTo>
                  <a:lnTo>
                    <a:pt x="588" y="312"/>
                  </a:lnTo>
                  <a:lnTo>
                    <a:pt x="588" y="318"/>
                  </a:lnTo>
                  <a:lnTo>
                    <a:pt x="588" y="324"/>
                  </a:lnTo>
                  <a:lnTo>
                    <a:pt x="594" y="324"/>
                  </a:lnTo>
                  <a:lnTo>
                    <a:pt x="594" y="330"/>
                  </a:lnTo>
                  <a:lnTo>
                    <a:pt x="594" y="336"/>
                  </a:lnTo>
                  <a:lnTo>
                    <a:pt x="594" y="342"/>
                  </a:lnTo>
                  <a:lnTo>
                    <a:pt x="594" y="348"/>
                  </a:lnTo>
                  <a:lnTo>
                    <a:pt x="594" y="354"/>
                  </a:lnTo>
                  <a:lnTo>
                    <a:pt x="594" y="360"/>
                  </a:lnTo>
                  <a:lnTo>
                    <a:pt x="588" y="360"/>
                  </a:lnTo>
                  <a:lnTo>
                    <a:pt x="588" y="366"/>
                  </a:lnTo>
                  <a:lnTo>
                    <a:pt x="588" y="372"/>
                  </a:lnTo>
                  <a:lnTo>
                    <a:pt x="588" y="378"/>
                  </a:lnTo>
                  <a:lnTo>
                    <a:pt x="594" y="378"/>
                  </a:lnTo>
                  <a:lnTo>
                    <a:pt x="594" y="384"/>
                  </a:lnTo>
                  <a:lnTo>
                    <a:pt x="594" y="378"/>
                  </a:lnTo>
                  <a:lnTo>
                    <a:pt x="600" y="378"/>
                  </a:lnTo>
                  <a:lnTo>
                    <a:pt x="606" y="378"/>
                  </a:lnTo>
                  <a:lnTo>
                    <a:pt x="606" y="372"/>
                  </a:lnTo>
                  <a:lnTo>
                    <a:pt x="612" y="372"/>
                  </a:lnTo>
                  <a:lnTo>
                    <a:pt x="618" y="378"/>
                  </a:lnTo>
                  <a:lnTo>
                    <a:pt x="624" y="378"/>
                  </a:lnTo>
                  <a:lnTo>
                    <a:pt x="624" y="372"/>
                  </a:lnTo>
                  <a:lnTo>
                    <a:pt x="630" y="372"/>
                  </a:lnTo>
                  <a:lnTo>
                    <a:pt x="630" y="378"/>
                  </a:lnTo>
                  <a:lnTo>
                    <a:pt x="636" y="378"/>
                  </a:lnTo>
                  <a:lnTo>
                    <a:pt x="642" y="378"/>
                  </a:lnTo>
                  <a:lnTo>
                    <a:pt x="642" y="372"/>
                  </a:lnTo>
                  <a:lnTo>
                    <a:pt x="642" y="378"/>
                  </a:lnTo>
                  <a:lnTo>
                    <a:pt x="642" y="372"/>
                  </a:lnTo>
                  <a:lnTo>
                    <a:pt x="648" y="372"/>
                  </a:lnTo>
                  <a:lnTo>
                    <a:pt x="654" y="372"/>
                  </a:lnTo>
                  <a:lnTo>
                    <a:pt x="654" y="366"/>
                  </a:lnTo>
                  <a:lnTo>
                    <a:pt x="660" y="366"/>
                  </a:lnTo>
                  <a:lnTo>
                    <a:pt x="666" y="366"/>
                  </a:lnTo>
                  <a:lnTo>
                    <a:pt x="666" y="372"/>
                  </a:lnTo>
                  <a:lnTo>
                    <a:pt x="672" y="372"/>
                  </a:lnTo>
                  <a:lnTo>
                    <a:pt x="678" y="372"/>
                  </a:lnTo>
                  <a:lnTo>
                    <a:pt x="684" y="372"/>
                  </a:lnTo>
                  <a:lnTo>
                    <a:pt x="684" y="366"/>
                  </a:lnTo>
                  <a:lnTo>
                    <a:pt x="690" y="366"/>
                  </a:lnTo>
                  <a:lnTo>
                    <a:pt x="690" y="372"/>
                  </a:lnTo>
                  <a:lnTo>
                    <a:pt x="690" y="378"/>
                  </a:lnTo>
                  <a:lnTo>
                    <a:pt x="690" y="384"/>
                  </a:lnTo>
                  <a:lnTo>
                    <a:pt x="690" y="390"/>
                  </a:lnTo>
                  <a:lnTo>
                    <a:pt x="696" y="390"/>
                  </a:lnTo>
                  <a:lnTo>
                    <a:pt x="690" y="390"/>
                  </a:lnTo>
                  <a:lnTo>
                    <a:pt x="690" y="396"/>
                  </a:lnTo>
                  <a:lnTo>
                    <a:pt x="690" y="402"/>
                  </a:lnTo>
                  <a:lnTo>
                    <a:pt x="690" y="408"/>
                  </a:lnTo>
                  <a:lnTo>
                    <a:pt x="684" y="408"/>
                  </a:lnTo>
                  <a:lnTo>
                    <a:pt x="690" y="408"/>
                  </a:lnTo>
                  <a:lnTo>
                    <a:pt x="690" y="414"/>
                  </a:lnTo>
                  <a:lnTo>
                    <a:pt x="690" y="420"/>
                  </a:lnTo>
                  <a:lnTo>
                    <a:pt x="690" y="426"/>
                  </a:lnTo>
                  <a:lnTo>
                    <a:pt x="690" y="432"/>
                  </a:lnTo>
                  <a:lnTo>
                    <a:pt x="690" y="438"/>
                  </a:lnTo>
                  <a:lnTo>
                    <a:pt x="690" y="444"/>
                  </a:lnTo>
                  <a:lnTo>
                    <a:pt x="690" y="450"/>
                  </a:lnTo>
                  <a:lnTo>
                    <a:pt x="690" y="456"/>
                  </a:lnTo>
                  <a:lnTo>
                    <a:pt x="684" y="456"/>
                  </a:lnTo>
                  <a:lnTo>
                    <a:pt x="684" y="462"/>
                  </a:lnTo>
                  <a:lnTo>
                    <a:pt x="684" y="468"/>
                  </a:lnTo>
                  <a:lnTo>
                    <a:pt x="684" y="474"/>
                  </a:lnTo>
                  <a:lnTo>
                    <a:pt x="684" y="480"/>
                  </a:lnTo>
                  <a:lnTo>
                    <a:pt x="690" y="480"/>
                  </a:lnTo>
                  <a:lnTo>
                    <a:pt x="660" y="486"/>
                  </a:lnTo>
                  <a:lnTo>
                    <a:pt x="600" y="486"/>
                  </a:lnTo>
                  <a:lnTo>
                    <a:pt x="576" y="486"/>
                  </a:lnTo>
                  <a:lnTo>
                    <a:pt x="576" y="510"/>
                  </a:lnTo>
                  <a:lnTo>
                    <a:pt x="576" y="528"/>
                  </a:lnTo>
                  <a:lnTo>
                    <a:pt x="576" y="540"/>
                  </a:lnTo>
                  <a:lnTo>
                    <a:pt x="576" y="546"/>
                  </a:lnTo>
                  <a:lnTo>
                    <a:pt x="576" y="600"/>
                  </a:lnTo>
                  <a:lnTo>
                    <a:pt x="576" y="618"/>
                  </a:lnTo>
                  <a:lnTo>
                    <a:pt x="576" y="654"/>
                  </a:lnTo>
                  <a:lnTo>
                    <a:pt x="576" y="660"/>
                  </a:lnTo>
                  <a:lnTo>
                    <a:pt x="576" y="666"/>
                  </a:lnTo>
                  <a:lnTo>
                    <a:pt x="576" y="672"/>
                  </a:lnTo>
                  <a:lnTo>
                    <a:pt x="582" y="672"/>
                  </a:lnTo>
                  <a:lnTo>
                    <a:pt x="582" y="678"/>
                  </a:lnTo>
                  <a:lnTo>
                    <a:pt x="582" y="684"/>
                  </a:lnTo>
                  <a:lnTo>
                    <a:pt x="588" y="684"/>
                  </a:lnTo>
                  <a:lnTo>
                    <a:pt x="588" y="690"/>
                  </a:lnTo>
                  <a:lnTo>
                    <a:pt x="594" y="690"/>
                  </a:lnTo>
                  <a:lnTo>
                    <a:pt x="594" y="696"/>
                  </a:lnTo>
                  <a:lnTo>
                    <a:pt x="600" y="696"/>
                  </a:lnTo>
                  <a:lnTo>
                    <a:pt x="600" y="702"/>
                  </a:lnTo>
                  <a:lnTo>
                    <a:pt x="606" y="702"/>
                  </a:lnTo>
                  <a:lnTo>
                    <a:pt x="606" y="708"/>
                  </a:lnTo>
                  <a:lnTo>
                    <a:pt x="612" y="708"/>
                  </a:lnTo>
                  <a:lnTo>
                    <a:pt x="612" y="714"/>
                  </a:lnTo>
                  <a:lnTo>
                    <a:pt x="618" y="714"/>
                  </a:lnTo>
                  <a:lnTo>
                    <a:pt x="618" y="720"/>
                  </a:lnTo>
                  <a:lnTo>
                    <a:pt x="624" y="720"/>
                  </a:lnTo>
                  <a:lnTo>
                    <a:pt x="624" y="726"/>
                  </a:lnTo>
                  <a:lnTo>
                    <a:pt x="630" y="726"/>
                  </a:lnTo>
                  <a:lnTo>
                    <a:pt x="630" y="732"/>
                  </a:lnTo>
                  <a:lnTo>
                    <a:pt x="636" y="732"/>
                  </a:lnTo>
                  <a:lnTo>
                    <a:pt x="636" y="738"/>
                  </a:lnTo>
                  <a:lnTo>
                    <a:pt x="642" y="738"/>
                  </a:lnTo>
                  <a:lnTo>
                    <a:pt x="642" y="744"/>
                  </a:lnTo>
                  <a:lnTo>
                    <a:pt x="648" y="744"/>
                  </a:lnTo>
                  <a:lnTo>
                    <a:pt x="654" y="744"/>
                  </a:lnTo>
                  <a:lnTo>
                    <a:pt x="654" y="750"/>
                  </a:lnTo>
                  <a:close/>
                  <a:moveTo>
                    <a:pt x="24" y="36"/>
                  </a:moveTo>
                  <a:lnTo>
                    <a:pt x="24" y="30"/>
                  </a:lnTo>
                  <a:lnTo>
                    <a:pt x="30" y="30"/>
                  </a:lnTo>
                  <a:lnTo>
                    <a:pt x="30" y="24"/>
                  </a:lnTo>
                  <a:lnTo>
                    <a:pt x="30" y="18"/>
                  </a:lnTo>
                  <a:lnTo>
                    <a:pt x="36" y="18"/>
                  </a:lnTo>
                  <a:lnTo>
                    <a:pt x="36" y="24"/>
                  </a:lnTo>
                  <a:lnTo>
                    <a:pt x="36" y="18"/>
                  </a:lnTo>
                  <a:lnTo>
                    <a:pt x="42" y="18"/>
                  </a:lnTo>
                  <a:lnTo>
                    <a:pt x="42" y="12"/>
                  </a:lnTo>
                  <a:lnTo>
                    <a:pt x="48" y="12"/>
                  </a:lnTo>
                  <a:lnTo>
                    <a:pt x="54" y="6"/>
                  </a:lnTo>
                  <a:lnTo>
                    <a:pt x="60" y="6"/>
                  </a:lnTo>
                  <a:lnTo>
                    <a:pt x="60" y="0"/>
                  </a:lnTo>
                  <a:lnTo>
                    <a:pt x="66" y="0"/>
                  </a:lnTo>
                  <a:lnTo>
                    <a:pt x="72" y="0"/>
                  </a:lnTo>
                  <a:lnTo>
                    <a:pt x="72" y="6"/>
                  </a:lnTo>
                  <a:lnTo>
                    <a:pt x="78" y="6"/>
                  </a:lnTo>
                  <a:lnTo>
                    <a:pt x="78" y="12"/>
                  </a:lnTo>
                  <a:lnTo>
                    <a:pt x="84" y="12"/>
                  </a:lnTo>
                  <a:lnTo>
                    <a:pt x="78" y="12"/>
                  </a:lnTo>
                  <a:lnTo>
                    <a:pt x="78" y="18"/>
                  </a:lnTo>
                  <a:lnTo>
                    <a:pt x="72" y="18"/>
                  </a:lnTo>
                  <a:lnTo>
                    <a:pt x="66" y="18"/>
                  </a:lnTo>
                  <a:lnTo>
                    <a:pt x="66" y="24"/>
                  </a:lnTo>
                  <a:lnTo>
                    <a:pt x="60" y="24"/>
                  </a:lnTo>
                  <a:lnTo>
                    <a:pt x="60" y="30"/>
                  </a:lnTo>
                  <a:lnTo>
                    <a:pt x="54" y="30"/>
                  </a:lnTo>
                  <a:lnTo>
                    <a:pt x="54" y="36"/>
                  </a:lnTo>
                  <a:lnTo>
                    <a:pt x="48" y="36"/>
                  </a:lnTo>
                  <a:lnTo>
                    <a:pt x="48" y="42"/>
                  </a:lnTo>
                  <a:lnTo>
                    <a:pt x="48" y="48"/>
                  </a:lnTo>
                  <a:lnTo>
                    <a:pt x="48" y="54"/>
                  </a:lnTo>
                  <a:lnTo>
                    <a:pt x="48" y="60"/>
                  </a:lnTo>
                  <a:lnTo>
                    <a:pt x="48" y="66"/>
                  </a:lnTo>
                  <a:lnTo>
                    <a:pt x="48" y="72"/>
                  </a:lnTo>
                  <a:lnTo>
                    <a:pt x="42" y="72"/>
                  </a:lnTo>
                  <a:lnTo>
                    <a:pt x="36" y="72"/>
                  </a:lnTo>
                  <a:lnTo>
                    <a:pt x="30" y="72"/>
                  </a:lnTo>
                  <a:lnTo>
                    <a:pt x="30" y="78"/>
                  </a:lnTo>
                  <a:lnTo>
                    <a:pt x="30" y="72"/>
                  </a:lnTo>
                  <a:lnTo>
                    <a:pt x="30" y="66"/>
                  </a:lnTo>
                  <a:lnTo>
                    <a:pt x="30" y="60"/>
                  </a:lnTo>
                  <a:lnTo>
                    <a:pt x="36" y="60"/>
                  </a:lnTo>
                  <a:lnTo>
                    <a:pt x="30" y="60"/>
                  </a:lnTo>
                  <a:lnTo>
                    <a:pt x="30" y="54"/>
                  </a:lnTo>
                  <a:lnTo>
                    <a:pt x="30" y="48"/>
                  </a:lnTo>
                  <a:lnTo>
                    <a:pt x="30" y="42"/>
                  </a:lnTo>
                  <a:lnTo>
                    <a:pt x="24" y="42"/>
                  </a:lnTo>
                  <a:lnTo>
                    <a:pt x="24" y="36"/>
                  </a:lnTo>
                  <a:close/>
                  <a:moveTo>
                    <a:pt x="0" y="690"/>
                  </a:moveTo>
                  <a:lnTo>
                    <a:pt x="6" y="684"/>
                  </a:lnTo>
                  <a:lnTo>
                    <a:pt x="6" y="690"/>
                  </a:lnTo>
                  <a:lnTo>
                    <a:pt x="6" y="696"/>
                  </a:lnTo>
                  <a:lnTo>
                    <a:pt x="6" y="702"/>
                  </a:lnTo>
                  <a:lnTo>
                    <a:pt x="6" y="696"/>
                  </a:lnTo>
                  <a:lnTo>
                    <a:pt x="6" y="690"/>
                  </a:lnTo>
                  <a:lnTo>
                    <a:pt x="0" y="690"/>
                  </a:lnTo>
                  <a:close/>
                  <a:moveTo>
                    <a:pt x="72" y="84"/>
                  </a:moveTo>
                  <a:lnTo>
                    <a:pt x="72" y="90"/>
                  </a:lnTo>
                  <a:lnTo>
                    <a:pt x="73" y="90"/>
                  </a:lnTo>
                  <a:lnTo>
                    <a:pt x="72" y="84"/>
                  </a:lnTo>
                  <a:close/>
                  <a:moveTo>
                    <a:pt x="54" y="90"/>
                  </a:moveTo>
                  <a:lnTo>
                    <a:pt x="60" y="90"/>
                  </a:lnTo>
                  <a:lnTo>
                    <a:pt x="54" y="90"/>
                  </a:lnTo>
                  <a:close/>
                  <a:moveTo>
                    <a:pt x="60" y="84"/>
                  </a:moveTo>
                  <a:lnTo>
                    <a:pt x="66" y="84"/>
                  </a:lnTo>
                  <a:lnTo>
                    <a:pt x="66" y="90"/>
                  </a:lnTo>
                  <a:lnTo>
                    <a:pt x="60" y="90"/>
                  </a:lnTo>
                  <a:lnTo>
                    <a:pt x="60" y="84"/>
                  </a:lnTo>
                  <a:close/>
                  <a:moveTo>
                    <a:pt x="84" y="240"/>
                  </a:moveTo>
                  <a:lnTo>
                    <a:pt x="90" y="240"/>
                  </a:lnTo>
                  <a:lnTo>
                    <a:pt x="90" y="246"/>
                  </a:lnTo>
                  <a:lnTo>
                    <a:pt x="84" y="246"/>
                  </a:lnTo>
                  <a:lnTo>
                    <a:pt x="84" y="240"/>
                  </a:lnTo>
                  <a:close/>
                  <a:moveTo>
                    <a:pt x="60" y="90"/>
                  </a:moveTo>
                  <a:lnTo>
                    <a:pt x="66" y="90"/>
                  </a:lnTo>
                  <a:lnTo>
                    <a:pt x="60" y="90"/>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7" name="Freeform 52"/>
            <p:cNvSpPr>
              <a:spLocks/>
            </p:cNvSpPr>
            <p:nvPr>
              <p:custDataLst>
                <p:tags r:id="rId100"/>
              </p:custDataLst>
            </p:nvPr>
          </p:nvSpPr>
          <p:spPr bwMode="gray">
            <a:xfrm>
              <a:off x="4572000" y="4851401"/>
              <a:ext cx="641350" cy="677863"/>
            </a:xfrm>
            <a:custGeom>
              <a:avLst/>
              <a:gdLst>
                <a:gd name="T0" fmla="*/ 178005 w 516"/>
                <a:gd name="T1" fmla="*/ 96174 h 546"/>
                <a:gd name="T2" fmla="*/ 170223 w 516"/>
                <a:gd name="T3" fmla="*/ 101032 h 546"/>
                <a:gd name="T4" fmla="*/ 161468 w 516"/>
                <a:gd name="T5" fmla="*/ 104918 h 546"/>
                <a:gd name="T6" fmla="*/ 154660 w 516"/>
                <a:gd name="T7" fmla="*/ 111718 h 546"/>
                <a:gd name="T8" fmla="*/ 150769 w 516"/>
                <a:gd name="T9" fmla="*/ 115604 h 546"/>
                <a:gd name="T10" fmla="*/ 145906 w 516"/>
                <a:gd name="T11" fmla="*/ 120461 h 546"/>
                <a:gd name="T12" fmla="*/ 143960 w 516"/>
                <a:gd name="T13" fmla="*/ 121432 h 546"/>
                <a:gd name="T14" fmla="*/ 137151 w 516"/>
                <a:gd name="T15" fmla="*/ 128232 h 546"/>
                <a:gd name="T16" fmla="*/ 133260 w 516"/>
                <a:gd name="T17" fmla="*/ 138919 h 546"/>
                <a:gd name="T18" fmla="*/ 128397 w 516"/>
                <a:gd name="T19" fmla="*/ 143775 h 546"/>
                <a:gd name="T20" fmla="*/ 120615 w 516"/>
                <a:gd name="T21" fmla="*/ 147661 h 546"/>
                <a:gd name="T22" fmla="*/ 113807 w 516"/>
                <a:gd name="T23" fmla="*/ 156405 h 546"/>
                <a:gd name="T24" fmla="*/ 109915 w 516"/>
                <a:gd name="T25" fmla="*/ 167091 h 546"/>
                <a:gd name="T26" fmla="*/ 101161 w 516"/>
                <a:gd name="T27" fmla="*/ 169033 h 546"/>
                <a:gd name="T28" fmla="*/ 87544 w 516"/>
                <a:gd name="T29" fmla="*/ 169033 h 546"/>
                <a:gd name="T30" fmla="*/ 76844 w 516"/>
                <a:gd name="T31" fmla="*/ 167091 h 546"/>
                <a:gd name="T32" fmla="*/ 71008 w 516"/>
                <a:gd name="T33" fmla="*/ 161262 h 546"/>
                <a:gd name="T34" fmla="*/ 67116 w 516"/>
                <a:gd name="T35" fmla="*/ 158347 h 546"/>
                <a:gd name="T36" fmla="*/ 62253 w 516"/>
                <a:gd name="T37" fmla="*/ 161262 h 546"/>
                <a:gd name="T38" fmla="*/ 57389 w 516"/>
                <a:gd name="T39" fmla="*/ 165148 h 546"/>
                <a:gd name="T40" fmla="*/ 53499 w 516"/>
                <a:gd name="T41" fmla="*/ 169033 h 546"/>
                <a:gd name="T42" fmla="*/ 51553 w 516"/>
                <a:gd name="T43" fmla="*/ 180691 h 546"/>
                <a:gd name="T44" fmla="*/ 42799 w 516"/>
                <a:gd name="T45" fmla="*/ 184577 h 546"/>
                <a:gd name="T46" fmla="*/ 34045 w 516"/>
                <a:gd name="T47" fmla="*/ 190406 h 546"/>
                <a:gd name="T48" fmla="*/ 26263 w 516"/>
                <a:gd name="T49" fmla="*/ 192349 h 546"/>
                <a:gd name="T50" fmla="*/ 17509 w 516"/>
                <a:gd name="T51" fmla="*/ 192349 h 546"/>
                <a:gd name="T52" fmla="*/ 12645 w 516"/>
                <a:gd name="T53" fmla="*/ 192349 h 546"/>
                <a:gd name="T54" fmla="*/ 12645 w 516"/>
                <a:gd name="T55" fmla="*/ 188463 h 546"/>
                <a:gd name="T56" fmla="*/ 14590 w 516"/>
                <a:gd name="T57" fmla="*/ 181663 h 546"/>
                <a:gd name="T58" fmla="*/ 14590 w 516"/>
                <a:gd name="T59" fmla="*/ 170977 h 546"/>
                <a:gd name="T60" fmla="*/ 12645 w 516"/>
                <a:gd name="T61" fmla="*/ 162233 h 546"/>
                <a:gd name="T62" fmla="*/ 10700 w 516"/>
                <a:gd name="T63" fmla="*/ 161262 h 546"/>
                <a:gd name="T64" fmla="*/ 6809 w 516"/>
                <a:gd name="T65" fmla="*/ 151547 h 546"/>
                <a:gd name="T66" fmla="*/ 0 w 516"/>
                <a:gd name="T67" fmla="*/ 145719 h 546"/>
                <a:gd name="T68" fmla="*/ 0 w 516"/>
                <a:gd name="T69" fmla="*/ 133089 h 546"/>
                <a:gd name="T70" fmla="*/ 0 w 516"/>
                <a:gd name="T71" fmla="*/ 120461 h 546"/>
                <a:gd name="T72" fmla="*/ 0 w 516"/>
                <a:gd name="T73" fmla="*/ 106860 h 546"/>
                <a:gd name="T74" fmla="*/ 0 w 516"/>
                <a:gd name="T75" fmla="*/ 94232 h 546"/>
                <a:gd name="T76" fmla="*/ 19454 w 516"/>
                <a:gd name="T77" fmla="*/ 44687 h 546"/>
                <a:gd name="T78" fmla="*/ 62253 w 516"/>
                <a:gd name="T79" fmla="*/ 3886 h 546"/>
                <a:gd name="T80" fmla="*/ 68090 w 516"/>
                <a:gd name="T81" fmla="*/ 8743 h 546"/>
                <a:gd name="T82" fmla="*/ 74898 w 516"/>
                <a:gd name="T83" fmla="*/ 12629 h 546"/>
                <a:gd name="T84" fmla="*/ 81707 w 516"/>
                <a:gd name="T85" fmla="*/ 6800 h 546"/>
                <a:gd name="T86" fmla="*/ 87544 w 516"/>
                <a:gd name="T87" fmla="*/ 3886 h 546"/>
                <a:gd name="T88" fmla="*/ 94352 w 516"/>
                <a:gd name="T89" fmla="*/ 1943 h 546"/>
                <a:gd name="T90" fmla="*/ 101161 w 516"/>
                <a:gd name="T91" fmla="*/ 0 h 546"/>
                <a:gd name="T92" fmla="*/ 103107 w 516"/>
                <a:gd name="T93" fmla="*/ 1943 h 546"/>
                <a:gd name="T94" fmla="*/ 109915 w 516"/>
                <a:gd name="T95" fmla="*/ 10686 h 546"/>
                <a:gd name="T96" fmla="*/ 115751 w 516"/>
                <a:gd name="T97" fmla="*/ 21372 h 546"/>
                <a:gd name="T98" fmla="*/ 120615 w 516"/>
                <a:gd name="T99" fmla="*/ 32058 h 546"/>
                <a:gd name="T100" fmla="*/ 124506 w 516"/>
                <a:gd name="T101" fmla="*/ 37887 h 546"/>
                <a:gd name="T102" fmla="*/ 133260 w 516"/>
                <a:gd name="T103" fmla="*/ 42744 h 546"/>
                <a:gd name="T104" fmla="*/ 142015 w 516"/>
                <a:gd name="T105" fmla="*/ 46630 h 546"/>
                <a:gd name="T106" fmla="*/ 145906 w 516"/>
                <a:gd name="T107" fmla="*/ 56344 h 546"/>
                <a:gd name="T108" fmla="*/ 152714 w 516"/>
                <a:gd name="T109" fmla="*/ 62173 h 546"/>
                <a:gd name="T110" fmla="*/ 154660 w 516"/>
                <a:gd name="T111" fmla="*/ 72859 h 546"/>
                <a:gd name="T112" fmla="*/ 158550 w 516"/>
                <a:gd name="T113" fmla="*/ 76745 h 546"/>
                <a:gd name="T114" fmla="*/ 170223 w 516"/>
                <a:gd name="T115" fmla="*/ 81602 h 546"/>
                <a:gd name="T116" fmla="*/ 180923 w 516"/>
                <a:gd name="T117" fmla="*/ 83546 h 546"/>
                <a:gd name="T118" fmla="*/ 181896 w 516"/>
                <a:gd name="T119" fmla="*/ 90346 h 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16" h="546">
                  <a:moveTo>
                    <a:pt x="516" y="258"/>
                  </a:moveTo>
                  <a:lnTo>
                    <a:pt x="510" y="258"/>
                  </a:lnTo>
                  <a:lnTo>
                    <a:pt x="504" y="258"/>
                  </a:lnTo>
                  <a:lnTo>
                    <a:pt x="498" y="258"/>
                  </a:lnTo>
                  <a:lnTo>
                    <a:pt x="498" y="264"/>
                  </a:lnTo>
                  <a:lnTo>
                    <a:pt x="498" y="270"/>
                  </a:lnTo>
                  <a:lnTo>
                    <a:pt x="498" y="276"/>
                  </a:lnTo>
                  <a:lnTo>
                    <a:pt x="492" y="276"/>
                  </a:lnTo>
                  <a:lnTo>
                    <a:pt x="486" y="276"/>
                  </a:lnTo>
                  <a:lnTo>
                    <a:pt x="480" y="276"/>
                  </a:lnTo>
                  <a:lnTo>
                    <a:pt x="480" y="282"/>
                  </a:lnTo>
                  <a:lnTo>
                    <a:pt x="474" y="282"/>
                  </a:lnTo>
                  <a:lnTo>
                    <a:pt x="468" y="282"/>
                  </a:lnTo>
                  <a:lnTo>
                    <a:pt x="462" y="282"/>
                  </a:lnTo>
                  <a:lnTo>
                    <a:pt x="456" y="282"/>
                  </a:lnTo>
                  <a:lnTo>
                    <a:pt x="456" y="288"/>
                  </a:lnTo>
                  <a:lnTo>
                    <a:pt x="450" y="288"/>
                  </a:lnTo>
                  <a:lnTo>
                    <a:pt x="450" y="294"/>
                  </a:lnTo>
                  <a:lnTo>
                    <a:pt x="450" y="300"/>
                  </a:lnTo>
                  <a:lnTo>
                    <a:pt x="444" y="300"/>
                  </a:lnTo>
                  <a:lnTo>
                    <a:pt x="444" y="306"/>
                  </a:lnTo>
                  <a:lnTo>
                    <a:pt x="438" y="306"/>
                  </a:lnTo>
                  <a:lnTo>
                    <a:pt x="438" y="312"/>
                  </a:lnTo>
                  <a:lnTo>
                    <a:pt x="432" y="312"/>
                  </a:lnTo>
                  <a:lnTo>
                    <a:pt x="432" y="318"/>
                  </a:lnTo>
                  <a:lnTo>
                    <a:pt x="432" y="324"/>
                  </a:lnTo>
                  <a:lnTo>
                    <a:pt x="426" y="324"/>
                  </a:lnTo>
                  <a:lnTo>
                    <a:pt x="426" y="318"/>
                  </a:lnTo>
                  <a:lnTo>
                    <a:pt x="426" y="324"/>
                  </a:lnTo>
                  <a:lnTo>
                    <a:pt x="420" y="324"/>
                  </a:lnTo>
                  <a:lnTo>
                    <a:pt x="420" y="330"/>
                  </a:lnTo>
                  <a:lnTo>
                    <a:pt x="414" y="330"/>
                  </a:lnTo>
                  <a:lnTo>
                    <a:pt x="414" y="336"/>
                  </a:lnTo>
                  <a:lnTo>
                    <a:pt x="408" y="336"/>
                  </a:lnTo>
                  <a:lnTo>
                    <a:pt x="408" y="330"/>
                  </a:lnTo>
                  <a:lnTo>
                    <a:pt x="408" y="336"/>
                  </a:lnTo>
                  <a:lnTo>
                    <a:pt x="408" y="330"/>
                  </a:lnTo>
                  <a:lnTo>
                    <a:pt x="408" y="336"/>
                  </a:lnTo>
                  <a:lnTo>
                    <a:pt x="402" y="336"/>
                  </a:lnTo>
                  <a:lnTo>
                    <a:pt x="396" y="336"/>
                  </a:lnTo>
                  <a:lnTo>
                    <a:pt x="396" y="342"/>
                  </a:lnTo>
                  <a:lnTo>
                    <a:pt x="402" y="342"/>
                  </a:lnTo>
                  <a:lnTo>
                    <a:pt x="396" y="342"/>
                  </a:lnTo>
                  <a:lnTo>
                    <a:pt x="390" y="342"/>
                  </a:lnTo>
                  <a:lnTo>
                    <a:pt x="390" y="348"/>
                  </a:lnTo>
                  <a:lnTo>
                    <a:pt x="384" y="348"/>
                  </a:lnTo>
                  <a:lnTo>
                    <a:pt x="384" y="354"/>
                  </a:lnTo>
                  <a:lnTo>
                    <a:pt x="384" y="360"/>
                  </a:lnTo>
                  <a:lnTo>
                    <a:pt x="384" y="366"/>
                  </a:lnTo>
                  <a:lnTo>
                    <a:pt x="384" y="372"/>
                  </a:lnTo>
                  <a:lnTo>
                    <a:pt x="378" y="372"/>
                  </a:lnTo>
                  <a:lnTo>
                    <a:pt x="378" y="378"/>
                  </a:lnTo>
                  <a:lnTo>
                    <a:pt x="378" y="384"/>
                  </a:lnTo>
                  <a:lnTo>
                    <a:pt x="372" y="390"/>
                  </a:lnTo>
                  <a:lnTo>
                    <a:pt x="372" y="384"/>
                  </a:lnTo>
                  <a:lnTo>
                    <a:pt x="372" y="390"/>
                  </a:lnTo>
                  <a:lnTo>
                    <a:pt x="366" y="390"/>
                  </a:lnTo>
                  <a:lnTo>
                    <a:pt x="366" y="396"/>
                  </a:lnTo>
                  <a:lnTo>
                    <a:pt x="360" y="396"/>
                  </a:lnTo>
                  <a:lnTo>
                    <a:pt x="360" y="402"/>
                  </a:lnTo>
                  <a:lnTo>
                    <a:pt x="360" y="408"/>
                  </a:lnTo>
                  <a:lnTo>
                    <a:pt x="354" y="408"/>
                  </a:lnTo>
                  <a:lnTo>
                    <a:pt x="348" y="408"/>
                  </a:lnTo>
                  <a:lnTo>
                    <a:pt x="342" y="408"/>
                  </a:lnTo>
                  <a:lnTo>
                    <a:pt x="336" y="408"/>
                  </a:lnTo>
                  <a:lnTo>
                    <a:pt x="336" y="414"/>
                  </a:lnTo>
                  <a:lnTo>
                    <a:pt x="330" y="414"/>
                  </a:lnTo>
                  <a:lnTo>
                    <a:pt x="324" y="414"/>
                  </a:lnTo>
                  <a:lnTo>
                    <a:pt x="324" y="420"/>
                  </a:lnTo>
                  <a:lnTo>
                    <a:pt x="324" y="426"/>
                  </a:lnTo>
                  <a:lnTo>
                    <a:pt x="324" y="432"/>
                  </a:lnTo>
                  <a:lnTo>
                    <a:pt x="318" y="438"/>
                  </a:lnTo>
                  <a:lnTo>
                    <a:pt x="318" y="444"/>
                  </a:lnTo>
                  <a:lnTo>
                    <a:pt x="312" y="450"/>
                  </a:lnTo>
                  <a:lnTo>
                    <a:pt x="312" y="456"/>
                  </a:lnTo>
                  <a:lnTo>
                    <a:pt x="312" y="462"/>
                  </a:lnTo>
                  <a:lnTo>
                    <a:pt x="312" y="468"/>
                  </a:lnTo>
                  <a:lnTo>
                    <a:pt x="306" y="468"/>
                  </a:lnTo>
                  <a:lnTo>
                    <a:pt x="300" y="474"/>
                  </a:lnTo>
                  <a:lnTo>
                    <a:pt x="294" y="474"/>
                  </a:lnTo>
                  <a:lnTo>
                    <a:pt x="294" y="480"/>
                  </a:lnTo>
                  <a:lnTo>
                    <a:pt x="294" y="474"/>
                  </a:lnTo>
                  <a:lnTo>
                    <a:pt x="288" y="474"/>
                  </a:lnTo>
                  <a:lnTo>
                    <a:pt x="282" y="474"/>
                  </a:lnTo>
                  <a:lnTo>
                    <a:pt x="276" y="474"/>
                  </a:lnTo>
                  <a:lnTo>
                    <a:pt x="270" y="480"/>
                  </a:lnTo>
                  <a:lnTo>
                    <a:pt x="264" y="480"/>
                  </a:lnTo>
                  <a:lnTo>
                    <a:pt x="258" y="480"/>
                  </a:lnTo>
                  <a:lnTo>
                    <a:pt x="252" y="480"/>
                  </a:lnTo>
                  <a:lnTo>
                    <a:pt x="246" y="474"/>
                  </a:lnTo>
                  <a:lnTo>
                    <a:pt x="240" y="474"/>
                  </a:lnTo>
                  <a:lnTo>
                    <a:pt x="234" y="474"/>
                  </a:lnTo>
                  <a:lnTo>
                    <a:pt x="234" y="468"/>
                  </a:lnTo>
                  <a:lnTo>
                    <a:pt x="228" y="468"/>
                  </a:lnTo>
                  <a:lnTo>
                    <a:pt x="222" y="468"/>
                  </a:lnTo>
                  <a:lnTo>
                    <a:pt x="216" y="468"/>
                  </a:lnTo>
                  <a:lnTo>
                    <a:pt x="210" y="468"/>
                  </a:lnTo>
                  <a:lnTo>
                    <a:pt x="210" y="462"/>
                  </a:lnTo>
                  <a:lnTo>
                    <a:pt x="204" y="462"/>
                  </a:lnTo>
                  <a:lnTo>
                    <a:pt x="204" y="456"/>
                  </a:lnTo>
                  <a:lnTo>
                    <a:pt x="198" y="456"/>
                  </a:lnTo>
                  <a:lnTo>
                    <a:pt x="198" y="450"/>
                  </a:lnTo>
                  <a:lnTo>
                    <a:pt x="198" y="456"/>
                  </a:lnTo>
                  <a:lnTo>
                    <a:pt x="198" y="450"/>
                  </a:lnTo>
                  <a:lnTo>
                    <a:pt x="192" y="450"/>
                  </a:lnTo>
                  <a:lnTo>
                    <a:pt x="192" y="444"/>
                  </a:lnTo>
                  <a:lnTo>
                    <a:pt x="186" y="450"/>
                  </a:lnTo>
                  <a:lnTo>
                    <a:pt x="186" y="444"/>
                  </a:lnTo>
                  <a:lnTo>
                    <a:pt x="180" y="450"/>
                  </a:lnTo>
                  <a:lnTo>
                    <a:pt x="180" y="444"/>
                  </a:lnTo>
                  <a:lnTo>
                    <a:pt x="180" y="450"/>
                  </a:lnTo>
                  <a:lnTo>
                    <a:pt x="180" y="444"/>
                  </a:lnTo>
                  <a:lnTo>
                    <a:pt x="174" y="444"/>
                  </a:lnTo>
                  <a:lnTo>
                    <a:pt x="174" y="450"/>
                  </a:lnTo>
                  <a:lnTo>
                    <a:pt x="168" y="450"/>
                  </a:lnTo>
                  <a:lnTo>
                    <a:pt x="162" y="450"/>
                  </a:lnTo>
                  <a:lnTo>
                    <a:pt x="162" y="456"/>
                  </a:lnTo>
                  <a:lnTo>
                    <a:pt x="156" y="456"/>
                  </a:lnTo>
                  <a:lnTo>
                    <a:pt x="162" y="456"/>
                  </a:lnTo>
                  <a:lnTo>
                    <a:pt x="162" y="462"/>
                  </a:lnTo>
                  <a:lnTo>
                    <a:pt x="156" y="462"/>
                  </a:lnTo>
                  <a:lnTo>
                    <a:pt x="156" y="456"/>
                  </a:lnTo>
                  <a:lnTo>
                    <a:pt x="156" y="462"/>
                  </a:lnTo>
                  <a:lnTo>
                    <a:pt x="156" y="468"/>
                  </a:lnTo>
                  <a:lnTo>
                    <a:pt x="156" y="474"/>
                  </a:lnTo>
                  <a:lnTo>
                    <a:pt x="150" y="474"/>
                  </a:lnTo>
                  <a:lnTo>
                    <a:pt x="150" y="480"/>
                  </a:lnTo>
                  <a:lnTo>
                    <a:pt x="150" y="486"/>
                  </a:lnTo>
                  <a:lnTo>
                    <a:pt x="150" y="492"/>
                  </a:lnTo>
                  <a:lnTo>
                    <a:pt x="144" y="492"/>
                  </a:lnTo>
                  <a:lnTo>
                    <a:pt x="144" y="498"/>
                  </a:lnTo>
                  <a:lnTo>
                    <a:pt x="144" y="504"/>
                  </a:lnTo>
                  <a:lnTo>
                    <a:pt x="138" y="504"/>
                  </a:lnTo>
                  <a:lnTo>
                    <a:pt x="132" y="504"/>
                  </a:lnTo>
                  <a:lnTo>
                    <a:pt x="132" y="510"/>
                  </a:lnTo>
                  <a:lnTo>
                    <a:pt x="126" y="510"/>
                  </a:lnTo>
                  <a:lnTo>
                    <a:pt x="126" y="516"/>
                  </a:lnTo>
                  <a:lnTo>
                    <a:pt x="120" y="516"/>
                  </a:lnTo>
                  <a:lnTo>
                    <a:pt x="120" y="522"/>
                  </a:lnTo>
                  <a:lnTo>
                    <a:pt x="114" y="522"/>
                  </a:lnTo>
                  <a:lnTo>
                    <a:pt x="114" y="528"/>
                  </a:lnTo>
                  <a:lnTo>
                    <a:pt x="108" y="534"/>
                  </a:lnTo>
                  <a:lnTo>
                    <a:pt x="102" y="534"/>
                  </a:lnTo>
                  <a:lnTo>
                    <a:pt x="96" y="534"/>
                  </a:lnTo>
                  <a:lnTo>
                    <a:pt x="96" y="540"/>
                  </a:lnTo>
                  <a:lnTo>
                    <a:pt x="90" y="546"/>
                  </a:lnTo>
                  <a:lnTo>
                    <a:pt x="84" y="546"/>
                  </a:lnTo>
                  <a:lnTo>
                    <a:pt x="78" y="546"/>
                  </a:lnTo>
                  <a:lnTo>
                    <a:pt x="78" y="540"/>
                  </a:lnTo>
                  <a:lnTo>
                    <a:pt x="72" y="540"/>
                  </a:lnTo>
                  <a:lnTo>
                    <a:pt x="72" y="546"/>
                  </a:lnTo>
                  <a:lnTo>
                    <a:pt x="66" y="546"/>
                  </a:lnTo>
                  <a:lnTo>
                    <a:pt x="60" y="546"/>
                  </a:lnTo>
                  <a:lnTo>
                    <a:pt x="54" y="546"/>
                  </a:lnTo>
                  <a:lnTo>
                    <a:pt x="54" y="540"/>
                  </a:lnTo>
                  <a:lnTo>
                    <a:pt x="48" y="540"/>
                  </a:lnTo>
                  <a:lnTo>
                    <a:pt x="42" y="540"/>
                  </a:lnTo>
                  <a:lnTo>
                    <a:pt x="42" y="546"/>
                  </a:lnTo>
                  <a:lnTo>
                    <a:pt x="36" y="546"/>
                  </a:lnTo>
                  <a:lnTo>
                    <a:pt x="36" y="540"/>
                  </a:lnTo>
                  <a:lnTo>
                    <a:pt x="30" y="540"/>
                  </a:lnTo>
                  <a:lnTo>
                    <a:pt x="36" y="540"/>
                  </a:lnTo>
                  <a:lnTo>
                    <a:pt x="30" y="540"/>
                  </a:lnTo>
                  <a:lnTo>
                    <a:pt x="36" y="534"/>
                  </a:lnTo>
                  <a:lnTo>
                    <a:pt x="30" y="534"/>
                  </a:lnTo>
                  <a:lnTo>
                    <a:pt x="36" y="534"/>
                  </a:lnTo>
                  <a:lnTo>
                    <a:pt x="30" y="528"/>
                  </a:lnTo>
                  <a:lnTo>
                    <a:pt x="36" y="528"/>
                  </a:lnTo>
                  <a:lnTo>
                    <a:pt x="30" y="528"/>
                  </a:lnTo>
                  <a:lnTo>
                    <a:pt x="30" y="522"/>
                  </a:lnTo>
                  <a:lnTo>
                    <a:pt x="30" y="516"/>
                  </a:lnTo>
                  <a:lnTo>
                    <a:pt x="36" y="516"/>
                  </a:lnTo>
                  <a:lnTo>
                    <a:pt x="36" y="510"/>
                  </a:lnTo>
                  <a:lnTo>
                    <a:pt x="42" y="510"/>
                  </a:lnTo>
                  <a:lnTo>
                    <a:pt x="42" y="504"/>
                  </a:lnTo>
                  <a:lnTo>
                    <a:pt x="48" y="498"/>
                  </a:lnTo>
                  <a:lnTo>
                    <a:pt x="42" y="498"/>
                  </a:lnTo>
                  <a:lnTo>
                    <a:pt x="42" y="492"/>
                  </a:lnTo>
                  <a:lnTo>
                    <a:pt x="42" y="486"/>
                  </a:lnTo>
                  <a:lnTo>
                    <a:pt x="42" y="480"/>
                  </a:lnTo>
                  <a:lnTo>
                    <a:pt x="36" y="474"/>
                  </a:lnTo>
                  <a:lnTo>
                    <a:pt x="36" y="468"/>
                  </a:lnTo>
                  <a:lnTo>
                    <a:pt x="36" y="462"/>
                  </a:lnTo>
                  <a:lnTo>
                    <a:pt x="30" y="462"/>
                  </a:lnTo>
                  <a:lnTo>
                    <a:pt x="36" y="462"/>
                  </a:lnTo>
                  <a:lnTo>
                    <a:pt x="36" y="456"/>
                  </a:lnTo>
                  <a:lnTo>
                    <a:pt x="30" y="456"/>
                  </a:lnTo>
                  <a:lnTo>
                    <a:pt x="30" y="450"/>
                  </a:lnTo>
                  <a:lnTo>
                    <a:pt x="24" y="450"/>
                  </a:lnTo>
                  <a:lnTo>
                    <a:pt x="30" y="450"/>
                  </a:lnTo>
                  <a:lnTo>
                    <a:pt x="30" y="444"/>
                  </a:lnTo>
                  <a:lnTo>
                    <a:pt x="30" y="450"/>
                  </a:lnTo>
                  <a:lnTo>
                    <a:pt x="24" y="444"/>
                  </a:lnTo>
                  <a:lnTo>
                    <a:pt x="24" y="438"/>
                  </a:lnTo>
                  <a:lnTo>
                    <a:pt x="18" y="438"/>
                  </a:lnTo>
                  <a:lnTo>
                    <a:pt x="24" y="438"/>
                  </a:lnTo>
                  <a:lnTo>
                    <a:pt x="18" y="432"/>
                  </a:lnTo>
                  <a:lnTo>
                    <a:pt x="18" y="426"/>
                  </a:lnTo>
                  <a:lnTo>
                    <a:pt x="12" y="426"/>
                  </a:lnTo>
                  <a:lnTo>
                    <a:pt x="6" y="426"/>
                  </a:lnTo>
                  <a:lnTo>
                    <a:pt x="6" y="420"/>
                  </a:lnTo>
                  <a:lnTo>
                    <a:pt x="0" y="420"/>
                  </a:lnTo>
                  <a:lnTo>
                    <a:pt x="0" y="414"/>
                  </a:lnTo>
                  <a:lnTo>
                    <a:pt x="0" y="408"/>
                  </a:lnTo>
                  <a:lnTo>
                    <a:pt x="0" y="402"/>
                  </a:lnTo>
                  <a:lnTo>
                    <a:pt x="0" y="396"/>
                  </a:lnTo>
                  <a:lnTo>
                    <a:pt x="0" y="390"/>
                  </a:lnTo>
                  <a:lnTo>
                    <a:pt x="0" y="384"/>
                  </a:lnTo>
                  <a:lnTo>
                    <a:pt x="0" y="378"/>
                  </a:lnTo>
                  <a:lnTo>
                    <a:pt x="0" y="372"/>
                  </a:lnTo>
                  <a:lnTo>
                    <a:pt x="0" y="366"/>
                  </a:lnTo>
                  <a:lnTo>
                    <a:pt x="0" y="360"/>
                  </a:lnTo>
                  <a:lnTo>
                    <a:pt x="0" y="354"/>
                  </a:lnTo>
                  <a:lnTo>
                    <a:pt x="0" y="348"/>
                  </a:lnTo>
                  <a:lnTo>
                    <a:pt x="0" y="342"/>
                  </a:lnTo>
                  <a:lnTo>
                    <a:pt x="0" y="336"/>
                  </a:lnTo>
                  <a:lnTo>
                    <a:pt x="0" y="330"/>
                  </a:lnTo>
                  <a:lnTo>
                    <a:pt x="0" y="324"/>
                  </a:lnTo>
                  <a:lnTo>
                    <a:pt x="0"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54" y="246"/>
                  </a:lnTo>
                  <a:lnTo>
                    <a:pt x="54" y="186"/>
                  </a:lnTo>
                  <a:lnTo>
                    <a:pt x="54" y="126"/>
                  </a:lnTo>
                  <a:lnTo>
                    <a:pt x="54" y="78"/>
                  </a:lnTo>
                  <a:lnTo>
                    <a:pt x="54" y="30"/>
                  </a:lnTo>
                  <a:lnTo>
                    <a:pt x="78" y="30"/>
                  </a:lnTo>
                  <a:lnTo>
                    <a:pt x="162" y="12"/>
                  </a:lnTo>
                  <a:lnTo>
                    <a:pt x="168" y="12"/>
                  </a:lnTo>
                  <a:lnTo>
                    <a:pt x="174" y="12"/>
                  </a:lnTo>
                  <a:lnTo>
                    <a:pt x="180" y="12"/>
                  </a:lnTo>
                  <a:lnTo>
                    <a:pt x="186" y="12"/>
                  </a:lnTo>
                  <a:lnTo>
                    <a:pt x="180" y="12"/>
                  </a:lnTo>
                  <a:lnTo>
                    <a:pt x="186" y="18"/>
                  </a:lnTo>
                  <a:lnTo>
                    <a:pt x="186" y="24"/>
                  </a:lnTo>
                  <a:lnTo>
                    <a:pt x="192" y="24"/>
                  </a:lnTo>
                  <a:lnTo>
                    <a:pt x="192" y="30"/>
                  </a:lnTo>
                  <a:lnTo>
                    <a:pt x="198" y="30"/>
                  </a:lnTo>
                  <a:lnTo>
                    <a:pt x="198" y="36"/>
                  </a:lnTo>
                  <a:lnTo>
                    <a:pt x="198" y="42"/>
                  </a:lnTo>
                  <a:lnTo>
                    <a:pt x="204" y="36"/>
                  </a:lnTo>
                  <a:lnTo>
                    <a:pt x="210" y="36"/>
                  </a:lnTo>
                  <a:lnTo>
                    <a:pt x="210" y="30"/>
                  </a:lnTo>
                  <a:lnTo>
                    <a:pt x="216" y="30"/>
                  </a:lnTo>
                  <a:lnTo>
                    <a:pt x="216" y="24"/>
                  </a:lnTo>
                  <a:lnTo>
                    <a:pt x="222" y="24"/>
                  </a:lnTo>
                  <a:lnTo>
                    <a:pt x="222" y="18"/>
                  </a:lnTo>
                  <a:lnTo>
                    <a:pt x="228" y="18"/>
                  </a:lnTo>
                  <a:lnTo>
                    <a:pt x="228" y="12"/>
                  </a:lnTo>
                  <a:lnTo>
                    <a:pt x="234" y="12"/>
                  </a:lnTo>
                  <a:lnTo>
                    <a:pt x="240" y="12"/>
                  </a:lnTo>
                  <a:lnTo>
                    <a:pt x="240" y="6"/>
                  </a:lnTo>
                  <a:lnTo>
                    <a:pt x="246" y="6"/>
                  </a:lnTo>
                  <a:lnTo>
                    <a:pt x="246" y="12"/>
                  </a:lnTo>
                  <a:lnTo>
                    <a:pt x="252" y="12"/>
                  </a:lnTo>
                  <a:lnTo>
                    <a:pt x="258" y="12"/>
                  </a:lnTo>
                  <a:lnTo>
                    <a:pt x="258" y="6"/>
                  </a:lnTo>
                  <a:lnTo>
                    <a:pt x="264" y="6"/>
                  </a:lnTo>
                  <a:lnTo>
                    <a:pt x="258" y="6"/>
                  </a:lnTo>
                  <a:lnTo>
                    <a:pt x="264" y="6"/>
                  </a:lnTo>
                  <a:lnTo>
                    <a:pt x="264" y="0"/>
                  </a:lnTo>
                  <a:lnTo>
                    <a:pt x="264" y="6"/>
                  </a:lnTo>
                  <a:lnTo>
                    <a:pt x="264" y="0"/>
                  </a:lnTo>
                  <a:lnTo>
                    <a:pt x="270" y="0"/>
                  </a:lnTo>
                  <a:lnTo>
                    <a:pt x="276" y="0"/>
                  </a:lnTo>
                  <a:lnTo>
                    <a:pt x="282" y="0"/>
                  </a:lnTo>
                  <a:lnTo>
                    <a:pt x="276" y="0"/>
                  </a:lnTo>
                  <a:lnTo>
                    <a:pt x="282" y="0"/>
                  </a:lnTo>
                  <a:lnTo>
                    <a:pt x="288" y="0"/>
                  </a:lnTo>
                  <a:lnTo>
                    <a:pt x="294" y="0"/>
                  </a:lnTo>
                  <a:lnTo>
                    <a:pt x="288" y="0"/>
                  </a:lnTo>
                  <a:lnTo>
                    <a:pt x="288" y="6"/>
                  </a:lnTo>
                  <a:lnTo>
                    <a:pt x="294" y="6"/>
                  </a:lnTo>
                  <a:lnTo>
                    <a:pt x="294" y="12"/>
                  </a:lnTo>
                  <a:lnTo>
                    <a:pt x="294" y="18"/>
                  </a:lnTo>
                  <a:lnTo>
                    <a:pt x="300" y="18"/>
                  </a:lnTo>
                  <a:lnTo>
                    <a:pt x="300" y="24"/>
                  </a:lnTo>
                  <a:lnTo>
                    <a:pt x="306" y="30"/>
                  </a:lnTo>
                  <a:lnTo>
                    <a:pt x="306" y="36"/>
                  </a:lnTo>
                  <a:lnTo>
                    <a:pt x="312" y="36"/>
                  </a:lnTo>
                  <a:lnTo>
                    <a:pt x="312" y="42"/>
                  </a:lnTo>
                  <a:lnTo>
                    <a:pt x="318" y="48"/>
                  </a:lnTo>
                  <a:lnTo>
                    <a:pt x="318" y="54"/>
                  </a:lnTo>
                  <a:lnTo>
                    <a:pt x="324" y="60"/>
                  </a:lnTo>
                  <a:lnTo>
                    <a:pt x="330" y="66"/>
                  </a:lnTo>
                  <a:lnTo>
                    <a:pt x="330" y="72"/>
                  </a:lnTo>
                  <a:lnTo>
                    <a:pt x="330" y="78"/>
                  </a:lnTo>
                  <a:lnTo>
                    <a:pt x="336" y="78"/>
                  </a:lnTo>
                  <a:lnTo>
                    <a:pt x="336" y="84"/>
                  </a:lnTo>
                  <a:lnTo>
                    <a:pt x="336" y="90"/>
                  </a:lnTo>
                  <a:lnTo>
                    <a:pt x="336" y="96"/>
                  </a:lnTo>
                  <a:lnTo>
                    <a:pt x="342" y="96"/>
                  </a:lnTo>
                  <a:lnTo>
                    <a:pt x="342" y="102"/>
                  </a:lnTo>
                  <a:lnTo>
                    <a:pt x="348" y="102"/>
                  </a:lnTo>
                  <a:lnTo>
                    <a:pt x="354" y="108"/>
                  </a:lnTo>
                  <a:lnTo>
                    <a:pt x="348" y="108"/>
                  </a:lnTo>
                  <a:lnTo>
                    <a:pt x="354" y="108"/>
                  </a:lnTo>
                  <a:lnTo>
                    <a:pt x="354" y="114"/>
                  </a:lnTo>
                  <a:lnTo>
                    <a:pt x="360" y="114"/>
                  </a:lnTo>
                  <a:lnTo>
                    <a:pt x="366" y="114"/>
                  </a:lnTo>
                  <a:lnTo>
                    <a:pt x="366" y="120"/>
                  </a:lnTo>
                  <a:lnTo>
                    <a:pt x="372" y="120"/>
                  </a:lnTo>
                  <a:lnTo>
                    <a:pt x="372" y="126"/>
                  </a:lnTo>
                  <a:lnTo>
                    <a:pt x="378" y="126"/>
                  </a:lnTo>
                  <a:lnTo>
                    <a:pt x="384" y="126"/>
                  </a:lnTo>
                  <a:lnTo>
                    <a:pt x="384" y="132"/>
                  </a:lnTo>
                  <a:lnTo>
                    <a:pt x="390" y="132"/>
                  </a:lnTo>
                  <a:lnTo>
                    <a:pt x="396" y="132"/>
                  </a:lnTo>
                  <a:lnTo>
                    <a:pt x="402" y="132"/>
                  </a:lnTo>
                  <a:lnTo>
                    <a:pt x="402" y="138"/>
                  </a:lnTo>
                  <a:lnTo>
                    <a:pt x="402" y="144"/>
                  </a:lnTo>
                  <a:lnTo>
                    <a:pt x="402" y="150"/>
                  </a:lnTo>
                  <a:lnTo>
                    <a:pt x="402" y="156"/>
                  </a:lnTo>
                  <a:lnTo>
                    <a:pt x="408" y="156"/>
                  </a:lnTo>
                  <a:lnTo>
                    <a:pt x="414" y="156"/>
                  </a:lnTo>
                  <a:lnTo>
                    <a:pt x="420" y="156"/>
                  </a:lnTo>
                  <a:lnTo>
                    <a:pt x="426" y="156"/>
                  </a:lnTo>
                  <a:lnTo>
                    <a:pt x="426" y="162"/>
                  </a:lnTo>
                  <a:lnTo>
                    <a:pt x="426" y="168"/>
                  </a:lnTo>
                  <a:lnTo>
                    <a:pt x="426" y="174"/>
                  </a:lnTo>
                  <a:lnTo>
                    <a:pt x="426" y="180"/>
                  </a:lnTo>
                  <a:lnTo>
                    <a:pt x="426" y="186"/>
                  </a:lnTo>
                  <a:lnTo>
                    <a:pt x="426" y="192"/>
                  </a:lnTo>
                  <a:lnTo>
                    <a:pt x="426" y="198"/>
                  </a:lnTo>
                  <a:lnTo>
                    <a:pt x="432" y="198"/>
                  </a:lnTo>
                  <a:lnTo>
                    <a:pt x="432" y="204"/>
                  </a:lnTo>
                  <a:lnTo>
                    <a:pt x="438" y="204"/>
                  </a:lnTo>
                  <a:lnTo>
                    <a:pt x="438" y="210"/>
                  </a:lnTo>
                  <a:lnTo>
                    <a:pt x="438" y="216"/>
                  </a:lnTo>
                  <a:lnTo>
                    <a:pt x="444" y="216"/>
                  </a:lnTo>
                  <a:lnTo>
                    <a:pt x="438" y="216"/>
                  </a:lnTo>
                  <a:lnTo>
                    <a:pt x="444" y="216"/>
                  </a:lnTo>
                  <a:lnTo>
                    <a:pt x="444" y="222"/>
                  </a:lnTo>
                  <a:lnTo>
                    <a:pt x="450" y="222"/>
                  </a:lnTo>
                  <a:lnTo>
                    <a:pt x="456" y="222"/>
                  </a:lnTo>
                  <a:lnTo>
                    <a:pt x="462" y="222"/>
                  </a:lnTo>
                  <a:lnTo>
                    <a:pt x="468" y="228"/>
                  </a:lnTo>
                  <a:lnTo>
                    <a:pt x="474" y="228"/>
                  </a:lnTo>
                  <a:lnTo>
                    <a:pt x="480" y="228"/>
                  </a:lnTo>
                  <a:lnTo>
                    <a:pt x="486" y="228"/>
                  </a:lnTo>
                  <a:lnTo>
                    <a:pt x="486" y="234"/>
                  </a:lnTo>
                  <a:lnTo>
                    <a:pt x="492" y="234"/>
                  </a:lnTo>
                  <a:lnTo>
                    <a:pt x="498" y="234"/>
                  </a:lnTo>
                  <a:lnTo>
                    <a:pt x="504" y="234"/>
                  </a:lnTo>
                  <a:lnTo>
                    <a:pt x="504" y="240"/>
                  </a:lnTo>
                  <a:lnTo>
                    <a:pt x="498" y="240"/>
                  </a:lnTo>
                  <a:lnTo>
                    <a:pt x="498" y="246"/>
                  </a:lnTo>
                  <a:lnTo>
                    <a:pt x="504" y="246"/>
                  </a:lnTo>
                  <a:lnTo>
                    <a:pt x="504" y="252"/>
                  </a:lnTo>
                  <a:lnTo>
                    <a:pt x="510" y="252"/>
                  </a:lnTo>
                  <a:lnTo>
                    <a:pt x="516" y="252"/>
                  </a:lnTo>
                  <a:lnTo>
                    <a:pt x="516" y="258"/>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8" name="Freeform 53"/>
            <p:cNvSpPr>
              <a:spLocks/>
            </p:cNvSpPr>
            <p:nvPr>
              <p:custDataLst>
                <p:tags r:id="rId101"/>
              </p:custDataLst>
            </p:nvPr>
          </p:nvSpPr>
          <p:spPr bwMode="gray">
            <a:xfrm>
              <a:off x="4930775" y="4695826"/>
              <a:ext cx="542925" cy="490538"/>
            </a:xfrm>
            <a:custGeom>
              <a:avLst/>
              <a:gdLst>
                <a:gd name="T0" fmla="*/ 115139 w 438"/>
                <a:gd name="T1" fmla="*/ 138570 h 396"/>
                <a:gd name="T2" fmla="*/ 106431 w 438"/>
                <a:gd name="T3" fmla="*/ 138570 h 396"/>
                <a:gd name="T4" fmla="*/ 101594 w 438"/>
                <a:gd name="T5" fmla="*/ 140508 h 396"/>
                <a:gd name="T6" fmla="*/ 93853 w 438"/>
                <a:gd name="T7" fmla="*/ 138570 h 396"/>
                <a:gd name="T8" fmla="*/ 85146 w 438"/>
                <a:gd name="T9" fmla="*/ 136632 h 396"/>
                <a:gd name="T10" fmla="*/ 76437 w 438"/>
                <a:gd name="T11" fmla="*/ 134694 h 396"/>
                <a:gd name="T12" fmla="*/ 76437 w 438"/>
                <a:gd name="T13" fmla="*/ 127910 h 396"/>
                <a:gd name="T14" fmla="*/ 67729 w 438"/>
                <a:gd name="T15" fmla="*/ 125973 h 396"/>
                <a:gd name="T16" fmla="*/ 57086 w 438"/>
                <a:gd name="T17" fmla="*/ 124035 h 396"/>
                <a:gd name="T18" fmla="*/ 53216 w 438"/>
                <a:gd name="T19" fmla="*/ 121127 h 396"/>
                <a:gd name="T20" fmla="*/ 48378 w 438"/>
                <a:gd name="T21" fmla="*/ 115313 h 396"/>
                <a:gd name="T22" fmla="*/ 48378 w 438"/>
                <a:gd name="T23" fmla="*/ 104654 h 396"/>
                <a:gd name="T24" fmla="*/ 42573 w 438"/>
                <a:gd name="T25" fmla="*/ 100778 h 396"/>
                <a:gd name="T26" fmla="*/ 40638 w 438"/>
                <a:gd name="T27" fmla="*/ 92057 h 396"/>
                <a:gd name="T28" fmla="*/ 31929 w 438"/>
                <a:gd name="T29" fmla="*/ 90119 h 396"/>
                <a:gd name="T30" fmla="*/ 26124 w 438"/>
                <a:gd name="T31" fmla="*/ 85274 h 396"/>
                <a:gd name="T32" fmla="*/ 21286 w 438"/>
                <a:gd name="T33" fmla="*/ 81397 h 396"/>
                <a:gd name="T34" fmla="*/ 17416 w 438"/>
                <a:gd name="T35" fmla="*/ 74615 h 396"/>
                <a:gd name="T36" fmla="*/ 12578 w 438"/>
                <a:gd name="T37" fmla="*/ 65893 h 396"/>
                <a:gd name="T38" fmla="*/ 6773 w 438"/>
                <a:gd name="T39" fmla="*/ 57172 h 396"/>
                <a:gd name="T40" fmla="*/ 1935 w 438"/>
                <a:gd name="T41" fmla="*/ 49420 h 396"/>
                <a:gd name="T42" fmla="*/ 3871 w 438"/>
                <a:gd name="T43" fmla="*/ 44575 h 396"/>
                <a:gd name="T44" fmla="*/ 12578 w 438"/>
                <a:gd name="T45" fmla="*/ 46513 h 396"/>
                <a:gd name="T46" fmla="*/ 17416 w 438"/>
                <a:gd name="T47" fmla="*/ 49420 h 396"/>
                <a:gd name="T48" fmla="*/ 26124 w 438"/>
                <a:gd name="T49" fmla="*/ 46513 h 396"/>
                <a:gd name="T50" fmla="*/ 29994 w 438"/>
                <a:gd name="T51" fmla="*/ 49420 h 396"/>
                <a:gd name="T52" fmla="*/ 37735 w 438"/>
                <a:gd name="T53" fmla="*/ 44575 h 396"/>
                <a:gd name="T54" fmla="*/ 42573 w 438"/>
                <a:gd name="T55" fmla="*/ 37792 h 396"/>
                <a:gd name="T56" fmla="*/ 46443 w 438"/>
                <a:gd name="T57" fmla="*/ 31978 h 396"/>
                <a:gd name="T58" fmla="*/ 53216 w 438"/>
                <a:gd name="T59" fmla="*/ 26164 h 396"/>
                <a:gd name="T60" fmla="*/ 59989 w 438"/>
                <a:gd name="T61" fmla="*/ 21319 h 396"/>
                <a:gd name="T62" fmla="*/ 67729 w 438"/>
                <a:gd name="T63" fmla="*/ 19380 h 396"/>
                <a:gd name="T64" fmla="*/ 71599 w 438"/>
                <a:gd name="T65" fmla="*/ 12597 h 396"/>
                <a:gd name="T66" fmla="*/ 76437 w 438"/>
                <a:gd name="T67" fmla="*/ 3876 h 396"/>
                <a:gd name="T68" fmla="*/ 85146 w 438"/>
                <a:gd name="T69" fmla="*/ 0 h 396"/>
                <a:gd name="T70" fmla="*/ 95788 w 438"/>
                <a:gd name="T71" fmla="*/ 0 h 396"/>
                <a:gd name="T72" fmla="*/ 101594 w 438"/>
                <a:gd name="T73" fmla="*/ 3876 h 396"/>
                <a:gd name="T74" fmla="*/ 110302 w 438"/>
                <a:gd name="T75" fmla="*/ 6783 h 396"/>
                <a:gd name="T76" fmla="*/ 117075 w 438"/>
                <a:gd name="T77" fmla="*/ 6783 h 396"/>
                <a:gd name="T78" fmla="*/ 123848 w 438"/>
                <a:gd name="T79" fmla="*/ 10659 h 396"/>
                <a:gd name="T80" fmla="*/ 131588 w 438"/>
                <a:gd name="T81" fmla="*/ 12597 h 396"/>
                <a:gd name="T82" fmla="*/ 138361 w 438"/>
                <a:gd name="T83" fmla="*/ 17442 h 396"/>
                <a:gd name="T84" fmla="*/ 149004 w 438"/>
                <a:gd name="T85" fmla="*/ 19380 h 396"/>
                <a:gd name="T86" fmla="*/ 152875 w 438"/>
                <a:gd name="T87" fmla="*/ 21319 h 396"/>
                <a:gd name="T88" fmla="*/ 152875 w 438"/>
                <a:gd name="T89" fmla="*/ 30039 h 396"/>
                <a:gd name="T90" fmla="*/ 152875 w 438"/>
                <a:gd name="T91" fmla="*/ 36823 h 396"/>
                <a:gd name="T92" fmla="*/ 152875 w 438"/>
                <a:gd name="T93" fmla="*/ 42637 h 396"/>
                <a:gd name="T94" fmla="*/ 152875 w 438"/>
                <a:gd name="T95" fmla="*/ 53296 h 396"/>
                <a:gd name="T96" fmla="*/ 152875 w 438"/>
                <a:gd name="T97" fmla="*/ 57172 h 396"/>
                <a:gd name="T98" fmla="*/ 152875 w 438"/>
                <a:gd name="T99" fmla="*/ 63955 h 396"/>
                <a:gd name="T100" fmla="*/ 149004 w 438"/>
                <a:gd name="T101" fmla="*/ 65893 h 396"/>
                <a:gd name="T102" fmla="*/ 149004 w 438"/>
                <a:gd name="T103" fmla="*/ 70738 h 396"/>
                <a:gd name="T104" fmla="*/ 149004 w 438"/>
                <a:gd name="T105" fmla="*/ 76552 h 396"/>
                <a:gd name="T106" fmla="*/ 152875 w 438"/>
                <a:gd name="T107" fmla="*/ 83336 h 396"/>
                <a:gd name="T108" fmla="*/ 152875 w 438"/>
                <a:gd name="T109" fmla="*/ 92057 h 396"/>
                <a:gd name="T110" fmla="*/ 150939 w 438"/>
                <a:gd name="T111" fmla="*/ 95933 h 396"/>
                <a:gd name="T112" fmla="*/ 142231 w 438"/>
                <a:gd name="T113" fmla="*/ 104654 h 396"/>
                <a:gd name="T114" fmla="*/ 142231 w 438"/>
                <a:gd name="T115" fmla="*/ 113376 h 396"/>
                <a:gd name="T116" fmla="*/ 142231 w 438"/>
                <a:gd name="T117" fmla="*/ 120159 h 396"/>
                <a:gd name="T118" fmla="*/ 123848 w 438"/>
                <a:gd name="T119" fmla="*/ 138570 h 3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396">
                  <a:moveTo>
                    <a:pt x="342" y="396"/>
                  </a:moveTo>
                  <a:lnTo>
                    <a:pt x="336" y="396"/>
                  </a:lnTo>
                  <a:lnTo>
                    <a:pt x="330" y="396"/>
                  </a:lnTo>
                  <a:lnTo>
                    <a:pt x="324" y="396"/>
                  </a:lnTo>
                  <a:lnTo>
                    <a:pt x="324" y="390"/>
                  </a:lnTo>
                  <a:lnTo>
                    <a:pt x="324" y="396"/>
                  </a:lnTo>
                  <a:lnTo>
                    <a:pt x="318" y="390"/>
                  </a:lnTo>
                  <a:lnTo>
                    <a:pt x="312" y="390"/>
                  </a:lnTo>
                  <a:lnTo>
                    <a:pt x="306" y="390"/>
                  </a:lnTo>
                  <a:lnTo>
                    <a:pt x="300" y="390"/>
                  </a:lnTo>
                  <a:lnTo>
                    <a:pt x="300" y="396"/>
                  </a:lnTo>
                  <a:lnTo>
                    <a:pt x="300" y="390"/>
                  </a:lnTo>
                  <a:lnTo>
                    <a:pt x="294" y="390"/>
                  </a:lnTo>
                  <a:lnTo>
                    <a:pt x="294" y="396"/>
                  </a:lnTo>
                  <a:lnTo>
                    <a:pt x="288" y="396"/>
                  </a:lnTo>
                  <a:lnTo>
                    <a:pt x="282" y="396"/>
                  </a:lnTo>
                  <a:lnTo>
                    <a:pt x="282" y="390"/>
                  </a:lnTo>
                  <a:lnTo>
                    <a:pt x="276" y="390"/>
                  </a:lnTo>
                  <a:lnTo>
                    <a:pt x="270" y="390"/>
                  </a:lnTo>
                  <a:lnTo>
                    <a:pt x="264" y="390"/>
                  </a:lnTo>
                  <a:lnTo>
                    <a:pt x="264" y="384"/>
                  </a:lnTo>
                  <a:lnTo>
                    <a:pt x="258" y="384"/>
                  </a:lnTo>
                  <a:lnTo>
                    <a:pt x="252" y="384"/>
                  </a:lnTo>
                  <a:lnTo>
                    <a:pt x="246" y="384"/>
                  </a:lnTo>
                  <a:lnTo>
                    <a:pt x="240" y="384"/>
                  </a:lnTo>
                  <a:lnTo>
                    <a:pt x="234" y="384"/>
                  </a:lnTo>
                  <a:lnTo>
                    <a:pt x="228" y="384"/>
                  </a:lnTo>
                  <a:lnTo>
                    <a:pt x="228" y="378"/>
                  </a:lnTo>
                  <a:lnTo>
                    <a:pt x="222" y="378"/>
                  </a:lnTo>
                  <a:lnTo>
                    <a:pt x="216" y="378"/>
                  </a:lnTo>
                  <a:lnTo>
                    <a:pt x="216" y="372"/>
                  </a:lnTo>
                  <a:lnTo>
                    <a:pt x="210" y="372"/>
                  </a:lnTo>
                  <a:lnTo>
                    <a:pt x="210" y="366"/>
                  </a:lnTo>
                  <a:lnTo>
                    <a:pt x="216" y="366"/>
                  </a:lnTo>
                  <a:lnTo>
                    <a:pt x="216" y="360"/>
                  </a:lnTo>
                  <a:lnTo>
                    <a:pt x="210" y="360"/>
                  </a:lnTo>
                  <a:lnTo>
                    <a:pt x="204" y="360"/>
                  </a:lnTo>
                  <a:lnTo>
                    <a:pt x="198" y="360"/>
                  </a:lnTo>
                  <a:lnTo>
                    <a:pt x="198" y="354"/>
                  </a:lnTo>
                  <a:lnTo>
                    <a:pt x="192" y="354"/>
                  </a:lnTo>
                  <a:lnTo>
                    <a:pt x="186" y="354"/>
                  </a:lnTo>
                  <a:lnTo>
                    <a:pt x="180" y="354"/>
                  </a:lnTo>
                  <a:lnTo>
                    <a:pt x="174" y="348"/>
                  </a:lnTo>
                  <a:lnTo>
                    <a:pt x="168" y="348"/>
                  </a:lnTo>
                  <a:lnTo>
                    <a:pt x="162" y="348"/>
                  </a:lnTo>
                  <a:lnTo>
                    <a:pt x="156" y="348"/>
                  </a:lnTo>
                  <a:lnTo>
                    <a:pt x="156" y="342"/>
                  </a:lnTo>
                  <a:lnTo>
                    <a:pt x="150" y="342"/>
                  </a:lnTo>
                  <a:lnTo>
                    <a:pt x="156" y="342"/>
                  </a:lnTo>
                  <a:lnTo>
                    <a:pt x="150" y="342"/>
                  </a:lnTo>
                  <a:lnTo>
                    <a:pt x="150" y="336"/>
                  </a:lnTo>
                  <a:lnTo>
                    <a:pt x="150" y="330"/>
                  </a:lnTo>
                  <a:lnTo>
                    <a:pt x="144" y="330"/>
                  </a:lnTo>
                  <a:lnTo>
                    <a:pt x="144" y="324"/>
                  </a:lnTo>
                  <a:lnTo>
                    <a:pt x="138" y="324"/>
                  </a:lnTo>
                  <a:lnTo>
                    <a:pt x="138" y="318"/>
                  </a:lnTo>
                  <a:lnTo>
                    <a:pt x="138" y="312"/>
                  </a:lnTo>
                  <a:lnTo>
                    <a:pt x="138" y="306"/>
                  </a:lnTo>
                  <a:lnTo>
                    <a:pt x="138" y="300"/>
                  </a:lnTo>
                  <a:lnTo>
                    <a:pt x="138" y="294"/>
                  </a:lnTo>
                  <a:lnTo>
                    <a:pt x="138" y="288"/>
                  </a:lnTo>
                  <a:lnTo>
                    <a:pt x="138" y="282"/>
                  </a:lnTo>
                  <a:lnTo>
                    <a:pt x="132" y="282"/>
                  </a:lnTo>
                  <a:lnTo>
                    <a:pt x="126" y="282"/>
                  </a:lnTo>
                  <a:lnTo>
                    <a:pt x="120" y="282"/>
                  </a:lnTo>
                  <a:lnTo>
                    <a:pt x="114" y="282"/>
                  </a:lnTo>
                  <a:lnTo>
                    <a:pt x="114" y="276"/>
                  </a:lnTo>
                  <a:lnTo>
                    <a:pt x="114" y="270"/>
                  </a:lnTo>
                  <a:lnTo>
                    <a:pt x="114" y="264"/>
                  </a:lnTo>
                  <a:lnTo>
                    <a:pt x="114" y="258"/>
                  </a:lnTo>
                  <a:lnTo>
                    <a:pt x="108" y="258"/>
                  </a:lnTo>
                  <a:lnTo>
                    <a:pt x="102" y="258"/>
                  </a:lnTo>
                  <a:lnTo>
                    <a:pt x="96" y="258"/>
                  </a:lnTo>
                  <a:lnTo>
                    <a:pt x="96" y="252"/>
                  </a:lnTo>
                  <a:lnTo>
                    <a:pt x="90" y="252"/>
                  </a:lnTo>
                  <a:lnTo>
                    <a:pt x="84" y="252"/>
                  </a:lnTo>
                  <a:lnTo>
                    <a:pt x="84" y="246"/>
                  </a:lnTo>
                  <a:lnTo>
                    <a:pt x="78" y="246"/>
                  </a:lnTo>
                  <a:lnTo>
                    <a:pt x="78" y="240"/>
                  </a:lnTo>
                  <a:lnTo>
                    <a:pt x="72" y="240"/>
                  </a:lnTo>
                  <a:lnTo>
                    <a:pt x="66" y="240"/>
                  </a:lnTo>
                  <a:lnTo>
                    <a:pt x="66" y="234"/>
                  </a:lnTo>
                  <a:lnTo>
                    <a:pt x="60" y="234"/>
                  </a:lnTo>
                  <a:lnTo>
                    <a:pt x="66" y="234"/>
                  </a:lnTo>
                  <a:lnTo>
                    <a:pt x="60" y="228"/>
                  </a:lnTo>
                  <a:lnTo>
                    <a:pt x="54" y="228"/>
                  </a:lnTo>
                  <a:lnTo>
                    <a:pt x="54" y="222"/>
                  </a:lnTo>
                  <a:lnTo>
                    <a:pt x="48" y="222"/>
                  </a:lnTo>
                  <a:lnTo>
                    <a:pt x="48" y="216"/>
                  </a:lnTo>
                  <a:lnTo>
                    <a:pt x="48" y="210"/>
                  </a:lnTo>
                  <a:lnTo>
                    <a:pt x="48" y="204"/>
                  </a:lnTo>
                  <a:lnTo>
                    <a:pt x="42" y="204"/>
                  </a:lnTo>
                  <a:lnTo>
                    <a:pt x="42" y="198"/>
                  </a:lnTo>
                  <a:lnTo>
                    <a:pt x="42" y="192"/>
                  </a:lnTo>
                  <a:lnTo>
                    <a:pt x="36" y="186"/>
                  </a:lnTo>
                  <a:lnTo>
                    <a:pt x="30" y="180"/>
                  </a:lnTo>
                  <a:lnTo>
                    <a:pt x="30" y="174"/>
                  </a:lnTo>
                  <a:lnTo>
                    <a:pt x="24" y="168"/>
                  </a:lnTo>
                  <a:lnTo>
                    <a:pt x="24" y="162"/>
                  </a:lnTo>
                  <a:lnTo>
                    <a:pt x="18" y="162"/>
                  </a:lnTo>
                  <a:lnTo>
                    <a:pt x="18" y="156"/>
                  </a:lnTo>
                  <a:lnTo>
                    <a:pt x="12" y="150"/>
                  </a:lnTo>
                  <a:lnTo>
                    <a:pt x="12" y="144"/>
                  </a:lnTo>
                  <a:lnTo>
                    <a:pt x="6" y="144"/>
                  </a:lnTo>
                  <a:lnTo>
                    <a:pt x="6" y="138"/>
                  </a:lnTo>
                  <a:lnTo>
                    <a:pt x="6" y="132"/>
                  </a:lnTo>
                  <a:lnTo>
                    <a:pt x="0" y="132"/>
                  </a:lnTo>
                  <a:lnTo>
                    <a:pt x="0" y="126"/>
                  </a:lnTo>
                  <a:lnTo>
                    <a:pt x="6" y="126"/>
                  </a:lnTo>
                  <a:lnTo>
                    <a:pt x="12" y="126"/>
                  </a:lnTo>
                  <a:lnTo>
                    <a:pt x="18" y="126"/>
                  </a:lnTo>
                  <a:lnTo>
                    <a:pt x="24" y="126"/>
                  </a:lnTo>
                  <a:lnTo>
                    <a:pt x="30" y="126"/>
                  </a:lnTo>
                  <a:lnTo>
                    <a:pt x="30" y="132"/>
                  </a:lnTo>
                  <a:lnTo>
                    <a:pt x="36" y="132"/>
                  </a:lnTo>
                  <a:lnTo>
                    <a:pt x="36" y="138"/>
                  </a:lnTo>
                  <a:lnTo>
                    <a:pt x="42" y="138"/>
                  </a:lnTo>
                  <a:lnTo>
                    <a:pt x="48" y="138"/>
                  </a:lnTo>
                  <a:lnTo>
                    <a:pt x="48" y="132"/>
                  </a:lnTo>
                  <a:lnTo>
                    <a:pt x="48" y="138"/>
                  </a:lnTo>
                  <a:lnTo>
                    <a:pt x="48" y="132"/>
                  </a:lnTo>
                  <a:lnTo>
                    <a:pt x="54" y="132"/>
                  </a:lnTo>
                  <a:lnTo>
                    <a:pt x="60" y="132"/>
                  </a:lnTo>
                  <a:lnTo>
                    <a:pt x="66" y="132"/>
                  </a:lnTo>
                  <a:lnTo>
                    <a:pt x="72" y="132"/>
                  </a:lnTo>
                  <a:lnTo>
                    <a:pt x="72" y="138"/>
                  </a:lnTo>
                  <a:lnTo>
                    <a:pt x="78" y="138"/>
                  </a:lnTo>
                  <a:lnTo>
                    <a:pt x="84" y="138"/>
                  </a:lnTo>
                  <a:lnTo>
                    <a:pt x="84" y="144"/>
                  </a:lnTo>
                  <a:lnTo>
                    <a:pt x="84" y="138"/>
                  </a:lnTo>
                  <a:lnTo>
                    <a:pt x="90" y="138"/>
                  </a:lnTo>
                  <a:lnTo>
                    <a:pt x="96" y="138"/>
                  </a:lnTo>
                  <a:lnTo>
                    <a:pt x="96" y="132"/>
                  </a:lnTo>
                  <a:lnTo>
                    <a:pt x="102" y="132"/>
                  </a:lnTo>
                  <a:lnTo>
                    <a:pt x="108" y="126"/>
                  </a:lnTo>
                  <a:lnTo>
                    <a:pt x="108" y="120"/>
                  </a:lnTo>
                  <a:lnTo>
                    <a:pt x="114" y="120"/>
                  </a:lnTo>
                  <a:lnTo>
                    <a:pt x="114" y="114"/>
                  </a:lnTo>
                  <a:lnTo>
                    <a:pt x="120" y="114"/>
                  </a:lnTo>
                  <a:lnTo>
                    <a:pt x="120" y="108"/>
                  </a:lnTo>
                  <a:lnTo>
                    <a:pt x="126" y="108"/>
                  </a:lnTo>
                  <a:lnTo>
                    <a:pt x="126" y="102"/>
                  </a:lnTo>
                  <a:lnTo>
                    <a:pt x="132" y="102"/>
                  </a:lnTo>
                  <a:lnTo>
                    <a:pt x="132" y="96"/>
                  </a:lnTo>
                  <a:lnTo>
                    <a:pt x="132" y="90"/>
                  </a:lnTo>
                  <a:lnTo>
                    <a:pt x="138" y="90"/>
                  </a:lnTo>
                  <a:lnTo>
                    <a:pt x="138" y="84"/>
                  </a:lnTo>
                  <a:lnTo>
                    <a:pt x="144" y="84"/>
                  </a:lnTo>
                  <a:lnTo>
                    <a:pt x="144" y="78"/>
                  </a:lnTo>
                  <a:lnTo>
                    <a:pt x="150" y="72"/>
                  </a:lnTo>
                  <a:lnTo>
                    <a:pt x="156" y="72"/>
                  </a:lnTo>
                  <a:lnTo>
                    <a:pt x="162" y="72"/>
                  </a:lnTo>
                  <a:lnTo>
                    <a:pt x="162" y="66"/>
                  </a:lnTo>
                  <a:lnTo>
                    <a:pt x="168" y="66"/>
                  </a:lnTo>
                  <a:lnTo>
                    <a:pt x="168" y="60"/>
                  </a:lnTo>
                  <a:lnTo>
                    <a:pt x="174" y="60"/>
                  </a:lnTo>
                  <a:lnTo>
                    <a:pt x="180" y="60"/>
                  </a:lnTo>
                  <a:lnTo>
                    <a:pt x="180" y="54"/>
                  </a:lnTo>
                  <a:lnTo>
                    <a:pt x="186" y="54"/>
                  </a:lnTo>
                  <a:lnTo>
                    <a:pt x="192" y="54"/>
                  </a:lnTo>
                  <a:lnTo>
                    <a:pt x="198" y="54"/>
                  </a:lnTo>
                  <a:lnTo>
                    <a:pt x="198" y="48"/>
                  </a:lnTo>
                  <a:lnTo>
                    <a:pt x="204" y="42"/>
                  </a:lnTo>
                  <a:lnTo>
                    <a:pt x="198" y="36"/>
                  </a:lnTo>
                  <a:lnTo>
                    <a:pt x="204" y="36"/>
                  </a:lnTo>
                  <a:lnTo>
                    <a:pt x="204" y="30"/>
                  </a:lnTo>
                  <a:lnTo>
                    <a:pt x="204" y="24"/>
                  </a:lnTo>
                  <a:lnTo>
                    <a:pt x="204" y="18"/>
                  </a:lnTo>
                  <a:lnTo>
                    <a:pt x="210" y="18"/>
                  </a:lnTo>
                  <a:lnTo>
                    <a:pt x="216" y="12"/>
                  </a:lnTo>
                  <a:lnTo>
                    <a:pt x="222" y="6"/>
                  </a:lnTo>
                  <a:lnTo>
                    <a:pt x="228" y="6"/>
                  </a:lnTo>
                  <a:lnTo>
                    <a:pt x="234" y="6"/>
                  </a:lnTo>
                  <a:lnTo>
                    <a:pt x="234" y="0"/>
                  </a:lnTo>
                  <a:lnTo>
                    <a:pt x="240" y="0"/>
                  </a:lnTo>
                  <a:lnTo>
                    <a:pt x="246" y="0"/>
                  </a:lnTo>
                  <a:lnTo>
                    <a:pt x="252" y="0"/>
                  </a:lnTo>
                  <a:lnTo>
                    <a:pt x="258" y="0"/>
                  </a:lnTo>
                  <a:lnTo>
                    <a:pt x="264" y="0"/>
                  </a:lnTo>
                  <a:lnTo>
                    <a:pt x="270" y="0"/>
                  </a:lnTo>
                  <a:lnTo>
                    <a:pt x="276" y="0"/>
                  </a:lnTo>
                  <a:lnTo>
                    <a:pt x="282" y="0"/>
                  </a:lnTo>
                  <a:lnTo>
                    <a:pt x="288" y="0"/>
                  </a:lnTo>
                  <a:lnTo>
                    <a:pt x="288" y="6"/>
                  </a:lnTo>
                  <a:lnTo>
                    <a:pt x="288" y="12"/>
                  </a:lnTo>
                  <a:lnTo>
                    <a:pt x="288" y="18"/>
                  </a:lnTo>
                  <a:lnTo>
                    <a:pt x="294" y="18"/>
                  </a:lnTo>
                  <a:lnTo>
                    <a:pt x="300" y="18"/>
                  </a:lnTo>
                  <a:lnTo>
                    <a:pt x="306" y="18"/>
                  </a:lnTo>
                  <a:lnTo>
                    <a:pt x="312" y="18"/>
                  </a:lnTo>
                  <a:lnTo>
                    <a:pt x="318" y="18"/>
                  </a:lnTo>
                  <a:lnTo>
                    <a:pt x="318" y="24"/>
                  </a:lnTo>
                  <a:lnTo>
                    <a:pt x="324" y="24"/>
                  </a:lnTo>
                  <a:lnTo>
                    <a:pt x="324" y="18"/>
                  </a:lnTo>
                  <a:lnTo>
                    <a:pt x="330" y="18"/>
                  </a:lnTo>
                  <a:lnTo>
                    <a:pt x="336" y="18"/>
                  </a:lnTo>
                  <a:lnTo>
                    <a:pt x="336" y="24"/>
                  </a:lnTo>
                  <a:lnTo>
                    <a:pt x="342" y="24"/>
                  </a:lnTo>
                  <a:lnTo>
                    <a:pt x="342" y="30"/>
                  </a:lnTo>
                  <a:lnTo>
                    <a:pt x="348" y="30"/>
                  </a:lnTo>
                  <a:lnTo>
                    <a:pt x="354" y="30"/>
                  </a:lnTo>
                  <a:lnTo>
                    <a:pt x="360" y="30"/>
                  </a:lnTo>
                  <a:lnTo>
                    <a:pt x="360" y="36"/>
                  </a:lnTo>
                  <a:lnTo>
                    <a:pt x="366" y="36"/>
                  </a:lnTo>
                  <a:lnTo>
                    <a:pt x="372" y="36"/>
                  </a:lnTo>
                  <a:lnTo>
                    <a:pt x="372" y="42"/>
                  </a:lnTo>
                  <a:lnTo>
                    <a:pt x="378" y="42"/>
                  </a:lnTo>
                  <a:lnTo>
                    <a:pt x="378" y="48"/>
                  </a:lnTo>
                  <a:lnTo>
                    <a:pt x="384" y="48"/>
                  </a:lnTo>
                  <a:lnTo>
                    <a:pt x="390" y="48"/>
                  </a:lnTo>
                  <a:lnTo>
                    <a:pt x="396" y="48"/>
                  </a:lnTo>
                  <a:lnTo>
                    <a:pt x="402" y="48"/>
                  </a:lnTo>
                  <a:lnTo>
                    <a:pt x="408" y="54"/>
                  </a:lnTo>
                  <a:lnTo>
                    <a:pt x="414" y="54"/>
                  </a:lnTo>
                  <a:lnTo>
                    <a:pt x="420" y="54"/>
                  </a:lnTo>
                  <a:lnTo>
                    <a:pt x="420" y="60"/>
                  </a:lnTo>
                  <a:lnTo>
                    <a:pt x="414" y="60"/>
                  </a:lnTo>
                  <a:lnTo>
                    <a:pt x="420" y="60"/>
                  </a:lnTo>
                  <a:lnTo>
                    <a:pt x="426" y="60"/>
                  </a:lnTo>
                  <a:lnTo>
                    <a:pt x="432" y="60"/>
                  </a:lnTo>
                  <a:lnTo>
                    <a:pt x="432" y="66"/>
                  </a:lnTo>
                  <a:lnTo>
                    <a:pt x="426" y="72"/>
                  </a:lnTo>
                  <a:lnTo>
                    <a:pt x="426" y="78"/>
                  </a:lnTo>
                  <a:lnTo>
                    <a:pt x="432" y="78"/>
                  </a:lnTo>
                  <a:lnTo>
                    <a:pt x="432" y="84"/>
                  </a:lnTo>
                  <a:lnTo>
                    <a:pt x="432" y="90"/>
                  </a:lnTo>
                  <a:lnTo>
                    <a:pt x="432" y="96"/>
                  </a:lnTo>
                  <a:lnTo>
                    <a:pt x="438" y="96"/>
                  </a:lnTo>
                  <a:lnTo>
                    <a:pt x="438" y="102"/>
                  </a:lnTo>
                  <a:lnTo>
                    <a:pt x="432" y="102"/>
                  </a:lnTo>
                  <a:lnTo>
                    <a:pt x="432" y="108"/>
                  </a:lnTo>
                  <a:lnTo>
                    <a:pt x="432" y="114"/>
                  </a:lnTo>
                  <a:lnTo>
                    <a:pt x="438" y="114"/>
                  </a:lnTo>
                  <a:lnTo>
                    <a:pt x="432" y="114"/>
                  </a:lnTo>
                  <a:lnTo>
                    <a:pt x="432" y="120"/>
                  </a:lnTo>
                  <a:lnTo>
                    <a:pt x="432" y="126"/>
                  </a:lnTo>
                  <a:lnTo>
                    <a:pt x="432" y="132"/>
                  </a:lnTo>
                  <a:lnTo>
                    <a:pt x="432" y="138"/>
                  </a:lnTo>
                  <a:lnTo>
                    <a:pt x="432" y="144"/>
                  </a:lnTo>
                  <a:lnTo>
                    <a:pt x="432" y="150"/>
                  </a:lnTo>
                  <a:lnTo>
                    <a:pt x="432" y="156"/>
                  </a:lnTo>
                  <a:lnTo>
                    <a:pt x="438" y="156"/>
                  </a:lnTo>
                  <a:lnTo>
                    <a:pt x="432" y="162"/>
                  </a:lnTo>
                  <a:lnTo>
                    <a:pt x="432" y="168"/>
                  </a:lnTo>
                  <a:lnTo>
                    <a:pt x="432" y="162"/>
                  </a:lnTo>
                  <a:lnTo>
                    <a:pt x="432" y="168"/>
                  </a:lnTo>
                  <a:lnTo>
                    <a:pt x="426" y="168"/>
                  </a:lnTo>
                  <a:lnTo>
                    <a:pt x="426" y="174"/>
                  </a:lnTo>
                  <a:lnTo>
                    <a:pt x="432" y="174"/>
                  </a:lnTo>
                  <a:lnTo>
                    <a:pt x="432" y="180"/>
                  </a:lnTo>
                  <a:lnTo>
                    <a:pt x="426" y="180"/>
                  </a:lnTo>
                  <a:lnTo>
                    <a:pt x="426" y="186"/>
                  </a:lnTo>
                  <a:lnTo>
                    <a:pt x="426" y="180"/>
                  </a:lnTo>
                  <a:lnTo>
                    <a:pt x="420" y="180"/>
                  </a:lnTo>
                  <a:lnTo>
                    <a:pt x="420" y="186"/>
                  </a:lnTo>
                  <a:lnTo>
                    <a:pt x="414" y="186"/>
                  </a:lnTo>
                  <a:lnTo>
                    <a:pt x="420" y="186"/>
                  </a:lnTo>
                  <a:lnTo>
                    <a:pt x="420" y="192"/>
                  </a:lnTo>
                  <a:lnTo>
                    <a:pt x="414" y="192"/>
                  </a:lnTo>
                  <a:lnTo>
                    <a:pt x="420" y="198"/>
                  </a:lnTo>
                  <a:lnTo>
                    <a:pt x="426" y="198"/>
                  </a:lnTo>
                  <a:lnTo>
                    <a:pt x="426" y="204"/>
                  </a:lnTo>
                  <a:lnTo>
                    <a:pt x="426" y="210"/>
                  </a:lnTo>
                  <a:lnTo>
                    <a:pt x="426" y="216"/>
                  </a:lnTo>
                  <a:lnTo>
                    <a:pt x="420" y="216"/>
                  </a:lnTo>
                  <a:lnTo>
                    <a:pt x="420" y="222"/>
                  </a:lnTo>
                  <a:lnTo>
                    <a:pt x="426" y="222"/>
                  </a:lnTo>
                  <a:lnTo>
                    <a:pt x="426" y="228"/>
                  </a:lnTo>
                  <a:lnTo>
                    <a:pt x="426" y="234"/>
                  </a:lnTo>
                  <a:lnTo>
                    <a:pt x="432" y="234"/>
                  </a:lnTo>
                  <a:lnTo>
                    <a:pt x="432" y="240"/>
                  </a:lnTo>
                  <a:lnTo>
                    <a:pt x="438" y="240"/>
                  </a:lnTo>
                  <a:lnTo>
                    <a:pt x="438" y="246"/>
                  </a:lnTo>
                  <a:lnTo>
                    <a:pt x="432" y="252"/>
                  </a:lnTo>
                  <a:lnTo>
                    <a:pt x="432" y="258"/>
                  </a:lnTo>
                  <a:lnTo>
                    <a:pt x="426" y="258"/>
                  </a:lnTo>
                  <a:lnTo>
                    <a:pt x="426" y="264"/>
                  </a:lnTo>
                  <a:lnTo>
                    <a:pt x="426" y="258"/>
                  </a:lnTo>
                  <a:lnTo>
                    <a:pt x="426" y="264"/>
                  </a:lnTo>
                  <a:lnTo>
                    <a:pt x="426" y="270"/>
                  </a:lnTo>
                  <a:lnTo>
                    <a:pt x="420" y="276"/>
                  </a:lnTo>
                  <a:lnTo>
                    <a:pt x="420" y="282"/>
                  </a:lnTo>
                  <a:lnTo>
                    <a:pt x="414" y="288"/>
                  </a:lnTo>
                  <a:lnTo>
                    <a:pt x="408" y="288"/>
                  </a:lnTo>
                  <a:lnTo>
                    <a:pt x="402" y="294"/>
                  </a:lnTo>
                  <a:lnTo>
                    <a:pt x="408" y="294"/>
                  </a:lnTo>
                  <a:lnTo>
                    <a:pt x="408" y="300"/>
                  </a:lnTo>
                  <a:lnTo>
                    <a:pt x="408" y="306"/>
                  </a:lnTo>
                  <a:lnTo>
                    <a:pt x="402" y="312"/>
                  </a:lnTo>
                  <a:lnTo>
                    <a:pt x="402" y="318"/>
                  </a:lnTo>
                  <a:lnTo>
                    <a:pt x="396" y="318"/>
                  </a:lnTo>
                  <a:lnTo>
                    <a:pt x="396" y="324"/>
                  </a:lnTo>
                  <a:lnTo>
                    <a:pt x="402" y="324"/>
                  </a:lnTo>
                  <a:lnTo>
                    <a:pt x="402" y="330"/>
                  </a:lnTo>
                  <a:lnTo>
                    <a:pt x="402" y="336"/>
                  </a:lnTo>
                  <a:lnTo>
                    <a:pt x="402" y="330"/>
                  </a:lnTo>
                  <a:lnTo>
                    <a:pt x="396" y="336"/>
                  </a:lnTo>
                  <a:lnTo>
                    <a:pt x="372" y="366"/>
                  </a:lnTo>
                  <a:lnTo>
                    <a:pt x="354" y="384"/>
                  </a:lnTo>
                  <a:lnTo>
                    <a:pt x="348" y="390"/>
                  </a:lnTo>
                  <a:lnTo>
                    <a:pt x="342" y="39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39" name="Freeform 54"/>
            <p:cNvSpPr>
              <a:spLocks/>
            </p:cNvSpPr>
            <p:nvPr>
              <p:custDataLst>
                <p:tags r:id="rId102"/>
              </p:custDataLst>
            </p:nvPr>
          </p:nvSpPr>
          <p:spPr bwMode="gray">
            <a:xfrm>
              <a:off x="4706938" y="4167188"/>
              <a:ext cx="811213" cy="706438"/>
            </a:xfrm>
            <a:custGeom>
              <a:avLst/>
              <a:gdLst>
                <a:gd name="T0" fmla="*/ 149223 w 654"/>
                <a:gd name="T1" fmla="*/ 151045 h 570"/>
                <a:gd name="T2" fmla="*/ 136626 w 654"/>
                <a:gd name="T3" fmla="*/ 161696 h 570"/>
                <a:gd name="T4" fmla="*/ 127905 w 654"/>
                <a:gd name="T5" fmla="*/ 172346 h 570"/>
                <a:gd name="T6" fmla="*/ 115309 w 654"/>
                <a:gd name="T7" fmla="*/ 181060 h 570"/>
                <a:gd name="T8" fmla="*/ 106588 w 654"/>
                <a:gd name="T9" fmla="*/ 191711 h 570"/>
                <a:gd name="T10" fmla="*/ 93991 w 654"/>
                <a:gd name="T11" fmla="*/ 199457 h 570"/>
                <a:gd name="T12" fmla="*/ 81394 w 654"/>
                <a:gd name="T13" fmla="*/ 198489 h 570"/>
                <a:gd name="T14" fmla="*/ 72674 w 654"/>
                <a:gd name="T15" fmla="*/ 195585 h 570"/>
                <a:gd name="T16" fmla="*/ 62015 w 654"/>
                <a:gd name="T17" fmla="*/ 191711 h 570"/>
                <a:gd name="T18" fmla="*/ 46511 w 654"/>
                <a:gd name="T19" fmla="*/ 189775 h 570"/>
                <a:gd name="T20" fmla="*/ 21317 w 654"/>
                <a:gd name="T21" fmla="*/ 184933 h 570"/>
                <a:gd name="T22" fmla="*/ 10659 w 654"/>
                <a:gd name="T23" fmla="*/ 176219 h 570"/>
                <a:gd name="T24" fmla="*/ 1938 w 654"/>
                <a:gd name="T25" fmla="*/ 165569 h 570"/>
                <a:gd name="T26" fmla="*/ 0 w 654"/>
                <a:gd name="T27" fmla="*/ 117157 h 570"/>
                <a:gd name="T28" fmla="*/ 37791 w 654"/>
                <a:gd name="T29" fmla="*/ 91014 h 570"/>
                <a:gd name="T30" fmla="*/ 40697 w 654"/>
                <a:gd name="T31" fmla="*/ 74555 h 570"/>
                <a:gd name="T32" fmla="*/ 40697 w 654"/>
                <a:gd name="T33" fmla="*/ 63904 h 570"/>
                <a:gd name="T34" fmla="*/ 46511 w 654"/>
                <a:gd name="T35" fmla="*/ 60031 h 570"/>
                <a:gd name="T36" fmla="*/ 55232 w 654"/>
                <a:gd name="T37" fmla="*/ 63904 h 570"/>
                <a:gd name="T38" fmla="*/ 65891 w 654"/>
                <a:gd name="T39" fmla="*/ 63904 h 570"/>
                <a:gd name="T40" fmla="*/ 72674 w 654"/>
                <a:gd name="T41" fmla="*/ 71650 h 570"/>
                <a:gd name="T42" fmla="*/ 85271 w 654"/>
                <a:gd name="T43" fmla="*/ 76491 h 570"/>
                <a:gd name="T44" fmla="*/ 97867 w 654"/>
                <a:gd name="T45" fmla="*/ 74555 h 570"/>
                <a:gd name="T46" fmla="*/ 106588 w 654"/>
                <a:gd name="T47" fmla="*/ 71650 h 570"/>
                <a:gd name="T48" fmla="*/ 115309 w 654"/>
                <a:gd name="T49" fmla="*/ 83269 h 570"/>
                <a:gd name="T50" fmla="*/ 125967 w 654"/>
                <a:gd name="T51" fmla="*/ 87141 h 570"/>
                <a:gd name="T52" fmla="*/ 129843 w 654"/>
                <a:gd name="T53" fmla="*/ 93919 h 570"/>
                <a:gd name="T54" fmla="*/ 138564 w 654"/>
                <a:gd name="T55" fmla="*/ 104570 h 570"/>
                <a:gd name="T56" fmla="*/ 147285 w 654"/>
                <a:gd name="T57" fmla="*/ 101665 h 570"/>
                <a:gd name="T58" fmla="*/ 155037 w 654"/>
                <a:gd name="T59" fmla="*/ 100696 h 570"/>
                <a:gd name="T60" fmla="*/ 155037 w 654"/>
                <a:gd name="T61" fmla="*/ 81332 h 570"/>
                <a:gd name="T62" fmla="*/ 142440 w 654"/>
                <a:gd name="T63" fmla="*/ 85205 h 570"/>
                <a:gd name="T64" fmla="*/ 131781 w 654"/>
                <a:gd name="T65" fmla="*/ 76491 h 570"/>
                <a:gd name="T66" fmla="*/ 127905 w 654"/>
                <a:gd name="T67" fmla="*/ 63904 h 570"/>
                <a:gd name="T68" fmla="*/ 131781 w 654"/>
                <a:gd name="T69" fmla="*/ 49380 h 570"/>
                <a:gd name="T70" fmla="*/ 131781 w 654"/>
                <a:gd name="T71" fmla="*/ 33889 h 570"/>
                <a:gd name="T72" fmla="*/ 127905 w 654"/>
                <a:gd name="T73" fmla="*/ 23238 h 570"/>
                <a:gd name="T74" fmla="*/ 131781 w 654"/>
                <a:gd name="T75" fmla="*/ 17428 h 570"/>
                <a:gd name="T76" fmla="*/ 140502 w 654"/>
                <a:gd name="T77" fmla="*/ 6778 h 570"/>
                <a:gd name="T78" fmla="*/ 161820 w 654"/>
                <a:gd name="T79" fmla="*/ 1936 h 570"/>
                <a:gd name="T80" fmla="*/ 177323 w 654"/>
                <a:gd name="T81" fmla="*/ 6778 h 570"/>
                <a:gd name="T82" fmla="*/ 191858 w 654"/>
                <a:gd name="T83" fmla="*/ 14523 h 570"/>
                <a:gd name="T84" fmla="*/ 206392 w 654"/>
                <a:gd name="T85" fmla="*/ 19365 h 570"/>
                <a:gd name="T86" fmla="*/ 218020 w 654"/>
                <a:gd name="T87" fmla="*/ 26143 h 570"/>
                <a:gd name="T88" fmla="*/ 221897 w 654"/>
                <a:gd name="T89" fmla="*/ 30016 h 570"/>
                <a:gd name="T90" fmla="*/ 223834 w 654"/>
                <a:gd name="T91" fmla="*/ 37761 h 570"/>
                <a:gd name="T92" fmla="*/ 232555 w 654"/>
                <a:gd name="T93" fmla="*/ 49380 h 570"/>
                <a:gd name="T94" fmla="*/ 225772 w 654"/>
                <a:gd name="T95" fmla="*/ 57126 h 570"/>
                <a:gd name="T96" fmla="*/ 223834 w 654"/>
                <a:gd name="T97" fmla="*/ 65840 h 570"/>
                <a:gd name="T98" fmla="*/ 223834 w 654"/>
                <a:gd name="T99" fmla="*/ 76491 h 570"/>
                <a:gd name="T100" fmla="*/ 223834 w 654"/>
                <a:gd name="T101" fmla="*/ 87141 h 570"/>
                <a:gd name="T102" fmla="*/ 218020 w 654"/>
                <a:gd name="T103" fmla="*/ 101665 h 570"/>
                <a:gd name="T104" fmla="*/ 213175 w 654"/>
                <a:gd name="T105" fmla="*/ 112316 h 570"/>
                <a:gd name="T106" fmla="*/ 221897 w 654"/>
                <a:gd name="T107" fmla="*/ 117157 h 570"/>
                <a:gd name="T108" fmla="*/ 204455 w 654"/>
                <a:gd name="T109" fmla="*/ 123935 h 570"/>
                <a:gd name="T110" fmla="*/ 189920 w 654"/>
                <a:gd name="T111" fmla="*/ 129744 h 570"/>
                <a:gd name="T112" fmla="*/ 168603 w 654"/>
                <a:gd name="T113" fmla="*/ 135553 h 570"/>
                <a:gd name="T114" fmla="*/ 165695 w 654"/>
                <a:gd name="T115" fmla="*/ 145236 h 5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54" h="570">
                  <a:moveTo>
                    <a:pt x="468" y="426"/>
                  </a:moveTo>
                  <a:lnTo>
                    <a:pt x="462" y="426"/>
                  </a:lnTo>
                  <a:lnTo>
                    <a:pt x="456" y="426"/>
                  </a:lnTo>
                  <a:lnTo>
                    <a:pt x="450" y="426"/>
                  </a:lnTo>
                  <a:lnTo>
                    <a:pt x="444" y="426"/>
                  </a:lnTo>
                  <a:lnTo>
                    <a:pt x="438" y="426"/>
                  </a:lnTo>
                  <a:lnTo>
                    <a:pt x="432" y="426"/>
                  </a:lnTo>
                  <a:lnTo>
                    <a:pt x="426" y="426"/>
                  </a:lnTo>
                  <a:lnTo>
                    <a:pt x="420" y="426"/>
                  </a:lnTo>
                  <a:lnTo>
                    <a:pt x="414" y="426"/>
                  </a:lnTo>
                  <a:lnTo>
                    <a:pt x="414" y="432"/>
                  </a:lnTo>
                  <a:lnTo>
                    <a:pt x="408" y="432"/>
                  </a:lnTo>
                  <a:lnTo>
                    <a:pt x="402" y="432"/>
                  </a:lnTo>
                  <a:lnTo>
                    <a:pt x="396" y="438"/>
                  </a:lnTo>
                  <a:lnTo>
                    <a:pt x="390" y="444"/>
                  </a:lnTo>
                  <a:lnTo>
                    <a:pt x="384" y="444"/>
                  </a:lnTo>
                  <a:lnTo>
                    <a:pt x="384" y="450"/>
                  </a:lnTo>
                  <a:lnTo>
                    <a:pt x="384" y="456"/>
                  </a:lnTo>
                  <a:lnTo>
                    <a:pt x="384" y="462"/>
                  </a:lnTo>
                  <a:lnTo>
                    <a:pt x="378" y="462"/>
                  </a:lnTo>
                  <a:lnTo>
                    <a:pt x="384" y="468"/>
                  </a:lnTo>
                  <a:lnTo>
                    <a:pt x="378" y="474"/>
                  </a:lnTo>
                  <a:lnTo>
                    <a:pt x="378" y="480"/>
                  </a:lnTo>
                  <a:lnTo>
                    <a:pt x="372" y="480"/>
                  </a:lnTo>
                  <a:lnTo>
                    <a:pt x="366" y="480"/>
                  </a:lnTo>
                  <a:lnTo>
                    <a:pt x="360" y="480"/>
                  </a:lnTo>
                  <a:lnTo>
                    <a:pt x="360" y="486"/>
                  </a:lnTo>
                  <a:lnTo>
                    <a:pt x="354" y="486"/>
                  </a:lnTo>
                  <a:lnTo>
                    <a:pt x="348" y="486"/>
                  </a:lnTo>
                  <a:lnTo>
                    <a:pt x="348" y="492"/>
                  </a:lnTo>
                  <a:lnTo>
                    <a:pt x="342" y="492"/>
                  </a:lnTo>
                  <a:lnTo>
                    <a:pt x="342" y="498"/>
                  </a:lnTo>
                  <a:lnTo>
                    <a:pt x="336" y="498"/>
                  </a:lnTo>
                  <a:lnTo>
                    <a:pt x="330" y="498"/>
                  </a:lnTo>
                  <a:lnTo>
                    <a:pt x="324" y="504"/>
                  </a:lnTo>
                  <a:lnTo>
                    <a:pt x="324" y="510"/>
                  </a:lnTo>
                  <a:lnTo>
                    <a:pt x="318" y="510"/>
                  </a:lnTo>
                  <a:lnTo>
                    <a:pt x="318" y="516"/>
                  </a:lnTo>
                  <a:lnTo>
                    <a:pt x="312" y="516"/>
                  </a:lnTo>
                  <a:lnTo>
                    <a:pt x="312" y="522"/>
                  </a:lnTo>
                  <a:lnTo>
                    <a:pt x="312" y="528"/>
                  </a:lnTo>
                  <a:lnTo>
                    <a:pt x="306" y="528"/>
                  </a:lnTo>
                  <a:lnTo>
                    <a:pt x="306" y="534"/>
                  </a:lnTo>
                  <a:lnTo>
                    <a:pt x="300" y="534"/>
                  </a:lnTo>
                  <a:lnTo>
                    <a:pt x="300" y="540"/>
                  </a:lnTo>
                  <a:lnTo>
                    <a:pt x="294" y="540"/>
                  </a:lnTo>
                  <a:lnTo>
                    <a:pt x="294" y="546"/>
                  </a:lnTo>
                  <a:lnTo>
                    <a:pt x="288" y="546"/>
                  </a:lnTo>
                  <a:lnTo>
                    <a:pt x="288" y="552"/>
                  </a:lnTo>
                  <a:lnTo>
                    <a:pt x="282" y="558"/>
                  </a:lnTo>
                  <a:lnTo>
                    <a:pt x="276" y="558"/>
                  </a:lnTo>
                  <a:lnTo>
                    <a:pt x="276" y="564"/>
                  </a:lnTo>
                  <a:lnTo>
                    <a:pt x="270" y="564"/>
                  </a:lnTo>
                  <a:lnTo>
                    <a:pt x="264" y="564"/>
                  </a:lnTo>
                  <a:lnTo>
                    <a:pt x="264" y="570"/>
                  </a:lnTo>
                  <a:lnTo>
                    <a:pt x="264" y="564"/>
                  </a:lnTo>
                  <a:lnTo>
                    <a:pt x="258" y="564"/>
                  </a:lnTo>
                  <a:lnTo>
                    <a:pt x="252" y="564"/>
                  </a:lnTo>
                  <a:lnTo>
                    <a:pt x="252" y="558"/>
                  </a:lnTo>
                  <a:lnTo>
                    <a:pt x="246" y="558"/>
                  </a:lnTo>
                  <a:lnTo>
                    <a:pt x="240" y="558"/>
                  </a:lnTo>
                  <a:lnTo>
                    <a:pt x="234" y="558"/>
                  </a:lnTo>
                  <a:lnTo>
                    <a:pt x="228" y="558"/>
                  </a:lnTo>
                  <a:lnTo>
                    <a:pt x="228" y="564"/>
                  </a:lnTo>
                  <a:lnTo>
                    <a:pt x="228" y="558"/>
                  </a:lnTo>
                  <a:lnTo>
                    <a:pt x="228" y="564"/>
                  </a:lnTo>
                  <a:lnTo>
                    <a:pt x="222" y="564"/>
                  </a:lnTo>
                  <a:lnTo>
                    <a:pt x="216" y="564"/>
                  </a:lnTo>
                  <a:lnTo>
                    <a:pt x="216" y="558"/>
                  </a:lnTo>
                  <a:lnTo>
                    <a:pt x="210" y="558"/>
                  </a:lnTo>
                  <a:lnTo>
                    <a:pt x="210" y="552"/>
                  </a:lnTo>
                  <a:lnTo>
                    <a:pt x="204" y="552"/>
                  </a:lnTo>
                  <a:lnTo>
                    <a:pt x="198" y="552"/>
                  </a:lnTo>
                  <a:lnTo>
                    <a:pt x="192" y="552"/>
                  </a:lnTo>
                  <a:lnTo>
                    <a:pt x="186" y="552"/>
                  </a:lnTo>
                  <a:lnTo>
                    <a:pt x="180" y="552"/>
                  </a:lnTo>
                  <a:lnTo>
                    <a:pt x="180" y="546"/>
                  </a:lnTo>
                  <a:lnTo>
                    <a:pt x="180" y="552"/>
                  </a:lnTo>
                  <a:lnTo>
                    <a:pt x="180" y="546"/>
                  </a:lnTo>
                  <a:lnTo>
                    <a:pt x="174" y="546"/>
                  </a:lnTo>
                  <a:lnTo>
                    <a:pt x="174" y="540"/>
                  </a:lnTo>
                  <a:lnTo>
                    <a:pt x="168" y="540"/>
                  </a:lnTo>
                  <a:lnTo>
                    <a:pt x="168" y="534"/>
                  </a:lnTo>
                  <a:lnTo>
                    <a:pt x="168" y="540"/>
                  </a:lnTo>
                  <a:lnTo>
                    <a:pt x="162" y="534"/>
                  </a:lnTo>
                  <a:lnTo>
                    <a:pt x="156" y="534"/>
                  </a:lnTo>
                  <a:lnTo>
                    <a:pt x="150" y="534"/>
                  </a:lnTo>
                  <a:lnTo>
                    <a:pt x="144" y="534"/>
                  </a:lnTo>
                  <a:lnTo>
                    <a:pt x="138" y="534"/>
                  </a:lnTo>
                  <a:lnTo>
                    <a:pt x="132" y="534"/>
                  </a:lnTo>
                  <a:lnTo>
                    <a:pt x="126" y="534"/>
                  </a:lnTo>
                  <a:lnTo>
                    <a:pt x="84" y="540"/>
                  </a:lnTo>
                  <a:lnTo>
                    <a:pt x="78" y="540"/>
                  </a:lnTo>
                  <a:lnTo>
                    <a:pt x="78" y="534"/>
                  </a:lnTo>
                  <a:lnTo>
                    <a:pt x="72" y="534"/>
                  </a:lnTo>
                  <a:lnTo>
                    <a:pt x="66" y="534"/>
                  </a:lnTo>
                  <a:lnTo>
                    <a:pt x="66" y="528"/>
                  </a:lnTo>
                  <a:lnTo>
                    <a:pt x="60" y="528"/>
                  </a:lnTo>
                  <a:lnTo>
                    <a:pt x="60" y="522"/>
                  </a:lnTo>
                  <a:lnTo>
                    <a:pt x="54" y="522"/>
                  </a:lnTo>
                  <a:lnTo>
                    <a:pt x="54" y="516"/>
                  </a:lnTo>
                  <a:lnTo>
                    <a:pt x="48" y="516"/>
                  </a:lnTo>
                  <a:lnTo>
                    <a:pt x="48" y="510"/>
                  </a:lnTo>
                  <a:lnTo>
                    <a:pt x="42" y="510"/>
                  </a:lnTo>
                  <a:lnTo>
                    <a:pt x="42" y="504"/>
                  </a:lnTo>
                  <a:lnTo>
                    <a:pt x="36" y="504"/>
                  </a:lnTo>
                  <a:lnTo>
                    <a:pt x="36" y="498"/>
                  </a:lnTo>
                  <a:lnTo>
                    <a:pt x="30" y="498"/>
                  </a:lnTo>
                  <a:lnTo>
                    <a:pt x="30" y="492"/>
                  </a:lnTo>
                  <a:lnTo>
                    <a:pt x="24" y="492"/>
                  </a:lnTo>
                  <a:lnTo>
                    <a:pt x="24" y="486"/>
                  </a:lnTo>
                  <a:lnTo>
                    <a:pt x="18" y="486"/>
                  </a:lnTo>
                  <a:lnTo>
                    <a:pt x="18" y="480"/>
                  </a:lnTo>
                  <a:lnTo>
                    <a:pt x="12" y="480"/>
                  </a:lnTo>
                  <a:lnTo>
                    <a:pt x="12" y="474"/>
                  </a:lnTo>
                  <a:lnTo>
                    <a:pt x="6" y="474"/>
                  </a:lnTo>
                  <a:lnTo>
                    <a:pt x="6" y="468"/>
                  </a:lnTo>
                  <a:lnTo>
                    <a:pt x="6" y="462"/>
                  </a:lnTo>
                  <a:lnTo>
                    <a:pt x="0" y="462"/>
                  </a:lnTo>
                  <a:lnTo>
                    <a:pt x="0" y="456"/>
                  </a:lnTo>
                  <a:lnTo>
                    <a:pt x="0" y="450"/>
                  </a:lnTo>
                  <a:lnTo>
                    <a:pt x="0" y="444"/>
                  </a:lnTo>
                  <a:lnTo>
                    <a:pt x="0" y="408"/>
                  </a:lnTo>
                  <a:lnTo>
                    <a:pt x="0" y="390"/>
                  </a:lnTo>
                  <a:lnTo>
                    <a:pt x="0" y="336"/>
                  </a:lnTo>
                  <a:lnTo>
                    <a:pt x="0" y="330"/>
                  </a:lnTo>
                  <a:lnTo>
                    <a:pt x="0" y="318"/>
                  </a:lnTo>
                  <a:lnTo>
                    <a:pt x="0" y="300"/>
                  </a:lnTo>
                  <a:lnTo>
                    <a:pt x="0" y="276"/>
                  </a:lnTo>
                  <a:lnTo>
                    <a:pt x="24" y="276"/>
                  </a:lnTo>
                  <a:lnTo>
                    <a:pt x="84" y="276"/>
                  </a:lnTo>
                  <a:lnTo>
                    <a:pt x="114" y="270"/>
                  </a:lnTo>
                  <a:lnTo>
                    <a:pt x="108" y="270"/>
                  </a:lnTo>
                  <a:lnTo>
                    <a:pt x="108" y="264"/>
                  </a:lnTo>
                  <a:lnTo>
                    <a:pt x="108" y="258"/>
                  </a:lnTo>
                  <a:lnTo>
                    <a:pt x="108" y="252"/>
                  </a:lnTo>
                  <a:lnTo>
                    <a:pt x="108" y="246"/>
                  </a:lnTo>
                  <a:lnTo>
                    <a:pt x="114" y="246"/>
                  </a:lnTo>
                  <a:lnTo>
                    <a:pt x="114" y="240"/>
                  </a:lnTo>
                  <a:lnTo>
                    <a:pt x="114" y="234"/>
                  </a:lnTo>
                  <a:lnTo>
                    <a:pt x="114" y="228"/>
                  </a:lnTo>
                  <a:lnTo>
                    <a:pt x="114" y="222"/>
                  </a:lnTo>
                  <a:lnTo>
                    <a:pt x="114" y="216"/>
                  </a:lnTo>
                  <a:lnTo>
                    <a:pt x="114" y="210"/>
                  </a:lnTo>
                  <a:lnTo>
                    <a:pt x="114" y="204"/>
                  </a:lnTo>
                  <a:lnTo>
                    <a:pt x="114" y="198"/>
                  </a:lnTo>
                  <a:lnTo>
                    <a:pt x="108" y="198"/>
                  </a:lnTo>
                  <a:lnTo>
                    <a:pt x="114" y="198"/>
                  </a:lnTo>
                  <a:lnTo>
                    <a:pt x="114" y="192"/>
                  </a:lnTo>
                  <a:lnTo>
                    <a:pt x="114" y="186"/>
                  </a:lnTo>
                  <a:lnTo>
                    <a:pt x="114" y="180"/>
                  </a:lnTo>
                  <a:lnTo>
                    <a:pt x="120" y="180"/>
                  </a:lnTo>
                  <a:lnTo>
                    <a:pt x="114" y="180"/>
                  </a:lnTo>
                  <a:lnTo>
                    <a:pt x="114" y="174"/>
                  </a:lnTo>
                  <a:lnTo>
                    <a:pt x="114" y="168"/>
                  </a:lnTo>
                  <a:lnTo>
                    <a:pt x="114" y="162"/>
                  </a:lnTo>
                  <a:lnTo>
                    <a:pt x="114" y="156"/>
                  </a:lnTo>
                  <a:lnTo>
                    <a:pt x="120" y="156"/>
                  </a:lnTo>
                  <a:lnTo>
                    <a:pt x="120" y="162"/>
                  </a:lnTo>
                  <a:lnTo>
                    <a:pt x="126" y="162"/>
                  </a:lnTo>
                  <a:lnTo>
                    <a:pt x="132" y="162"/>
                  </a:lnTo>
                  <a:lnTo>
                    <a:pt x="132" y="168"/>
                  </a:lnTo>
                  <a:lnTo>
                    <a:pt x="132" y="174"/>
                  </a:lnTo>
                  <a:lnTo>
                    <a:pt x="132" y="180"/>
                  </a:lnTo>
                  <a:lnTo>
                    <a:pt x="126" y="180"/>
                  </a:lnTo>
                  <a:lnTo>
                    <a:pt x="132" y="180"/>
                  </a:lnTo>
                  <a:lnTo>
                    <a:pt x="132" y="186"/>
                  </a:lnTo>
                  <a:lnTo>
                    <a:pt x="138" y="186"/>
                  </a:lnTo>
                  <a:lnTo>
                    <a:pt x="144" y="186"/>
                  </a:lnTo>
                  <a:lnTo>
                    <a:pt x="150" y="180"/>
                  </a:lnTo>
                  <a:lnTo>
                    <a:pt x="156" y="180"/>
                  </a:lnTo>
                  <a:lnTo>
                    <a:pt x="156" y="174"/>
                  </a:lnTo>
                  <a:lnTo>
                    <a:pt x="162" y="174"/>
                  </a:lnTo>
                  <a:lnTo>
                    <a:pt x="168" y="174"/>
                  </a:lnTo>
                  <a:lnTo>
                    <a:pt x="174" y="174"/>
                  </a:lnTo>
                  <a:lnTo>
                    <a:pt x="180" y="174"/>
                  </a:lnTo>
                  <a:lnTo>
                    <a:pt x="186" y="174"/>
                  </a:lnTo>
                  <a:lnTo>
                    <a:pt x="186" y="168"/>
                  </a:lnTo>
                  <a:lnTo>
                    <a:pt x="186" y="174"/>
                  </a:lnTo>
                  <a:lnTo>
                    <a:pt x="186" y="180"/>
                  </a:lnTo>
                  <a:lnTo>
                    <a:pt x="186" y="186"/>
                  </a:lnTo>
                  <a:lnTo>
                    <a:pt x="186" y="192"/>
                  </a:lnTo>
                  <a:lnTo>
                    <a:pt x="186" y="198"/>
                  </a:lnTo>
                  <a:lnTo>
                    <a:pt x="192" y="198"/>
                  </a:lnTo>
                  <a:lnTo>
                    <a:pt x="198" y="198"/>
                  </a:lnTo>
                  <a:lnTo>
                    <a:pt x="198" y="204"/>
                  </a:lnTo>
                  <a:lnTo>
                    <a:pt x="204" y="204"/>
                  </a:lnTo>
                  <a:lnTo>
                    <a:pt x="204" y="198"/>
                  </a:lnTo>
                  <a:lnTo>
                    <a:pt x="204" y="204"/>
                  </a:lnTo>
                  <a:lnTo>
                    <a:pt x="210" y="204"/>
                  </a:lnTo>
                  <a:lnTo>
                    <a:pt x="216" y="204"/>
                  </a:lnTo>
                  <a:lnTo>
                    <a:pt x="216" y="210"/>
                  </a:lnTo>
                  <a:lnTo>
                    <a:pt x="222" y="210"/>
                  </a:lnTo>
                  <a:lnTo>
                    <a:pt x="222" y="216"/>
                  </a:lnTo>
                  <a:lnTo>
                    <a:pt x="222" y="210"/>
                  </a:lnTo>
                  <a:lnTo>
                    <a:pt x="228" y="216"/>
                  </a:lnTo>
                  <a:lnTo>
                    <a:pt x="234" y="210"/>
                  </a:lnTo>
                  <a:lnTo>
                    <a:pt x="240" y="216"/>
                  </a:lnTo>
                  <a:lnTo>
                    <a:pt x="246" y="216"/>
                  </a:lnTo>
                  <a:lnTo>
                    <a:pt x="246" y="210"/>
                  </a:lnTo>
                  <a:lnTo>
                    <a:pt x="252" y="210"/>
                  </a:lnTo>
                  <a:lnTo>
                    <a:pt x="252" y="216"/>
                  </a:lnTo>
                  <a:lnTo>
                    <a:pt x="258" y="216"/>
                  </a:lnTo>
                  <a:lnTo>
                    <a:pt x="264" y="216"/>
                  </a:lnTo>
                  <a:lnTo>
                    <a:pt x="270" y="216"/>
                  </a:lnTo>
                  <a:lnTo>
                    <a:pt x="276" y="216"/>
                  </a:lnTo>
                  <a:lnTo>
                    <a:pt x="276" y="210"/>
                  </a:lnTo>
                  <a:lnTo>
                    <a:pt x="282" y="210"/>
                  </a:lnTo>
                  <a:lnTo>
                    <a:pt x="282" y="204"/>
                  </a:lnTo>
                  <a:lnTo>
                    <a:pt x="282" y="198"/>
                  </a:lnTo>
                  <a:lnTo>
                    <a:pt x="282" y="192"/>
                  </a:lnTo>
                  <a:lnTo>
                    <a:pt x="288" y="192"/>
                  </a:lnTo>
                  <a:lnTo>
                    <a:pt x="294" y="192"/>
                  </a:lnTo>
                  <a:lnTo>
                    <a:pt x="294" y="198"/>
                  </a:lnTo>
                  <a:lnTo>
                    <a:pt x="294" y="204"/>
                  </a:lnTo>
                  <a:lnTo>
                    <a:pt x="300" y="204"/>
                  </a:lnTo>
                  <a:lnTo>
                    <a:pt x="300" y="210"/>
                  </a:lnTo>
                  <a:lnTo>
                    <a:pt x="306" y="210"/>
                  </a:lnTo>
                  <a:lnTo>
                    <a:pt x="306" y="216"/>
                  </a:lnTo>
                  <a:lnTo>
                    <a:pt x="306" y="222"/>
                  </a:lnTo>
                  <a:lnTo>
                    <a:pt x="306" y="228"/>
                  </a:lnTo>
                  <a:lnTo>
                    <a:pt x="312" y="228"/>
                  </a:lnTo>
                  <a:lnTo>
                    <a:pt x="312" y="234"/>
                  </a:lnTo>
                  <a:lnTo>
                    <a:pt x="318" y="234"/>
                  </a:lnTo>
                  <a:lnTo>
                    <a:pt x="324" y="234"/>
                  </a:lnTo>
                  <a:lnTo>
                    <a:pt x="324" y="228"/>
                  </a:lnTo>
                  <a:lnTo>
                    <a:pt x="330" y="228"/>
                  </a:lnTo>
                  <a:lnTo>
                    <a:pt x="330" y="234"/>
                  </a:lnTo>
                  <a:lnTo>
                    <a:pt x="336" y="234"/>
                  </a:lnTo>
                  <a:lnTo>
                    <a:pt x="342" y="234"/>
                  </a:lnTo>
                  <a:lnTo>
                    <a:pt x="342" y="240"/>
                  </a:lnTo>
                  <a:lnTo>
                    <a:pt x="348" y="240"/>
                  </a:lnTo>
                  <a:lnTo>
                    <a:pt x="354" y="240"/>
                  </a:lnTo>
                  <a:lnTo>
                    <a:pt x="354" y="246"/>
                  </a:lnTo>
                  <a:lnTo>
                    <a:pt x="360" y="246"/>
                  </a:lnTo>
                  <a:lnTo>
                    <a:pt x="360" y="252"/>
                  </a:lnTo>
                  <a:lnTo>
                    <a:pt x="366" y="252"/>
                  </a:lnTo>
                  <a:lnTo>
                    <a:pt x="366" y="258"/>
                  </a:lnTo>
                  <a:lnTo>
                    <a:pt x="360" y="258"/>
                  </a:lnTo>
                  <a:lnTo>
                    <a:pt x="366" y="258"/>
                  </a:lnTo>
                  <a:lnTo>
                    <a:pt x="366" y="264"/>
                  </a:lnTo>
                  <a:lnTo>
                    <a:pt x="366" y="270"/>
                  </a:lnTo>
                  <a:lnTo>
                    <a:pt x="366" y="264"/>
                  </a:lnTo>
                  <a:lnTo>
                    <a:pt x="372" y="264"/>
                  </a:lnTo>
                  <a:lnTo>
                    <a:pt x="378" y="264"/>
                  </a:lnTo>
                  <a:lnTo>
                    <a:pt x="378" y="270"/>
                  </a:lnTo>
                  <a:lnTo>
                    <a:pt x="378" y="276"/>
                  </a:lnTo>
                  <a:lnTo>
                    <a:pt x="384" y="276"/>
                  </a:lnTo>
                  <a:lnTo>
                    <a:pt x="384" y="282"/>
                  </a:lnTo>
                  <a:lnTo>
                    <a:pt x="384" y="288"/>
                  </a:lnTo>
                  <a:lnTo>
                    <a:pt x="390" y="288"/>
                  </a:lnTo>
                  <a:lnTo>
                    <a:pt x="390" y="294"/>
                  </a:lnTo>
                  <a:lnTo>
                    <a:pt x="390" y="300"/>
                  </a:lnTo>
                  <a:lnTo>
                    <a:pt x="390" y="294"/>
                  </a:lnTo>
                  <a:lnTo>
                    <a:pt x="396" y="294"/>
                  </a:lnTo>
                  <a:lnTo>
                    <a:pt x="402" y="294"/>
                  </a:lnTo>
                  <a:lnTo>
                    <a:pt x="402" y="300"/>
                  </a:lnTo>
                  <a:lnTo>
                    <a:pt x="402" y="294"/>
                  </a:lnTo>
                  <a:lnTo>
                    <a:pt x="408" y="294"/>
                  </a:lnTo>
                  <a:lnTo>
                    <a:pt x="414" y="294"/>
                  </a:lnTo>
                  <a:lnTo>
                    <a:pt x="414" y="288"/>
                  </a:lnTo>
                  <a:lnTo>
                    <a:pt x="420" y="288"/>
                  </a:lnTo>
                  <a:lnTo>
                    <a:pt x="426" y="288"/>
                  </a:lnTo>
                  <a:lnTo>
                    <a:pt x="426" y="294"/>
                  </a:lnTo>
                  <a:lnTo>
                    <a:pt x="426" y="300"/>
                  </a:lnTo>
                  <a:lnTo>
                    <a:pt x="432" y="300"/>
                  </a:lnTo>
                  <a:lnTo>
                    <a:pt x="438" y="300"/>
                  </a:lnTo>
                  <a:lnTo>
                    <a:pt x="438" y="294"/>
                  </a:lnTo>
                  <a:lnTo>
                    <a:pt x="438" y="288"/>
                  </a:lnTo>
                  <a:lnTo>
                    <a:pt x="438" y="282"/>
                  </a:lnTo>
                  <a:lnTo>
                    <a:pt x="438" y="276"/>
                  </a:lnTo>
                  <a:lnTo>
                    <a:pt x="438" y="270"/>
                  </a:lnTo>
                  <a:lnTo>
                    <a:pt x="438" y="264"/>
                  </a:lnTo>
                  <a:lnTo>
                    <a:pt x="438" y="258"/>
                  </a:lnTo>
                  <a:lnTo>
                    <a:pt x="438" y="252"/>
                  </a:lnTo>
                  <a:lnTo>
                    <a:pt x="438" y="246"/>
                  </a:lnTo>
                  <a:lnTo>
                    <a:pt x="438" y="240"/>
                  </a:lnTo>
                  <a:lnTo>
                    <a:pt x="438" y="234"/>
                  </a:lnTo>
                  <a:lnTo>
                    <a:pt x="438" y="228"/>
                  </a:lnTo>
                  <a:lnTo>
                    <a:pt x="432" y="228"/>
                  </a:lnTo>
                  <a:lnTo>
                    <a:pt x="426" y="228"/>
                  </a:lnTo>
                  <a:lnTo>
                    <a:pt x="420" y="228"/>
                  </a:lnTo>
                  <a:lnTo>
                    <a:pt x="414" y="234"/>
                  </a:lnTo>
                  <a:lnTo>
                    <a:pt x="420" y="240"/>
                  </a:lnTo>
                  <a:lnTo>
                    <a:pt x="420" y="246"/>
                  </a:lnTo>
                  <a:lnTo>
                    <a:pt x="414" y="240"/>
                  </a:lnTo>
                  <a:lnTo>
                    <a:pt x="408" y="240"/>
                  </a:lnTo>
                  <a:lnTo>
                    <a:pt x="402" y="240"/>
                  </a:lnTo>
                  <a:lnTo>
                    <a:pt x="396" y="240"/>
                  </a:lnTo>
                  <a:lnTo>
                    <a:pt x="390" y="240"/>
                  </a:lnTo>
                  <a:lnTo>
                    <a:pt x="390" y="234"/>
                  </a:lnTo>
                  <a:lnTo>
                    <a:pt x="390" y="228"/>
                  </a:lnTo>
                  <a:lnTo>
                    <a:pt x="384" y="228"/>
                  </a:lnTo>
                  <a:lnTo>
                    <a:pt x="384" y="222"/>
                  </a:lnTo>
                  <a:lnTo>
                    <a:pt x="378" y="222"/>
                  </a:lnTo>
                  <a:lnTo>
                    <a:pt x="378" y="216"/>
                  </a:lnTo>
                  <a:lnTo>
                    <a:pt x="372" y="216"/>
                  </a:lnTo>
                  <a:lnTo>
                    <a:pt x="372" y="210"/>
                  </a:lnTo>
                  <a:lnTo>
                    <a:pt x="366" y="210"/>
                  </a:lnTo>
                  <a:lnTo>
                    <a:pt x="360" y="210"/>
                  </a:lnTo>
                  <a:lnTo>
                    <a:pt x="360" y="204"/>
                  </a:lnTo>
                  <a:lnTo>
                    <a:pt x="360" y="198"/>
                  </a:lnTo>
                  <a:lnTo>
                    <a:pt x="360" y="192"/>
                  </a:lnTo>
                  <a:lnTo>
                    <a:pt x="354" y="192"/>
                  </a:lnTo>
                  <a:lnTo>
                    <a:pt x="360" y="186"/>
                  </a:lnTo>
                  <a:lnTo>
                    <a:pt x="360" y="180"/>
                  </a:lnTo>
                  <a:lnTo>
                    <a:pt x="360" y="174"/>
                  </a:lnTo>
                  <a:lnTo>
                    <a:pt x="360" y="168"/>
                  </a:lnTo>
                  <a:lnTo>
                    <a:pt x="360" y="162"/>
                  </a:lnTo>
                  <a:lnTo>
                    <a:pt x="366" y="162"/>
                  </a:lnTo>
                  <a:lnTo>
                    <a:pt x="366" y="156"/>
                  </a:lnTo>
                  <a:lnTo>
                    <a:pt x="366" y="150"/>
                  </a:lnTo>
                  <a:lnTo>
                    <a:pt x="366" y="144"/>
                  </a:lnTo>
                  <a:lnTo>
                    <a:pt x="372" y="144"/>
                  </a:lnTo>
                  <a:lnTo>
                    <a:pt x="372" y="138"/>
                  </a:lnTo>
                  <a:lnTo>
                    <a:pt x="372" y="132"/>
                  </a:lnTo>
                  <a:lnTo>
                    <a:pt x="372" y="126"/>
                  </a:lnTo>
                  <a:lnTo>
                    <a:pt x="372" y="120"/>
                  </a:lnTo>
                  <a:lnTo>
                    <a:pt x="366" y="120"/>
                  </a:lnTo>
                  <a:lnTo>
                    <a:pt x="366" y="114"/>
                  </a:lnTo>
                  <a:lnTo>
                    <a:pt x="372" y="114"/>
                  </a:lnTo>
                  <a:lnTo>
                    <a:pt x="372" y="108"/>
                  </a:lnTo>
                  <a:lnTo>
                    <a:pt x="372" y="102"/>
                  </a:lnTo>
                  <a:lnTo>
                    <a:pt x="372" y="96"/>
                  </a:lnTo>
                  <a:lnTo>
                    <a:pt x="372" y="90"/>
                  </a:lnTo>
                  <a:lnTo>
                    <a:pt x="372" y="84"/>
                  </a:lnTo>
                  <a:lnTo>
                    <a:pt x="372" y="78"/>
                  </a:lnTo>
                  <a:lnTo>
                    <a:pt x="366" y="78"/>
                  </a:lnTo>
                  <a:lnTo>
                    <a:pt x="372" y="78"/>
                  </a:lnTo>
                  <a:lnTo>
                    <a:pt x="366" y="78"/>
                  </a:lnTo>
                  <a:lnTo>
                    <a:pt x="366" y="72"/>
                  </a:lnTo>
                  <a:lnTo>
                    <a:pt x="366" y="66"/>
                  </a:lnTo>
                  <a:lnTo>
                    <a:pt x="360" y="66"/>
                  </a:lnTo>
                  <a:lnTo>
                    <a:pt x="360" y="72"/>
                  </a:lnTo>
                  <a:lnTo>
                    <a:pt x="354" y="72"/>
                  </a:lnTo>
                  <a:lnTo>
                    <a:pt x="354" y="66"/>
                  </a:lnTo>
                  <a:lnTo>
                    <a:pt x="354" y="60"/>
                  </a:lnTo>
                  <a:lnTo>
                    <a:pt x="360" y="60"/>
                  </a:lnTo>
                  <a:lnTo>
                    <a:pt x="360" y="54"/>
                  </a:lnTo>
                  <a:lnTo>
                    <a:pt x="366" y="54"/>
                  </a:lnTo>
                  <a:lnTo>
                    <a:pt x="372" y="54"/>
                  </a:lnTo>
                  <a:lnTo>
                    <a:pt x="372" y="48"/>
                  </a:lnTo>
                  <a:lnTo>
                    <a:pt x="378" y="48"/>
                  </a:lnTo>
                  <a:lnTo>
                    <a:pt x="378" y="42"/>
                  </a:lnTo>
                  <a:lnTo>
                    <a:pt x="384" y="36"/>
                  </a:lnTo>
                  <a:lnTo>
                    <a:pt x="384" y="30"/>
                  </a:lnTo>
                  <a:lnTo>
                    <a:pt x="390" y="30"/>
                  </a:lnTo>
                  <a:lnTo>
                    <a:pt x="390" y="24"/>
                  </a:lnTo>
                  <a:lnTo>
                    <a:pt x="384" y="18"/>
                  </a:lnTo>
                  <a:lnTo>
                    <a:pt x="390" y="18"/>
                  </a:lnTo>
                  <a:lnTo>
                    <a:pt x="396" y="18"/>
                  </a:lnTo>
                  <a:lnTo>
                    <a:pt x="402" y="12"/>
                  </a:lnTo>
                  <a:lnTo>
                    <a:pt x="408" y="12"/>
                  </a:lnTo>
                  <a:lnTo>
                    <a:pt x="414" y="12"/>
                  </a:lnTo>
                  <a:lnTo>
                    <a:pt x="420" y="12"/>
                  </a:lnTo>
                  <a:lnTo>
                    <a:pt x="426" y="12"/>
                  </a:lnTo>
                  <a:lnTo>
                    <a:pt x="432" y="12"/>
                  </a:lnTo>
                  <a:lnTo>
                    <a:pt x="438" y="12"/>
                  </a:lnTo>
                  <a:lnTo>
                    <a:pt x="444" y="6"/>
                  </a:lnTo>
                  <a:lnTo>
                    <a:pt x="456" y="6"/>
                  </a:lnTo>
                  <a:lnTo>
                    <a:pt x="462" y="6"/>
                  </a:lnTo>
                  <a:lnTo>
                    <a:pt x="468" y="6"/>
                  </a:lnTo>
                  <a:lnTo>
                    <a:pt x="474" y="6"/>
                  </a:lnTo>
                  <a:lnTo>
                    <a:pt x="480" y="6"/>
                  </a:lnTo>
                  <a:lnTo>
                    <a:pt x="486" y="6"/>
                  </a:lnTo>
                  <a:lnTo>
                    <a:pt x="492" y="0"/>
                  </a:lnTo>
                  <a:lnTo>
                    <a:pt x="492" y="6"/>
                  </a:lnTo>
                  <a:lnTo>
                    <a:pt x="498" y="12"/>
                  </a:lnTo>
                  <a:lnTo>
                    <a:pt x="498" y="18"/>
                  </a:lnTo>
                  <a:lnTo>
                    <a:pt x="504" y="24"/>
                  </a:lnTo>
                  <a:lnTo>
                    <a:pt x="510" y="24"/>
                  </a:lnTo>
                  <a:lnTo>
                    <a:pt x="516" y="24"/>
                  </a:lnTo>
                  <a:lnTo>
                    <a:pt x="522" y="24"/>
                  </a:lnTo>
                  <a:lnTo>
                    <a:pt x="528" y="24"/>
                  </a:lnTo>
                  <a:lnTo>
                    <a:pt x="528" y="30"/>
                  </a:lnTo>
                  <a:lnTo>
                    <a:pt x="534" y="30"/>
                  </a:lnTo>
                  <a:lnTo>
                    <a:pt x="534" y="36"/>
                  </a:lnTo>
                  <a:lnTo>
                    <a:pt x="540" y="42"/>
                  </a:lnTo>
                  <a:lnTo>
                    <a:pt x="546" y="42"/>
                  </a:lnTo>
                  <a:lnTo>
                    <a:pt x="552" y="42"/>
                  </a:lnTo>
                  <a:lnTo>
                    <a:pt x="552" y="48"/>
                  </a:lnTo>
                  <a:lnTo>
                    <a:pt x="558" y="48"/>
                  </a:lnTo>
                  <a:lnTo>
                    <a:pt x="564" y="48"/>
                  </a:lnTo>
                  <a:lnTo>
                    <a:pt x="570" y="48"/>
                  </a:lnTo>
                  <a:lnTo>
                    <a:pt x="570" y="54"/>
                  </a:lnTo>
                  <a:lnTo>
                    <a:pt x="576" y="54"/>
                  </a:lnTo>
                  <a:lnTo>
                    <a:pt x="582" y="54"/>
                  </a:lnTo>
                  <a:lnTo>
                    <a:pt x="588" y="54"/>
                  </a:lnTo>
                  <a:lnTo>
                    <a:pt x="582" y="54"/>
                  </a:lnTo>
                  <a:lnTo>
                    <a:pt x="588" y="60"/>
                  </a:lnTo>
                  <a:lnTo>
                    <a:pt x="594" y="60"/>
                  </a:lnTo>
                  <a:lnTo>
                    <a:pt x="600" y="60"/>
                  </a:lnTo>
                  <a:lnTo>
                    <a:pt x="600" y="66"/>
                  </a:lnTo>
                  <a:lnTo>
                    <a:pt x="606" y="66"/>
                  </a:lnTo>
                  <a:lnTo>
                    <a:pt x="612" y="66"/>
                  </a:lnTo>
                  <a:lnTo>
                    <a:pt x="612" y="72"/>
                  </a:lnTo>
                  <a:lnTo>
                    <a:pt x="612" y="78"/>
                  </a:lnTo>
                  <a:lnTo>
                    <a:pt x="618" y="78"/>
                  </a:lnTo>
                  <a:lnTo>
                    <a:pt x="612" y="78"/>
                  </a:lnTo>
                  <a:lnTo>
                    <a:pt x="612" y="84"/>
                  </a:lnTo>
                  <a:lnTo>
                    <a:pt x="618" y="84"/>
                  </a:lnTo>
                  <a:lnTo>
                    <a:pt x="618" y="78"/>
                  </a:lnTo>
                  <a:lnTo>
                    <a:pt x="618" y="84"/>
                  </a:lnTo>
                  <a:lnTo>
                    <a:pt x="624" y="78"/>
                  </a:lnTo>
                  <a:lnTo>
                    <a:pt x="624" y="84"/>
                  </a:lnTo>
                  <a:lnTo>
                    <a:pt x="624" y="78"/>
                  </a:lnTo>
                  <a:lnTo>
                    <a:pt x="624" y="84"/>
                  </a:lnTo>
                  <a:lnTo>
                    <a:pt x="624" y="90"/>
                  </a:lnTo>
                  <a:lnTo>
                    <a:pt x="630" y="90"/>
                  </a:lnTo>
                  <a:lnTo>
                    <a:pt x="630" y="96"/>
                  </a:lnTo>
                  <a:lnTo>
                    <a:pt x="636" y="96"/>
                  </a:lnTo>
                  <a:lnTo>
                    <a:pt x="636" y="102"/>
                  </a:lnTo>
                  <a:lnTo>
                    <a:pt x="630" y="102"/>
                  </a:lnTo>
                  <a:lnTo>
                    <a:pt x="630" y="108"/>
                  </a:lnTo>
                  <a:lnTo>
                    <a:pt x="636" y="108"/>
                  </a:lnTo>
                  <a:lnTo>
                    <a:pt x="636" y="114"/>
                  </a:lnTo>
                  <a:lnTo>
                    <a:pt x="642" y="114"/>
                  </a:lnTo>
                  <a:lnTo>
                    <a:pt x="642" y="120"/>
                  </a:lnTo>
                  <a:lnTo>
                    <a:pt x="642" y="126"/>
                  </a:lnTo>
                  <a:lnTo>
                    <a:pt x="648" y="126"/>
                  </a:lnTo>
                  <a:lnTo>
                    <a:pt x="648" y="132"/>
                  </a:lnTo>
                  <a:lnTo>
                    <a:pt x="654" y="132"/>
                  </a:lnTo>
                  <a:lnTo>
                    <a:pt x="654" y="138"/>
                  </a:lnTo>
                  <a:lnTo>
                    <a:pt x="648" y="138"/>
                  </a:lnTo>
                  <a:lnTo>
                    <a:pt x="648" y="144"/>
                  </a:lnTo>
                  <a:lnTo>
                    <a:pt x="642" y="144"/>
                  </a:lnTo>
                  <a:lnTo>
                    <a:pt x="642" y="150"/>
                  </a:lnTo>
                  <a:lnTo>
                    <a:pt x="636" y="150"/>
                  </a:lnTo>
                  <a:lnTo>
                    <a:pt x="630" y="150"/>
                  </a:lnTo>
                  <a:lnTo>
                    <a:pt x="630" y="156"/>
                  </a:lnTo>
                  <a:lnTo>
                    <a:pt x="630" y="162"/>
                  </a:lnTo>
                  <a:lnTo>
                    <a:pt x="636" y="162"/>
                  </a:lnTo>
                  <a:lnTo>
                    <a:pt x="636" y="168"/>
                  </a:lnTo>
                  <a:lnTo>
                    <a:pt x="636" y="174"/>
                  </a:lnTo>
                  <a:lnTo>
                    <a:pt x="630" y="174"/>
                  </a:lnTo>
                  <a:lnTo>
                    <a:pt x="630" y="180"/>
                  </a:lnTo>
                  <a:lnTo>
                    <a:pt x="630" y="186"/>
                  </a:lnTo>
                  <a:lnTo>
                    <a:pt x="630" y="180"/>
                  </a:lnTo>
                  <a:lnTo>
                    <a:pt x="624" y="180"/>
                  </a:lnTo>
                  <a:lnTo>
                    <a:pt x="624" y="186"/>
                  </a:lnTo>
                  <a:lnTo>
                    <a:pt x="630" y="186"/>
                  </a:lnTo>
                  <a:lnTo>
                    <a:pt x="624" y="186"/>
                  </a:lnTo>
                  <a:lnTo>
                    <a:pt x="630" y="186"/>
                  </a:lnTo>
                  <a:lnTo>
                    <a:pt x="630" y="192"/>
                  </a:lnTo>
                  <a:lnTo>
                    <a:pt x="624" y="192"/>
                  </a:lnTo>
                  <a:lnTo>
                    <a:pt x="630" y="192"/>
                  </a:lnTo>
                  <a:lnTo>
                    <a:pt x="630" y="198"/>
                  </a:lnTo>
                  <a:lnTo>
                    <a:pt x="630" y="204"/>
                  </a:lnTo>
                  <a:lnTo>
                    <a:pt x="630" y="210"/>
                  </a:lnTo>
                  <a:lnTo>
                    <a:pt x="630" y="216"/>
                  </a:lnTo>
                  <a:lnTo>
                    <a:pt x="630" y="222"/>
                  </a:lnTo>
                  <a:lnTo>
                    <a:pt x="630" y="228"/>
                  </a:lnTo>
                  <a:lnTo>
                    <a:pt x="630" y="234"/>
                  </a:lnTo>
                  <a:lnTo>
                    <a:pt x="636" y="234"/>
                  </a:lnTo>
                  <a:lnTo>
                    <a:pt x="642" y="234"/>
                  </a:lnTo>
                  <a:lnTo>
                    <a:pt x="642" y="240"/>
                  </a:lnTo>
                  <a:lnTo>
                    <a:pt x="636" y="240"/>
                  </a:lnTo>
                  <a:lnTo>
                    <a:pt x="636" y="246"/>
                  </a:lnTo>
                  <a:lnTo>
                    <a:pt x="630" y="246"/>
                  </a:lnTo>
                  <a:lnTo>
                    <a:pt x="624" y="252"/>
                  </a:lnTo>
                  <a:lnTo>
                    <a:pt x="618" y="252"/>
                  </a:lnTo>
                  <a:lnTo>
                    <a:pt x="612" y="252"/>
                  </a:lnTo>
                  <a:lnTo>
                    <a:pt x="612" y="258"/>
                  </a:lnTo>
                  <a:lnTo>
                    <a:pt x="612" y="264"/>
                  </a:lnTo>
                  <a:lnTo>
                    <a:pt x="612" y="270"/>
                  </a:lnTo>
                  <a:lnTo>
                    <a:pt x="612" y="276"/>
                  </a:lnTo>
                  <a:lnTo>
                    <a:pt x="612" y="282"/>
                  </a:lnTo>
                  <a:lnTo>
                    <a:pt x="612" y="288"/>
                  </a:lnTo>
                  <a:lnTo>
                    <a:pt x="612" y="294"/>
                  </a:lnTo>
                  <a:lnTo>
                    <a:pt x="606" y="294"/>
                  </a:lnTo>
                  <a:lnTo>
                    <a:pt x="606" y="300"/>
                  </a:lnTo>
                  <a:lnTo>
                    <a:pt x="606" y="306"/>
                  </a:lnTo>
                  <a:lnTo>
                    <a:pt x="600" y="306"/>
                  </a:lnTo>
                  <a:lnTo>
                    <a:pt x="594" y="306"/>
                  </a:lnTo>
                  <a:lnTo>
                    <a:pt x="600" y="312"/>
                  </a:lnTo>
                  <a:lnTo>
                    <a:pt x="606" y="312"/>
                  </a:lnTo>
                  <a:lnTo>
                    <a:pt x="600" y="318"/>
                  </a:lnTo>
                  <a:lnTo>
                    <a:pt x="606" y="318"/>
                  </a:lnTo>
                  <a:lnTo>
                    <a:pt x="606" y="324"/>
                  </a:lnTo>
                  <a:lnTo>
                    <a:pt x="612" y="324"/>
                  </a:lnTo>
                  <a:lnTo>
                    <a:pt x="612" y="330"/>
                  </a:lnTo>
                  <a:lnTo>
                    <a:pt x="612" y="324"/>
                  </a:lnTo>
                  <a:lnTo>
                    <a:pt x="612" y="330"/>
                  </a:lnTo>
                  <a:lnTo>
                    <a:pt x="618" y="336"/>
                  </a:lnTo>
                  <a:lnTo>
                    <a:pt x="618" y="330"/>
                  </a:lnTo>
                  <a:lnTo>
                    <a:pt x="624" y="330"/>
                  </a:lnTo>
                  <a:lnTo>
                    <a:pt x="624" y="324"/>
                  </a:lnTo>
                  <a:lnTo>
                    <a:pt x="624" y="330"/>
                  </a:lnTo>
                  <a:lnTo>
                    <a:pt x="618" y="336"/>
                  </a:lnTo>
                  <a:lnTo>
                    <a:pt x="612" y="336"/>
                  </a:lnTo>
                  <a:lnTo>
                    <a:pt x="606" y="336"/>
                  </a:lnTo>
                  <a:lnTo>
                    <a:pt x="594" y="342"/>
                  </a:lnTo>
                  <a:lnTo>
                    <a:pt x="588" y="342"/>
                  </a:lnTo>
                  <a:lnTo>
                    <a:pt x="582" y="348"/>
                  </a:lnTo>
                  <a:lnTo>
                    <a:pt x="576" y="348"/>
                  </a:lnTo>
                  <a:lnTo>
                    <a:pt x="570" y="348"/>
                  </a:lnTo>
                  <a:lnTo>
                    <a:pt x="564" y="348"/>
                  </a:lnTo>
                  <a:lnTo>
                    <a:pt x="564" y="354"/>
                  </a:lnTo>
                  <a:lnTo>
                    <a:pt x="558" y="354"/>
                  </a:lnTo>
                  <a:lnTo>
                    <a:pt x="552" y="354"/>
                  </a:lnTo>
                  <a:lnTo>
                    <a:pt x="546" y="360"/>
                  </a:lnTo>
                  <a:lnTo>
                    <a:pt x="540" y="360"/>
                  </a:lnTo>
                  <a:lnTo>
                    <a:pt x="534" y="360"/>
                  </a:lnTo>
                  <a:lnTo>
                    <a:pt x="534" y="366"/>
                  </a:lnTo>
                  <a:lnTo>
                    <a:pt x="528" y="366"/>
                  </a:lnTo>
                  <a:lnTo>
                    <a:pt x="522" y="366"/>
                  </a:lnTo>
                  <a:lnTo>
                    <a:pt x="516" y="366"/>
                  </a:lnTo>
                  <a:lnTo>
                    <a:pt x="510" y="372"/>
                  </a:lnTo>
                  <a:lnTo>
                    <a:pt x="504" y="372"/>
                  </a:lnTo>
                  <a:lnTo>
                    <a:pt x="492" y="378"/>
                  </a:lnTo>
                  <a:lnTo>
                    <a:pt x="486" y="378"/>
                  </a:lnTo>
                  <a:lnTo>
                    <a:pt x="480" y="378"/>
                  </a:lnTo>
                  <a:lnTo>
                    <a:pt x="474" y="384"/>
                  </a:lnTo>
                  <a:lnTo>
                    <a:pt x="468" y="384"/>
                  </a:lnTo>
                  <a:lnTo>
                    <a:pt x="462" y="384"/>
                  </a:lnTo>
                  <a:lnTo>
                    <a:pt x="456" y="390"/>
                  </a:lnTo>
                  <a:lnTo>
                    <a:pt x="462" y="390"/>
                  </a:lnTo>
                  <a:lnTo>
                    <a:pt x="456" y="390"/>
                  </a:lnTo>
                  <a:lnTo>
                    <a:pt x="456" y="396"/>
                  </a:lnTo>
                  <a:lnTo>
                    <a:pt x="462" y="396"/>
                  </a:lnTo>
                  <a:lnTo>
                    <a:pt x="462" y="402"/>
                  </a:lnTo>
                  <a:lnTo>
                    <a:pt x="468" y="408"/>
                  </a:lnTo>
                  <a:lnTo>
                    <a:pt x="468" y="414"/>
                  </a:lnTo>
                  <a:lnTo>
                    <a:pt x="468" y="420"/>
                  </a:lnTo>
                  <a:lnTo>
                    <a:pt x="468" y="42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0" name="Freeform 55"/>
            <p:cNvSpPr>
              <a:spLocks noEditPoints="1"/>
            </p:cNvSpPr>
            <p:nvPr>
              <p:custDataLst>
                <p:tags r:id="rId103"/>
              </p:custDataLst>
            </p:nvPr>
          </p:nvSpPr>
          <p:spPr bwMode="gray">
            <a:xfrm>
              <a:off x="5441950" y="4248151"/>
              <a:ext cx="225425" cy="550863"/>
            </a:xfrm>
            <a:custGeom>
              <a:avLst/>
              <a:gdLst>
                <a:gd name="T0" fmla="*/ 10861 w 180"/>
                <a:gd name="T1" fmla="*/ 1941 h 444"/>
                <a:gd name="T2" fmla="*/ 15798 w 180"/>
                <a:gd name="T3" fmla="*/ 3881 h 444"/>
                <a:gd name="T4" fmla="*/ 22710 w 180"/>
                <a:gd name="T5" fmla="*/ 3881 h 444"/>
                <a:gd name="T6" fmla="*/ 26660 w 180"/>
                <a:gd name="T7" fmla="*/ 6792 h 444"/>
                <a:gd name="T8" fmla="*/ 30609 w 180"/>
                <a:gd name="T9" fmla="*/ 3881 h 444"/>
                <a:gd name="T10" fmla="*/ 37521 w 180"/>
                <a:gd name="T11" fmla="*/ 12613 h 444"/>
                <a:gd name="T12" fmla="*/ 37521 w 180"/>
                <a:gd name="T13" fmla="*/ 14553 h 444"/>
                <a:gd name="T14" fmla="*/ 39496 w 180"/>
                <a:gd name="T15" fmla="*/ 23285 h 444"/>
                <a:gd name="T16" fmla="*/ 39496 w 180"/>
                <a:gd name="T17" fmla="*/ 30076 h 444"/>
                <a:gd name="T18" fmla="*/ 39496 w 180"/>
                <a:gd name="T19" fmla="*/ 33958 h 444"/>
                <a:gd name="T20" fmla="*/ 46407 w 180"/>
                <a:gd name="T21" fmla="*/ 40749 h 444"/>
                <a:gd name="T22" fmla="*/ 39496 w 180"/>
                <a:gd name="T23" fmla="*/ 44630 h 444"/>
                <a:gd name="T24" fmla="*/ 35546 w 180"/>
                <a:gd name="T25" fmla="*/ 57242 h 444"/>
                <a:gd name="T26" fmla="*/ 37521 w 180"/>
                <a:gd name="T27" fmla="*/ 70826 h 444"/>
                <a:gd name="T28" fmla="*/ 37521 w 180"/>
                <a:gd name="T29" fmla="*/ 79558 h 444"/>
                <a:gd name="T30" fmla="*/ 44433 w 180"/>
                <a:gd name="T31" fmla="*/ 83439 h 444"/>
                <a:gd name="T32" fmla="*/ 53319 w 180"/>
                <a:gd name="T33" fmla="*/ 92171 h 444"/>
                <a:gd name="T34" fmla="*/ 64180 w 180"/>
                <a:gd name="T35" fmla="*/ 106724 h 444"/>
                <a:gd name="T36" fmla="*/ 66155 w 180"/>
                <a:gd name="T37" fmla="*/ 121277 h 444"/>
                <a:gd name="T38" fmla="*/ 64180 w 180"/>
                <a:gd name="T39" fmla="*/ 134860 h 444"/>
                <a:gd name="T40" fmla="*/ 57269 w 180"/>
                <a:gd name="T41" fmla="*/ 138741 h 444"/>
                <a:gd name="T42" fmla="*/ 53319 w 180"/>
                <a:gd name="T43" fmla="*/ 140681 h 444"/>
                <a:gd name="T44" fmla="*/ 50357 w 180"/>
                <a:gd name="T45" fmla="*/ 145533 h 444"/>
                <a:gd name="T46" fmla="*/ 55294 w 180"/>
                <a:gd name="T47" fmla="*/ 151354 h 444"/>
                <a:gd name="T48" fmla="*/ 55294 w 180"/>
                <a:gd name="T49" fmla="*/ 158145 h 444"/>
                <a:gd name="T50" fmla="*/ 50357 w 180"/>
                <a:gd name="T51" fmla="*/ 154264 h 444"/>
                <a:gd name="T52" fmla="*/ 46407 w 180"/>
                <a:gd name="T53" fmla="*/ 149413 h 444"/>
                <a:gd name="T54" fmla="*/ 39496 w 180"/>
                <a:gd name="T55" fmla="*/ 140681 h 444"/>
                <a:gd name="T56" fmla="*/ 37521 w 180"/>
                <a:gd name="T57" fmla="*/ 136801 h 444"/>
                <a:gd name="T58" fmla="*/ 33571 w 180"/>
                <a:gd name="T59" fmla="*/ 130979 h 444"/>
                <a:gd name="T60" fmla="*/ 35546 w 180"/>
                <a:gd name="T61" fmla="*/ 126128 h 444"/>
                <a:gd name="T62" fmla="*/ 39496 w 180"/>
                <a:gd name="T63" fmla="*/ 120307 h 444"/>
                <a:gd name="T64" fmla="*/ 39496 w 180"/>
                <a:gd name="T65" fmla="*/ 108664 h 444"/>
                <a:gd name="T66" fmla="*/ 37521 w 180"/>
                <a:gd name="T67" fmla="*/ 104783 h 444"/>
                <a:gd name="T68" fmla="*/ 28634 w 180"/>
                <a:gd name="T69" fmla="*/ 104783 h 444"/>
                <a:gd name="T70" fmla="*/ 19747 w 180"/>
                <a:gd name="T71" fmla="*/ 106724 h 444"/>
                <a:gd name="T72" fmla="*/ 15798 w 180"/>
                <a:gd name="T73" fmla="*/ 100903 h 444"/>
                <a:gd name="T74" fmla="*/ 10861 w 180"/>
                <a:gd name="T75" fmla="*/ 94111 h 444"/>
                <a:gd name="T76" fmla="*/ 6911 w 180"/>
                <a:gd name="T77" fmla="*/ 94111 h 444"/>
                <a:gd name="T78" fmla="*/ 3949 w 180"/>
                <a:gd name="T79" fmla="*/ 90230 h 444"/>
                <a:gd name="T80" fmla="*/ 1975 w 180"/>
                <a:gd name="T81" fmla="*/ 85379 h 444"/>
                <a:gd name="T82" fmla="*/ 6911 w 180"/>
                <a:gd name="T83" fmla="*/ 79558 h 444"/>
                <a:gd name="T84" fmla="*/ 6911 w 180"/>
                <a:gd name="T85" fmla="*/ 67915 h 444"/>
                <a:gd name="T86" fmla="*/ 15798 w 180"/>
                <a:gd name="T87" fmla="*/ 64034 h 444"/>
                <a:gd name="T88" fmla="*/ 12836 w 180"/>
                <a:gd name="T89" fmla="*/ 60154 h 444"/>
                <a:gd name="T90" fmla="*/ 12836 w 180"/>
                <a:gd name="T91" fmla="*/ 49481 h 444"/>
                <a:gd name="T92" fmla="*/ 12836 w 180"/>
                <a:gd name="T93" fmla="*/ 42690 h 444"/>
                <a:gd name="T94" fmla="*/ 12836 w 180"/>
                <a:gd name="T95" fmla="*/ 40749 h 444"/>
                <a:gd name="T96" fmla="*/ 15798 w 180"/>
                <a:gd name="T97" fmla="*/ 36868 h 444"/>
                <a:gd name="T98" fmla="*/ 15798 w 180"/>
                <a:gd name="T99" fmla="*/ 30076 h 444"/>
                <a:gd name="T100" fmla="*/ 22710 w 180"/>
                <a:gd name="T101" fmla="*/ 26196 h 444"/>
                <a:gd name="T102" fmla="*/ 17773 w 180"/>
                <a:gd name="T103" fmla="*/ 19405 h 444"/>
                <a:gd name="T104" fmla="*/ 12836 w 180"/>
                <a:gd name="T105" fmla="*/ 12613 h 444"/>
                <a:gd name="T106" fmla="*/ 10861 w 180"/>
                <a:gd name="T107" fmla="*/ 8732 h 444"/>
                <a:gd name="T108" fmla="*/ 8887 w 180"/>
                <a:gd name="T109" fmla="*/ 6792 h 444"/>
                <a:gd name="T110" fmla="*/ 8887 w 180"/>
                <a:gd name="T111" fmla="*/ 3881 h 444"/>
                <a:gd name="T112" fmla="*/ 44433 w 180"/>
                <a:gd name="T113" fmla="*/ 56273 h 4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0" h="444">
                  <a:moveTo>
                    <a:pt x="18" y="6"/>
                  </a:moveTo>
                  <a:lnTo>
                    <a:pt x="18" y="0"/>
                  </a:lnTo>
                  <a:lnTo>
                    <a:pt x="18" y="6"/>
                  </a:lnTo>
                  <a:lnTo>
                    <a:pt x="24" y="6"/>
                  </a:lnTo>
                  <a:lnTo>
                    <a:pt x="30" y="6"/>
                  </a:lnTo>
                  <a:lnTo>
                    <a:pt x="30" y="12"/>
                  </a:lnTo>
                  <a:lnTo>
                    <a:pt x="30" y="6"/>
                  </a:lnTo>
                  <a:lnTo>
                    <a:pt x="36" y="6"/>
                  </a:lnTo>
                  <a:lnTo>
                    <a:pt x="36" y="12"/>
                  </a:lnTo>
                  <a:lnTo>
                    <a:pt x="42" y="12"/>
                  </a:lnTo>
                  <a:lnTo>
                    <a:pt x="42" y="18"/>
                  </a:lnTo>
                  <a:lnTo>
                    <a:pt x="48" y="18"/>
                  </a:lnTo>
                  <a:lnTo>
                    <a:pt x="48" y="12"/>
                  </a:lnTo>
                  <a:lnTo>
                    <a:pt x="54" y="12"/>
                  </a:lnTo>
                  <a:lnTo>
                    <a:pt x="60" y="12"/>
                  </a:lnTo>
                  <a:lnTo>
                    <a:pt x="60" y="18"/>
                  </a:lnTo>
                  <a:lnTo>
                    <a:pt x="60" y="12"/>
                  </a:lnTo>
                  <a:lnTo>
                    <a:pt x="66" y="12"/>
                  </a:lnTo>
                  <a:lnTo>
                    <a:pt x="66" y="18"/>
                  </a:lnTo>
                  <a:lnTo>
                    <a:pt x="72" y="18"/>
                  </a:lnTo>
                  <a:lnTo>
                    <a:pt x="72" y="12"/>
                  </a:lnTo>
                  <a:lnTo>
                    <a:pt x="78" y="12"/>
                  </a:lnTo>
                  <a:lnTo>
                    <a:pt x="78" y="6"/>
                  </a:lnTo>
                  <a:lnTo>
                    <a:pt x="78" y="12"/>
                  </a:lnTo>
                  <a:lnTo>
                    <a:pt x="84" y="12"/>
                  </a:lnTo>
                  <a:lnTo>
                    <a:pt x="90" y="24"/>
                  </a:lnTo>
                  <a:lnTo>
                    <a:pt x="96" y="24"/>
                  </a:lnTo>
                  <a:lnTo>
                    <a:pt x="96" y="30"/>
                  </a:lnTo>
                  <a:lnTo>
                    <a:pt x="102" y="30"/>
                  </a:lnTo>
                  <a:lnTo>
                    <a:pt x="102" y="36"/>
                  </a:lnTo>
                  <a:lnTo>
                    <a:pt x="102" y="42"/>
                  </a:lnTo>
                  <a:lnTo>
                    <a:pt x="108" y="42"/>
                  </a:lnTo>
                  <a:lnTo>
                    <a:pt x="102" y="42"/>
                  </a:lnTo>
                  <a:lnTo>
                    <a:pt x="108" y="42"/>
                  </a:lnTo>
                  <a:lnTo>
                    <a:pt x="102" y="42"/>
                  </a:lnTo>
                  <a:lnTo>
                    <a:pt x="108" y="42"/>
                  </a:lnTo>
                  <a:lnTo>
                    <a:pt x="108" y="48"/>
                  </a:lnTo>
                  <a:lnTo>
                    <a:pt x="108" y="54"/>
                  </a:lnTo>
                  <a:lnTo>
                    <a:pt x="108" y="60"/>
                  </a:lnTo>
                  <a:lnTo>
                    <a:pt x="108" y="66"/>
                  </a:lnTo>
                  <a:lnTo>
                    <a:pt x="108" y="72"/>
                  </a:lnTo>
                  <a:lnTo>
                    <a:pt x="108" y="78"/>
                  </a:lnTo>
                  <a:lnTo>
                    <a:pt x="114" y="78"/>
                  </a:lnTo>
                  <a:lnTo>
                    <a:pt x="114" y="84"/>
                  </a:lnTo>
                  <a:lnTo>
                    <a:pt x="108" y="84"/>
                  </a:lnTo>
                  <a:lnTo>
                    <a:pt x="114" y="84"/>
                  </a:lnTo>
                  <a:lnTo>
                    <a:pt x="108" y="90"/>
                  </a:lnTo>
                  <a:lnTo>
                    <a:pt x="114" y="90"/>
                  </a:lnTo>
                  <a:lnTo>
                    <a:pt x="108" y="90"/>
                  </a:lnTo>
                  <a:lnTo>
                    <a:pt x="108" y="96"/>
                  </a:lnTo>
                  <a:lnTo>
                    <a:pt x="108" y="102"/>
                  </a:lnTo>
                  <a:lnTo>
                    <a:pt x="114" y="102"/>
                  </a:lnTo>
                  <a:lnTo>
                    <a:pt x="120" y="108"/>
                  </a:lnTo>
                  <a:lnTo>
                    <a:pt x="120" y="114"/>
                  </a:lnTo>
                  <a:lnTo>
                    <a:pt x="126" y="114"/>
                  </a:lnTo>
                  <a:lnTo>
                    <a:pt x="126" y="120"/>
                  </a:lnTo>
                  <a:lnTo>
                    <a:pt x="126" y="126"/>
                  </a:lnTo>
                  <a:lnTo>
                    <a:pt x="120" y="126"/>
                  </a:lnTo>
                  <a:lnTo>
                    <a:pt x="114" y="126"/>
                  </a:lnTo>
                  <a:lnTo>
                    <a:pt x="108" y="126"/>
                  </a:lnTo>
                  <a:lnTo>
                    <a:pt x="108" y="132"/>
                  </a:lnTo>
                  <a:lnTo>
                    <a:pt x="108" y="138"/>
                  </a:lnTo>
                  <a:lnTo>
                    <a:pt x="102" y="150"/>
                  </a:lnTo>
                  <a:lnTo>
                    <a:pt x="102" y="156"/>
                  </a:lnTo>
                  <a:lnTo>
                    <a:pt x="96" y="162"/>
                  </a:lnTo>
                  <a:lnTo>
                    <a:pt x="96" y="168"/>
                  </a:lnTo>
                  <a:lnTo>
                    <a:pt x="102" y="180"/>
                  </a:lnTo>
                  <a:lnTo>
                    <a:pt x="102" y="186"/>
                  </a:lnTo>
                  <a:lnTo>
                    <a:pt x="102" y="192"/>
                  </a:lnTo>
                  <a:lnTo>
                    <a:pt x="102" y="198"/>
                  </a:lnTo>
                  <a:lnTo>
                    <a:pt x="102" y="204"/>
                  </a:lnTo>
                  <a:lnTo>
                    <a:pt x="108" y="210"/>
                  </a:lnTo>
                  <a:lnTo>
                    <a:pt x="108" y="216"/>
                  </a:lnTo>
                  <a:lnTo>
                    <a:pt x="108" y="222"/>
                  </a:lnTo>
                  <a:lnTo>
                    <a:pt x="102" y="222"/>
                  </a:lnTo>
                  <a:lnTo>
                    <a:pt x="102" y="228"/>
                  </a:lnTo>
                  <a:lnTo>
                    <a:pt x="108" y="228"/>
                  </a:lnTo>
                  <a:lnTo>
                    <a:pt x="108" y="234"/>
                  </a:lnTo>
                  <a:lnTo>
                    <a:pt x="114" y="234"/>
                  </a:lnTo>
                  <a:lnTo>
                    <a:pt x="120" y="234"/>
                  </a:lnTo>
                  <a:lnTo>
                    <a:pt x="126" y="234"/>
                  </a:lnTo>
                  <a:lnTo>
                    <a:pt x="132" y="240"/>
                  </a:lnTo>
                  <a:lnTo>
                    <a:pt x="132" y="246"/>
                  </a:lnTo>
                  <a:lnTo>
                    <a:pt x="138" y="246"/>
                  </a:lnTo>
                  <a:lnTo>
                    <a:pt x="144" y="258"/>
                  </a:lnTo>
                  <a:lnTo>
                    <a:pt x="150" y="264"/>
                  </a:lnTo>
                  <a:lnTo>
                    <a:pt x="156" y="276"/>
                  </a:lnTo>
                  <a:lnTo>
                    <a:pt x="162" y="282"/>
                  </a:lnTo>
                  <a:lnTo>
                    <a:pt x="174" y="294"/>
                  </a:lnTo>
                  <a:lnTo>
                    <a:pt x="174" y="300"/>
                  </a:lnTo>
                  <a:lnTo>
                    <a:pt x="180" y="306"/>
                  </a:lnTo>
                  <a:lnTo>
                    <a:pt x="180" y="318"/>
                  </a:lnTo>
                  <a:lnTo>
                    <a:pt x="174" y="330"/>
                  </a:lnTo>
                  <a:lnTo>
                    <a:pt x="174" y="336"/>
                  </a:lnTo>
                  <a:lnTo>
                    <a:pt x="180" y="342"/>
                  </a:lnTo>
                  <a:lnTo>
                    <a:pt x="180" y="348"/>
                  </a:lnTo>
                  <a:lnTo>
                    <a:pt x="180" y="354"/>
                  </a:lnTo>
                  <a:lnTo>
                    <a:pt x="180" y="360"/>
                  </a:lnTo>
                  <a:lnTo>
                    <a:pt x="174" y="372"/>
                  </a:lnTo>
                  <a:lnTo>
                    <a:pt x="174" y="378"/>
                  </a:lnTo>
                  <a:lnTo>
                    <a:pt x="174" y="384"/>
                  </a:lnTo>
                  <a:lnTo>
                    <a:pt x="168" y="384"/>
                  </a:lnTo>
                  <a:lnTo>
                    <a:pt x="168" y="390"/>
                  </a:lnTo>
                  <a:lnTo>
                    <a:pt x="162" y="390"/>
                  </a:lnTo>
                  <a:lnTo>
                    <a:pt x="156" y="390"/>
                  </a:lnTo>
                  <a:lnTo>
                    <a:pt x="156" y="384"/>
                  </a:lnTo>
                  <a:lnTo>
                    <a:pt x="156" y="390"/>
                  </a:lnTo>
                  <a:lnTo>
                    <a:pt x="150" y="390"/>
                  </a:lnTo>
                  <a:lnTo>
                    <a:pt x="150" y="396"/>
                  </a:lnTo>
                  <a:lnTo>
                    <a:pt x="144" y="396"/>
                  </a:lnTo>
                  <a:lnTo>
                    <a:pt x="144" y="402"/>
                  </a:lnTo>
                  <a:lnTo>
                    <a:pt x="150" y="402"/>
                  </a:lnTo>
                  <a:lnTo>
                    <a:pt x="144" y="402"/>
                  </a:lnTo>
                  <a:lnTo>
                    <a:pt x="144" y="408"/>
                  </a:lnTo>
                  <a:lnTo>
                    <a:pt x="138" y="408"/>
                  </a:lnTo>
                  <a:lnTo>
                    <a:pt x="138" y="414"/>
                  </a:lnTo>
                  <a:lnTo>
                    <a:pt x="144" y="414"/>
                  </a:lnTo>
                  <a:lnTo>
                    <a:pt x="144" y="420"/>
                  </a:lnTo>
                  <a:lnTo>
                    <a:pt x="144" y="426"/>
                  </a:lnTo>
                  <a:lnTo>
                    <a:pt x="150" y="426"/>
                  </a:lnTo>
                  <a:lnTo>
                    <a:pt x="150" y="432"/>
                  </a:lnTo>
                  <a:lnTo>
                    <a:pt x="144" y="432"/>
                  </a:lnTo>
                  <a:lnTo>
                    <a:pt x="144" y="438"/>
                  </a:lnTo>
                  <a:lnTo>
                    <a:pt x="150" y="438"/>
                  </a:lnTo>
                  <a:lnTo>
                    <a:pt x="150" y="444"/>
                  </a:lnTo>
                  <a:lnTo>
                    <a:pt x="138" y="444"/>
                  </a:lnTo>
                  <a:lnTo>
                    <a:pt x="132" y="444"/>
                  </a:lnTo>
                  <a:lnTo>
                    <a:pt x="132" y="438"/>
                  </a:lnTo>
                  <a:lnTo>
                    <a:pt x="138" y="438"/>
                  </a:lnTo>
                  <a:lnTo>
                    <a:pt x="138" y="432"/>
                  </a:lnTo>
                  <a:lnTo>
                    <a:pt x="138" y="426"/>
                  </a:lnTo>
                  <a:lnTo>
                    <a:pt x="132" y="426"/>
                  </a:lnTo>
                  <a:lnTo>
                    <a:pt x="126" y="420"/>
                  </a:lnTo>
                  <a:lnTo>
                    <a:pt x="126" y="426"/>
                  </a:lnTo>
                  <a:lnTo>
                    <a:pt x="126" y="420"/>
                  </a:lnTo>
                  <a:lnTo>
                    <a:pt x="120" y="414"/>
                  </a:lnTo>
                  <a:lnTo>
                    <a:pt x="120" y="408"/>
                  </a:lnTo>
                  <a:lnTo>
                    <a:pt x="114" y="408"/>
                  </a:lnTo>
                  <a:lnTo>
                    <a:pt x="108" y="402"/>
                  </a:lnTo>
                  <a:lnTo>
                    <a:pt x="108" y="396"/>
                  </a:lnTo>
                  <a:lnTo>
                    <a:pt x="102" y="396"/>
                  </a:lnTo>
                  <a:lnTo>
                    <a:pt x="96" y="396"/>
                  </a:lnTo>
                  <a:lnTo>
                    <a:pt x="96" y="390"/>
                  </a:lnTo>
                  <a:lnTo>
                    <a:pt x="96" y="384"/>
                  </a:lnTo>
                  <a:lnTo>
                    <a:pt x="102" y="384"/>
                  </a:lnTo>
                  <a:lnTo>
                    <a:pt x="96" y="384"/>
                  </a:lnTo>
                  <a:lnTo>
                    <a:pt x="96" y="378"/>
                  </a:lnTo>
                  <a:lnTo>
                    <a:pt x="90" y="378"/>
                  </a:lnTo>
                  <a:lnTo>
                    <a:pt x="90" y="372"/>
                  </a:lnTo>
                  <a:lnTo>
                    <a:pt x="90" y="366"/>
                  </a:lnTo>
                  <a:lnTo>
                    <a:pt x="96" y="366"/>
                  </a:lnTo>
                  <a:lnTo>
                    <a:pt x="96" y="360"/>
                  </a:lnTo>
                  <a:lnTo>
                    <a:pt x="102" y="360"/>
                  </a:lnTo>
                  <a:lnTo>
                    <a:pt x="102" y="354"/>
                  </a:lnTo>
                  <a:lnTo>
                    <a:pt x="96" y="354"/>
                  </a:lnTo>
                  <a:lnTo>
                    <a:pt x="96" y="348"/>
                  </a:lnTo>
                  <a:lnTo>
                    <a:pt x="102" y="348"/>
                  </a:lnTo>
                  <a:lnTo>
                    <a:pt x="102" y="342"/>
                  </a:lnTo>
                  <a:lnTo>
                    <a:pt x="108" y="342"/>
                  </a:lnTo>
                  <a:lnTo>
                    <a:pt x="108" y="336"/>
                  </a:lnTo>
                  <a:lnTo>
                    <a:pt x="108" y="330"/>
                  </a:lnTo>
                  <a:lnTo>
                    <a:pt x="108" y="324"/>
                  </a:lnTo>
                  <a:lnTo>
                    <a:pt x="108" y="318"/>
                  </a:lnTo>
                  <a:lnTo>
                    <a:pt x="108" y="312"/>
                  </a:lnTo>
                  <a:lnTo>
                    <a:pt x="108" y="306"/>
                  </a:lnTo>
                  <a:lnTo>
                    <a:pt x="102" y="306"/>
                  </a:lnTo>
                  <a:lnTo>
                    <a:pt x="102" y="300"/>
                  </a:lnTo>
                  <a:lnTo>
                    <a:pt x="108" y="300"/>
                  </a:lnTo>
                  <a:lnTo>
                    <a:pt x="102" y="300"/>
                  </a:lnTo>
                  <a:lnTo>
                    <a:pt x="102" y="294"/>
                  </a:lnTo>
                  <a:lnTo>
                    <a:pt x="96" y="288"/>
                  </a:lnTo>
                  <a:lnTo>
                    <a:pt x="90" y="288"/>
                  </a:lnTo>
                  <a:lnTo>
                    <a:pt x="84" y="288"/>
                  </a:lnTo>
                  <a:lnTo>
                    <a:pt x="78" y="288"/>
                  </a:lnTo>
                  <a:lnTo>
                    <a:pt x="78" y="294"/>
                  </a:lnTo>
                  <a:lnTo>
                    <a:pt x="72" y="294"/>
                  </a:lnTo>
                  <a:lnTo>
                    <a:pt x="66" y="294"/>
                  </a:lnTo>
                  <a:lnTo>
                    <a:pt x="60" y="294"/>
                  </a:lnTo>
                  <a:lnTo>
                    <a:pt x="60" y="300"/>
                  </a:lnTo>
                  <a:lnTo>
                    <a:pt x="54" y="300"/>
                  </a:lnTo>
                  <a:lnTo>
                    <a:pt x="54" y="294"/>
                  </a:lnTo>
                  <a:lnTo>
                    <a:pt x="48" y="294"/>
                  </a:lnTo>
                  <a:lnTo>
                    <a:pt x="48" y="288"/>
                  </a:lnTo>
                  <a:lnTo>
                    <a:pt x="42" y="288"/>
                  </a:lnTo>
                  <a:lnTo>
                    <a:pt x="42" y="282"/>
                  </a:lnTo>
                  <a:lnTo>
                    <a:pt x="42" y="276"/>
                  </a:lnTo>
                  <a:lnTo>
                    <a:pt x="36" y="276"/>
                  </a:lnTo>
                  <a:lnTo>
                    <a:pt x="36" y="270"/>
                  </a:lnTo>
                  <a:lnTo>
                    <a:pt x="36" y="264"/>
                  </a:lnTo>
                  <a:lnTo>
                    <a:pt x="30" y="264"/>
                  </a:lnTo>
                  <a:lnTo>
                    <a:pt x="30" y="258"/>
                  </a:lnTo>
                  <a:lnTo>
                    <a:pt x="30" y="264"/>
                  </a:lnTo>
                  <a:lnTo>
                    <a:pt x="24" y="264"/>
                  </a:lnTo>
                  <a:lnTo>
                    <a:pt x="24" y="270"/>
                  </a:lnTo>
                  <a:lnTo>
                    <a:pt x="18" y="264"/>
                  </a:lnTo>
                  <a:lnTo>
                    <a:pt x="18" y="258"/>
                  </a:lnTo>
                  <a:lnTo>
                    <a:pt x="18" y="264"/>
                  </a:lnTo>
                  <a:lnTo>
                    <a:pt x="18" y="258"/>
                  </a:lnTo>
                  <a:lnTo>
                    <a:pt x="12" y="258"/>
                  </a:lnTo>
                  <a:lnTo>
                    <a:pt x="12" y="252"/>
                  </a:lnTo>
                  <a:lnTo>
                    <a:pt x="6" y="252"/>
                  </a:lnTo>
                  <a:lnTo>
                    <a:pt x="12" y="246"/>
                  </a:lnTo>
                  <a:lnTo>
                    <a:pt x="6" y="246"/>
                  </a:lnTo>
                  <a:lnTo>
                    <a:pt x="0" y="240"/>
                  </a:lnTo>
                  <a:lnTo>
                    <a:pt x="6" y="240"/>
                  </a:lnTo>
                  <a:lnTo>
                    <a:pt x="12" y="240"/>
                  </a:lnTo>
                  <a:lnTo>
                    <a:pt x="12" y="234"/>
                  </a:lnTo>
                  <a:lnTo>
                    <a:pt x="12" y="228"/>
                  </a:lnTo>
                  <a:lnTo>
                    <a:pt x="18" y="228"/>
                  </a:lnTo>
                  <a:lnTo>
                    <a:pt x="18" y="222"/>
                  </a:lnTo>
                  <a:lnTo>
                    <a:pt x="18" y="216"/>
                  </a:lnTo>
                  <a:lnTo>
                    <a:pt x="18" y="210"/>
                  </a:lnTo>
                  <a:lnTo>
                    <a:pt x="18" y="204"/>
                  </a:lnTo>
                  <a:lnTo>
                    <a:pt x="18" y="198"/>
                  </a:lnTo>
                  <a:lnTo>
                    <a:pt x="18" y="192"/>
                  </a:lnTo>
                  <a:lnTo>
                    <a:pt x="18" y="186"/>
                  </a:lnTo>
                  <a:lnTo>
                    <a:pt x="24" y="186"/>
                  </a:lnTo>
                  <a:lnTo>
                    <a:pt x="30" y="186"/>
                  </a:lnTo>
                  <a:lnTo>
                    <a:pt x="36" y="180"/>
                  </a:lnTo>
                  <a:lnTo>
                    <a:pt x="42" y="180"/>
                  </a:lnTo>
                  <a:lnTo>
                    <a:pt x="42" y="174"/>
                  </a:lnTo>
                  <a:lnTo>
                    <a:pt x="48" y="174"/>
                  </a:lnTo>
                  <a:lnTo>
                    <a:pt x="48" y="168"/>
                  </a:lnTo>
                  <a:lnTo>
                    <a:pt x="42" y="168"/>
                  </a:lnTo>
                  <a:lnTo>
                    <a:pt x="36" y="168"/>
                  </a:lnTo>
                  <a:lnTo>
                    <a:pt x="36" y="162"/>
                  </a:lnTo>
                  <a:lnTo>
                    <a:pt x="36" y="156"/>
                  </a:lnTo>
                  <a:lnTo>
                    <a:pt x="36" y="150"/>
                  </a:lnTo>
                  <a:lnTo>
                    <a:pt x="36" y="144"/>
                  </a:lnTo>
                  <a:lnTo>
                    <a:pt x="36" y="138"/>
                  </a:lnTo>
                  <a:lnTo>
                    <a:pt x="36" y="132"/>
                  </a:lnTo>
                  <a:lnTo>
                    <a:pt x="36" y="126"/>
                  </a:lnTo>
                  <a:lnTo>
                    <a:pt x="30" y="126"/>
                  </a:lnTo>
                  <a:lnTo>
                    <a:pt x="36" y="126"/>
                  </a:lnTo>
                  <a:lnTo>
                    <a:pt x="36" y="120"/>
                  </a:lnTo>
                  <a:lnTo>
                    <a:pt x="30" y="120"/>
                  </a:lnTo>
                  <a:lnTo>
                    <a:pt x="36" y="120"/>
                  </a:lnTo>
                  <a:lnTo>
                    <a:pt x="30" y="120"/>
                  </a:lnTo>
                  <a:lnTo>
                    <a:pt x="30" y="114"/>
                  </a:lnTo>
                  <a:lnTo>
                    <a:pt x="36" y="114"/>
                  </a:lnTo>
                  <a:lnTo>
                    <a:pt x="36" y="120"/>
                  </a:lnTo>
                  <a:lnTo>
                    <a:pt x="36" y="114"/>
                  </a:lnTo>
                  <a:lnTo>
                    <a:pt x="36" y="108"/>
                  </a:lnTo>
                  <a:lnTo>
                    <a:pt x="42" y="108"/>
                  </a:lnTo>
                  <a:lnTo>
                    <a:pt x="42" y="102"/>
                  </a:lnTo>
                  <a:lnTo>
                    <a:pt x="42" y="96"/>
                  </a:lnTo>
                  <a:lnTo>
                    <a:pt x="36" y="96"/>
                  </a:lnTo>
                  <a:lnTo>
                    <a:pt x="36" y="90"/>
                  </a:lnTo>
                  <a:lnTo>
                    <a:pt x="36" y="84"/>
                  </a:lnTo>
                  <a:lnTo>
                    <a:pt x="42" y="84"/>
                  </a:lnTo>
                  <a:lnTo>
                    <a:pt x="48" y="84"/>
                  </a:lnTo>
                  <a:lnTo>
                    <a:pt x="48" y="78"/>
                  </a:lnTo>
                  <a:lnTo>
                    <a:pt x="54" y="78"/>
                  </a:lnTo>
                  <a:lnTo>
                    <a:pt x="54" y="72"/>
                  </a:lnTo>
                  <a:lnTo>
                    <a:pt x="60" y="72"/>
                  </a:lnTo>
                  <a:lnTo>
                    <a:pt x="60" y="66"/>
                  </a:lnTo>
                  <a:lnTo>
                    <a:pt x="54" y="66"/>
                  </a:lnTo>
                  <a:lnTo>
                    <a:pt x="54" y="60"/>
                  </a:lnTo>
                  <a:lnTo>
                    <a:pt x="48" y="60"/>
                  </a:lnTo>
                  <a:lnTo>
                    <a:pt x="48" y="54"/>
                  </a:lnTo>
                  <a:lnTo>
                    <a:pt x="48" y="48"/>
                  </a:lnTo>
                  <a:lnTo>
                    <a:pt x="42" y="48"/>
                  </a:lnTo>
                  <a:lnTo>
                    <a:pt x="42" y="42"/>
                  </a:lnTo>
                  <a:lnTo>
                    <a:pt x="36" y="42"/>
                  </a:lnTo>
                  <a:lnTo>
                    <a:pt x="36" y="36"/>
                  </a:lnTo>
                  <a:lnTo>
                    <a:pt x="42" y="36"/>
                  </a:lnTo>
                  <a:lnTo>
                    <a:pt x="42" y="30"/>
                  </a:lnTo>
                  <a:lnTo>
                    <a:pt x="36" y="30"/>
                  </a:lnTo>
                  <a:lnTo>
                    <a:pt x="36" y="24"/>
                  </a:lnTo>
                  <a:lnTo>
                    <a:pt x="30" y="24"/>
                  </a:lnTo>
                  <a:lnTo>
                    <a:pt x="30" y="18"/>
                  </a:lnTo>
                  <a:lnTo>
                    <a:pt x="30" y="12"/>
                  </a:lnTo>
                  <a:lnTo>
                    <a:pt x="30" y="18"/>
                  </a:lnTo>
                  <a:lnTo>
                    <a:pt x="30" y="12"/>
                  </a:lnTo>
                  <a:lnTo>
                    <a:pt x="24" y="18"/>
                  </a:lnTo>
                  <a:lnTo>
                    <a:pt x="24" y="12"/>
                  </a:lnTo>
                  <a:lnTo>
                    <a:pt x="24" y="18"/>
                  </a:lnTo>
                  <a:lnTo>
                    <a:pt x="18" y="18"/>
                  </a:lnTo>
                  <a:lnTo>
                    <a:pt x="18" y="12"/>
                  </a:lnTo>
                  <a:lnTo>
                    <a:pt x="24" y="12"/>
                  </a:lnTo>
                  <a:lnTo>
                    <a:pt x="18" y="12"/>
                  </a:lnTo>
                  <a:lnTo>
                    <a:pt x="18" y="6"/>
                  </a:lnTo>
                  <a:close/>
                  <a:moveTo>
                    <a:pt x="114" y="150"/>
                  </a:moveTo>
                  <a:lnTo>
                    <a:pt x="120" y="150"/>
                  </a:lnTo>
                  <a:lnTo>
                    <a:pt x="120" y="156"/>
                  </a:lnTo>
                  <a:lnTo>
                    <a:pt x="114" y="156"/>
                  </a:lnTo>
                  <a:lnTo>
                    <a:pt x="114" y="15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1" name="Freeform 56"/>
            <p:cNvSpPr>
              <a:spLocks noEditPoints="1"/>
            </p:cNvSpPr>
            <p:nvPr>
              <p:custDataLst>
                <p:tags r:id="rId104"/>
              </p:custDataLst>
            </p:nvPr>
          </p:nvSpPr>
          <p:spPr bwMode="gray">
            <a:xfrm>
              <a:off x="6173788" y="4389438"/>
              <a:ext cx="87313" cy="74613"/>
            </a:xfrm>
            <a:custGeom>
              <a:avLst/>
              <a:gdLst>
                <a:gd name="T0" fmla="*/ 0 w 72"/>
                <a:gd name="T1" fmla="*/ 6741 h 60"/>
                <a:gd name="T2" fmla="*/ 0 w 72"/>
                <a:gd name="T3" fmla="*/ 3852 h 60"/>
                <a:gd name="T4" fmla="*/ 0 w 72"/>
                <a:gd name="T5" fmla="*/ 1926 h 60"/>
                <a:gd name="T6" fmla="*/ 1868 w 72"/>
                <a:gd name="T7" fmla="*/ 0 h 60"/>
                <a:gd name="T8" fmla="*/ 3738 w 72"/>
                <a:gd name="T9" fmla="*/ 0 h 60"/>
                <a:gd name="T10" fmla="*/ 3738 w 72"/>
                <a:gd name="T11" fmla="*/ 1926 h 60"/>
                <a:gd name="T12" fmla="*/ 3738 w 72"/>
                <a:gd name="T13" fmla="*/ 3852 h 60"/>
                <a:gd name="T14" fmla="*/ 3738 w 72"/>
                <a:gd name="T15" fmla="*/ 6741 h 60"/>
                <a:gd name="T16" fmla="*/ 3738 w 72"/>
                <a:gd name="T17" fmla="*/ 7704 h 60"/>
                <a:gd name="T18" fmla="*/ 3738 w 72"/>
                <a:gd name="T19" fmla="*/ 10594 h 60"/>
                <a:gd name="T20" fmla="*/ 6540 w 72"/>
                <a:gd name="T21" fmla="*/ 10594 h 60"/>
                <a:gd name="T22" fmla="*/ 3738 w 72"/>
                <a:gd name="T23" fmla="*/ 10594 h 60"/>
                <a:gd name="T24" fmla="*/ 3738 w 72"/>
                <a:gd name="T25" fmla="*/ 12520 h 60"/>
                <a:gd name="T26" fmla="*/ 3738 w 72"/>
                <a:gd name="T27" fmla="*/ 10594 h 60"/>
                <a:gd name="T28" fmla="*/ 1868 w 72"/>
                <a:gd name="T29" fmla="*/ 10594 h 60"/>
                <a:gd name="T30" fmla="*/ 0 w 72"/>
                <a:gd name="T31" fmla="*/ 10594 h 60"/>
                <a:gd name="T32" fmla="*/ 0 w 72"/>
                <a:gd name="T33" fmla="*/ 7704 h 60"/>
                <a:gd name="T34" fmla="*/ 0 w 72"/>
                <a:gd name="T35" fmla="*/ 6741 h 60"/>
                <a:gd name="T36" fmla="*/ 24294 w 72"/>
                <a:gd name="T37" fmla="*/ 14446 h 60"/>
                <a:gd name="T38" fmla="*/ 24294 w 72"/>
                <a:gd name="T39" fmla="*/ 16372 h 60"/>
                <a:gd name="T40" fmla="*/ 24294 w 72"/>
                <a:gd name="T41" fmla="*/ 18298 h 60"/>
                <a:gd name="T42" fmla="*/ 24294 w 72"/>
                <a:gd name="T43" fmla="*/ 21188 h 60"/>
                <a:gd name="T44" fmla="*/ 24294 w 72"/>
                <a:gd name="T45" fmla="*/ 18298 h 60"/>
                <a:gd name="T46" fmla="*/ 21490 w 72"/>
                <a:gd name="T47" fmla="*/ 18298 h 60"/>
                <a:gd name="T48" fmla="*/ 21490 w 72"/>
                <a:gd name="T49" fmla="*/ 16372 h 60"/>
                <a:gd name="T50" fmla="*/ 20556 w 72"/>
                <a:gd name="T51" fmla="*/ 16372 h 60"/>
                <a:gd name="T52" fmla="*/ 17753 w 72"/>
                <a:gd name="T53" fmla="*/ 16372 h 60"/>
                <a:gd name="T54" fmla="*/ 20556 w 72"/>
                <a:gd name="T55" fmla="*/ 16372 h 60"/>
                <a:gd name="T56" fmla="*/ 21490 w 72"/>
                <a:gd name="T57" fmla="*/ 16372 h 60"/>
                <a:gd name="T58" fmla="*/ 21490 w 72"/>
                <a:gd name="T59" fmla="*/ 14446 h 60"/>
                <a:gd name="T60" fmla="*/ 24294 w 72"/>
                <a:gd name="T61" fmla="*/ 14446 h 60"/>
                <a:gd name="T62" fmla="*/ 10278 w 72"/>
                <a:gd name="T63" fmla="*/ 18298 h 60"/>
                <a:gd name="T64" fmla="*/ 12147 w 72"/>
                <a:gd name="T65" fmla="*/ 18298 h 60"/>
                <a:gd name="T66" fmla="*/ 12147 w 72"/>
                <a:gd name="T67" fmla="*/ 21188 h 60"/>
                <a:gd name="T68" fmla="*/ 10278 w 72"/>
                <a:gd name="T69" fmla="*/ 21188 h 60"/>
                <a:gd name="T70" fmla="*/ 10278 w 72"/>
                <a:gd name="T71" fmla="*/ 18298 h 60"/>
                <a:gd name="T72" fmla="*/ 10278 w 72"/>
                <a:gd name="T73" fmla="*/ 21188 h 60"/>
                <a:gd name="T74" fmla="*/ 10278 w 72"/>
                <a:gd name="T75" fmla="*/ 18298 h 60"/>
                <a:gd name="T76" fmla="*/ 10278 w 72"/>
                <a:gd name="T77" fmla="*/ 21188 h 60"/>
                <a:gd name="T78" fmla="*/ 10278 w 72"/>
                <a:gd name="T79" fmla="*/ 18298 h 60"/>
                <a:gd name="T80" fmla="*/ 10278 w 72"/>
                <a:gd name="T81" fmla="*/ 21188 h 60"/>
                <a:gd name="T82" fmla="*/ 10278 w 72"/>
                <a:gd name="T83" fmla="*/ 18298 h 60"/>
                <a:gd name="T84" fmla="*/ 7475 w 72"/>
                <a:gd name="T85" fmla="*/ 18298 h 60"/>
                <a:gd name="T86" fmla="*/ 7475 w 72"/>
                <a:gd name="T87" fmla="*/ 16372 h 60"/>
                <a:gd name="T88" fmla="*/ 10278 w 72"/>
                <a:gd name="T89" fmla="*/ 18298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60">
                  <a:moveTo>
                    <a:pt x="0" y="18"/>
                  </a:moveTo>
                  <a:lnTo>
                    <a:pt x="0" y="12"/>
                  </a:lnTo>
                  <a:lnTo>
                    <a:pt x="0" y="6"/>
                  </a:lnTo>
                  <a:lnTo>
                    <a:pt x="6" y="0"/>
                  </a:lnTo>
                  <a:lnTo>
                    <a:pt x="12" y="0"/>
                  </a:lnTo>
                  <a:lnTo>
                    <a:pt x="12" y="6"/>
                  </a:lnTo>
                  <a:lnTo>
                    <a:pt x="12" y="12"/>
                  </a:lnTo>
                  <a:lnTo>
                    <a:pt x="12" y="18"/>
                  </a:lnTo>
                  <a:lnTo>
                    <a:pt x="12" y="24"/>
                  </a:lnTo>
                  <a:lnTo>
                    <a:pt x="12" y="30"/>
                  </a:lnTo>
                  <a:lnTo>
                    <a:pt x="18" y="30"/>
                  </a:lnTo>
                  <a:lnTo>
                    <a:pt x="12" y="30"/>
                  </a:lnTo>
                  <a:lnTo>
                    <a:pt x="12" y="36"/>
                  </a:lnTo>
                  <a:lnTo>
                    <a:pt x="12" y="30"/>
                  </a:lnTo>
                  <a:lnTo>
                    <a:pt x="6" y="30"/>
                  </a:lnTo>
                  <a:lnTo>
                    <a:pt x="0" y="30"/>
                  </a:lnTo>
                  <a:lnTo>
                    <a:pt x="0" y="24"/>
                  </a:lnTo>
                  <a:lnTo>
                    <a:pt x="0" y="18"/>
                  </a:lnTo>
                  <a:close/>
                  <a:moveTo>
                    <a:pt x="72" y="42"/>
                  </a:moveTo>
                  <a:lnTo>
                    <a:pt x="72" y="48"/>
                  </a:lnTo>
                  <a:lnTo>
                    <a:pt x="72" y="54"/>
                  </a:lnTo>
                  <a:lnTo>
                    <a:pt x="72" y="60"/>
                  </a:lnTo>
                  <a:lnTo>
                    <a:pt x="72" y="54"/>
                  </a:lnTo>
                  <a:lnTo>
                    <a:pt x="66" y="54"/>
                  </a:lnTo>
                  <a:lnTo>
                    <a:pt x="66" y="48"/>
                  </a:lnTo>
                  <a:lnTo>
                    <a:pt x="60" y="48"/>
                  </a:lnTo>
                  <a:lnTo>
                    <a:pt x="54" y="48"/>
                  </a:lnTo>
                  <a:lnTo>
                    <a:pt x="60" y="48"/>
                  </a:lnTo>
                  <a:lnTo>
                    <a:pt x="66" y="48"/>
                  </a:lnTo>
                  <a:lnTo>
                    <a:pt x="66" y="42"/>
                  </a:lnTo>
                  <a:lnTo>
                    <a:pt x="72" y="42"/>
                  </a:lnTo>
                  <a:close/>
                  <a:moveTo>
                    <a:pt x="30" y="54"/>
                  </a:moveTo>
                  <a:lnTo>
                    <a:pt x="36" y="54"/>
                  </a:lnTo>
                  <a:lnTo>
                    <a:pt x="36" y="60"/>
                  </a:lnTo>
                  <a:lnTo>
                    <a:pt x="30" y="60"/>
                  </a:lnTo>
                  <a:lnTo>
                    <a:pt x="30" y="54"/>
                  </a:lnTo>
                  <a:lnTo>
                    <a:pt x="30" y="60"/>
                  </a:lnTo>
                  <a:lnTo>
                    <a:pt x="30" y="54"/>
                  </a:lnTo>
                  <a:lnTo>
                    <a:pt x="30" y="60"/>
                  </a:lnTo>
                  <a:lnTo>
                    <a:pt x="30" y="54"/>
                  </a:lnTo>
                  <a:lnTo>
                    <a:pt x="30" y="60"/>
                  </a:lnTo>
                  <a:lnTo>
                    <a:pt x="30" y="54"/>
                  </a:lnTo>
                  <a:lnTo>
                    <a:pt x="24" y="54"/>
                  </a:lnTo>
                  <a:lnTo>
                    <a:pt x="24" y="48"/>
                  </a:lnTo>
                  <a:lnTo>
                    <a:pt x="30" y="54"/>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2" name="Freeform 57"/>
            <p:cNvSpPr>
              <a:spLocks noEditPoints="1"/>
            </p:cNvSpPr>
            <p:nvPr>
              <p:custDataLst>
                <p:tags r:id="rId105"/>
              </p:custDataLst>
            </p:nvPr>
          </p:nvSpPr>
          <p:spPr bwMode="gray">
            <a:xfrm>
              <a:off x="5272088" y="4330701"/>
              <a:ext cx="738188" cy="1198563"/>
            </a:xfrm>
            <a:custGeom>
              <a:avLst/>
              <a:gdLst>
                <a:gd name="T0" fmla="*/ 76765 w 594"/>
                <a:gd name="T1" fmla="*/ 78558 h 966"/>
                <a:gd name="T2" fmla="*/ 85511 w 594"/>
                <a:gd name="T3" fmla="*/ 100864 h 966"/>
                <a:gd name="T4" fmla="*/ 87454 w 594"/>
                <a:gd name="T5" fmla="*/ 117351 h 966"/>
                <a:gd name="T6" fmla="*/ 101058 w 594"/>
                <a:gd name="T7" fmla="*/ 131899 h 966"/>
                <a:gd name="T8" fmla="*/ 104944 w 594"/>
                <a:gd name="T9" fmla="*/ 113472 h 966"/>
                <a:gd name="T10" fmla="*/ 111746 w 594"/>
                <a:gd name="T11" fmla="*/ 81467 h 966"/>
                <a:gd name="T12" fmla="*/ 87454 w 594"/>
                <a:gd name="T13" fmla="*/ 51402 h 966"/>
                <a:gd name="T14" fmla="*/ 98142 w 594"/>
                <a:gd name="T15" fmla="*/ 21336 h 966"/>
                <a:gd name="T16" fmla="*/ 126323 w 594"/>
                <a:gd name="T17" fmla="*/ 23276 h 966"/>
                <a:gd name="T18" fmla="*/ 151587 w 594"/>
                <a:gd name="T19" fmla="*/ 21336 h 966"/>
                <a:gd name="T20" fmla="*/ 173936 w 594"/>
                <a:gd name="T21" fmla="*/ 12608 h 966"/>
                <a:gd name="T22" fmla="*/ 203088 w 594"/>
                <a:gd name="T23" fmla="*/ 0 h 966"/>
                <a:gd name="T24" fmla="*/ 203088 w 594"/>
                <a:gd name="T25" fmla="*/ 17457 h 966"/>
                <a:gd name="T26" fmla="*/ 206003 w 594"/>
                <a:gd name="T27" fmla="*/ 33945 h 966"/>
                <a:gd name="T28" fmla="*/ 207946 w 594"/>
                <a:gd name="T29" fmla="*/ 42673 h 966"/>
                <a:gd name="T30" fmla="*/ 206003 w 594"/>
                <a:gd name="T31" fmla="*/ 51402 h 966"/>
                <a:gd name="T32" fmla="*/ 207946 w 594"/>
                <a:gd name="T33" fmla="*/ 67889 h 966"/>
                <a:gd name="T34" fmla="*/ 207946 w 594"/>
                <a:gd name="T35" fmla="*/ 78558 h 966"/>
                <a:gd name="T36" fmla="*/ 209890 w 594"/>
                <a:gd name="T37" fmla="*/ 87286 h 966"/>
                <a:gd name="T38" fmla="*/ 206003 w 594"/>
                <a:gd name="T39" fmla="*/ 94075 h 966"/>
                <a:gd name="T40" fmla="*/ 203088 w 594"/>
                <a:gd name="T41" fmla="*/ 101834 h 966"/>
                <a:gd name="T42" fmla="*/ 192399 w 594"/>
                <a:gd name="T43" fmla="*/ 115411 h 966"/>
                <a:gd name="T44" fmla="*/ 181710 w 594"/>
                <a:gd name="T45" fmla="*/ 128019 h 966"/>
                <a:gd name="T46" fmla="*/ 169078 w 594"/>
                <a:gd name="T47" fmla="*/ 134808 h 966"/>
                <a:gd name="T48" fmla="*/ 158389 w 594"/>
                <a:gd name="T49" fmla="*/ 138688 h 966"/>
                <a:gd name="T50" fmla="*/ 143813 w 594"/>
                <a:gd name="T51" fmla="*/ 145477 h 966"/>
                <a:gd name="T52" fmla="*/ 131181 w 594"/>
                <a:gd name="T53" fmla="*/ 158084 h 966"/>
                <a:gd name="T54" fmla="*/ 124379 w 594"/>
                <a:gd name="T55" fmla="*/ 168753 h 966"/>
                <a:gd name="T56" fmla="*/ 108831 w 594"/>
                <a:gd name="T57" fmla="*/ 174572 h 966"/>
                <a:gd name="T58" fmla="*/ 98142 w 594"/>
                <a:gd name="T59" fmla="*/ 190090 h 966"/>
                <a:gd name="T60" fmla="*/ 92313 w 594"/>
                <a:gd name="T61" fmla="*/ 193969 h 966"/>
                <a:gd name="T62" fmla="*/ 92313 w 594"/>
                <a:gd name="T63" fmla="*/ 209486 h 966"/>
                <a:gd name="T64" fmla="*/ 96199 w 594"/>
                <a:gd name="T65" fmla="*/ 211426 h 966"/>
                <a:gd name="T66" fmla="*/ 98142 w 594"/>
                <a:gd name="T67" fmla="*/ 219184 h 966"/>
                <a:gd name="T68" fmla="*/ 101058 w 594"/>
                <a:gd name="T69" fmla="*/ 229853 h 966"/>
                <a:gd name="T70" fmla="*/ 106888 w 594"/>
                <a:gd name="T71" fmla="*/ 243430 h 966"/>
                <a:gd name="T72" fmla="*/ 104944 w 594"/>
                <a:gd name="T73" fmla="*/ 273496 h 966"/>
                <a:gd name="T74" fmla="*/ 103001 w 594"/>
                <a:gd name="T75" fmla="*/ 288043 h 966"/>
                <a:gd name="T76" fmla="*/ 74822 w 594"/>
                <a:gd name="T77" fmla="*/ 302591 h 966"/>
                <a:gd name="T78" fmla="*/ 51501 w 594"/>
                <a:gd name="T79" fmla="*/ 320048 h 966"/>
                <a:gd name="T80" fmla="*/ 49557 w 594"/>
                <a:gd name="T81" fmla="*/ 326838 h 966"/>
                <a:gd name="T82" fmla="*/ 56359 w 594"/>
                <a:gd name="T83" fmla="*/ 330717 h 966"/>
                <a:gd name="T84" fmla="*/ 37897 w 594"/>
                <a:gd name="T85" fmla="*/ 328777 h 966"/>
                <a:gd name="T86" fmla="*/ 36925 w 594"/>
                <a:gd name="T87" fmla="*/ 293862 h 966"/>
                <a:gd name="T88" fmla="*/ 26236 w 594"/>
                <a:gd name="T89" fmla="*/ 257979 h 966"/>
                <a:gd name="T90" fmla="*/ 46642 w 594"/>
                <a:gd name="T91" fmla="*/ 211426 h 966"/>
                <a:gd name="T92" fmla="*/ 56359 w 594"/>
                <a:gd name="T93" fmla="*/ 188150 h 966"/>
                <a:gd name="T94" fmla="*/ 53444 w 594"/>
                <a:gd name="T95" fmla="*/ 168753 h 966"/>
                <a:gd name="T96" fmla="*/ 56359 w 594"/>
                <a:gd name="T97" fmla="*/ 149356 h 966"/>
                <a:gd name="T98" fmla="*/ 53444 w 594"/>
                <a:gd name="T99" fmla="*/ 126080 h 966"/>
                <a:gd name="T100" fmla="*/ 30123 w 594"/>
                <a:gd name="T101" fmla="*/ 115411 h 966"/>
                <a:gd name="T102" fmla="*/ 3887 w 594"/>
                <a:gd name="T103" fmla="*/ 108622 h 966"/>
                <a:gd name="T104" fmla="*/ 12633 w 594"/>
                <a:gd name="T105" fmla="*/ 87286 h 966"/>
                <a:gd name="T106" fmla="*/ 46642 w 594"/>
                <a:gd name="T107" fmla="*/ 74678 h 966"/>
                <a:gd name="T108" fmla="*/ 104944 w 594"/>
                <a:gd name="T109" fmla="*/ 228883 h 966"/>
                <a:gd name="T110" fmla="*/ 104944 w 594"/>
                <a:gd name="T111" fmla="*/ 234702 h 966"/>
                <a:gd name="T112" fmla="*/ 209890 w 594"/>
                <a:gd name="T113" fmla="*/ 10668 h 966"/>
                <a:gd name="T114" fmla="*/ 192399 w 594"/>
                <a:gd name="T115" fmla="*/ 117351 h 966"/>
                <a:gd name="T116" fmla="*/ 111746 w 594"/>
                <a:gd name="T117" fmla="*/ 177481 h 966"/>
                <a:gd name="T118" fmla="*/ 206003 w 594"/>
                <a:gd name="T119" fmla="*/ 100864 h 966"/>
                <a:gd name="T120" fmla="*/ 104944 w 594"/>
                <a:gd name="T121" fmla="*/ 277375 h 9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94" h="966">
                  <a:moveTo>
                    <a:pt x="168" y="198"/>
                  </a:moveTo>
                  <a:lnTo>
                    <a:pt x="174" y="198"/>
                  </a:lnTo>
                  <a:lnTo>
                    <a:pt x="174" y="204"/>
                  </a:lnTo>
                  <a:lnTo>
                    <a:pt x="174" y="210"/>
                  </a:lnTo>
                  <a:lnTo>
                    <a:pt x="180" y="210"/>
                  </a:lnTo>
                  <a:lnTo>
                    <a:pt x="180" y="216"/>
                  </a:lnTo>
                  <a:lnTo>
                    <a:pt x="180" y="222"/>
                  </a:lnTo>
                  <a:lnTo>
                    <a:pt x="186" y="222"/>
                  </a:lnTo>
                  <a:lnTo>
                    <a:pt x="186" y="228"/>
                  </a:lnTo>
                  <a:lnTo>
                    <a:pt x="192" y="228"/>
                  </a:lnTo>
                  <a:lnTo>
                    <a:pt x="192" y="234"/>
                  </a:lnTo>
                  <a:lnTo>
                    <a:pt x="198" y="234"/>
                  </a:lnTo>
                  <a:lnTo>
                    <a:pt x="198" y="228"/>
                  </a:lnTo>
                  <a:lnTo>
                    <a:pt x="204" y="228"/>
                  </a:lnTo>
                  <a:lnTo>
                    <a:pt x="210" y="228"/>
                  </a:lnTo>
                  <a:lnTo>
                    <a:pt x="216" y="228"/>
                  </a:lnTo>
                  <a:lnTo>
                    <a:pt x="216" y="222"/>
                  </a:lnTo>
                  <a:lnTo>
                    <a:pt x="222" y="222"/>
                  </a:lnTo>
                  <a:lnTo>
                    <a:pt x="228" y="222"/>
                  </a:lnTo>
                  <a:lnTo>
                    <a:pt x="234" y="222"/>
                  </a:lnTo>
                  <a:lnTo>
                    <a:pt x="240" y="228"/>
                  </a:lnTo>
                  <a:lnTo>
                    <a:pt x="240" y="234"/>
                  </a:lnTo>
                  <a:lnTo>
                    <a:pt x="246" y="234"/>
                  </a:lnTo>
                  <a:lnTo>
                    <a:pt x="240" y="234"/>
                  </a:lnTo>
                  <a:lnTo>
                    <a:pt x="240" y="240"/>
                  </a:lnTo>
                  <a:lnTo>
                    <a:pt x="246" y="240"/>
                  </a:lnTo>
                  <a:lnTo>
                    <a:pt x="246" y="246"/>
                  </a:lnTo>
                  <a:lnTo>
                    <a:pt x="246" y="252"/>
                  </a:lnTo>
                  <a:lnTo>
                    <a:pt x="246" y="258"/>
                  </a:lnTo>
                  <a:lnTo>
                    <a:pt x="246" y="264"/>
                  </a:lnTo>
                  <a:lnTo>
                    <a:pt x="246" y="270"/>
                  </a:lnTo>
                  <a:lnTo>
                    <a:pt x="246" y="276"/>
                  </a:lnTo>
                  <a:lnTo>
                    <a:pt x="240" y="276"/>
                  </a:lnTo>
                  <a:lnTo>
                    <a:pt x="240" y="282"/>
                  </a:lnTo>
                  <a:lnTo>
                    <a:pt x="234" y="282"/>
                  </a:lnTo>
                  <a:lnTo>
                    <a:pt x="234" y="288"/>
                  </a:lnTo>
                  <a:lnTo>
                    <a:pt x="240" y="288"/>
                  </a:lnTo>
                  <a:lnTo>
                    <a:pt x="240" y="294"/>
                  </a:lnTo>
                  <a:lnTo>
                    <a:pt x="234" y="294"/>
                  </a:lnTo>
                  <a:lnTo>
                    <a:pt x="234" y="300"/>
                  </a:lnTo>
                  <a:lnTo>
                    <a:pt x="228" y="300"/>
                  </a:lnTo>
                  <a:lnTo>
                    <a:pt x="228" y="306"/>
                  </a:lnTo>
                  <a:lnTo>
                    <a:pt x="228" y="312"/>
                  </a:lnTo>
                  <a:lnTo>
                    <a:pt x="234" y="312"/>
                  </a:lnTo>
                  <a:lnTo>
                    <a:pt x="234" y="318"/>
                  </a:lnTo>
                  <a:lnTo>
                    <a:pt x="240" y="318"/>
                  </a:lnTo>
                  <a:lnTo>
                    <a:pt x="234" y="318"/>
                  </a:lnTo>
                  <a:lnTo>
                    <a:pt x="234" y="324"/>
                  </a:lnTo>
                  <a:lnTo>
                    <a:pt x="234" y="330"/>
                  </a:lnTo>
                  <a:lnTo>
                    <a:pt x="240" y="330"/>
                  </a:lnTo>
                  <a:lnTo>
                    <a:pt x="246" y="330"/>
                  </a:lnTo>
                  <a:lnTo>
                    <a:pt x="246" y="336"/>
                  </a:lnTo>
                  <a:lnTo>
                    <a:pt x="252" y="342"/>
                  </a:lnTo>
                  <a:lnTo>
                    <a:pt x="258" y="342"/>
                  </a:lnTo>
                  <a:lnTo>
                    <a:pt x="258" y="348"/>
                  </a:lnTo>
                  <a:lnTo>
                    <a:pt x="264" y="354"/>
                  </a:lnTo>
                  <a:lnTo>
                    <a:pt x="264" y="360"/>
                  </a:lnTo>
                  <a:lnTo>
                    <a:pt x="264" y="354"/>
                  </a:lnTo>
                  <a:lnTo>
                    <a:pt x="270" y="360"/>
                  </a:lnTo>
                  <a:lnTo>
                    <a:pt x="276" y="360"/>
                  </a:lnTo>
                  <a:lnTo>
                    <a:pt x="276" y="366"/>
                  </a:lnTo>
                  <a:lnTo>
                    <a:pt x="276" y="372"/>
                  </a:lnTo>
                  <a:lnTo>
                    <a:pt x="270" y="372"/>
                  </a:lnTo>
                  <a:lnTo>
                    <a:pt x="270" y="378"/>
                  </a:lnTo>
                  <a:lnTo>
                    <a:pt x="276" y="378"/>
                  </a:lnTo>
                  <a:lnTo>
                    <a:pt x="288" y="378"/>
                  </a:lnTo>
                  <a:lnTo>
                    <a:pt x="288" y="372"/>
                  </a:lnTo>
                  <a:lnTo>
                    <a:pt x="282" y="372"/>
                  </a:lnTo>
                  <a:lnTo>
                    <a:pt x="282" y="366"/>
                  </a:lnTo>
                  <a:lnTo>
                    <a:pt x="288" y="366"/>
                  </a:lnTo>
                  <a:lnTo>
                    <a:pt x="288" y="360"/>
                  </a:lnTo>
                  <a:lnTo>
                    <a:pt x="282" y="360"/>
                  </a:lnTo>
                  <a:lnTo>
                    <a:pt x="282" y="354"/>
                  </a:lnTo>
                  <a:lnTo>
                    <a:pt x="282" y="348"/>
                  </a:lnTo>
                  <a:lnTo>
                    <a:pt x="276" y="348"/>
                  </a:lnTo>
                  <a:lnTo>
                    <a:pt x="276" y="342"/>
                  </a:lnTo>
                  <a:lnTo>
                    <a:pt x="282" y="342"/>
                  </a:lnTo>
                  <a:lnTo>
                    <a:pt x="282" y="336"/>
                  </a:lnTo>
                  <a:lnTo>
                    <a:pt x="288" y="336"/>
                  </a:lnTo>
                  <a:lnTo>
                    <a:pt x="282" y="336"/>
                  </a:lnTo>
                  <a:lnTo>
                    <a:pt x="282" y="330"/>
                  </a:lnTo>
                  <a:lnTo>
                    <a:pt x="288" y="330"/>
                  </a:lnTo>
                  <a:lnTo>
                    <a:pt x="288" y="324"/>
                  </a:lnTo>
                  <a:lnTo>
                    <a:pt x="294" y="324"/>
                  </a:lnTo>
                  <a:lnTo>
                    <a:pt x="294" y="318"/>
                  </a:lnTo>
                  <a:lnTo>
                    <a:pt x="294" y="324"/>
                  </a:lnTo>
                  <a:lnTo>
                    <a:pt x="300" y="324"/>
                  </a:lnTo>
                  <a:lnTo>
                    <a:pt x="306" y="324"/>
                  </a:lnTo>
                  <a:lnTo>
                    <a:pt x="306" y="318"/>
                  </a:lnTo>
                  <a:lnTo>
                    <a:pt x="312" y="318"/>
                  </a:lnTo>
                  <a:lnTo>
                    <a:pt x="312" y="312"/>
                  </a:lnTo>
                  <a:lnTo>
                    <a:pt x="312" y="306"/>
                  </a:lnTo>
                  <a:lnTo>
                    <a:pt x="318" y="294"/>
                  </a:lnTo>
                  <a:lnTo>
                    <a:pt x="318" y="288"/>
                  </a:lnTo>
                  <a:lnTo>
                    <a:pt x="318" y="282"/>
                  </a:lnTo>
                  <a:lnTo>
                    <a:pt x="318" y="276"/>
                  </a:lnTo>
                  <a:lnTo>
                    <a:pt x="312" y="270"/>
                  </a:lnTo>
                  <a:lnTo>
                    <a:pt x="312" y="264"/>
                  </a:lnTo>
                  <a:lnTo>
                    <a:pt x="318" y="252"/>
                  </a:lnTo>
                  <a:lnTo>
                    <a:pt x="318" y="240"/>
                  </a:lnTo>
                  <a:lnTo>
                    <a:pt x="312" y="234"/>
                  </a:lnTo>
                  <a:lnTo>
                    <a:pt x="312" y="228"/>
                  </a:lnTo>
                  <a:lnTo>
                    <a:pt x="300" y="216"/>
                  </a:lnTo>
                  <a:lnTo>
                    <a:pt x="294" y="210"/>
                  </a:lnTo>
                  <a:lnTo>
                    <a:pt x="288" y="198"/>
                  </a:lnTo>
                  <a:lnTo>
                    <a:pt x="282" y="192"/>
                  </a:lnTo>
                  <a:lnTo>
                    <a:pt x="276" y="180"/>
                  </a:lnTo>
                  <a:lnTo>
                    <a:pt x="270" y="180"/>
                  </a:lnTo>
                  <a:lnTo>
                    <a:pt x="270" y="174"/>
                  </a:lnTo>
                  <a:lnTo>
                    <a:pt x="264" y="168"/>
                  </a:lnTo>
                  <a:lnTo>
                    <a:pt x="258" y="168"/>
                  </a:lnTo>
                  <a:lnTo>
                    <a:pt x="252" y="168"/>
                  </a:lnTo>
                  <a:lnTo>
                    <a:pt x="246" y="168"/>
                  </a:lnTo>
                  <a:lnTo>
                    <a:pt x="246" y="162"/>
                  </a:lnTo>
                  <a:lnTo>
                    <a:pt x="240" y="162"/>
                  </a:lnTo>
                  <a:lnTo>
                    <a:pt x="240" y="156"/>
                  </a:lnTo>
                  <a:lnTo>
                    <a:pt x="246" y="156"/>
                  </a:lnTo>
                  <a:lnTo>
                    <a:pt x="246" y="150"/>
                  </a:lnTo>
                  <a:lnTo>
                    <a:pt x="246" y="144"/>
                  </a:lnTo>
                  <a:lnTo>
                    <a:pt x="240" y="138"/>
                  </a:lnTo>
                  <a:lnTo>
                    <a:pt x="240" y="132"/>
                  </a:lnTo>
                  <a:lnTo>
                    <a:pt x="240" y="126"/>
                  </a:lnTo>
                  <a:lnTo>
                    <a:pt x="240" y="120"/>
                  </a:lnTo>
                  <a:lnTo>
                    <a:pt x="240" y="114"/>
                  </a:lnTo>
                  <a:lnTo>
                    <a:pt x="234" y="102"/>
                  </a:lnTo>
                  <a:lnTo>
                    <a:pt x="234" y="96"/>
                  </a:lnTo>
                  <a:lnTo>
                    <a:pt x="240" y="90"/>
                  </a:lnTo>
                  <a:lnTo>
                    <a:pt x="240" y="84"/>
                  </a:lnTo>
                  <a:lnTo>
                    <a:pt x="246" y="72"/>
                  </a:lnTo>
                  <a:lnTo>
                    <a:pt x="246" y="66"/>
                  </a:lnTo>
                  <a:lnTo>
                    <a:pt x="246" y="60"/>
                  </a:lnTo>
                  <a:lnTo>
                    <a:pt x="252" y="60"/>
                  </a:lnTo>
                  <a:lnTo>
                    <a:pt x="258" y="60"/>
                  </a:lnTo>
                  <a:lnTo>
                    <a:pt x="264" y="60"/>
                  </a:lnTo>
                  <a:lnTo>
                    <a:pt x="270" y="60"/>
                  </a:lnTo>
                  <a:lnTo>
                    <a:pt x="276" y="60"/>
                  </a:lnTo>
                  <a:lnTo>
                    <a:pt x="282" y="60"/>
                  </a:lnTo>
                  <a:lnTo>
                    <a:pt x="288" y="60"/>
                  </a:lnTo>
                  <a:lnTo>
                    <a:pt x="294" y="60"/>
                  </a:lnTo>
                  <a:lnTo>
                    <a:pt x="300" y="60"/>
                  </a:lnTo>
                  <a:lnTo>
                    <a:pt x="306" y="60"/>
                  </a:lnTo>
                  <a:lnTo>
                    <a:pt x="306" y="54"/>
                  </a:lnTo>
                  <a:lnTo>
                    <a:pt x="312" y="54"/>
                  </a:lnTo>
                  <a:lnTo>
                    <a:pt x="312" y="48"/>
                  </a:lnTo>
                  <a:lnTo>
                    <a:pt x="318" y="48"/>
                  </a:lnTo>
                  <a:lnTo>
                    <a:pt x="318" y="54"/>
                  </a:lnTo>
                  <a:lnTo>
                    <a:pt x="324" y="54"/>
                  </a:lnTo>
                  <a:lnTo>
                    <a:pt x="330" y="60"/>
                  </a:lnTo>
                  <a:lnTo>
                    <a:pt x="336" y="60"/>
                  </a:lnTo>
                  <a:lnTo>
                    <a:pt x="336" y="66"/>
                  </a:lnTo>
                  <a:lnTo>
                    <a:pt x="342" y="66"/>
                  </a:lnTo>
                  <a:lnTo>
                    <a:pt x="348" y="66"/>
                  </a:lnTo>
                  <a:lnTo>
                    <a:pt x="354" y="66"/>
                  </a:lnTo>
                  <a:lnTo>
                    <a:pt x="354" y="72"/>
                  </a:lnTo>
                  <a:lnTo>
                    <a:pt x="360" y="66"/>
                  </a:lnTo>
                  <a:lnTo>
                    <a:pt x="366" y="66"/>
                  </a:lnTo>
                  <a:lnTo>
                    <a:pt x="372" y="60"/>
                  </a:lnTo>
                  <a:lnTo>
                    <a:pt x="378" y="60"/>
                  </a:lnTo>
                  <a:lnTo>
                    <a:pt x="384" y="60"/>
                  </a:lnTo>
                  <a:lnTo>
                    <a:pt x="384" y="66"/>
                  </a:lnTo>
                  <a:lnTo>
                    <a:pt x="390" y="66"/>
                  </a:lnTo>
                  <a:lnTo>
                    <a:pt x="396" y="66"/>
                  </a:lnTo>
                  <a:lnTo>
                    <a:pt x="402" y="66"/>
                  </a:lnTo>
                  <a:lnTo>
                    <a:pt x="402" y="72"/>
                  </a:lnTo>
                  <a:lnTo>
                    <a:pt x="408" y="72"/>
                  </a:lnTo>
                  <a:lnTo>
                    <a:pt x="408" y="66"/>
                  </a:lnTo>
                  <a:lnTo>
                    <a:pt x="414" y="66"/>
                  </a:lnTo>
                  <a:lnTo>
                    <a:pt x="420" y="66"/>
                  </a:lnTo>
                  <a:lnTo>
                    <a:pt x="420" y="60"/>
                  </a:lnTo>
                  <a:lnTo>
                    <a:pt x="426" y="60"/>
                  </a:lnTo>
                  <a:lnTo>
                    <a:pt x="426" y="54"/>
                  </a:lnTo>
                  <a:lnTo>
                    <a:pt x="426" y="48"/>
                  </a:lnTo>
                  <a:lnTo>
                    <a:pt x="432" y="48"/>
                  </a:lnTo>
                  <a:lnTo>
                    <a:pt x="432" y="42"/>
                  </a:lnTo>
                  <a:lnTo>
                    <a:pt x="438" y="42"/>
                  </a:lnTo>
                  <a:lnTo>
                    <a:pt x="444" y="42"/>
                  </a:lnTo>
                  <a:lnTo>
                    <a:pt x="450" y="42"/>
                  </a:lnTo>
                  <a:lnTo>
                    <a:pt x="450" y="48"/>
                  </a:lnTo>
                  <a:lnTo>
                    <a:pt x="456" y="48"/>
                  </a:lnTo>
                  <a:lnTo>
                    <a:pt x="462" y="48"/>
                  </a:lnTo>
                  <a:lnTo>
                    <a:pt x="462" y="54"/>
                  </a:lnTo>
                  <a:lnTo>
                    <a:pt x="462" y="48"/>
                  </a:lnTo>
                  <a:lnTo>
                    <a:pt x="468" y="48"/>
                  </a:lnTo>
                  <a:lnTo>
                    <a:pt x="468" y="42"/>
                  </a:lnTo>
                  <a:lnTo>
                    <a:pt x="474" y="42"/>
                  </a:lnTo>
                  <a:lnTo>
                    <a:pt x="480" y="42"/>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lnTo>
                    <a:pt x="540" y="18"/>
                  </a:lnTo>
                  <a:lnTo>
                    <a:pt x="546" y="18"/>
                  </a:lnTo>
                  <a:lnTo>
                    <a:pt x="552" y="18"/>
                  </a:lnTo>
                  <a:lnTo>
                    <a:pt x="552" y="12"/>
                  </a:lnTo>
                  <a:lnTo>
                    <a:pt x="558" y="6"/>
                  </a:lnTo>
                  <a:lnTo>
                    <a:pt x="564" y="6"/>
                  </a:lnTo>
                  <a:lnTo>
                    <a:pt x="570" y="0"/>
                  </a:lnTo>
                  <a:lnTo>
                    <a:pt x="576" y="0"/>
                  </a:lnTo>
                  <a:lnTo>
                    <a:pt x="576" y="6"/>
                  </a:lnTo>
                  <a:lnTo>
                    <a:pt x="582" y="6"/>
                  </a:lnTo>
                  <a:lnTo>
                    <a:pt x="576" y="6"/>
                  </a:lnTo>
                  <a:lnTo>
                    <a:pt x="582" y="6"/>
                  </a:lnTo>
                  <a:lnTo>
                    <a:pt x="582" y="12"/>
                  </a:lnTo>
                  <a:lnTo>
                    <a:pt x="576" y="12"/>
                  </a:lnTo>
                  <a:lnTo>
                    <a:pt x="576" y="18"/>
                  </a:lnTo>
                  <a:lnTo>
                    <a:pt x="582" y="18"/>
                  </a:lnTo>
                  <a:lnTo>
                    <a:pt x="576" y="24"/>
                  </a:lnTo>
                  <a:lnTo>
                    <a:pt x="576" y="30"/>
                  </a:lnTo>
                  <a:lnTo>
                    <a:pt x="576" y="36"/>
                  </a:lnTo>
                  <a:lnTo>
                    <a:pt x="576" y="42"/>
                  </a:lnTo>
                  <a:lnTo>
                    <a:pt x="570" y="42"/>
                  </a:lnTo>
                  <a:lnTo>
                    <a:pt x="570" y="48"/>
                  </a:lnTo>
                  <a:lnTo>
                    <a:pt x="564" y="48"/>
                  </a:lnTo>
                  <a:lnTo>
                    <a:pt x="570" y="48"/>
                  </a:lnTo>
                  <a:lnTo>
                    <a:pt x="576" y="48"/>
                  </a:lnTo>
                  <a:lnTo>
                    <a:pt x="576" y="54"/>
                  </a:lnTo>
                  <a:lnTo>
                    <a:pt x="570" y="54"/>
                  </a:lnTo>
                  <a:lnTo>
                    <a:pt x="570" y="60"/>
                  </a:lnTo>
                  <a:lnTo>
                    <a:pt x="570" y="66"/>
                  </a:lnTo>
                  <a:lnTo>
                    <a:pt x="570" y="72"/>
                  </a:lnTo>
                  <a:lnTo>
                    <a:pt x="576" y="72"/>
                  </a:lnTo>
                  <a:lnTo>
                    <a:pt x="570" y="72"/>
                  </a:lnTo>
                  <a:lnTo>
                    <a:pt x="576" y="72"/>
                  </a:lnTo>
                  <a:lnTo>
                    <a:pt x="570" y="72"/>
                  </a:lnTo>
                  <a:lnTo>
                    <a:pt x="576" y="72"/>
                  </a:lnTo>
                  <a:lnTo>
                    <a:pt x="576" y="78"/>
                  </a:lnTo>
                  <a:lnTo>
                    <a:pt x="576" y="84"/>
                  </a:lnTo>
                  <a:lnTo>
                    <a:pt x="576" y="90"/>
                  </a:lnTo>
                  <a:lnTo>
                    <a:pt x="576" y="96"/>
                  </a:lnTo>
                  <a:lnTo>
                    <a:pt x="576" y="102"/>
                  </a:lnTo>
                  <a:lnTo>
                    <a:pt x="576" y="96"/>
                  </a:lnTo>
                  <a:lnTo>
                    <a:pt x="576" y="102"/>
                  </a:lnTo>
                  <a:lnTo>
                    <a:pt x="576" y="96"/>
                  </a:lnTo>
                  <a:lnTo>
                    <a:pt x="570" y="96"/>
                  </a:lnTo>
                  <a:lnTo>
                    <a:pt x="570" y="102"/>
                  </a:lnTo>
                  <a:lnTo>
                    <a:pt x="576" y="102"/>
                  </a:lnTo>
                  <a:lnTo>
                    <a:pt x="576" y="108"/>
                  </a:lnTo>
                  <a:lnTo>
                    <a:pt x="576" y="114"/>
                  </a:lnTo>
                  <a:lnTo>
                    <a:pt x="576" y="108"/>
                  </a:lnTo>
                  <a:lnTo>
                    <a:pt x="570" y="108"/>
                  </a:lnTo>
                  <a:lnTo>
                    <a:pt x="570" y="114"/>
                  </a:lnTo>
                  <a:lnTo>
                    <a:pt x="576" y="114"/>
                  </a:lnTo>
                  <a:lnTo>
                    <a:pt x="570" y="114"/>
                  </a:lnTo>
                  <a:lnTo>
                    <a:pt x="576" y="114"/>
                  </a:lnTo>
                  <a:lnTo>
                    <a:pt x="570" y="114"/>
                  </a:lnTo>
                  <a:lnTo>
                    <a:pt x="576" y="114"/>
                  </a:lnTo>
                  <a:lnTo>
                    <a:pt x="576" y="120"/>
                  </a:lnTo>
                  <a:lnTo>
                    <a:pt x="582" y="120"/>
                  </a:lnTo>
                  <a:lnTo>
                    <a:pt x="576" y="120"/>
                  </a:lnTo>
                  <a:lnTo>
                    <a:pt x="576" y="126"/>
                  </a:lnTo>
                  <a:lnTo>
                    <a:pt x="582" y="126"/>
                  </a:lnTo>
                  <a:lnTo>
                    <a:pt x="582" y="132"/>
                  </a:lnTo>
                  <a:lnTo>
                    <a:pt x="576" y="132"/>
                  </a:lnTo>
                  <a:lnTo>
                    <a:pt x="576" y="138"/>
                  </a:lnTo>
                  <a:lnTo>
                    <a:pt x="576" y="132"/>
                  </a:lnTo>
                  <a:lnTo>
                    <a:pt x="576" y="138"/>
                  </a:lnTo>
                  <a:lnTo>
                    <a:pt x="576" y="132"/>
                  </a:lnTo>
                  <a:lnTo>
                    <a:pt x="570" y="132"/>
                  </a:lnTo>
                  <a:lnTo>
                    <a:pt x="570" y="138"/>
                  </a:lnTo>
                  <a:lnTo>
                    <a:pt x="570" y="144"/>
                  </a:lnTo>
                  <a:lnTo>
                    <a:pt x="576" y="144"/>
                  </a:lnTo>
                  <a:lnTo>
                    <a:pt x="576" y="138"/>
                  </a:lnTo>
                  <a:lnTo>
                    <a:pt x="582" y="138"/>
                  </a:lnTo>
                  <a:lnTo>
                    <a:pt x="582" y="144"/>
                  </a:lnTo>
                  <a:lnTo>
                    <a:pt x="576" y="144"/>
                  </a:lnTo>
                  <a:lnTo>
                    <a:pt x="576" y="150"/>
                  </a:lnTo>
                  <a:lnTo>
                    <a:pt x="576" y="156"/>
                  </a:lnTo>
                  <a:lnTo>
                    <a:pt x="576" y="162"/>
                  </a:lnTo>
                  <a:lnTo>
                    <a:pt x="582" y="162"/>
                  </a:lnTo>
                  <a:lnTo>
                    <a:pt x="576" y="162"/>
                  </a:lnTo>
                  <a:lnTo>
                    <a:pt x="576" y="168"/>
                  </a:lnTo>
                  <a:lnTo>
                    <a:pt x="570" y="168"/>
                  </a:lnTo>
                  <a:lnTo>
                    <a:pt x="570" y="174"/>
                  </a:lnTo>
                  <a:lnTo>
                    <a:pt x="576" y="174"/>
                  </a:lnTo>
                  <a:lnTo>
                    <a:pt x="576" y="168"/>
                  </a:lnTo>
                  <a:lnTo>
                    <a:pt x="576" y="174"/>
                  </a:lnTo>
                  <a:lnTo>
                    <a:pt x="582" y="174"/>
                  </a:lnTo>
                  <a:lnTo>
                    <a:pt x="576" y="174"/>
                  </a:lnTo>
                  <a:lnTo>
                    <a:pt x="576" y="180"/>
                  </a:lnTo>
                  <a:lnTo>
                    <a:pt x="582" y="180"/>
                  </a:lnTo>
                  <a:lnTo>
                    <a:pt x="582" y="186"/>
                  </a:lnTo>
                  <a:lnTo>
                    <a:pt x="582" y="192"/>
                  </a:lnTo>
                  <a:lnTo>
                    <a:pt x="582" y="198"/>
                  </a:lnTo>
                  <a:lnTo>
                    <a:pt x="582" y="204"/>
                  </a:lnTo>
                  <a:lnTo>
                    <a:pt x="582" y="210"/>
                  </a:lnTo>
                  <a:lnTo>
                    <a:pt x="576" y="210"/>
                  </a:lnTo>
                  <a:lnTo>
                    <a:pt x="582" y="210"/>
                  </a:lnTo>
                  <a:lnTo>
                    <a:pt x="576" y="210"/>
                  </a:lnTo>
                  <a:lnTo>
                    <a:pt x="582" y="210"/>
                  </a:lnTo>
                  <a:lnTo>
                    <a:pt x="582" y="216"/>
                  </a:lnTo>
                  <a:lnTo>
                    <a:pt x="582" y="210"/>
                  </a:lnTo>
                  <a:lnTo>
                    <a:pt x="582" y="216"/>
                  </a:lnTo>
                  <a:lnTo>
                    <a:pt x="582" y="210"/>
                  </a:lnTo>
                  <a:lnTo>
                    <a:pt x="588" y="210"/>
                  </a:lnTo>
                  <a:lnTo>
                    <a:pt x="588" y="216"/>
                  </a:lnTo>
                  <a:lnTo>
                    <a:pt x="588" y="222"/>
                  </a:lnTo>
                  <a:lnTo>
                    <a:pt x="582" y="222"/>
                  </a:lnTo>
                  <a:lnTo>
                    <a:pt x="582" y="216"/>
                  </a:lnTo>
                  <a:lnTo>
                    <a:pt x="582" y="222"/>
                  </a:lnTo>
                  <a:lnTo>
                    <a:pt x="582" y="228"/>
                  </a:lnTo>
                  <a:lnTo>
                    <a:pt x="582" y="222"/>
                  </a:lnTo>
                  <a:lnTo>
                    <a:pt x="582" y="228"/>
                  </a:lnTo>
                  <a:lnTo>
                    <a:pt x="582" y="234"/>
                  </a:lnTo>
                  <a:lnTo>
                    <a:pt x="582" y="228"/>
                  </a:lnTo>
                  <a:lnTo>
                    <a:pt x="588" y="228"/>
                  </a:lnTo>
                  <a:lnTo>
                    <a:pt x="582" y="228"/>
                  </a:lnTo>
                  <a:lnTo>
                    <a:pt x="582" y="222"/>
                  </a:lnTo>
                  <a:lnTo>
                    <a:pt x="588" y="222"/>
                  </a:lnTo>
                  <a:lnTo>
                    <a:pt x="594" y="222"/>
                  </a:lnTo>
                  <a:lnTo>
                    <a:pt x="594" y="228"/>
                  </a:lnTo>
                  <a:lnTo>
                    <a:pt x="594" y="234"/>
                  </a:lnTo>
                  <a:lnTo>
                    <a:pt x="594" y="240"/>
                  </a:lnTo>
                  <a:lnTo>
                    <a:pt x="594" y="246"/>
                  </a:lnTo>
                  <a:lnTo>
                    <a:pt x="594" y="240"/>
                  </a:lnTo>
                  <a:lnTo>
                    <a:pt x="594" y="246"/>
                  </a:lnTo>
                  <a:lnTo>
                    <a:pt x="588" y="246"/>
                  </a:lnTo>
                  <a:lnTo>
                    <a:pt x="588" y="252"/>
                  </a:lnTo>
                  <a:lnTo>
                    <a:pt x="582" y="252"/>
                  </a:lnTo>
                  <a:lnTo>
                    <a:pt x="582" y="246"/>
                  </a:lnTo>
                  <a:lnTo>
                    <a:pt x="582" y="252"/>
                  </a:lnTo>
                  <a:lnTo>
                    <a:pt x="588" y="252"/>
                  </a:lnTo>
                  <a:lnTo>
                    <a:pt x="588" y="258"/>
                  </a:lnTo>
                  <a:lnTo>
                    <a:pt x="588" y="252"/>
                  </a:lnTo>
                  <a:lnTo>
                    <a:pt x="588" y="258"/>
                  </a:lnTo>
                  <a:lnTo>
                    <a:pt x="582" y="258"/>
                  </a:lnTo>
                  <a:lnTo>
                    <a:pt x="588" y="258"/>
                  </a:lnTo>
                  <a:lnTo>
                    <a:pt x="582" y="258"/>
                  </a:lnTo>
                  <a:lnTo>
                    <a:pt x="588" y="258"/>
                  </a:lnTo>
                  <a:lnTo>
                    <a:pt x="588" y="264"/>
                  </a:lnTo>
                  <a:lnTo>
                    <a:pt x="582" y="264"/>
                  </a:lnTo>
                  <a:lnTo>
                    <a:pt x="582" y="258"/>
                  </a:lnTo>
                  <a:lnTo>
                    <a:pt x="582" y="264"/>
                  </a:lnTo>
                  <a:lnTo>
                    <a:pt x="576" y="264"/>
                  </a:lnTo>
                  <a:lnTo>
                    <a:pt x="576" y="270"/>
                  </a:lnTo>
                  <a:lnTo>
                    <a:pt x="576" y="264"/>
                  </a:lnTo>
                  <a:lnTo>
                    <a:pt x="576" y="270"/>
                  </a:lnTo>
                  <a:lnTo>
                    <a:pt x="582" y="270"/>
                  </a:lnTo>
                  <a:lnTo>
                    <a:pt x="582" y="264"/>
                  </a:lnTo>
                  <a:lnTo>
                    <a:pt x="582" y="270"/>
                  </a:lnTo>
                  <a:lnTo>
                    <a:pt x="582" y="264"/>
                  </a:lnTo>
                  <a:lnTo>
                    <a:pt x="582" y="270"/>
                  </a:lnTo>
                  <a:lnTo>
                    <a:pt x="582" y="276"/>
                  </a:lnTo>
                  <a:lnTo>
                    <a:pt x="582" y="282"/>
                  </a:lnTo>
                  <a:lnTo>
                    <a:pt x="582" y="276"/>
                  </a:lnTo>
                  <a:lnTo>
                    <a:pt x="582" y="282"/>
                  </a:lnTo>
                  <a:lnTo>
                    <a:pt x="576" y="282"/>
                  </a:lnTo>
                  <a:lnTo>
                    <a:pt x="576" y="288"/>
                  </a:lnTo>
                  <a:lnTo>
                    <a:pt x="570" y="288"/>
                  </a:lnTo>
                  <a:lnTo>
                    <a:pt x="576" y="288"/>
                  </a:lnTo>
                  <a:lnTo>
                    <a:pt x="570" y="288"/>
                  </a:lnTo>
                  <a:lnTo>
                    <a:pt x="570" y="294"/>
                  </a:lnTo>
                  <a:lnTo>
                    <a:pt x="570" y="300"/>
                  </a:lnTo>
                  <a:lnTo>
                    <a:pt x="564" y="300"/>
                  </a:lnTo>
                  <a:lnTo>
                    <a:pt x="564" y="306"/>
                  </a:lnTo>
                  <a:lnTo>
                    <a:pt x="558" y="306"/>
                  </a:lnTo>
                  <a:lnTo>
                    <a:pt x="558" y="312"/>
                  </a:lnTo>
                  <a:lnTo>
                    <a:pt x="552" y="312"/>
                  </a:lnTo>
                  <a:lnTo>
                    <a:pt x="552" y="318"/>
                  </a:lnTo>
                  <a:lnTo>
                    <a:pt x="552" y="312"/>
                  </a:lnTo>
                  <a:lnTo>
                    <a:pt x="552" y="318"/>
                  </a:lnTo>
                  <a:lnTo>
                    <a:pt x="552" y="324"/>
                  </a:lnTo>
                  <a:lnTo>
                    <a:pt x="546" y="324"/>
                  </a:lnTo>
                  <a:lnTo>
                    <a:pt x="546" y="330"/>
                  </a:lnTo>
                  <a:lnTo>
                    <a:pt x="540" y="330"/>
                  </a:lnTo>
                  <a:lnTo>
                    <a:pt x="540" y="324"/>
                  </a:lnTo>
                  <a:lnTo>
                    <a:pt x="540" y="330"/>
                  </a:lnTo>
                  <a:lnTo>
                    <a:pt x="540" y="324"/>
                  </a:lnTo>
                  <a:lnTo>
                    <a:pt x="540" y="330"/>
                  </a:lnTo>
                  <a:lnTo>
                    <a:pt x="534" y="330"/>
                  </a:lnTo>
                  <a:lnTo>
                    <a:pt x="540" y="330"/>
                  </a:lnTo>
                  <a:lnTo>
                    <a:pt x="534" y="330"/>
                  </a:lnTo>
                  <a:lnTo>
                    <a:pt x="534" y="336"/>
                  </a:lnTo>
                  <a:lnTo>
                    <a:pt x="534" y="342"/>
                  </a:lnTo>
                  <a:lnTo>
                    <a:pt x="534" y="336"/>
                  </a:lnTo>
                  <a:lnTo>
                    <a:pt x="540" y="336"/>
                  </a:lnTo>
                  <a:lnTo>
                    <a:pt x="540" y="342"/>
                  </a:lnTo>
                  <a:lnTo>
                    <a:pt x="534" y="342"/>
                  </a:lnTo>
                  <a:lnTo>
                    <a:pt x="528" y="342"/>
                  </a:lnTo>
                  <a:lnTo>
                    <a:pt x="528" y="348"/>
                  </a:lnTo>
                  <a:lnTo>
                    <a:pt x="522" y="348"/>
                  </a:lnTo>
                  <a:lnTo>
                    <a:pt x="522" y="354"/>
                  </a:lnTo>
                  <a:lnTo>
                    <a:pt x="516" y="354"/>
                  </a:lnTo>
                  <a:lnTo>
                    <a:pt x="510" y="354"/>
                  </a:lnTo>
                  <a:lnTo>
                    <a:pt x="510" y="360"/>
                  </a:lnTo>
                  <a:lnTo>
                    <a:pt x="504" y="360"/>
                  </a:lnTo>
                  <a:lnTo>
                    <a:pt x="504" y="366"/>
                  </a:lnTo>
                  <a:lnTo>
                    <a:pt x="498" y="366"/>
                  </a:lnTo>
                  <a:lnTo>
                    <a:pt x="492" y="366"/>
                  </a:lnTo>
                  <a:lnTo>
                    <a:pt x="492" y="372"/>
                  </a:lnTo>
                  <a:lnTo>
                    <a:pt x="498" y="372"/>
                  </a:lnTo>
                  <a:lnTo>
                    <a:pt x="498" y="366"/>
                  </a:lnTo>
                  <a:lnTo>
                    <a:pt x="498" y="372"/>
                  </a:lnTo>
                  <a:lnTo>
                    <a:pt x="492" y="372"/>
                  </a:lnTo>
                  <a:lnTo>
                    <a:pt x="486" y="372"/>
                  </a:lnTo>
                  <a:lnTo>
                    <a:pt x="486" y="378"/>
                  </a:lnTo>
                  <a:lnTo>
                    <a:pt x="480" y="378"/>
                  </a:lnTo>
                  <a:lnTo>
                    <a:pt x="480" y="372"/>
                  </a:lnTo>
                  <a:lnTo>
                    <a:pt x="480" y="378"/>
                  </a:lnTo>
                  <a:lnTo>
                    <a:pt x="474" y="378"/>
                  </a:lnTo>
                  <a:lnTo>
                    <a:pt x="474" y="372"/>
                  </a:lnTo>
                  <a:lnTo>
                    <a:pt x="474" y="378"/>
                  </a:lnTo>
                  <a:lnTo>
                    <a:pt x="468" y="378"/>
                  </a:lnTo>
                  <a:lnTo>
                    <a:pt x="462" y="378"/>
                  </a:lnTo>
                  <a:lnTo>
                    <a:pt x="456" y="378"/>
                  </a:lnTo>
                  <a:lnTo>
                    <a:pt x="462" y="378"/>
                  </a:lnTo>
                  <a:lnTo>
                    <a:pt x="462" y="384"/>
                  </a:lnTo>
                  <a:lnTo>
                    <a:pt x="456" y="384"/>
                  </a:lnTo>
                  <a:lnTo>
                    <a:pt x="450" y="384"/>
                  </a:lnTo>
                  <a:lnTo>
                    <a:pt x="444" y="384"/>
                  </a:lnTo>
                  <a:lnTo>
                    <a:pt x="444" y="390"/>
                  </a:lnTo>
                  <a:lnTo>
                    <a:pt x="444" y="384"/>
                  </a:lnTo>
                  <a:lnTo>
                    <a:pt x="438" y="384"/>
                  </a:lnTo>
                  <a:lnTo>
                    <a:pt x="444" y="384"/>
                  </a:lnTo>
                  <a:lnTo>
                    <a:pt x="444" y="390"/>
                  </a:lnTo>
                  <a:lnTo>
                    <a:pt x="438" y="390"/>
                  </a:lnTo>
                  <a:lnTo>
                    <a:pt x="438" y="384"/>
                  </a:lnTo>
                  <a:lnTo>
                    <a:pt x="438" y="390"/>
                  </a:lnTo>
                  <a:lnTo>
                    <a:pt x="444" y="390"/>
                  </a:lnTo>
                  <a:lnTo>
                    <a:pt x="438" y="390"/>
                  </a:lnTo>
                  <a:lnTo>
                    <a:pt x="432" y="390"/>
                  </a:lnTo>
                  <a:lnTo>
                    <a:pt x="432" y="396"/>
                  </a:lnTo>
                  <a:lnTo>
                    <a:pt x="426" y="396"/>
                  </a:lnTo>
                  <a:lnTo>
                    <a:pt x="420" y="396"/>
                  </a:lnTo>
                  <a:lnTo>
                    <a:pt x="420" y="402"/>
                  </a:lnTo>
                  <a:lnTo>
                    <a:pt x="420" y="396"/>
                  </a:lnTo>
                  <a:lnTo>
                    <a:pt x="420" y="402"/>
                  </a:lnTo>
                  <a:lnTo>
                    <a:pt x="414" y="402"/>
                  </a:lnTo>
                  <a:lnTo>
                    <a:pt x="408" y="402"/>
                  </a:lnTo>
                  <a:lnTo>
                    <a:pt x="414" y="402"/>
                  </a:lnTo>
                  <a:lnTo>
                    <a:pt x="408" y="408"/>
                  </a:lnTo>
                  <a:lnTo>
                    <a:pt x="402" y="408"/>
                  </a:lnTo>
                  <a:lnTo>
                    <a:pt x="408" y="408"/>
                  </a:lnTo>
                  <a:lnTo>
                    <a:pt x="402" y="408"/>
                  </a:lnTo>
                  <a:lnTo>
                    <a:pt x="408" y="408"/>
                  </a:lnTo>
                  <a:lnTo>
                    <a:pt x="402" y="408"/>
                  </a:lnTo>
                  <a:lnTo>
                    <a:pt x="402" y="414"/>
                  </a:lnTo>
                  <a:lnTo>
                    <a:pt x="402" y="408"/>
                  </a:lnTo>
                  <a:lnTo>
                    <a:pt x="402" y="414"/>
                  </a:lnTo>
                  <a:lnTo>
                    <a:pt x="396" y="414"/>
                  </a:lnTo>
                  <a:lnTo>
                    <a:pt x="390" y="414"/>
                  </a:lnTo>
                  <a:lnTo>
                    <a:pt x="390" y="420"/>
                  </a:lnTo>
                  <a:lnTo>
                    <a:pt x="384" y="426"/>
                  </a:lnTo>
                  <a:lnTo>
                    <a:pt x="378" y="432"/>
                  </a:lnTo>
                  <a:lnTo>
                    <a:pt x="378" y="426"/>
                  </a:lnTo>
                  <a:lnTo>
                    <a:pt x="378" y="432"/>
                  </a:lnTo>
                  <a:lnTo>
                    <a:pt x="372" y="432"/>
                  </a:lnTo>
                  <a:lnTo>
                    <a:pt x="378" y="432"/>
                  </a:lnTo>
                  <a:lnTo>
                    <a:pt x="378" y="438"/>
                  </a:lnTo>
                  <a:lnTo>
                    <a:pt x="372" y="438"/>
                  </a:lnTo>
                  <a:lnTo>
                    <a:pt x="372" y="444"/>
                  </a:lnTo>
                  <a:lnTo>
                    <a:pt x="372" y="438"/>
                  </a:lnTo>
                  <a:lnTo>
                    <a:pt x="366" y="444"/>
                  </a:lnTo>
                  <a:lnTo>
                    <a:pt x="372" y="444"/>
                  </a:lnTo>
                  <a:lnTo>
                    <a:pt x="366" y="444"/>
                  </a:lnTo>
                  <a:lnTo>
                    <a:pt x="366" y="450"/>
                  </a:lnTo>
                  <a:lnTo>
                    <a:pt x="360" y="450"/>
                  </a:lnTo>
                  <a:lnTo>
                    <a:pt x="360" y="456"/>
                  </a:lnTo>
                  <a:lnTo>
                    <a:pt x="360" y="450"/>
                  </a:lnTo>
                  <a:lnTo>
                    <a:pt x="360" y="456"/>
                  </a:lnTo>
                  <a:lnTo>
                    <a:pt x="354" y="456"/>
                  </a:lnTo>
                  <a:lnTo>
                    <a:pt x="354" y="462"/>
                  </a:lnTo>
                  <a:lnTo>
                    <a:pt x="354" y="456"/>
                  </a:lnTo>
                  <a:lnTo>
                    <a:pt x="354" y="462"/>
                  </a:lnTo>
                  <a:lnTo>
                    <a:pt x="354" y="456"/>
                  </a:lnTo>
                  <a:lnTo>
                    <a:pt x="348" y="456"/>
                  </a:lnTo>
                  <a:lnTo>
                    <a:pt x="354" y="462"/>
                  </a:lnTo>
                  <a:lnTo>
                    <a:pt x="348" y="462"/>
                  </a:lnTo>
                  <a:lnTo>
                    <a:pt x="348" y="468"/>
                  </a:lnTo>
                  <a:lnTo>
                    <a:pt x="348" y="474"/>
                  </a:lnTo>
                  <a:lnTo>
                    <a:pt x="342" y="474"/>
                  </a:lnTo>
                  <a:lnTo>
                    <a:pt x="348" y="474"/>
                  </a:lnTo>
                  <a:lnTo>
                    <a:pt x="342" y="480"/>
                  </a:lnTo>
                  <a:lnTo>
                    <a:pt x="348" y="480"/>
                  </a:lnTo>
                  <a:lnTo>
                    <a:pt x="342" y="480"/>
                  </a:lnTo>
                  <a:lnTo>
                    <a:pt x="336" y="480"/>
                  </a:lnTo>
                  <a:lnTo>
                    <a:pt x="342" y="480"/>
                  </a:lnTo>
                  <a:lnTo>
                    <a:pt x="336" y="480"/>
                  </a:lnTo>
                  <a:lnTo>
                    <a:pt x="330" y="480"/>
                  </a:lnTo>
                  <a:lnTo>
                    <a:pt x="330" y="486"/>
                  </a:lnTo>
                  <a:lnTo>
                    <a:pt x="330" y="480"/>
                  </a:lnTo>
                  <a:lnTo>
                    <a:pt x="330" y="486"/>
                  </a:lnTo>
                  <a:lnTo>
                    <a:pt x="324" y="486"/>
                  </a:lnTo>
                  <a:lnTo>
                    <a:pt x="318" y="486"/>
                  </a:lnTo>
                  <a:lnTo>
                    <a:pt x="318" y="492"/>
                  </a:lnTo>
                  <a:lnTo>
                    <a:pt x="312" y="492"/>
                  </a:lnTo>
                  <a:lnTo>
                    <a:pt x="306" y="492"/>
                  </a:lnTo>
                  <a:lnTo>
                    <a:pt x="306" y="498"/>
                  </a:lnTo>
                  <a:lnTo>
                    <a:pt x="306" y="492"/>
                  </a:lnTo>
                  <a:lnTo>
                    <a:pt x="306" y="498"/>
                  </a:lnTo>
                  <a:lnTo>
                    <a:pt x="300" y="504"/>
                  </a:lnTo>
                  <a:lnTo>
                    <a:pt x="300" y="510"/>
                  </a:lnTo>
                  <a:lnTo>
                    <a:pt x="294" y="510"/>
                  </a:lnTo>
                  <a:lnTo>
                    <a:pt x="294" y="516"/>
                  </a:lnTo>
                  <a:lnTo>
                    <a:pt x="294" y="510"/>
                  </a:lnTo>
                  <a:lnTo>
                    <a:pt x="294" y="516"/>
                  </a:lnTo>
                  <a:lnTo>
                    <a:pt x="288" y="516"/>
                  </a:lnTo>
                  <a:lnTo>
                    <a:pt x="288" y="522"/>
                  </a:lnTo>
                  <a:lnTo>
                    <a:pt x="282" y="522"/>
                  </a:lnTo>
                  <a:lnTo>
                    <a:pt x="282" y="528"/>
                  </a:lnTo>
                  <a:lnTo>
                    <a:pt x="276" y="528"/>
                  </a:lnTo>
                  <a:lnTo>
                    <a:pt x="276" y="534"/>
                  </a:lnTo>
                  <a:lnTo>
                    <a:pt x="276" y="528"/>
                  </a:lnTo>
                  <a:lnTo>
                    <a:pt x="276" y="534"/>
                  </a:lnTo>
                  <a:lnTo>
                    <a:pt x="270" y="534"/>
                  </a:lnTo>
                  <a:lnTo>
                    <a:pt x="264" y="534"/>
                  </a:lnTo>
                  <a:lnTo>
                    <a:pt x="264" y="540"/>
                  </a:lnTo>
                  <a:lnTo>
                    <a:pt x="264" y="534"/>
                  </a:lnTo>
                  <a:lnTo>
                    <a:pt x="264" y="540"/>
                  </a:lnTo>
                  <a:lnTo>
                    <a:pt x="258" y="540"/>
                  </a:lnTo>
                  <a:lnTo>
                    <a:pt x="258" y="534"/>
                  </a:lnTo>
                  <a:lnTo>
                    <a:pt x="252" y="534"/>
                  </a:lnTo>
                  <a:lnTo>
                    <a:pt x="252" y="528"/>
                  </a:lnTo>
                  <a:lnTo>
                    <a:pt x="246" y="528"/>
                  </a:lnTo>
                  <a:lnTo>
                    <a:pt x="252" y="528"/>
                  </a:lnTo>
                  <a:lnTo>
                    <a:pt x="252" y="534"/>
                  </a:lnTo>
                  <a:lnTo>
                    <a:pt x="258" y="534"/>
                  </a:lnTo>
                  <a:lnTo>
                    <a:pt x="258" y="540"/>
                  </a:lnTo>
                  <a:lnTo>
                    <a:pt x="252" y="540"/>
                  </a:lnTo>
                  <a:lnTo>
                    <a:pt x="258" y="540"/>
                  </a:lnTo>
                  <a:lnTo>
                    <a:pt x="258" y="546"/>
                  </a:lnTo>
                  <a:lnTo>
                    <a:pt x="252" y="552"/>
                  </a:lnTo>
                  <a:lnTo>
                    <a:pt x="258" y="558"/>
                  </a:lnTo>
                  <a:lnTo>
                    <a:pt x="252" y="558"/>
                  </a:lnTo>
                  <a:lnTo>
                    <a:pt x="246" y="558"/>
                  </a:lnTo>
                  <a:lnTo>
                    <a:pt x="252" y="558"/>
                  </a:lnTo>
                  <a:lnTo>
                    <a:pt x="252" y="564"/>
                  </a:lnTo>
                  <a:lnTo>
                    <a:pt x="252" y="570"/>
                  </a:lnTo>
                  <a:lnTo>
                    <a:pt x="246" y="570"/>
                  </a:lnTo>
                  <a:lnTo>
                    <a:pt x="252" y="570"/>
                  </a:lnTo>
                  <a:lnTo>
                    <a:pt x="252" y="576"/>
                  </a:lnTo>
                  <a:lnTo>
                    <a:pt x="246" y="576"/>
                  </a:lnTo>
                  <a:lnTo>
                    <a:pt x="246" y="582"/>
                  </a:lnTo>
                  <a:lnTo>
                    <a:pt x="252" y="582"/>
                  </a:lnTo>
                  <a:lnTo>
                    <a:pt x="252" y="576"/>
                  </a:lnTo>
                  <a:lnTo>
                    <a:pt x="252" y="582"/>
                  </a:lnTo>
                  <a:lnTo>
                    <a:pt x="258" y="582"/>
                  </a:lnTo>
                  <a:lnTo>
                    <a:pt x="258" y="588"/>
                  </a:lnTo>
                  <a:lnTo>
                    <a:pt x="264" y="588"/>
                  </a:lnTo>
                  <a:lnTo>
                    <a:pt x="264" y="594"/>
                  </a:lnTo>
                  <a:lnTo>
                    <a:pt x="264" y="588"/>
                  </a:lnTo>
                  <a:lnTo>
                    <a:pt x="264" y="594"/>
                  </a:lnTo>
                  <a:lnTo>
                    <a:pt x="264" y="588"/>
                  </a:lnTo>
                  <a:lnTo>
                    <a:pt x="264" y="594"/>
                  </a:lnTo>
                  <a:lnTo>
                    <a:pt x="264" y="588"/>
                  </a:lnTo>
                  <a:lnTo>
                    <a:pt x="270" y="588"/>
                  </a:lnTo>
                  <a:lnTo>
                    <a:pt x="270" y="594"/>
                  </a:lnTo>
                  <a:lnTo>
                    <a:pt x="264" y="594"/>
                  </a:lnTo>
                  <a:lnTo>
                    <a:pt x="270" y="594"/>
                  </a:lnTo>
                  <a:lnTo>
                    <a:pt x="270" y="588"/>
                  </a:lnTo>
                  <a:lnTo>
                    <a:pt x="270" y="594"/>
                  </a:lnTo>
                  <a:lnTo>
                    <a:pt x="264" y="594"/>
                  </a:lnTo>
                  <a:lnTo>
                    <a:pt x="270" y="594"/>
                  </a:lnTo>
                  <a:lnTo>
                    <a:pt x="264" y="594"/>
                  </a:lnTo>
                  <a:lnTo>
                    <a:pt x="270" y="594"/>
                  </a:lnTo>
                  <a:lnTo>
                    <a:pt x="270" y="600"/>
                  </a:lnTo>
                  <a:lnTo>
                    <a:pt x="270" y="606"/>
                  </a:lnTo>
                  <a:lnTo>
                    <a:pt x="270" y="600"/>
                  </a:lnTo>
                  <a:lnTo>
                    <a:pt x="276" y="600"/>
                  </a:lnTo>
                  <a:lnTo>
                    <a:pt x="276" y="606"/>
                  </a:lnTo>
                  <a:lnTo>
                    <a:pt x="270" y="606"/>
                  </a:lnTo>
                  <a:lnTo>
                    <a:pt x="276" y="606"/>
                  </a:lnTo>
                  <a:lnTo>
                    <a:pt x="276" y="612"/>
                  </a:lnTo>
                  <a:lnTo>
                    <a:pt x="276" y="606"/>
                  </a:lnTo>
                  <a:lnTo>
                    <a:pt x="270" y="606"/>
                  </a:lnTo>
                  <a:lnTo>
                    <a:pt x="270" y="612"/>
                  </a:lnTo>
                  <a:lnTo>
                    <a:pt x="276" y="612"/>
                  </a:lnTo>
                  <a:lnTo>
                    <a:pt x="270" y="612"/>
                  </a:lnTo>
                  <a:lnTo>
                    <a:pt x="270" y="618"/>
                  </a:lnTo>
                  <a:lnTo>
                    <a:pt x="270" y="612"/>
                  </a:lnTo>
                  <a:lnTo>
                    <a:pt x="270" y="618"/>
                  </a:lnTo>
                  <a:lnTo>
                    <a:pt x="276" y="618"/>
                  </a:lnTo>
                  <a:lnTo>
                    <a:pt x="276" y="624"/>
                  </a:lnTo>
                  <a:lnTo>
                    <a:pt x="270" y="624"/>
                  </a:lnTo>
                  <a:lnTo>
                    <a:pt x="270" y="618"/>
                  </a:lnTo>
                  <a:lnTo>
                    <a:pt x="270" y="624"/>
                  </a:lnTo>
                  <a:lnTo>
                    <a:pt x="270" y="630"/>
                  </a:lnTo>
                  <a:lnTo>
                    <a:pt x="276" y="630"/>
                  </a:lnTo>
                  <a:lnTo>
                    <a:pt x="276" y="624"/>
                  </a:lnTo>
                  <a:lnTo>
                    <a:pt x="276" y="630"/>
                  </a:lnTo>
                  <a:lnTo>
                    <a:pt x="276" y="624"/>
                  </a:lnTo>
                  <a:lnTo>
                    <a:pt x="276" y="618"/>
                  </a:lnTo>
                  <a:lnTo>
                    <a:pt x="276" y="624"/>
                  </a:lnTo>
                  <a:lnTo>
                    <a:pt x="276" y="630"/>
                  </a:lnTo>
                  <a:lnTo>
                    <a:pt x="282" y="636"/>
                  </a:lnTo>
                  <a:lnTo>
                    <a:pt x="282" y="642"/>
                  </a:lnTo>
                  <a:lnTo>
                    <a:pt x="282" y="648"/>
                  </a:lnTo>
                  <a:lnTo>
                    <a:pt x="282" y="654"/>
                  </a:lnTo>
                  <a:lnTo>
                    <a:pt x="282" y="648"/>
                  </a:lnTo>
                  <a:lnTo>
                    <a:pt x="282" y="654"/>
                  </a:lnTo>
                  <a:lnTo>
                    <a:pt x="288" y="654"/>
                  </a:lnTo>
                  <a:lnTo>
                    <a:pt x="288" y="660"/>
                  </a:lnTo>
                  <a:lnTo>
                    <a:pt x="288" y="666"/>
                  </a:lnTo>
                  <a:lnTo>
                    <a:pt x="288" y="672"/>
                  </a:lnTo>
                  <a:lnTo>
                    <a:pt x="288" y="678"/>
                  </a:lnTo>
                  <a:lnTo>
                    <a:pt x="294" y="678"/>
                  </a:lnTo>
                  <a:lnTo>
                    <a:pt x="294" y="684"/>
                  </a:lnTo>
                  <a:lnTo>
                    <a:pt x="294" y="678"/>
                  </a:lnTo>
                  <a:lnTo>
                    <a:pt x="294" y="684"/>
                  </a:lnTo>
                  <a:lnTo>
                    <a:pt x="294" y="678"/>
                  </a:lnTo>
                  <a:lnTo>
                    <a:pt x="294" y="672"/>
                  </a:lnTo>
                  <a:lnTo>
                    <a:pt x="294" y="678"/>
                  </a:lnTo>
                  <a:lnTo>
                    <a:pt x="300" y="678"/>
                  </a:lnTo>
                  <a:lnTo>
                    <a:pt x="300" y="684"/>
                  </a:lnTo>
                  <a:lnTo>
                    <a:pt x="300" y="678"/>
                  </a:lnTo>
                  <a:lnTo>
                    <a:pt x="300" y="684"/>
                  </a:lnTo>
                  <a:lnTo>
                    <a:pt x="300" y="690"/>
                  </a:lnTo>
                  <a:lnTo>
                    <a:pt x="300" y="696"/>
                  </a:lnTo>
                  <a:lnTo>
                    <a:pt x="300" y="702"/>
                  </a:lnTo>
                  <a:lnTo>
                    <a:pt x="294" y="702"/>
                  </a:lnTo>
                  <a:lnTo>
                    <a:pt x="300" y="708"/>
                  </a:lnTo>
                  <a:lnTo>
                    <a:pt x="300" y="714"/>
                  </a:lnTo>
                  <a:lnTo>
                    <a:pt x="300" y="720"/>
                  </a:lnTo>
                  <a:lnTo>
                    <a:pt x="300" y="726"/>
                  </a:lnTo>
                  <a:lnTo>
                    <a:pt x="300" y="720"/>
                  </a:lnTo>
                  <a:lnTo>
                    <a:pt x="300" y="726"/>
                  </a:lnTo>
                  <a:lnTo>
                    <a:pt x="300" y="732"/>
                  </a:lnTo>
                  <a:lnTo>
                    <a:pt x="294" y="738"/>
                  </a:lnTo>
                  <a:lnTo>
                    <a:pt x="294" y="744"/>
                  </a:lnTo>
                  <a:lnTo>
                    <a:pt x="294" y="750"/>
                  </a:lnTo>
                  <a:lnTo>
                    <a:pt x="294" y="756"/>
                  </a:lnTo>
                  <a:lnTo>
                    <a:pt x="294" y="762"/>
                  </a:lnTo>
                  <a:lnTo>
                    <a:pt x="294" y="768"/>
                  </a:lnTo>
                  <a:lnTo>
                    <a:pt x="294" y="774"/>
                  </a:lnTo>
                  <a:lnTo>
                    <a:pt x="288" y="774"/>
                  </a:lnTo>
                  <a:lnTo>
                    <a:pt x="288" y="768"/>
                  </a:lnTo>
                  <a:lnTo>
                    <a:pt x="288" y="774"/>
                  </a:lnTo>
                  <a:lnTo>
                    <a:pt x="288" y="780"/>
                  </a:lnTo>
                  <a:lnTo>
                    <a:pt x="288" y="786"/>
                  </a:lnTo>
                  <a:lnTo>
                    <a:pt x="288" y="780"/>
                  </a:lnTo>
                  <a:lnTo>
                    <a:pt x="294" y="780"/>
                  </a:lnTo>
                  <a:lnTo>
                    <a:pt x="294" y="774"/>
                  </a:lnTo>
                  <a:lnTo>
                    <a:pt x="300" y="774"/>
                  </a:lnTo>
                  <a:lnTo>
                    <a:pt x="300" y="780"/>
                  </a:lnTo>
                  <a:lnTo>
                    <a:pt x="300" y="786"/>
                  </a:lnTo>
                  <a:lnTo>
                    <a:pt x="294" y="792"/>
                  </a:lnTo>
                  <a:lnTo>
                    <a:pt x="294" y="798"/>
                  </a:lnTo>
                  <a:lnTo>
                    <a:pt x="294" y="804"/>
                  </a:lnTo>
                  <a:lnTo>
                    <a:pt x="288" y="804"/>
                  </a:lnTo>
                  <a:lnTo>
                    <a:pt x="288" y="810"/>
                  </a:lnTo>
                  <a:lnTo>
                    <a:pt x="282" y="816"/>
                  </a:lnTo>
                  <a:lnTo>
                    <a:pt x="282" y="822"/>
                  </a:lnTo>
                  <a:lnTo>
                    <a:pt x="276" y="822"/>
                  </a:lnTo>
                  <a:lnTo>
                    <a:pt x="270" y="828"/>
                  </a:lnTo>
                  <a:lnTo>
                    <a:pt x="264" y="834"/>
                  </a:lnTo>
                  <a:lnTo>
                    <a:pt x="258" y="834"/>
                  </a:lnTo>
                  <a:lnTo>
                    <a:pt x="252" y="840"/>
                  </a:lnTo>
                  <a:lnTo>
                    <a:pt x="246" y="840"/>
                  </a:lnTo>
                  <a:lnTo>
                    <a:pt x="240" y="840"/>
                  </a:lnTo>
                  <a:lnTo>
                    <a:pt x="234" y="840"/>
                  </a:lnTo>
                  <a:lnTo>
                    <a:pt x="240" y="840"/>
                  </a:lnTo>
                  <a:lnTo>
                    <a:pt x="234" y="840"/>
                  </a:lnTo>
                  <a:lnTo>
                    <a:pt x="234" y="846"/>
                  </a:lnTo>
                  <a:lnTo>
                    <a:pt x="228" y="846"/>
                  </a:lnTo>
                  <a:lnTo>
                    <a:pt x="222" y="846"/>
                  </a:lnTo>
                  <a:lnTo>
                    <a:pt x="216" y="852"/>
                  </a:lnTo>
                  <a:lnTo>
                    <a:pt x="210" y="852"/>
                  </a:lnTo>
                  <a:lnTo>
                    <a:pt x="204" y="852"/>
                  </a:lnTo>
                  <a:lnTo>
                    <a:pt x="204" y="858"/>
                  </a:lnTo>
                  <a:lnTo>
                    <a:pt x="198" y="858"/>
                  </a:lnTo>
                  <a:lnTo>
                    <a:pt x="192" y="858"/>
                  </a:lnTo>
                  <a:lnTo>
                    <a:pt x="186" y="864"/>
                  </a:lnTo>
                  <a:lnTo>
                    <a:pt x="180" y="864"/>
                  </a:lnTo>
                  <a:lnTo>
                    <a:pt x="174" y="870"/>
                  </a:lnTo>
                  <a:lnTo>
                    <a:pt x="168" y="870"/>
                  </a:lnTo>
                  <a:lnTo>
                    <a:pt x="162" y="876"/>
                  </a:lnTo>
                  <a:lnTo>
                    <a:pt x="156" y="882"/>
                  </a:lnTo>
                  <a:lnTo>
                    <a:pt x="150" y="882"/>
                  </a:lnTo>
                  <a:lnTo>
                    <a:pt x="150" y="888"/>
                  </a:lnTo>
                  <a:lnTo>
                    <a:pt x="144" y="888"/>
                  </a:lnTo>
                  <a:lnTo>
                    <a:pt x="144" y="894"/>
                  </a:lnTo>
                  <a:lnTo>
                    <a:pt x="144" y="900"/>
                  </a:lnTo>
                  <a:lnTo>
                    <a:pt x="144" y="906"/>
                  </a:lnTo>
                  <a:lnTo>
                    <a:pt x="144" y="900"/>
                  </a:lnTo>
                  <a:lnTo>
                    <a:pt x="144" y="894"/>
                  </a:lnTo>
                  <a:lnTo>
                    <a:pt x="138" y="894"/>
                  </a:lnTo>
                  <a:lnTo>
                    <a:pt x="144" y="894"/>
                  </a:lnTo>
                  <a:lnTo>
                    <a:pt x="144" y="900"/>
                  </a:lnTo>
                  <a:lnTo>
                    <a:pt x="138" y="900"/>
                  </a:lnTo>
                  <a:lnTo>
                    <a:pt x="138" y="906"/>
                  </a:lnTo>
                  <a:lnTo>
                    <a:pt x="138" y="912"/>
                  </a:lnTo>
                  <a:lnTo>
                    <a:pt x="132" y="912"/>
                  </a:lnTo>
                  <a:lnTo>
                    <a:pt x="132" y="906"/>
                  </a:lnTo>
                  <a:lnTo>
                    <a:pt x="126" y="912"/>
                  </a:lnTo>
                  <a:lnTo>
                    <a:pt x="132" y="912"/>
                  </a:lnTo>
                  <a:lnTo>
                    <a:pt x="126" y="912"/>
                  </a:lnTo>
                  <a:lnTo>
                    <a:pt x="126" y="918"/>
                  </a:lnTo>
                  <a:lnTo>
                    <a:pt x="126" y="912"/>
                  </a:lnTo>
                  <a:lnTo>
                    <a:pt x="132" y="912"/>
                  </a:lnTo>
                  <a:lnTo>
                    <a:pt x="138" y="912"/>
                  </a:lnTo>
                  <a:lnTo>
                    <a:pt x="138" y="918"/>
                  </a:lnTo>
                  <a:lnTo>
                    <a:pt x="138" y="924"/>
                  </a:lnTo>
                  <a:lnTo>
                    <a:pt x="138" y="930"/>
                  </a:lnTo>
                  <a:lnTo>
                    <a:pt x="144" y="930"/>
                  </a:lnTo>
                  <a:lnTo>
                    <a:pt x="138" y="930"/>
                  </a:lnTo>
                  <a:lnTo>
                    <a:pt x="138" y="936"/>
                  </a:lnTo>
                  <a:lnTo>
                    <a:pt x="138" y="930"/>
                  </a:lnTo>
                  <a:lnTo>
                    <a:pt x="144" y="930"/>
                  </a:lnTo>
                  <a:lnTo>
                    <a:pt x="138" y="930"/>
                  </a:lnTo>
                  <a:lnTo>
                    <a:pt x="138" y="924"/>
                  </a:lnTo>
                  <a:lnTo>
                    <a:pt x="144" y="924"/>
                  </a:lnTo>
                  <a:lnTo>
                    <a:pt x="144" y="930"/>
                  </a:lnTo>
                  <a:lnTo>
                    <a:pt x="150" y="930"/>
                  </a:lnTo>
                  <a:lnTo>
                    <a:pt x="150" y="924"/>
                  </a:lnTo>
                  <a:lnTo>
                    <a:pt x="150" y="918"/>
                  </a:lnTo>
                  <a:lnTo>
                    <a:pt x="156" y="918"/>
                  </a:lnTo>
                  <a:lnTo>
                    <a:pt x="156" y="924"/>
                  </a:lnTo>
                  <a:lnTo>
                    <a:pt x="156" y="930"/>
                  </a:lnTo>
                  <a:lnTo>
                    <a:pt x="156" y="936"/>
                  </a:lnTo>
                  <a:lnTo>
                    <a:pt x="156" y="942"/>
                  </a:lnTo>
                  <a:lnTo>
                    <a:pt x="150" y="942"/>
                  </a:lnTo>
                  <a:lnTo>
                    <a:pt x="150" y="948"/>
                  </a:lnTo>
                  <a:lnTo>
                    <a:pt x="150" y="954"/>
                  </a:lnTo>
                  <a:lnTo>
                    <a:pt x="150" y="960"/>
                  </a:lnTo>
                  <a:lnTo>
                    <a:pt x="150" y="966"/>
                  </a:lnTo>
                  <a:lnTo>
                    <a:pt x="144" y="966"/>
                  </a:lnTo>
                  <a:lnTo>
                    <a:pt x="120" y="966"/>
                  </a:lnTo>
                  <a:lnTo>
                    <a:pt x="114" y="960"/>
                  </a:lnTo>
                  <a:lnTo>
                    <a:pt x="114" y="966"/>
                  </a:lnTo>
                  <a:lnTo>
                    <a:pt x="108" y="966"/>
                  </a:lnTo>
                  <a:lnTo>
                    <a:pt x="108" y="954"/>
                  </a:lnTo>
                  <a:lnTo>
                    <a:pt x="108" y="942"/>
                  </a:lnTo>
                  <a:lnTo>
                    <a:pt x="108" y="936"/>
                  </a:lnTo>
                  <a:lnTo>
                    <a:pt x="108" y="930"/>
                  </a:lnTo>
                  <a:lnTo>
                    <a:pt x="108" y="924"/>
                  </a:lnTo>
                  <a:lnTo>
                    <a:pt x="108" y="912"/>
                  </a:lnTo>
                  <a:lnTo>
                    <a:pt x="102" y="912"/>
                  </a:lnTo>
                  <a:lnTo>
                    <a:pt x="102" y="906"/>
                  </a:lnTo>
                  <a:lnTo>
                    <a:pt x="96" y="900"/>
                  </a:lnTo>
                  <a:lnTo>
                    <a:pt x="102" y="900"/>
                  </a:lnTo>
                  <a:lnTo>
                    <a:pt x="102" y="894"/>
                  </a:lnTo>
                  <a:lnTo>
                    <a:pt x="102" y="888"/>
                  </a:lnTo>
                  <a:lnTo>
                    <a:pt x="102" y="882"/>
                  </a:lnTo>
                  <a:lnTo>
                    <a:pt x="102" y="876"/>
                  </a:lnTo>
                  <a:lnTo>
                    <a:pt x="102" y="870"/>
                  </a:lnTo>
                  <a:lnTo>
                    <a:pt x="102" y="864"/>
                  </a:lnTo>
                  <a:lnTo>
                    <a:pt x="102" y="858"/>
                  </a:lnTo>
                  <a:lnTo>
                    <a:pt x="102" y="852"/>
                  </a:lnTo>
                  <a:lnTo>
                    <a:pt x="102" y="846"/>
                  </a:lnTo>
                  <a:lnTo>
                    <a:pt x="102" y="840"/>
                  </a:lnTo>
                  <a:lnTo>
                    <a:pt x="102" y="834"/>
                  </a:lnTo>
                  <a:lnTo>
                    <a:pt x="102" y="828"/>
                  </a:lnTo>
                  <a:lnTo>
                    <a:pt x="102" y="822"/>
                  </a:lnTo>
                  <a:lnTo>
                    <a:pt x="102" y="816"/>
                  </a:lnTo>
                  <a:lnTo>
                    <a:pt x="102" y="810"/>
                  </a:lnTo>
                  <a:lnTo>
                    <a:pt x="102" y="804"/>
                  </a:lnTo>
                  <a:lnTo>
                    <a:pt x="96" y="798"/>
                  </a:lnTo>
                  <a:lnTo>
                    <a:pt x="96" y="786"/>
                  </a:lnTo>
                  <a:lnTo>
                    <a:pt x="90" y="780"/>
                  </a:lnTo>
                  <a:lnTo>
                    <a:pt x="84" y="774"/>
                  </a:lnTo>
                  <a:lnTo>
                    <a:pt x="84" y="768"/>
                  </a:lnTo>
                  <a:lnTo>
                    <a:pt x="84" y="762"/>
                  </a:lnTo>
                  <a:lnTo>
                    <a:pt x="78" y="756"/>
                  </a:lnTo>
                  <a:lnTo>
                    <a:pt x="78" y="750"/>
                  </a:lnTo>
                  <a:lnTo>
                    <a:pt x="78" y="744"/>
                  </a:lnTo>
                  <a:lnTo>
                    <a:pt x="78" y="738"/>
                  </a:lnTo>
                  <a:lnTo>
                    <a:pt x="78" y="732"/>
                  </a:lnTo>
                  <a:lnTo>
                    <a:pt x="72" y="732"/>
                  </a:lnTo>
                  <a:lnTo>
                    <a:pt x="72" y="726"/>
                  </a:lnTo>
                  <a:lnTo>
                    <a:pt x="72" y="714"/>
                  </a:lnTo>
                  <a:lnTo>
                    <a:pt x="66" y="702"/>
                  </a:lnTo>
                  <a:lnTo>
                    <a:pt x="66" y="690"/>
                  </a:lnTo>
                  <a:lnTo>
                    <a:pt x="72" y="684"/>
                  </a:lnTo>
                  <a:lnTo>
                    <a:pt x="78" y="678"/>
                  </a:lnTo>
                  <a:lnTo>
                    <a:pt x="96" y="660"/>
                  </a:lnTo>
                  <a:lnTo>
                    <a:pt x="120" y="630"/>
                  </a:lnTo>
                  <a:lnTo>
                    <a:pt x="126" y="624"/>
                  </a:lnTo>
                  <a:lnTo>
                    <a:pt x="126" y="630"/>
                  </a:lnTo>
                  <a:lnTo>
                    <a:pt x="126" y="624"/>
                  </a:lnTo>
                  <a:lnTo>
                    <a:pt x="126" y="618"/>
                  </a:lnTo>
                  <a:lnTo>
                    <a:pt x="120" y="618"/>
                  </a:lnTo>
                  <a:lnTo>
                    <a:pt x="120" y="612"/>
                  </a:lnTo>
                  <a:lnTo>
                    <a:pt x="126" y="612"/>
                  </a:lnTo>
                  <a:lnTo>
                    <a:pt x="126" y="606"/>
                  </a:lnTo>
                  <a:lnTo>
                    <a:pt x="132" y="600"/>
                  </a:lnTo>
                  <a:lnTo>
                    <a:pt x="132" y="594"/>
                  </a:lnTo>
                  <a:lnTo>
                    <a:pt x="132" y="588"/>
                  </a:lnTo>
                  <a:lnTo>
                    <a:pt x="126" y="588"/>
                  </a:lnTo>
                  <a:lnTo>
                    <a:pt x="132" y="582"/>
                  </a:lnTo>
                  <a:lnTo>
                    <a:pt x="138" y="582"/>
                  </a:lnTo>
                  <a:lnTo>
                    <a:pt x="144" y="576"/>
                  </a:lnTo>
                  <a:lnTo>
                    <a:pt x="144" y="570"/>
                  </a:lnTo>
                  <a:lnTo>
                    <a:pt x="150" y="564"/>
                  </a:lnTo>
                  <a:lnTo>
                    <a:pt x="150" y="558"/>
                  </a:lnTo>
                  <a:lnTo>
                    <a:pt x="150" y="552"/>
                  </a:lnTo>
                  <a:lnTo>
                    <a:pt x="150" y="558"/>
                  </a:lnTo>
                  <a:lnTo>
                    <a:pt x="150" y="552"/>
                  </a:lnTo>
                  <a:lnTo>
                    <a:pt x="156" y="552"/>
                  </a:lnTo>
                  <a:lnTo>
                    <a:pt x="156" y="546"/>
                  </a:lnTo>
                  <a:lnTo>
                    <a:pt x="162" y="540"/>
                  </a:lnTo>
                  <a:lnTo>
                    <a:pt x="162" y="534"/>
                  </a:lnTo>
                  <a:lnTo>
                    <a:pt x="156" y="534"/>
                  </a:lnTo>
                  <a:lnTo>
                    <a:pt x="156" y="528"/>
                  </a:lnTo>
                  <a:lnTo>
                    <a:pt x="150" y="528"/>
                  </a:lnTo>
                  <a:lnTo>
                    <a:pt x="150" y="522"/>
                  </a:lnTo>
                  <a:lnTo>
                    <a:pt x="150" y="516"/>
                  </a:lnTo>
                  <a:lnTo>
                    <a:pt x="144" y="516"/>
                  </a:lnTo>
                  <a:lnTo>
                    <a:pt x="144" y="510"/>
                  </a:lnTo>
                  <a:lnTo>
                    <a:pt x="150" y="510"/>
                  </a:lnTo>
                  <a:lnTo>
                    <a:pt x="150" y="504"/>
                  </a:lnTo>
                  <a:lnTo>
                    <a:pt x="150" y="498"/>
                  </a:lnTo>
                  <a:lnTo>
                    <a:pt x="150" y="492"/>
                  </a:lnTo>
                  <a:lnTo>
                    <a:pt x="144" y="492"/>
                  </a:lnTo>
                  <a:lnTo>
                    <a:pt x="138" y="486"/>
                  </a:lnTo>
                  <a:lnTo>
                    <a:pt x="144" y="486"/>
                  </a:lnTo>
                  <a:lnTo>
                    <a:pt x="144" y="480"/>
                  </a:lnTo>
                  <a:lnTo>
                    <a:pt x="138" y="480"/>
                  </a:lnTo>
                  <a:lnTo>
                    <a:pt x="144" y="480"/>
                  </a:lnTo>
                  <a:lnTo>
                    <a:pt x="144" y="474"/>
                  </a:lnTo>
                  <a:lnTo>
                    <a:pt x="150" y="474"/>
                  </a:lnTo>
                  <a:lnTo>
                    <a:pt x="150" y="480"/>
                  </a:lnTo>
                  <a:lnTo>
                    <a:pt x="150" y="474"/>
                  </a:lnTo>
                  <a:lnTo>
                    <a:pt x="156" y="474"/>
                  </a:lnTo>
                  <a:lnTo>
                    <a:pt x="156" y="468"/>
                  </a:lnTo>
                  <a:lnTo>
                    <a:pt x="150" y="468"/>
                  </a:lnTo>
                  <a:lnTo>
                    <a:pt x="150" y="462"/>
                  </a:lnTo>
                  <a:lnTo>
                    <a:pt x="156" y="462"/>
                  </a:lnTo>
                  <a:lnTo>
                    <a:pt x="156" y="456"/>
                  </a:lnTo>
                  <a:lnTo>
                    <a:pt x="156" y="462"/>
                  </a:lnTo>
                  <a:lnTo>
                    <a:pt x="156" y="456"/>
                  </a:lnTo>
                  <a:lnTo>
                    <a:pt x="162" y="450"/>
                  </a:lnTo>
                  <a:lnTo>
                    <a:pt x="156" y="450"/>
                  </a:lnTo>
                  <a:lnTo>
                    <a:pt x="156" y="444"/>
                  </a:lnTo>
                  <a:lnTo>
                    <a:pt x="156" y="438"/>
                  </a:lnTo>
                  <a:lnTo>
                    <a:pt x="156" y="432"/>
                  </a:lnTo>
                  <a:lnTo>
                    <a:pt x="156" y="426"/>
                  </a:lnTo>
                  <a:lnTo>
                    <a:pt x="156" y="420"/>
                  </a:lnTo>
                  <a:lnTo>
                    <a:pt x="156" y="414"/>
                  </a:lnTo>
                  <a:lnTo>
                    <a:pt x="156" y="408"/>
                  </a:lnTo>
                  <a:lnTo>
                    <a:pt x="162" y="408"/>
                  </a:lnTo>
                  <a:lnTo>
                    <a:pt x="156" y="408"/>
                  </a:lnTo>
                  <a:lnTo>
                    <a:pt x="156" y="402"/>
                  </a:lnTo>
                  <a:lnTo>
                    <a:pt x="156" y="396"/>
                  </a:lnTo>
                  <a:lnTo>
                    <a:pt x="162" y="396"/>
                  </a:lnTo>
                  <a:lnTo>
                    <a:pt x="162" y="390"/>
                  </a:lnTo>
                  <a:lnTo>
                    <a:pt x="156" y="390"/>
                  </a:lnTo>
                  <a:lnTo>
                    <a:pt x="156" y="384"/>
                  </a:lnTo>
                  <a:lnTo>
                    <a:pt x="156" y="378"/>
                  </a:lnTo>
                  <a:lnTo>
                    <a:pt x="156" y="372"/>
                  </a:lnTo>
                  <a:lnTo>
                    <a:pt x="150" y="372"/>
                  </a:lnTo>
                  <a:lnTo>
                    <a:pt x="150" y="366"/>
                  </a:lnTo>
                  <a:lnTo>
                    <a:pt x="156" y="360"/>
                  </a:lnTo>
                  <a:lnTo>
                    <a:pt x="156" y="354"/>
                  </a:lnTo>
                  <a:lnTo>
                    <a:pt x="150" y="354"/>
                  </a:lnTo>
                  <a:lnTo>
                    <a:pt x="144" y="354"/>
                  </a:lnTo>
                  <a:lnTo>
                    <a:pt x="138" y="354"/>
                  </a:lnTo>
                  <a:lnTo>
                    <a:pt x="144" y="354"/>
                  </a:lnTo>
                  <a:lnTo>
                    <a:pt x="144" y="348"/>
                  </a:lnTo>
                  <a:lnTo>
                    <a:pt x="138" y="348"/>
                  </a:lnTo>
                  <a:lnTo>
                    <a:pt x="132" y="348"/>
                  </a:lnTo>
                  <a:lnTo>
                    <a:pt x="126" y="342"/>
                  </a:lnTo>
                  <a:lnTo>
                    <a:pt x="120" y="342"/>
                  </a:lnTo>
                  <a:lnTo>
                    <a:pt x="114" y="342"/>
                  </a:lnTo>
                  <a:lnTo>
                    <a:pt x="108" y="342"/>
                  </a:lnTo>
                  <a:lnTo>
                    <a:pt x="102" y="342"/>
                  </a:lnTo>
                  <a:lnTo>
                    <a:pt x="102" y="336"/>
                  </a:lnTo>
                  <a:lnTo>
                    <a:pt x="96" y="336"/>
                  </a:lnTo>
                  <a:lnTo>
                    <a:pt x="96" y="330"/>
                  </a:lnTo>
                  <a:lnTo>
                    <a:pt x="90" y="330"/>
                  </a:lnTo>
                  <a:lnTo>
                    <a:pt x="84" y="330"/>
                  </a:lnTo>
                  <a:lnTo>
                    <a:pt x="84" y="324"/>
                  </a:lnTo>
                  <a:lnTo>
                    <a:pt x="78" y="324"/>
                  </a:lnTo>
                  <a:lnTo>
                    <a:pt x="72" y="324"/>
                  </a:lnTo>
                  <a:lnTo>
                    <a:pt x="66" y="324"/>
                  </a:lnTo>
                  <a:lnTo>
                    <a:pt x="66" y="318"/>
                  </a:lnTo>
                  <a:lnTo>
                    <a:pt x="60" y="318"/>
                  </a:lnTo>
                  <a:lnTo>
                    <a:pt x="60" y="312"/>
                  </a:lnTo>
                  <a:lnTo>
                    <a:pt x="54" y="312"/>
                  </a:lnTo>
                  <a:lnTo>
                    <a:pt x="48" y="312"/>
                  </a:lnTo>
                  <a:lnTo>
                    <a:pt x="48" y="318"/>
                  </a:lnTo>
                  <a:lnTo>
                    <a:pt x="42" y="318"/>
                  </a:lnTo>
                  <a:lnTo>
                    <a:pt x="42" y="312"/>
                  </a:lnTo>
                  <a:lnTo>
                    <a:pt x="36" y="312"/>
                  </a:lnTo>
                  <a:lnTo>
                    <a:pt x="30" y="312"/>
                  </a:lnTo>
                  <a:lnTo>
                    <a:pt x="24" y="312"/>
                  </a:lnTo>
                  <a:lnTo>
                    <a:pt x="18" y="312"/>
                  </a:lnTo>
                  <a:lnTo>
                    <a:pt x="12" y="312"/>
                  </a:lnTo>
                  <a:lnTo>
                    <a:pt x="12" y="306"/>
                  </a:lnTo>
                  <a:lnTo>
                    <a:pt x="12" y="300"/>
                  </a:lnTo>
                  <a:lnTo>
                    <a:pt x="12" y="294"/>
                  </a:lnTo>
                  <a:lnTo>
                    <a:pt x="12" y="288"/>
                  </a:lnTo>
                  <a:lnTo>
                    <a:pt x="12" y="282"/>
                  </a:lnTo>
                  <a:lnTo>
                    <a:pt x="12" y="276"/>
                  </a:lnTo>
                  <a:lnTo>
                    <a:pt x="6" y="270"/>
                  </a:lnTo>
                  <a:lnTo>
                    <a:pt x="6" y="264"/>
                  </a:lnTo>
                  <a:lnTo>
                    <a:pt x="0" y="264"/>
                  </a:lnTo>
                  <a:lnTo>
                    <a:pt x="0" y="258"/>
                  </a:lnTo>
                  <a:lnTo>
                    <a:pt x="6" y="258"/>
                  </a:lnTo>
                  <a:lnTo>
                    <a:pt x="0" y="258"/>
                  </a:lnTo>
                  <a:lnTo>
                    <a:pt x="6" y="252"/>
                  </a:lnTo>
                  <a:lnTo>
                    <a:pt x="12" y="252"/>
                  </a:lnTo>
                  <a:lnTo>
                    <a:pt x="18" y="252"/>
                  </a:lnTo>
                  <a:lnTo>
                    <a:pt x="24" y="246"/>
                  </a:lnTo>
                  <a:lnTo>
                    <a:pt x="30" y="246"/>
                  </a:lnTo>
                  <a:lnTo>
                    <a:pt x="36" y="246"/>
                  </a:lnTo>
                  <a:lnTo>
                    <a:pt x="48" y="240"/>
                  </a:lnTo>
                  <a:lnTo>
                    <a:pt x="54" y="240"/>
                  </a:lnTo>
                  <a:lnTo>
                    <a:pt x="60" y="234"/>
                  </a:lnTo>
                  <a:lnTo>
                    <a:pt x="66" y="234"/>
                  </a:lnTo>
                  <a:lnTo>
                    <a:pt x="72" y="234"/>
                  </a:lnTo>
                  <a:lnTo>
                    <a:pt x="78" y="234"/>
                  </a:lnTo>
                  <a:lnTo>
                    <a:pt x="78" y="228"/>
                  </a:lnTo>
                  <a:lnTo>
                    <a:pt x="84" y="228"/>
                  </a:lnTo>
                  <a:lnTo>
                    <a:pt x="90" y="228"/>
                  </a:lnTo>
                  <a:lnTo>
                    <a:pt x="96" y="222"/>
                  </a:lnTo>
                  <a:lnTo>
                    <a:pt x="102" y="222"/>
                  </a:lnTo>
                  <a:lnTo>
                    <a:pt x="108" y="222"/>
                  </a:lnTo>
                  <a:lnTo>
                    <a:pt x="108" y="216"/>
                  </a:lnTo>
                  <a:lnTo>
                    <a:pt x="114" y="216"/>
                  </a:lnTo>
                  <a:lnTo>
                    <a:pt x="120" y="216"/>
                  </a:lnTo>
                  <a:lnTo>
                    <a:pt x="126" y="216"/>
                  </a:lnTo>
                  <a:lnTo>
                    <a:pt x="132" y="210"/>
                  </a:lnTo>
                  <a:lnTo>
                    <a:pt x="138" y="210"/>
                  </a:lnTo>
                  <a:lnTo>
                    <a:pt x="150" y="204"/>
                  </a:lnTo>
                  <a:lnTo>
                    <a:pt x="156" y="204"/>
                  </a:lnTo>
                  <a:lnTo>
                    <a:pt x="162" y="204"/>
                  </a:lnTo>
                  <a:lnTo>
                    <a:pt x="168" y="198"/>
                  </a:lnTo>
                  <a:close/>
                  <a:moveTo>
                    <a:pt x="252" y="84"/>
                  </a:moveTo>
                  <a:lnTo>
                    <a:pt x="258" y="84"/>
                  </a:lnTo>
                  <a:lnTo>
                    <a:pt x="258" y="90"/>
                  </a:lnTo>
                  <a:lnTo>
                    <a:pt x="252" y="90"/>
                  </a:lnTo>
                  <a:lnTo>
                    <a:pt x="252" y="84"/>
                  </a:lnTo>
                  <a:close/>
                  <a:moveTo>
                    <a:pt x="534" y="330"/>
                  </a:moveTo>
                  <a:lnTo>
                    <a:pt x="540" y="330"/>
                  </a:lnTo>
                  <a:lnTo>
                    <a:pt x="540" y="336"/>
                  </a:lnTo>
                  <a:lnTo>
                    <a:pt x="534" y="336"/>
                  </a:lnTo>
                  <a:lnTo>
                    <a:pt x="534" y="330"/>
                  </a:lnTo>
                  <a:close/>
                  <a:moveTo>
                    <a:pt x="294" y="648"/>
                  </a:moveTo>
                  <a:lnTo>
                    <a:pt x="294" y="642"/>
                  </a:lnTo>
                  <a:lnTo>
                    <a:pt x="294" y="636"/>
                  </a:lnTo>
                  <a:lnTo>
                    <a:pt x="294" y="642"/>
                  </a:lnTo>
                  <a:lnTo>
                    <a:pt x="294" y="648"/>
                  </a:lnTo>
                  <a:lnTo>
                    <a:pt x="294" y="654"/>
                  </a:lnTo>
                  <a:lnTo>
                    <a:pt x="294" y="648"/>
                  </a:lnTo>
                  <a:close/>
                  <a:moveTo>
                    <a:pt x="150" y="912"/>
                  </a:moveTo>
                  <a:lnTo>
                    <a:pt x="156" y="912"/>
                  </a:lnTo>
                  <a:lnTo>
                    <a:pt x="156" y="918"/>
                  </a:lnTo>
                  <a:lnTo>
                    <a:pt x="150" y="918"/>
                  </a:lnTo>
                  <a:lnTo>
                    <a:pt x="150" y="912"/>
                  </a:lnTo>
                  <a:close/>
                  <a:moveTo>
                    <a:pt x="330" y="480"/>
                  </a:moveTo>
                  <a:lnTo>
                    <a:pt x="342" y="480"/>
                  </a:lnTo>
                  <a:lnTo>
                    <a:pt x="342" y="486"/>
                  </a:lnTo>
                  <a:lnTo>
                    <a:pt x="330" y="486"/>
                  </a:lnTo>
                  <a:lnTo>
                    <a:pt x="330" y="480"/>
                  </a:lnTo>
                  <a:close/>
                  <a:moveTo>
                    <a:pt x="294" y="654"/>
                  </a:moveTo>
                  <a:lnTo>
                    <a:pt x="294" y="660"/>
                  </a:lnTo>
                  <a:lnTo>
                    <a:pt x="295" y="660"/>
                  </a:lnTo>
                  <a:lnTo>
                    <a:pt x="294" y="654"/>
                  </a:lnTo>
                  <a:close/>
                  <a:moveTo>
                    <a:pt x="576" y="102"/>
                  </a:moveTo>
                  <a:lnTo>
                    <a:pt x="582" y="102"/>
                  </a:lnTo>
                  <a:lnTo>
                    <a:pt x="582" y="108"/>
                  </a:lnTo>
                  <a:lnTo>
                    <a:pt x="576" y="108"/>
                  </a:lnTo>
                  <a:lnTo>
                    <a:pt x="576" y="102"/>
                  </a:lnTo>
                  <a:close/>
                  <a:moveTo>
                    <a:pt x="576" y="96"/>
                  </a:moveTo>
                  <a:lnTo>
                    <a:pt x="582" y="96"/>
                  </a:lnTo>
                  <a:lnTo>
                    <a:pt x="576" y="96"/>
                  </a:lnTo>
                  <a:close/>
                  <a:moveTo>
                    <a:pt x="564" y="684"/>
                  </a:moveTo>
                  <a:lnTo>
                    <a:pt x="570" y="684"/>
                  </a:lnTo>
                  <a:lnTo>
                    <a:pt x="570" y="690"/>
                  </a:lnTo>
                  <a:lnTo>
                    <a:pt x="564" y="690"/>
                  </a:lnTo>
                  <a:lnTo>
                    <a:pt x="564" y="684"/>
                  </a:lnTo>
                  <a:close/>
                  <a:moveTo>
                    <a:pt x="582" y="30"/>
                  </a:moveTo>
                  <a:lnTo>
                    <a:pt x="588" y="30"/>
                  </a:lnTo>
                  <a:lnTo>
                    <a:pt x="582" y="30"/>
                  </a:lnTo>
                  <a:close/>
                  <a:moveTo>
                    <a:pt x="348" y="468"/>
                  </a:moveTo>
                  <a:lnTo>
                    <a:pt x="348" y="474"/>
                  </a:lnTo>
                  <a:lnTo>
                    <a:pt x="349" y="474"/>
                  </a:lnTo>
                  <a:lnTo>
                    <a:pt x="348" y="468"/>
                  </a:lnTo>
                  <a:close/>
                  <a:moveTo>
                    <a:pt x="252" y="576"/>
                  </a:moveTo>
                  <a:lnTo>
                    <a:pt x="252" y="582"/>
                  </a:lnTo>
                  <a:lnTo>
                    <a:pt x="253" y="582"/>
                  </a:lnTo>
                  <a:lnTo>
                    <a:pt x="252" y="576"/>
                  </a:lnTo>
                  <a:close/>
                  <a:moveTo>
                    <a:pt x="582" y="36"/>
                  </a:moveTo>
                  <a:lnTo>
                    <a:pt x="588" y="36"/>
                  </a:lnTo>
                  <a:lnTo>
                    <a:pt x="582" y="36"/>
                  </a:lnTo>
                  <a:close/>
                  <a:moveTo>
                    <a:pt x="540" y="330"/>
                  </a:moveTo>
                  <a:lnTo>
                    <a:pt x="546" y="330"/>
                  </a:lnTo>
                  <a:lnTo>
                    <a:pt x="546" y="336"/>
                  </a:lnTo>
                  <a:lnTo>
                    <a:pt x="540" y="336"/>
                  </a:lnTo>
                  <a:lnTo>
                    <a:pt x="540" y="330"/>
                  </a:lnTo>
                  <a:close/>
                  <a:moveTo>
                    <a:pt x="582" y="12"/>
                  </a:moveTo>
                  <a:lnTo>
                    <a:pt x="582" y="18"/>
                  </a:lnTo>
                  <a:lnTo>
                    <a:pt x="583" y="18"/>
                  </a:lnTo>
                  <a:lnTo>
                    <a:pt x="582" y="12"/>
                  </a:lnTo>
                  <a:close/>
                  <a:moveTo>
                    <a:pt x="246" y="576"/>
                  </a:moveTo>
                  <a:lnTo>
                    <a:pt x="252" y="576"/>
                  </a:lnTo>
                  <a:lnTo>
                    <a:pt x="246" y="576"/>
                  </a:lnTo>
                  <a:close/>
                  <a:moveTo>
                    <a:pt x="252" y="534"/>
                  </a:moveTo>
                  <a:lnTo>
                    <a:pt x="258" y="534"/>
                  </a:lnTo>
                  <a:lnTo>
                    <a:pt x="252" y="534"/>
                  </a:lnTo>
                  <a:close/>
                  <a:moveTo>
                    <a:pt x="534" y="330"/>
                  </a:moveTo>
                  <a:lnTo>
                    <a:pt x="534" y="336"/>
                  </a:lnTo>
                  <a:lnTo>
                    <a:pt x="535" y="336"/>
                  </a:lnTo>
                  <a:lnTo>
                    <a:pt x="534" y="330"/>
                  </a:lnTo>
                  <a:close/>
                  <a:moveTo>
                    <a:pt x="306" y="492"/>
                  </a:moveTo>
                  <a:lnTo>
                    <a:pt x="312" y="492"/>
                  </a:lnTo>
                  <a:lnTo>
                    <a:pt x="312" y="498"/>
                  </a:lnTo>
                  <a:lnTo>
                    <a:pt x="306" y="498"/>
                  </a:lnTo>
                  <a:lnTo>
                    <a:pt x="306" y="492"/>
                  </a:lnTo>
                  <a:close/>
                  <a:moveTo>
                    <a:pt x="246" y="528"/>
                  </a:moveTo>
                  <a:lnTo>
                    <a:pt x="252" y="528"/>
                  </a:lnTo>
                  <a:lnTo>
                    <a:pt x="246" y="528"/>
                  </a:lnTo>
                  <a:close/>
                  <a:moveTo>
                    <a:pt x="576" y="84"/>
                  </a:moveTo>
                  <a:lnTo>
                    <a:pt x="582" y="84"/>
                  </a:lnTo>
                  <a:lnTo>
                    <a:pt x="576" y="84"/>
                  </a:lnTo>
                  <a:close/>
                  <a:moveTo>
                    <a:pt x="138" y="906"/>
                  </a:moveTo>
                  <a:lnTo>
                    <a:pt x="144" y="906"/>
                  </a:lnTo>
                  <a:lnTo>
                    <a:pt x="138" y="906"/>
                  </a:lnTo>
                  <a:close/>
                  <a:moveTo>
                    <a:pt x="252" y="534"/>
                  </a:moveTo>
                  <a:lnTo>
                    <a:pt x="258" y="534"/>
                  </a:lnTo>
                  <a:lnTo>
                    <a:pt x="252" y="534"/>
                  </a:lnTo>
                  <a:close/>
                  <a:moveTo>
                    <a:pt x="576" y="282"/>
                  </a:moveTo>
                  <a:lnTo>
                    <a:pt x="582" y="282"/>
                  </a:lnTo>
                  <a:lnTo>
                    <a:pt x="576" y="282"/>
                  </a:lnTo>
                  <a:close/>
                  <a:moveTo>
                    <a:pt x="498" y="366"/>
                  </a:moveTo>
                  <a:lnTo>
                    <a:pt x="498" y="372"/>
                  </a:lnTo>
                  <a:lnTo>
                    <a:pt x="499" y="372"/>
                  </a:lnTo>
                  <a:lnTo>
                    <a:pt x="498" y="366"/>
                  </a:lnTo>
                  <a:close/>
                  <a:moveTo>
                    <a:pt x="294" y="654"/>
                  </a:moveTo>
                  <a:lnTo>
                    <a:pt x="294" y="660"/>
                  </a:lnTo>
                  <a:lnTo>
                    <a:pt x="295" y="660"/>
                  </a:lnTo>
                  <a:lnTo>
                    <a:pt x="294" y="654"/>
                  </a:lnTo>
                  <a:close/>
                  <a:moveTo>
                    <a:pt x="252" y="540"/>
                  </a:moveTo>
                  <a:lnTo>
                    <a:pt x="258" y="540"/>
                  </a:lnTo>
                  <a:lnTo>
                    <a:pt x="252" y="540"/>
                  </a:lnTo>
                  <a:close/>
                  <a:moveTo>
                    <a:pt x="150" y="912"/>
                  </a:moveTo>
                  <a:lnTo>
                    <a:pt x="156" y="912"/>
                  </a:lnTo>
                  <a:lnTo>
                    <a:pt x="150" y="912"/>
                  </a:lnTo>
                  <a:close/>
                  <a:moveTo>
                    <a:pt x="294" y="774"/>
                  </a:moveTo>
                  <a:lnTo>
                    <a:pt x="294" y="780"/>
                  </a:lnTo>
                  <a:lnTo>
                    <a:pt x="295" y="780"/>
                  </a:lnTo>
                  <a:lnTo>
                    <a:pt x="294" y="774"/>
                  </a:lnTo>
                  <a:close/>
                  <a:moveTo>
                    <a:pt x="366" y="444"/>
                  </a:moveTo>
                  <a:lnTo>
                    <a:pt x="372" y="444"/>
                  </a:lnTo>
                  <a:lnTo>
                    <a:pt x="366" y="444"/>
                  </a:lnTo>
                  <a:close/>
                  <a:moveTo>
                    <a:pt x="348" y="462"/>
                  </a:moveTo>
                  <a:lnTo>
                    <a:pt x="354" y="462"/>
                  </a:lnTo>
                  <a:lnTo>
                    <a:pt x="348" y="462"/>
                  </a:lnTo>
                  <a:close/>
                  <a:moveTo>
                    <a:pt x="534" y="330"/>
                  </a:moveTo>
                  <a:lnTo>
                    <a:pt x="534" y="336"/>
                  </a:lnTo>
                  <a:lnTo>
                    <a:pt x="535" y="336"/>
                  </a:lnTo>
                  <a:lnTo>
                    <a:pt x="534" y="330"/>
                  </a:lnTo>
                  <a:close/>
                  <a:moveTo>
                    <a:pt x="366" y="444"/>
                  </a:moveTo>
                  <a:lnTo>
                    <a:pt x="372" y="444"/>
                  </a:lnTo>
                  <a:lnTo>
                    <a:pt x="366" y="444"/>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3" name="Freeform 58"/>
            <p:cNvSpPr>
              <a:spLocks/>
            </p:cNvSpPr>
            <p:nvPr>
              <p:custDataLst>
                <p:tags r:id="rId106"/>
              </p:custDataLst>
            </p:nvPr>
          </p:nvSpPr>
          <p:spPr bwMode="gray">
            <a:xfrm>
              <a:off x="5054600" y="5664201"/>
              <a:ext cx="165100" cy="163513"/>
            </a:xfrm>
            <a:custGeom>
              <a:avLst/>
              <a:gdLst>
                <a:gd name="T0" fmla="*/ 43031 w 132"/>
                <a:gd name="T1" fmla="*/ 27133 h 132"/>
                <a:gd name="T2" fmla="*/ 43031 w 132"/>
                <a:gd name="T3" fmla="*/ 27133 h 132"/>
                <a:gd name="T4" fmla="*/ 41075 w 132"/>
                <a:gd name="T5" fmla="*/ 30039 h 132"/>
                <a:gd name="T6" fmla="*/ 41075 w 132"/>
                <a:gd name="T7" fmla="*/ 30039 h 132"/>
                <a:gd name="T8" fmla="*/ 38141 w 132"/>
                <a:gd name="T9" fmla="*/ 31978 h 132"/>
                <a:gd name="T10" fmla="*/ 34229 w 132"/>
                <a:gd name="T11" fmla="*/ 33916 h 132"/>
                <a:gd name="T12" fmla="*/ 30318 w 132"/>
                <a:gd name="T13" fmla="*/ 33916 h 132"/>
                <a:gd name="T14" fmla="*/ 30318 w 132"/>
                <a:gd name="T15" fmla="*/ 33916 h 132"/>
                <a:gd name="T16" fmla="*/ 27384 w 132"/>
                <a:gd name="T17" fmla="*/ 33916 h 132"/>
                <a:gd name="T18" fmla="*/ 26406 w 132"/>
                <a:gd name="T19" fmla="*/ 37792 h 132"/>
                <a:gd name="T20" fmla="*/ 23472 w 132"/>
                <a:gd name="T21" fmla="*/ 40699 h 132"/>
                <a:gd name="T22" fmla="*/ 21515 w 132"/>
                <a:gd name="T23" fmla="*/ 42637 h 132"/>
                <a:gd name="T24" fmla="*/ 21515 w 132"/>
                <a:gd name="T25" fmla="*/ 42637 h 132"/>
                <a:gd name="T26" fmla="*/ 21515 w 132"/>
                <a:gd name="T27" fmla="*/ 46513 h 132"/>
                <a:gd name="T28" fmla="*/ 17604 w 132"/>
                <a:gd name="T29" fmla="*/ 46513 h 132"/>
                <a:gd name="T30" fmla="*/ 14670 w 132"/>
                <a:gd name="T31" fmla="*/ 44575 h 132"/>
                <a:gd name="T32" fmla="*/ 12714 w 132"/>
                <a:gd name="T33" fmla="*/ 42637 h 132"/>
                <a:gd name="T34" fmla="*/ 10758 w 132"/>
                <a:gd name="T35" fmla="*/ 40699 h 132"/>
                <a:gd name="T36" fmla="*/ 8802 w 132"/>
                <a:gd name="T37" fmla="*/ 37792 h 132"/>
                <a:gd name="T38" fmla="*/ 6846 w 132"/>
                <a:gd name="T39" fmla="*/ 36823 h 132"/>
                <a:gd name="T40" fmla="*/ 6846 w 132"/>
                <a:gd name="T41" fmla="*/ 36823 h 132"/>
                <a:gd name="T42" fmla="*/ 3912 w 132"/>
                <a:gd name="T43" fmla="*/ 33916 h 132"/>
                <a:gd name="T44" fmla="*/ 3912 w 132"/>
                <a:gd name="T45" fmla="*/ 30039 h 132"/>
                <a:gd name="T46" fmla="*/ 1956 w 132"/>
                <a:gd name="T47" fmla="*/ 27133 h 132"/>
                <a:gd name="T48" fmla="*/ 0 w 132"/>
                <a:gd name="T49" fmla="*/ 26164 h 132"/>
                <a:gd name="T50" fmla="*/ 1956 w 132"/>
                <a:gd name="T51" fmla="*/ 23256 h 132"/>
                <a:gd name="T52" fmla="*/ 3912 w 132"/>
                <a:gd name="T53" fmla="*/ 21319 h 132"/>
                <a:gd name="T54" fmla="*/ 3912 w 132"/>
                <a:gd name="T55" fmla="*/ 21319 h 132"/>
                <a:gd name="T56" fmla="*/ 8802 w 132"/>
                <a:gd name="T57" fmla="*/ 19380 h 132"/>
                <a:gd name="T58" fmla="*/ 6846 w 132"/>
                <a:gd name="T59" fmla="*/ 17442 h 132"/>
                <a:gd name="T60" fmla="*/ 8802 w 132"/>
                <a:gd name="T61" fmla="*/ 14535 h 132"/>
                <a:gd name="T62" fmla="*/ 8802 w 132"/>
                <a:gd name="T63" fmla="*/ 14535 h 132"/>
                <a:gd name="T64" fmla="*/ 10758 w 132"/>
                <a:gd name="T65" fmla="*/ 12597 h 132"/>
                <a:gd name="T66" fmla="*/ 12714 w 132"/>
                <a:gd name="T67" fmla="*/ 10659 h 132"/>
                <a:gd name="T68" fmla="*/ 14670 w 132"/>
                <a:gd name="T69" fmla="*/ 8721 h 132"/>
                <a:gd name="T70" fmla="*/ 17604 w 132"/>
                <a:gd name="T71" fmla="*/ 6783 h 132"/>
                <a:gd name="T72" fmla="*/ 19560 w 132"/>
                <a:gd name="T73" fmla="*/ 3876 h 132"/>
                <a:gd name="T74" fmla="*/ 21515 w 132"/>
                <a:gd name="T75" fmla="*/ 1938 h 132"/>
                <a:gd name="T76" fmla="*/ 21515 w 132"/>
                <a:gd name="T77" fmla="*/ 1938 h 132"/>
                <a:gd name="T78" fmla="*/ 26406 w 132"/>
                <a:gd name="T79" fmla="*/ 1938 h 132"/>
                <a:gd name="T80" fmla="*/ 30318 w 132"/>
                <a:gd name="T81" fmla="*/ 0 h 132"/>
                <a:gd name="T82" fmla="*/ 32273 w 132"/>
                <a:gd name="T83" fmla="*/ 1938 h 132"/>
                <a:gd name="T84" fmla="*/ 34229 w 132"/>
                <a:gd name="T85" fmla="*/ 3876 h 132"/>
                <a:gd name="T86" fmla="*/ 38141 w 132"/>
                <a:gd name="T87" fmla="*/ 6783 h 132"/>
                <a:gd name="T88" fmla="*/ 43031 w 132"/>
                <a:gd name="T89" fmla="*/ 8721 h 132"/>
                <a:gd name="T90" fmla="*/ 44987 w 132"/>
                <a:gd name="T91" fmla="*/ 10659 h 132"/>
                <a:gd name="T92" fmla="*/ 46943 w 132"/>
                <a:gd name="T93" fmla="*/ 12597 h 132"/>
                <a:gd name="T94" fmla="*/ 46943 w 132"/>
                <a:gd name="T95" fmla="*/ 17442 h 132"/>
                <a:gd name="T96" fmla="*/ 44987 w 132"/>
                <a:gd name="T97" fmla="*/ 19380 h 132"/>
                <a:gd name="T98" fmla="*/ 44987 w 132"/>
                <a:gd name="T99" fmla="*/ 23256 h 132"/>
                <a:gd name="T100" fmla="*/ 43031 w 132"/>
                <a:gd name="T101" fmla="*/ 26164 h 132"/>
                <a:gd name="T102" fmla="*/ 43031 w 132"/>
                <a:gd name="T103" fmla="*/ 2616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2" h="132">
                  <a:moveTo>
                    <a:pt x="120" y="72"/>
                  </a:moveTo>
                  <a:lnTo>
                    <a:pt x="120" y="78"/>
                  </a:lnTo>
                  <a:lnTo>
                    <a:pt x="114" y="78"/>
                  </a:lnTo>
                  <a:lnTo>
                    <a:pt x="120" y="78"/>
                  </a:lnTo>
                  <a:lnTo>
                    <a:pt x="120" y="84"/>
                  </a:lnTo>
                  <a:lnTo>
                    <a:pt x="114" y="84"/>
                  </a:lnTo>
                  <a:lnTo>
                    <a:pt x="114" y="90"/>
                  </a:lnTo>
                  <a:lnTo>
                    <a:pt x="114" y="84"/>
                  </a:lnTo>
                  <a:lnTo>
                    <a:pt x="114" y="90"/>
                  </a:lnTo>
                  <a:lnTo>
                    <a:pt x="108" y="90"/>
                  </a:lnTo>
                  <a:lnTo>
                    <a:pt x="102" y="96"/>
                  </a:lnTo>
                  <a:lnTo>
                    <a:pt x="96" y="96"/>
                  </a:lnTo>
                  <a:lnTo>
                    <a:pt x="90" y="96"/>
                  </a:lnTo>
                  <a:lnTo>
                    <a:pt x="84" y="96"/>
                  </a:lnTo>
                  <a:lnTo>
                    <a:pt x="84" y="102"/>
                  </a:lnTo>
                  <a:lnTo>
                    <a:pt x="84" y="96"/>
                  </a:lnTo>
                  <a:lnTo>
                    <a:pt x="78" y="102"/>
                  </a:lnTo>
                  <a:lnTo>
                    <a:pt x="78" y="96"/>
                  </a:lnTo>
                  <a:lnTo>
                    <a:pt x="72" y="102"/>
                  </a:lnTo>
                  <a:lnTo>
                    <a:pt x="72" y="108"/>
                  </a:lnTo>
                  <a:lnTo>
                    <a:pt x="66" y="108"/>
                  </a:lnTo>
                  <a:lnTo>
                    <a:pt x="66" y="114"/>
                  </a:lnTo>
                  <a:lnTo>
                    <a:pt x="66" y="120"/>
                  </a:lnTo>
                  <a:lnTo>
                    <a:pt x="60" y="120"/>
                  </a:lnTo>
                  <a:lnTo>
                    <a:pt x="66" y="120"/>
                  </a:lnTo>
                  <a:lnTo>
                    <a:pt x="60" y="120"/>
                  </a:lnTo>
                  <a:lnTo>
                    <a:pt x="60" y="126"/>
                  </a:lnTo>
                  <a:lnTo>
                    <a:pt x="60" y="132"/>
                  </a:lnTo>
                  <a:lnTo>
                    <a:pt x="54" y="132"/>
                  </a:lnTo>
                  <a:lnTo>
                    <a:pt x="48" y="132"/>
                  </a:lnTo>
                  <a:lnTo>
                    <a:pt x="48" y="126"/>
                  </a:lnTo>
                  <a:lnTo>
                    <a:pt x="42" y="126"/>
                  </a:lnTo>
                  <a:lnTo>
                    <a:pt x="36" y="126"/>
                  </a:lnTo>
                  <a:lnTo>
                    <a:pt x="36" y="120"/>
                  </a:lnTo>
                  <a:lnTo>
                    <a:pt x="30" y="120"/>
                  </a:lnTo>
                  <a:lnTo>
                    <a:pt x="30" y="114"/>
                  </a:lnTo>
                  <a:lnTo>
                    <a:pt x="24" y="114"/>
                  </a:lnTo>
                  <a:lnTo>
                    <a:pt x="24" y="108"/>
                  </a:lnTo>
                  <a:lnTo>
                    <a:pt x="18" y="108"/>
                  </a:lnTo>
                  <a:lnTo>
                    <a:pt x="18" y="102"/>
                  </a:lnTo>
                  <a:lnTo>
                    <a:pt x="18" y="96"/>
                  </a:lnTo>
                  <a:lnTo>
                    <a:pt x="18" y="102"/>
                  </a:lnTo>
                  <a:lnTo>
                    <a:pt x="18" y="96"/>
                  </a:lnTo>
                  <a:lnTo>
                    <a:pt x="12" y="96"/>
                  </a:lnTo>
                  <a:lnTo>
                    <a:pt x="12" y="90"/>
                  </a:lnTo>
                  <a:lnTo>
                    <a:pt x="12" y="84"/>
                  </a:lnTo>
                  <a:lnTo>
                    <a:pt x="6" y="84"/>
                  </a:lnTo>
                  <a:lnTo>
                    <a:pt x="6" y="78"/>
                  </a:lnTo>
                  <a:lnTo>
                    <a:pt x="6" y="72"/>
                  </a:lnTo>
                  <a:lnTo>
                    <a:pt x="0" y="72"/>
                  </a:lnTo>
                  <a:lnTo>
                    <a:pt x="0" y="66"/>
                  </a:lnTo>
                  <a:lnTo>
                    <a:pt x="6" y="66"/>
                  </a:lnTo>
                  <a:lnTo>
                    <a:pt x="6" y="60"/>
                  </a:lnTo>
                  <a:lnTo>
                    <a:pt x="12" y="60"/>
                  </a:lnTo>
                  <a:lnTo>
                    <a:pt x="18" y="60"/>
                  </a:lnTo>
                  <a:lnTo>
                    <a:pt x="12" y="60"/>
                  </a:lnTo>
                  <a:lnTo>
                    <a:pt x="18" y="54"/>
                  </a:lnTo>
                  <a:lnTo>
                    <a:pt x="24" y="54"/>
                  </a:lnTo>
                  <a:lnTo>
                    <a:pt x="24" y="48"/>
                  </a:lnTo>
                  <a:lnTo>
                    <a:pt x="18" y="48"/>
                  </a:lnTo>
                  <a:lnTo>
                    <a:pt x="24" y="48"/>
                  </a:lnTo>
                  <a:lnTo>
                    <a:pt x="24" y="42"/>
                  </a:lnTo>
                  <a:lnTo>
                    <a:pt x="30" y="42"/>
                  </a:lnTo>
                  <a:lnTo>
                    <a:pt x="24" y="42"/>
                  </a:lnTo>
                  <a:lnTo>
                    <a:pt x="30" y="42"/>
                  </a:lnTo>
                  <a:lnTo>
                    <a:pt x="30" y="36"/>
                  </a:lnTo>
                  <a:lnTo>
                    <a:pt x="36" y="36"/>
                  </a:lnTo>
                  <a:lnTo>
                    <a:pt x="36" y="30"/>
                  </a:lnTo>
                  <a:lnTo>
                    <a:pt x="36" y="24"/>
                  </a:lnTo>
                  <a:lnTo>
                    <a:pt x="42" y="24"/>
                  </a:lnTo>
                  <a:lnTo>
                    <a:pt x="42" y="18"/>
                  </a:lnTo>
                  <a:lnTo>
                    <a:pt x="48" y="18"/>
                  </a:lnTo>
                  <a:lnTo>
                    <a:pt x="54" y="18"/>
                  </a:lnTo>
                  <a:lnTo>
                    <a:pt x="54" y="12"/>
                  </a:lnTo>
                  <a:lnTo>
                    <a:pt x="60" y="12"/>
                  </a:lnTo>
                  <a:lnTo>
                    <a:pt x="60" y="6"/>
                  </a:lnTo>
                  <a:lnTo>
                    <a:pt x="60" y="12"/>
                  </a:lnTo>
                  <a:lnTo>
                    <a:pt x="60" y="6"/>
                  </a:lnTo>
                  <a:lnTo>
                    <a:pt x="66" y="6"/>
                  </a:lnTo>
                  <a:lnTo>
                    <a:pt x="72" y="6"/>
                  </a:lnTo>
                  <a:lnTo>
                    <a:pt x="78" y="0"/>
                  </a:lnTo>
                  <a:lnTo>
                    <a:pt x="84" y="0"/>
                  </a:lnTo>
                  <a:lnTo>
                    <a:pt x="90" y="0"/>
                  </a:lnTo>
                  <a:lnTo>
                    <a:pt x="90" y="6"/>
                  </a:lnTo>
                  <a:lnTo>
                    <a:pt x="96" y="6"/>
                  </a:lnTo>
                  <a:lnTo>
                    <a:pt x="96" y="12"/>
                  </a:lnTo>
                  <a:lnTo>
                    <a:pt x="102" y="12"/>
                  </a:lnTo>
                  <a:lnTo>
                    <a:pt x="108" y="18"/>
                  </a:lnTo>
                  <a:lnTo>
                    <a:pt x="114" y="24"/>
                  </a:lnTo>
                  <a:lnTo>
                    <a:pt x="120" y="24"/>
                  </a:lnTo>
                  <a:lnTo>
                    <a:pt x="120" y="30"/>
                  </a:lnTo>
                  <a:lnTo>
                    <a:pt x="126" y="30"/>
                  </a:lnTo>
                  <a:lnTo>
                    <a:pt x="126" y="36"/>
                  </a:lnTo>
                  <a:lnTo>
                    <a:pt x="132" y="36"/>
                  </a:lnTo>
                  <a:lnTo>
                    <a:pt x="132" y="42"/>
                  </a:lnTo>
                  <a:lnTo>
                    <a:pt x="132" y="48"/>
                  </a:lnTo>
                  <a:lnTo>
                    <a:pt x="132" y="54"/>
                  </a:lnTo>
                  <a:lnTo>
                    <a:pt x="126" y="54"/>
                  </a:lnTo>
                  <a:lnTo>
                    <a:pt x="126" y="60"/>
                  </a:lnTo>
                  <a:lnTo>
                    <a:pt x="126" y="66"/>
                  </a:lnTo>
                  <a:lnTo>
                    <a:pt x="120" y="66"/>
                  </a:lnTo>
                  <a:lnTo>
                    <a:pt x="120" y="72"/>
                  </a:lnTo>
                  <a:lnTo>
                    <a:pt x="114" y="72"/>
                  </a:lnTo>
                  <a:lnTo>
                    <a:pt x="120" y="7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4" name="Freeform 59"/>
            <p:cNvSpPr>
              <a:spLocks noEditPoints="1"/>
            </p:cNvSpPr>
            <p:nvPr>
              <p:custDataLst>
                <p:tags r:id="rId107"/>
              </p:custDataLst>
            </p:nvPr>
          </p:nvSpPr>
          <p:spPr bwMode="gray">
            <a:xfrm>
              <a:off x="4325938" y="5172076"/>
              <a:ext cx="1133475" cy="998538"/>
            </a:xfrm>
            <a:custGeom>
              <a:avLst/>
              <a:gdLst>
                <a:gd name="T0" fmla="*/ 321822 w 912"/>
                <a:gd name="T1" fmla="*/ 120404 h 804"/>
                <a:gd name="T2" fmla="*/ 311127 w 912"/>
                <a:gd name="T3" fmla="*/ 145650 h 804"/>
                <a:gd name="T4" fmla="*/ 295571 w 912"/>
                <a:gd name="T5" fmla="*/ 156332 h 804"/>
                <a:gd name="T6" fmla="*/ 284876 w 912"/>
                <a:gd name="T7" fmla="*/ 175752 h 804"/>
                <a:gd name="T8" fmla="*/ 275153 w 912"/>
                <a:gd name="T9" fmla="*/ 196142 h 804"/>
                <a:gd name="T10" fmla="*/ 255708 w 912"/>
                <a:gd name="T11" fmla="*/ 213621 h 804"/>
                <a:gd name="T12" fmla="*/ 242096 w 912"/>
                <a:gd name="T13" fmla="*/ 231099 h 804"/>
                <a:gd name="T14" fmla="*/ 229456 w 912"/>
                <a:gd name="T15" fmla="*/ 241780 h 804"/>
                <a:gd name="T16" fmla="*/ 216816 w 912"/>
                <a:gd name="T17" fmla="*/ 252461 h 804"/>
                <a:gd name="T18" fmla="*/ 199316 w 912"/>
                <a:gd name="T19" fmla="*/ 260229 h 804"/>
                <a:gd name="T20" fmla="*/ 181815 w 912"/>
                <a:gd name="T21" fmla="*/ 263142 h 804"/>
                <a:gd name="T22" fmla="*/ 165286 w 912"/>
                <a:gd name="T23" fmla="*/ 271881 h 804"/>
                <a:gd name="T24" fmla="*/ 145841 w 912"/>
                <a:gd name="T25" fmla="*/ 267026 h 804"/>
                <a:gd name="T26" fmla="*/ 131257 w 912"/>
                <a:gd name="T27" fmla="*/ 267026 h 804"/>
                <a:gd name="T28" fmla="*/ 109867 w 912"/>
                <a:gd name="T29" fmla="*/ 271881 h 804"/>
                <a:gd name="T30" fmla="*/ 92366 w 912"/>
                <a:gd name="T31" fmla="*/ 275765 h 804"/>
                <a:gd name="T32" fmla="*/ 74865 w 912"/>
                <a:gd name="T33" fmla="*/ 282562 h 804"/>
                <a:gd name="T34" fmla="*/ 56392 w 912"/>
                <a:gd name="T35" fmla="*/ 279649 h 804"/>
                <a:gd name="T36" fmla="*/ 47641 w 912"/>
                <a:gd name="T37" fmla="*/ 275765 h 804"/>
                <a:gd name="T38" fmla="*/ 37919 w 912"/>
                <a:gd name="T39" fmla="*/ 273823 h 804"/>
                <a:gd name="T40" fmla="*/ 34029 w 912"/>
                <a:gd name="T41" fmla="*/ 252461 h 804"/>
                <a:gd name="T42" fmla="*/ 27224 w 912"/>
                <a:gd name="T43" fmla="*/ 241780 h 804"/>
                <a:gd name="T44" fmla="*/ 36946 w 912"/>
                <a:gd name="T45" fmla="*/ 229157 h 804"/>
                <a:gd name="T46" fmla="*/ 27224 w 912"/>
                <a:gd name="T47" fmla="*/ 204882 h 804"/>
                <a:gd name="T48" fmla="*/ 17501 w 912"/>
                <a:gd name="T49" fmla="*/ 184491 h 804"/>
                <a:gd name="T50" fmla="*/ 10695 w 912"/>
                <a:gd name="T51" fmla="*/ 162158 h 804"/>
                <a:gd name="T52" fmla="*/ 0 w 912"/>
                <a:gd name="T53" fmla="*/ 140796 h 804"/>
                <a:gd name="T54" fmla="*/ 8750 w 912"/>
                <a:gd name="T55" fmla="*/ 130115 h 804"/>
                <a:gd name="T56" fmla="*/ 17501 w 912"/>
                <a:gd name="T57" fmla="*/ 140796 h 804"/>
                <a:gd name="T58" fmla="*/ 42780 w 912"/>
                <a:gd name="T59" fmla="*/ 147593 h 804"/>
                <a:gd name="T60" fmla="*/ 60281 w 912"/>
                <a:gd name="T61" fmla="*/ 140796 h 804"/>
                <a:gd name="T62" fmla="*/ 70976 w 912"/>
                <a:gd name="T63" fmla="*/ 110695 h 804"/>
                <a:gd name="T64" fmla="*/ 70976 w 912"/>
                <a:gd name="T65" fmla="*/ 70883 h 804"/>
                <a:gd name="T66" fmla="*/ 76810 w 912"/>
                <a:gd name="T67" fmla="*/ 64086 h 804"/>
                <a:gd name="T68" fmla="*/ 86533 w 912"/>
                <a:gd name="T69" fmla="*/ 78652 h 804"/>
                <a:gd name="T70" fmla="*/ 81671 w 912"/>
                <a:gd name="T71" fmla="*/ 98072 h 804"/>
                <a:gd name="T72" fmla="*/ 96255 w 912"/>
                <a:gd name="T73" fmla="*/ 100984 h 804"/>
                <a:gd name="T74" fmla="*/ 117645 w 912"/>
                <a:gd name="T75" fmla="*/ 90303 h 804"/>
                <a:gd name="T76" fmla="*/ 128340 w 912"/>
                <a:gd name="T77" fmla="*/ 72826 h 804"/>
                <a:gd name="T78" fmla="*/ 139035 w 912"/>
                <a:gd name="T79" fmla="*/ 67970 h 804"/>
                <a:gd name="T80" fmla="*/ 158481 w 912"/>
                <a:gd name="T81" fmla="*/ 76709 h 804"/>
                <a:gd name="T82" fmla="*/ 181815 w 912"/>
                <a:gd name="T83" fmla="*/ 70883 h 804"/>
                <a:gd name="T84" fmla="*/ 199316 w 912"/>
                <a:gd name="T85" fmla="*/ 51463 h 804"/>
                <a:gd name="T86" fmla="*/ 210011 w 912"/>
                <a:gd name="T87" fmla="*/ 32043 h 804"/>
                <a:gd name="T88" fmla="*/ 220706 w 912"/>
                <a:gd name="T89" fmla="*/ 23304 h 804"/>
                <a:gd name="T90" fmla="*/ 234317 w 912"/>
                <a:gd name="T91" fmla="*/ 8739 h 804"/>
                <a:gd name="T92" fmla="*/ 257652 w 912"/>
                <a:gd name="T93" fmla="*/ 0 h 804"/>
                <a:gd name="T94" fmla="*/ 280986 w 912"/>
                <a:gd name="T95" fmla="*/ 3884 h 804"/>
                <a:gd name="T96" fmla="*/ 300432 w 912"/>
                <a:gd name="T97" fmla="*/ 19420 h 804"/>
                <a:gd name="T98" fmla="*/ 309182 w 912"/>
                <a:gd name="T99" fmla="*/ 53406 h 804"/>
                <a:gd name="T100" fmla="*/ 306265 w 912"/>
                <a:gd name="T101" fmla="*/ 83506 h 804"/>
                <a:gd name="T102" fmla="*/ 287793 w 912"/>
                <a:gd name="T103" fmla="*/ 90303 h 804"/>
                <a:gd name="T104" fmla="*/ 293626 w 912"/>
                <a:gd name="T105" fmla="*/ 110695 h 804"/>
                <a:gd name="T106" fmla="*/ 311127 w 912"/>
                <a:gd name="T107" fmla="*/ 100984 h 804"/>
                <a:gd name="T108" fmla="*/ 252790 w 912"/>
                <a:gd name="T109" fmla="*/ 151476 h 804"/>
                <a:gd name="T110" fmla="*/ 231401 w 912"/>
                <a:gd name="T111" fmla="*/ 143709 h 804"/>
                <a:gd name="T112" fmla="*/ 218761 w 912"/>
                <a:gd name="T113" fmla="*/ 158273 h 804"/>
                <a:gd name="T114" fmla="*/ 214872 w 912"/>
                <a:gd name="T115" fmla="*/ 170896 h 804"/>
                <a:gd name="T116" fmla="*/ 227512 w 912"/>
                <a:gd name="T117" fmla="*/ 185462 h 804"/>
                <a:gd name="T118" fmla="*/ 240151 w 912"/>
                <a:gd name="T119" fmla="*/ 175752 h 804"/>
                <a:gd name="T120" fmla="*/ 252790 w 912"/>
                <a:gd name="T121" fmla="*/ 166042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2" h="804">
                  <a:moveTo>
                    <a:pt x="870" y="288"/>
                  </a:moveTo>
                  <a:lnTo>
                    <a:pt x="876" y="288"/>
                  </a:lnTo>
                  <a:lnTo>
                    <a:pt x="876" y="282"/>
                  </a:lnTo>
                  <a:lnTo>
                    <a:pt x="882" y="288"/>
                  </a:lnTo>
                  <a:lnTo>
                    <a:pt x="906" y="288"/>
                  </a:lnTo>
                  <a:lnTo>
                    <a:pt x="912" y="288"/>
                  </a:lnTo>
                  <a:lnTo>
                    <a:pt x="912" y="294"/>
                  </a:lnTo>
                  <a:lnTo>
                    <a:pt x="912" y="300"/>
                  </a:lnTo>
                  <a:lnTo>
                    <a:pt x="912" y="306"/>
                  </a:lnTo>
                  <a:lnTo>
                    <a:pt x="906" y="306"/>
                  </a:lnTo>
                  <a:lnTo>
                    <a:pt x="906" y="312"/>
                  </a:lnTo>
                  <a:lnTo>
                    <a:pt x="906" y="318"/>
                  </a:lnTo>
                  <a:lnTo>
                    <a:pt x="900" y="324"/>
                  </a:lnTo>
                  <a:lnTo>
                    <a:pt x="900" y="330"/>
                  </a:lnTo>
                  <a:lnTo>
                    <a:pt x="900" y="336"/>
                  </a:lnTo>
                  <a:lnTo>
                    <a:pt x="900" y="342"/>
                  </a:lnTo>
                  <a:lnTo>
                    <a:pt x="900" y="348"/>
                  </a:lnTo>
                  <a:lnTo>
                    <a:pt x="894" y="354"/>
                  </a:lnTo>
                  <a:lnTo>
                    <a:pt x="894" y="360"/>
                  </a:lnTo>
                  <a:lnTo>
                    <a:pt x="894" y="366"/>
                  </a:lnTo>
                  <a:lnTo>
                    <a:pt x="894" y="372"/>
                  </a:lnTo>
                  <a:lnTo>
                    <a:pt x="894" y="378"/>
                  </a:lnTo>
                  <a:lnTo>
                    <a:pt x="888" y="378"/>
                  </a:lnTo>
                  <a:lnTo>
                    <a:pt x="888" y="384"/>
                  </a:lnTo>
                  <a:lnTo>
                    <a:pt x="888" y="390"/>
                  </a:lnTo>
                  <a:lnTo>
                    <a:pt x="882" y="396"/>
                  </a:lnTo>
                  <a:lnTo>
                    <a:pt x="882" y="402"/>
                  </a:lnTo>
                  <a:lnTo>
                    <a:pt x="876" y="402"/>
                  </a:lnTo>
                  <a:lnTo>
                    <a:pt x="876" y="408"/>
                  </a:lnTo>
                  <a:lnTo>
                    <a:pt x="870" y="408"/>
                  </a:lnTo>
                  <a:lnTo>
                    <a:pt x="864" y="414"/>
                  </a:lnTo>
                  <a:lnTo>
                    <a:pt x="858" y="414"/>
                  </a:lnTo>
                  <a:lnTo>
                    <a:pt x="858" y="420"/>
                  </a:lnTo>
                  <a:lnTo>
                    <a:pt x="852" y="420"/>
                  </a:lnTo>
                  <a:lnTo>
                    <a:pt x="852" y="414"/>
                  </a:lnTo>
                  <a:lnTo>
                    <a:pt x="852" y="420"/>
                  </a:lnTo>
                  <a:lnTo>
                    <a:pt x="846" y="420"/>
                  </a:lnTo>
                  <a:lnTo>
                    <a:pt x="846" y="426"/>
                  </a:lnTo>
                  <a:lnTo>
                    <a:pt x="840" y="426"/>
                  </a:lnTo>
                  <a:lnTo>
                    <a:pt x="840" y="432"/>
                  </a:lnTo>
                  <a:lnTo>
                    <a:pt x="834" y="438"/>
                  </a:lnTo>
                  <a:lnTo>
                    <a:pt x="834" y="432"/>
                  </a:lnTo>
                  <a:lnTo>
                    <a:pt x="834" y="438"/>
                  </a:lnTo>
                  <a:lnTo>
                    <a:pt x="834" y="444"/>
                  </a:lnTo>
                  <a:lnTo>
                    <a:pt x="828" y="438"/>
                  </a:lnTo>
                  <a:lnTo>
                    <a:pt x="828" y="444"/>
                  </a:lnTo>
                  <a:lnTo>
                    <a:pt x="822" y="450"/>
                  </a:lnTo>
                  <a:lnTo>
                    <a:pt x="822" y="456"/>
                  </a:lnTo>
                  <a:lnTo>
                    <a:pt x="816" y="456"/>
                  </a:lnTo>
                  <a:lnTo>
                    <a:pt x="816" y="462"/>
                  </a:lnTo>
                  <a:lnTo>
                    <a:pt x="816" y="468"/>
                  </a:lnTo>
                  <a:lnTo>
                    <a:pt x="810" y="468"/>
                  </a:lnTo>
                  <a:lnTo>
                    <a:pt x="810" y="474"/>
                  </a:lnTo>
                  <a:lnTo>
                    <a:pt x="804" y="474"/>
                  </a:lnTo>
                  <a:lnTo>
                    <a:pt x="810" y="474"/>
                  </a:lnTo>
                  <a:lnTo>
                    <a:pt x="810" y="480"/>
                  </a:lnTo>
                  <a:lnTo>
                    <a:pt x="810" y="474"/>
                  </a:lnTo>
                  <a:lnTo>
                    <a:pt x="810" y="480"/>
                  </a:lnTo>
                  <a:lnTo>
                    <a:pt x="804" y="486"/>
                  </a:lnTo>
                  <a:lnTo>
                    <a:pt x="798" y="492"/>
                  </a:lnTo>
                  <a:lnTo>
                    <a:pt x="798" y="498"/>
                  </a:lnTo>
                  <a:lnTo>
                    <a:pt x="798" y="504"/>
                  </a:lnTo>
                  <a:lnTo>
                    <a:pt x="792" y="504"/>
                  </a:lnTo>
                  <a:lnTo>
                    <a:pt x="792" y="510"/>
                  </a:lnTo>
                  <a:lnTo>
                    <a:pt x="792" y="516"/>
                  </a:lnTo>
                  <a:lnTo>
                    <a:pt x="786" y="516"/>
                  </a:lnTo>
                  <a:lnTo>
                    <a:pt x="786" y="522"/>
                  </a:lnTo>
                  <a:lnTo>
                    <a:pt x="786" y="528"/>
                  </a:lnTo>
                  <a:lnTo>
                    <a:pt x="780" y="528"/>
                  </a:lnTo>
                  <a:lnTo>
                    <a:pt x="780" y="534"/>
                  </a:lnTo>
                  <a:lnTo>
                    <a:pt x="774" y="534"/>
                  </a:lnTo>
                  <a:lnTo>
                    <a:pt x="774" y="540"/>
                  </a:lnTo>
                  <a:lnTo>
                    <a:pt x="774" y="546"/>
                  </a:lnTo>
                  <a:lnTo>
                    <a:pt x="768" y="546"/>
                  </a:lnTo>
                  <a:lnTo>
                    <a:pt x="768" y="552"/>
                  </a:lnTo>
                  <a:lnTo>
                    <a:pt x="762" y="552"/>
                  </a:lnTo>
                  <a:lnTo>
                    <a:pt x="762" y="558"/>
                  </a:lnTo>
                  <a:lnTo>
                    <a:pt x="762" y="564"/>
                  </a:lnTo>
                  <a:lnTo>
                    <a:pt x="756" y="564"/>
                  </a:lnTo>
                  <a:lnTo>
                    <a:pt x="750" y="570"/>
                  </a:lnTo>
                  <a:lnTo>
                    <a:pt x="750" y="576"/>
                  </a:lnTo>
                  <a:lnTo>
                    <a:pt x="744" y="576"/>
                  </a:lnTo>
                  <a:lnTo>
                    <a:pt x="738" y="576"/>
                  </a:lnTo>
                  <a:lnTo>
                    <a:pt x="738" y="582"/>
                  </a:lnTo>
                  <a:lnTo>
                    <a:pt x="732" y="588"/>
                  </a:lnTo>
                  <a:lnTo>
                    <a:pt x="726" y="588"/>
                  </a:lnTo>
                  <a:lnTo>
                    <a:pt x="726" y="594"/>
                  </a:lnTo>
                  <a:lnTo>
                    <a:pt x="720" y="594"/>
                  </a:lnTo>
                  <a:lnTo>
                    <a:pt x="720" y="600"/>
                  </a:lnTo>
                  <a:lnTo>
                    <a:pt x="714" y="600"/>
                  </a:lnTo>
                  <a:lnTo>
                    <a:pt x="720" y="600"/>
                  </a:lnTo>
                  <a:lnTo>
                    <a:pt x="714" y="600"/>
                  </a:lnTo>
                  <a:lnTo>
                    <a:pt x="714" y="606"/>
                  </a:lnTo>
                  <a:lnTo>
                    <a:pt x="708" y="606"/>
                  </a:lnTo>
                  <a:lnTo>
                    <a:pt x="708" y="612"/>
                  </a:lnTo>
                  <a:lnTo>
                    <a:pt x="702" y="618"/>
                  </a:lnTo>
                  <a:lnTo>
                    <a:pt x="702" y="624"/>
                  </a:lnTo>
                  <a:lnTo>
                    <a:pt x="696" y="624"/>
                  </a:lnTo>
                  <a:lnTo>
                    <a:pt x="696" y="630"/>
                  </a:lnTo>
                  <a:lnTo>
                    <a:pt x="690" y="630"/>
                  </a:lnTo>
                  <a:lnTo>
                    <a:pt x="690" y="636"/>
                  </a:lnTo>
                  <a:lnTo>
                    <a:pt x="684" y="636"/>
                  </a:lnTo>
                  <a:lnTo>
                    <a:pt x="684" y="642"/>
                  </a:lnTo>
                  <a:lnTo>
                    <a:pt x="678" y="642"/>
                  </a:lnTo>
                  <a:lnTo>
                    <a:pt x="678" y="648"/>
                  </a:lnTo>
                  <a:lnTo>
                    <a:pt x="678" y="642"/>
                  </a:lnTo>
                  <a:lnTo>
                    <a:pt x="678" y="648"/>
                  </a:lnTo>
                  <a:lnTo>
                    <a:pt x="672" y="648"/>
                  </a:lnTo>
                  <a:lnTo>
                    <a:pt x="672" y="654"/>
                  </a:lnTo>
                  <a:lnTo>
                    <a:pt x="666" y="654"/>
                  </a:lnTo>
                  <a:lnTo>
                    <a:pt x="666" y="660"/>
                  </a:lnTo>
                  <a:lnTo>
                    <a:pt x="660" y="660"/>
                  </a:lnTo>
                  <a:lnTo>
                    <a:pt x="660" y="666"/>
                  </a:lnTo>
                  <a:lnTo>
                    <a:pt x="654" y="666"/>
                  </a:lnTo>
                  <a:lnTo>
                    <a:pt x="648" y="666"/>
                  </a:lnTo>
                  <a:lnTo>
                    <a:pt x="648" y="672"/>
                  </a:lnTo>
                  <a:lnTo>
                    <a:pt x="648" y="678"/>
                  </a:lnTo>
                  <a:lnTo>
                    <a:pt x="642" y="678"/>
                  </a:lnTo>
                  <a:lnTo>
                    <a:pt x="636" y="678"/>
                  </a:lnTo>
                  <a:lnTo>
                    <a:pt x="642" y="678"/>
                  </a:lnTo>
                  <a:lnTo>
                    <a:pt x="636" y="678"/>
                  </a:lnTo>
                  <a:lnTo>
                    <a:pt x="636" y="684"/>
                  </a:lnTo>
                  <a:lnTo>
                    <a:pt x="630" y="684"/>
                  </a:lnTo>
                  <a:lnTo>
                    <a:pt x="630" y="690"/>
                  </a:lnTo>
                  <a:lnTo>
                    <a:pt x="624" y="690"/>
                  </a:lnTo>
                  <a:lnTo>
                    <a:pt x="624" y="696"/>
                  </a:lnTo>
                  <a:lnTo>
                    <a:pt x="618" y="696"/>
                  </a:lnTo>
                  <a:lnTo>
                    <a:pt x="612" y="696"/>
                  </a:lnTo>
                  <a:lnTo>
                    <a:pt x="612" y="702"/>
                  </a:lnTo>
                  <a:lnTo>
                    <a:pt x="612" y="696"/>
                  </a:lnTo>
                  <a:lnTo>
                    <a:pt x="606" y="696"/>
                  </a:lnTo>
                  <a:lnTo>
                    <a:pt x="612" y="696"/>
                  </a:lnTo>
                  <a:lnTo>
                    <a:pt x="612" y="702"/>
                  </a:lnTo>
                  <a:lnTo>
                    <a:pt x="606" y="702"/>
                  </a:lnTo>
                  <a:lnTo>
                    <a:pt x="606" y="708"/>
                  </a:lnTo>
                  <a:lnTo>
                    <a:pt x="600" y="708"/>
                  </a:lnTo>
                  <a:lnTo>
                    <a:pt x="594" y="708"/>
                  </a:lnTo>
                  <a:lnTo>
                    <a:pt x="600" y="708"/>
                  </a:lnTo>
                  <a:lnTo>
                    <a:pt x="600" y="714"/>
                  </a:lnTo>
                  <a:lnTo>
                    <a:pt x="594" y="714"/>
                  </a:lnTo>
                  <a:lnTo>
                    <a:pt x="588" y="714"/>
                  </a:lnTo>
                  <a:lnTo>
                    <a:pt x="594" y="714"/>
                  </a:lnTo>
                  <a:lnTo>
                    <a:pt x="588" y="720"/>
                  </a:lnTo>
                  <a:lnTo>
                    <a:pt x="582" y="720"/>
                  </a:lnTo>
                  <a:lnTo>
                    <a:pt x="576" y="720"/>
                  </a:lnTo>
                  <a:lnTo>
                    <a:pt x="576" y="726"/>
                  </a:lnTo>
                  <a:lnTo>
                    <a:pt x="570" y="726"/>
                  </a:lnTo>
                  <a:lnTo>
                    <a:pt x="564" y="726"/>
                  </a:lnTo>
                  <a:lnTo>
                    <a:pt x="564" y="732"/>
                  </a:lnTo>
                  <a:lnTo>
                    <a:pt x="558" y="732"/>
                  </a:lnTo>
                  <a:lnTo>
                    <a:pt x="552" y="732"/>
                  </a:lnTo>
                  <a:lnTo>
                    <a:pt x="546" y="732"/>
                  </a:lnTo>
                  <a:lnTo>
                    <a:pt x="540" y="732"/>
                  </a:lnTo>
                  <a:lnTo>
                    <a:pt x="534" y="732"/>
                  </a:lnTo>
                  <a:lnTo>
                    <a:pt x="534" y="726"/>
                  </a:lnTo>
                  <a:lnTo>
                    <a:pt x="528" y="726"/>
                  </a:lnTo>
                  <a:lnTo>
                    <a:pt x="528" y="732"/>
                  </a:lnTo>
                  <a:lnTo>
                    <a:pt x="522" y="732"/>
                  </a:lnTo>
                  <a:lnTo>
                    <a:pt x="522" y="726"/>
                  </a:lnTo>
                  <a:lnTo>
                    <a:pt x="522" y="732"/>
                  </a:lnTo>
                  <a:lnTo>
                    <a:pt x="516" y="732"/>
                  </a:lnTo>
                  <a:lnTo>
                    <a:pt x="510" y="732"/>
                  </a:lnTo>
                  <a:lnTo>
                    <a:pt x="510" y="738"/>
                  </a:lnTo>
                  <a:lnTo>
                    <a:pt x="504" y="738"/>
                  </a:lnTo>
                  <a:lnTo>
                    <a:pt x="510" y="738"/>
                  </a:lnTo>
                  <a:lnTo>
                    <a:pt x="510" y="744"/>
                  </a:lnTo>
                  <a:lnTo>
                    <a:pt x="510" y="750"/>
                  </a:lnTo>
                  <a:lnTo>
                    <a:pt x="516" y="750"/>
                  </a:lnTo>
                  <a:lnTo>
                    <a:pt x="510" y="750"/>
                  </a:lnTo>
                  <a:lnTo>
                    <a:pt x="504" y="750"/>
                  </a:lnTo>
                  <a:lnTo>
                    <a:pt x="498" y="750"/>
                  </a:lnTo>
                  <a:lnTo>
                    <a:pt x="492" y="750"/>
                  </a:lnTo>
                  <a:lnTo>
                    <a:pt x="486" y="744"/>
                  </a:lnTo>
                  <a:lnTo>
                    <a:pt x="480" y="744"/>
                  </a:lnTo>
                  <a:lnTo>
                    <a:pt x="474" y="744"/>
                  </a:lnTo>
                  <a:lnTo>
                    <a:pt x="474" y="750"/>
                  </a:lnTo>
                  <a:lnTo>
                    <a:pt x="468" y="750"/>
                  </a:lnTo>
                  <a:lnTo>
                    <a:pt x="468" y="756"/>
                  </a:lnTo>
                  <a:lnTo>
                    <a:pt x="462" y="756"/>
                  </a:lnTo>
                  <a:lnTo>
                    <a:pt x="462" y="762"/>
                  </a:lnTo>
                  <a:lnTo>
                    <a:pt x="468" y="762"/>
                  </a:lnTo>
                  <a:lnTo>
                    <a:pt x="462" y="762"/>
                  </a:lnTo>
                  <a:lnTo>
                    <a:pt x="468" y="762"/>
                  </a:lnTo>
                  <a:lnTo>
                    <a:pt x="462" y="762"/>
                  </a:lnTo>
                  <a:lnTo>
                    <a:pt x="456" y="762"/>
                  </a:lnTo>
                  <a:lnTo>
                    <a:pt x="450" y="762"/>
                  </a:lnTo>
                  <a:lnTo>
                    <a:pt x="444" y="762"/>
                  </a:lnTo>
                  <a:lnTo>
                    <a:pt x="444" y="756"/>
                  </a:lnTo>
                  <a:lnTo>
                    <a:pt x="438" y="756"/>
                  </a:lnTo>
                  <a:lnTo>
                    <a:pt x="432" y="756"/>
                  </a:lnTo>
                  <a:lnTo>
                    <a:pt x="432" y="750"/>
                  </a:lnTo>
                  <a:lnTo>
                    <a:pt x="426" y="750"/>
                  </a:lnTo>
                  <a:lnTo>
                    <a:pt x="420" y="750"/>
                  </a:lnTo>
                  <a:lnTo>
                    <a:pt x="414" y="750"/>
                  </a:lnTo>
                  <a:lnTo>
                    <a:pt x="408" y="750"/>
                  </a:lnTo>
                  <a:lnTo>
                    <a:pt x="402" y="750"/>
                  </a:lnTo>
                  <a:lnTo>
                    <a:pt x="402" y="744"/>
                  </a:lnTo>
                  <a:lnTo>
                    <a:pt x="396" y="744"/>
                  </a:lnTo>
                  <a:lnTo>
                    <a:pt x="396" y="750"/>
                  </a:lnTo>
                  <a:lnTo>
                    <a:pt x="390" y="750"/>
                  </a:lnTo>
                  <a:lnTo>
                    <a:pt x="384" y="750"/>
                  </a:lnTo>
                  <a:lnTo>
                    <a:pt x="384" y="756"/>
                  </a:lnTo>
                  <a:lnTo>
                    <a:pt x="378" y="756"/>
                  </a:lnTo>
                  <a:lnTo>
                    <a:pt x="372" y="756"/>
                  </a:lnTo>
                  <a:lnTo>
                    <a:pt x="366" y="756"/>
                  </a:lnTo>
                  <a:lnTo>
                    <a:pt x="366" y="750"/>
                  </a:lnTo>
                  <a:lnTo>
                    <a:pt x="360" y="750"/>
                  </a:lnTo>
                  <a:lnTo>
                    <a:pt x="366" y="750"/>
                  </a:lnTo>
                  <a:lnTo>
                    <a:pt x="366" y="756"/>
                  </a:lnTo>
                  <a:lnTo>
                    <a:pt x="366" y="750"/>
                  </a:lnTo>
                  <a:lnTo>
                    <a:pt x="360" y="756"/>
                  </a:lnTo>
                  <a:lnTo>
                    <a:pt x="360" y="750"/>
                  </a:lnTo>
                  <a:lnTo>
                    <a:pt x="354" y="750"/>
                  </a:lnTo>
                  <a:lnTo>
                    <a:pt x="348" y="750"/>
                  </a:lnTo>
                  <a:lnTo>
                    <a:pt x="342" y="750"/>
                  </a:lnTo>
                  <a:lnTo>
                    <a:pt x="336" y="750"/>
                  </a:lnTo>
                  <a:lnTo>
                    <a:pt x="330" y="750"/>
                  </a:lnTo>
                  <a:lnTo>
                    <a:pt x="324" y="750"/>
                  </a:lnTo>
                  <a:lnTo>
                    <a:pt x="318" y="750"/>
                  </a:lnTo>
                  <a:lnTo>
                    <a:pt x="318" y="756"/>
                  </a:lnTo>
                  <a:lnTo>
                    <a:pt x="312" y="756"/>
                  </a:lnTo>
                  <a:lnTo>
                    <a:pt x="312" y="762"/>
                  </a:lnTo>
                  <a:lnTo>
                    <a:pt x="318" y="762"/>
                  </a:lnTo>
                  <a:lnTo>
                    <a:pt x="312" y="762"/>
                  </a:lnTo>
                  <a:lnTo>
                    <a:pt x="306" y="762"/>
                  </a:lnTo>
                  <a:lnTo>
                    <a:pt x="300" y="768"/>
                  </a:lnTo>
                  <a:lnTo>
                    <a:pt x="306" y="768"/>
                  </a:lnTo>
                  <a:lnTo>
                    <a:pt x="300" y="768"/>
                  </a:lnTo>
                  <a:lnTo>
                    <a:pt x="300" y="774"/>
                  </a:lnTo>
                  <a:lnTo>
                    <a:pt x="300" y="768"/>
                  </a:lnTo>
                  <a:lnTo>
                    <a:pt x="300" y="774"/>
                  </a:lnTo>
                  <a:lnTo>
                    <a:pt x="294" y="774"/>
                  </a:lnTo>
                  <a:lnTo>
                    <a:pt x="288" y="774"/>
                  </a:lnTo>
                  <a:lnTo>
                    <a:pt x="282" y="774"/>
                  </a:lnTo>
                  <a:lnTo>
                    <a:pt x="276" y="774"/>
                  </a:lnTo>
                  <a:lnTo>
                    <a:pt x="270" y="774"/>
                  </a:lnTo>
                  <a:lnTo>
                    <a:pt x="270" y="780"/>
                  </a:lnTo>
                  <a:lnTo>
                    <a:pt x="264" y="780"/>
                  </a:lnTo>
                  <a:lnTo>
                    <a:pt x="264" y="774"/>
                  </a:lnTo>
                  <a:lnTo>
                    <a:pt x="258" y="774"/>
                  </a:lnTo>
                  <a:lnTo>
                    <a:pt x="252" y="774"/>
                  </a:lnTo>
                  <a:lnTo>
                    <a:pt x="246" y="774"/>
                  </a:lnTo>
                  <a:lnTo>
                    <a:pt x="240" y="774"/>
                  </a:lnTo>
                  <a:lnTo>
                    <a:pt x="246" y="774"/>
                  </a:lnTo>
                  <a:lnTo>
                    <a:pt x="246" y="780"/>
                  </a:lnTo>
                  <a:lnTo>
                    <a:pt x="240" y="780"/>
                  </a:lnTo>
                  <a:lnTo>
                    <a:pt x="234" y="780"/>
                  </a:lnTo>
                  <a:lnTo>
                    <a:pt x="228" y="780"/>
                  </a:lnTo>
                  <a:lnTo>
                    <a:pt x="222" y="780"/>
                  </a:lnTo>
                  <a:lnTo>
                    <a:pt x="222" y="786"/>
                  </a:lnTo>
                  <a:lnTo>
                    <a:pt x="216" y="786"/>
                  </a:lnTo>
                  <a:lnTo>
                    <a:pt x="216" y="792"/>
                  </a:lnTo>
                  <a:lnTo>
                    <a:pt x="210" y="792"/>
                  </a:lnTo>
                  <a:lnTo>
                    <a:pt x="210" y="798"/>
                  </a:lnTo>
                  <a:lnTo>
                    <a:pt x="210" y="792"/>
                  </a:lnTo>
                  <a:lnTo>
                    <a:pt x="204" y="792"/>
                  </a:lnTo>
                  <a:lnTo>
                    <a:pt x="204" y="798"/>
                  </a:lnTo>
                  <a:lnTo>
                    <a:pt x="198" y="798"/>
                  </a:lnTo>
                  <a:lnTo>
                    <a:pt x="198" y="804"/>
                  </a:lnTo>
                  <a:lnTo>
                    <a:pt x="192" y="804"/>
                  </a:lnTo>
                  <a:lnTo>
                    <a:pt x="186" y="798"/>
                  </a:lnTo>
                  <a:lnTo>
                    <a:pt x="180" y="798"/>
                  </a:lnTo>
                  <a:lnTo>
                    <a:pt x="180" y="804"/>
                  </a:lnTo>
                  <a:lnTo>
                    <a:pt x="174" y="804"/>
                  </a:lnTo>
                  <a:lnTo>
                    <a:pt x="174" y="798"/>
                  </a:lnTo>
                  <a:lnTo>
                    <a:pt x="168" y="798"/>
                  </a:lnTo>
                  <a:lnTo>
                    <a:pt x="168" y="792"/>
                  </a:lnTo>
                  <a:lnTo>
                    <a:pt x="162" y="792"/>
                  </a:lnTo>
                  <a:lnTo>
                    <a:pt x="156" y="792"/>
                  </a:lnTo>
                  <a:lnTo>
                    <a:pt x="156" y="786"/>
                  </a:lnTo>
                  <a:lnTo>
                    <a:pt x="162" y="786"/>
                  </a:lnTo>
                  <a:lnTo>
                    <a:pt x="162" y="780"/>
                  </a:lnTo>
                  <a:lnTo>
                    <a:pt x="156" y="780"/>
                  </a:lnTo>
                  <a:lnTo>
                    <a:pt x="156" y="774"/>
                  </a:lnTo>
                  <a:lnTo>
                    <a:pt x="150" y="780"/>
                  </a:lnTo>
                  <a:lnTo>
                    <a:pt x="150" y="774"/>
                  </a:lnTo>
                  <a:lnTo>
                    <a:pt x="144" y="774"/>
                  </a:lnTo>
                  <a:lnTo>
                    <a:pt x="150" y="774"/>
                  </a:lnTo>
                  <a:lnTo>
                    <a:pt x="150" y="768"/>
                  </a:lnTo>
                  <a:lnTo>
                    <a:pt x="144" y="768"/>
                  </a:lnTo>
                  <a:lnTo>
                    <a:pt x="144" y="774"/>
                  </a:lnTo>
                  <a:lnTo>
                    <a:pt x="138" y="774"/>
                  </a:lnTo>
                  <a:lnTo>
                    <a:pt x="138" y="768"/>
                  </a:lnTo>
                  <a:lnTo>
                    <a:pt x="138" y="774"/>
                  </a:lnTo>
                  <a:lnTo>
                    <a:pt x="132" y="774"/>
                  </a:lnTo>
                  <a:lnTo>
                    <a:pt x="132" y="768"/>
                  </a:lnTo>
                  <a:lnTo>
                    <a:pt x="132" y="762"/>
                  </a:lnTo>
                  <a:lnTo>
                    <a:pt x="132" y="756"/>
                  </a:lnTo>
                  <a:lnTo>
                    <a:pt x="126" y="756"/>
                  </a:lnTo>
                  <a:lnTo>
                    <a:pt x="126" y="750"/>
                  </a:lnTo>
                  <a:lnTo>
                    <a:pt x="120" y="750"/>
                  </a:lnTo>
                  <a:lnTo>
                    <a:pt x="120" y="756"/>
                  </a:lnTo>
                  <a:lnTo>
                    <a:pt x="114" y="756"/>
                  </a:lnTo>
                  <a:lnTo>
                    <a:pt x="108" y="756"/>
                  </a:lnTo>
                  <a:lnTo>
                    <a:pt x="108" y="762"/>
                  </a:lnTo>
                  <a:lnTo>
                    <a:pt x="108" y="768"/>
                  </a:lnTo>
                  <a:lnTo>
                    <a:pt x="108" y="774"/>
                  </a:lnTo>
                  <a:lnTo>
                    <a:pt x="114" y="774"/>
                  </a:lnTo>
                  <a:lnTo>
                    <a:pt x="108" y="774"/>
                  </a:lnTo>
                  <a:lnTo>
                    <a:pt x="108" y="768"/>
                  </a:lnTo>
                  <a:lnTo>
                    <a:pt x="108" y="762"/>
                  </a:lnTo>
                  <a:lnTo>
                    <a:pt x="102" y="762"/>
                  </a:lnTo>
                  <a:lnTo>
                    <a:pt x="102" y="756"/>
                  </a:lnTo>
                  <a:lnTo>
                    <a:pt x="102" y="750"/>
                  </a:lnTo>
                  <a:lnTo>
                    <a:pt x="102" y="744"/>
                  </a:lnTo>
                  <a:lnTo>
                    <a:pt x="108" y="744"/>
                  </a:lnTo>
                  <a:lnTo>
                    <a:pt x="114" y="738"/>
                  </a:lnTo>
                  <a:lnTo>
                    <a:pt x="108" y="738"/>
                  </a:lnTo>
                  <a:lnTo>
                    <a:pt x="108" y="732"/>
                  </a:lnTo>
                  <a:lnTo>
                    <a:pt x="108" y="726"/>
                  </a:lnTo>
                  <a:lnTo>
                    <a:pt x="108" y="720"/>
                  </a:lnTo>
                  <a:lnTo>
                    <a:pt x="102" y="720"/>
                  </a:lnTo>
                  <a:lnTo>
                    <a:pt x="102" y="714"/>
                  </a:lnTo>
                  <a:lnTo>
                    <a:pt x="102" y="708"/>
                  </a:lnTo>
                  <a:lnTo>
                    <a:pt x="96" y="708"/>
                  </a:lnTo>
                  <a:lnTo>
                    <a:pt x="90" y="708"/>
                  </a:lnTo>
                  <a:lnTo>
                    <a:pt x="90" y="702"/>
                  </a:lnTo>
                  <a:lnTo>
                    <a:pt x="96" y="702"/>
                  </a:lnTo>
                  <a:lnTo>
                    <a:pt x="90" y="702"/>
                  </a:lnTo>
                  <a:lnTo>
                    <a:pt x="90" y="696"/>
                  </a:lnTo>
                  <a:lnTo>
                    <a:pt x="84" y="690"/>
                  </a:lnTo>
                  <a:lnTo>
                    <a:pt x="84" y="684"/>
                  </a:lnTo>
                  <a:lnTo>
                    <a:pt x="84" y="690"/>
                  </a:lnTo>
                  <a:lnTo>
                    <a:pt x="90" y="690"/>
                  </a:lnTo>
                  <a:lnTo>
                    <a:pt x="90" y="696"/>
                  </a:lnTo>
                  <a:lnTo>
                    <a:pt x="90" y="690"/>
                  </a:lnTo>
                  <a:lnTo>
                    <a:pt x="84" y="690"/>
                  </a:lnTo>
                  <a:lnTo>
                    <a:pt x="84" y="684"/>
                  </a:lnTo>
                  <a:lnTo>
                    <a:pt x="78" y="684"/>
                  </a:lnTo>
                  <a:lnTo>
                    <a:pt x="78" y="678"/>
                  </a:lnTo>
                  <a:lnTo>
                    <a:pt x="78" y="672"/>
                  </a:lnTo>
                  <a:lnTo>
                    <a:pt x="78" y="666"/>
                  </a:lnTo>
                  <a:lnTo>
                    <a:pt x="78" y="660"/>
                  </a:lnTo>
                  <a:lnTo>
                    <a:pt x="78" y="666"/>
                  </a:lnTo>
                  <a:lnTo>
                    <a:pt x="78" y="660"/>
                  </a:lnTo>
                  <a:lnTo>
                    <a:pt x="84" y="660"/>
                  </a:lnTo>
                  <a:lnTo>
                    <a:pt x="84" y="666"/>
                  </a:lnTo>
                  <a:lnTo>
                    <a:pt x="84" y="660"/>
                  </a:lnTo>
                  <a:lnTo>
                    <a:pt x="84" y="666"/>
                  </a:lnTo>
                  <a:lnTo>
                    <a:pt x="90" y="666"/>
                  </a:lnTo>
                  <a:lnTo>
                    <a:pt x="96" y="666"/>
                  </a:lnTo>
                  <a:lnTo>
                    <a:pt x="96" y="660"/>
                  </a:lnTo>
                  <a:lnTo>
                    <a:pt x="102" y="654"/>
                  </a:lnTo>
                  <a:lnTo>
                    <a:pt x="102" y="648"/>
                  </a:lnTo>
                  <a:lnTo>
                    <a:pt x="102" y="642"/>
                  </a:lnTo>
                  <a:lnTo>
                    <a:pt x="102" y="636"/>
                  </a:lnTo>
                  <a:lnTo>
                    <a:pt x="102" y="630"/>
                  </a:lnTo>
                  <a:lnTo>
                    <a:pt x="102" y="624"/>
                  </a:lnTo>
                  <a:lnTo>
                    <a:pt x="102" y="618"/>
                  </a:lnTo>
                  <a:lnTo>
                    <a:pt x="102" y="612"/>
                  </a:lnTo>
                  <a:lnTo>
                    <a:pt x="102" y="606"/>
                  </a:lnTo>
                  <a:lnTo>
                    <a:pt x="96" y="606"/>
                  </a:lnTo>
                  <a:lnTo>
                    <a:pt x="96" y="600"/>
                  </a:lnTo>
                  <a:lnTo>
                    <a:pt x="96" y="594"/>
                  </a:lnTo>
                  <a:lnTo>
                    <a:pt x="90" y="594"/>
                  </a:lnTo>
                  <a:lnTo>
                    <a:pt x="90" y="588"/>
                  </a:lnTo>
                  <a:lnTo>
                    <a:pt x="90" y="582"/>
                  </a:lnTo>
                  <a:lnTo>
                    <a:pt x="84" y="582"/>
                  </a:lnTo>
                  <a:lnTo>
                    <a:pt x="84" y="576"/>
                  </a:lnTo>
                  <a:lnTo>
                    <a:pt x="78" y="576"/>
                  </a:lnTo>
                  <a:lnTo>
                    <a:pt x="78" y="570"/>
                  </a:lnTo>
                  <a:lnTo>
                    <a:pt x="78" y="564"/>
                  </a:lnTo>
                  <a:lnTo>
                    <a:pt x="72" y="564"/>
                  </a:lnTo>
                  <a:lnTo>
                    <a:pt x="72" y="558"/>
                  </a:lnTo>
                  <a:lnTo>
                    <a:pt x="66" y="558"/>
                  </a:lnTo>
                  <a:lnTo>
                    <a:pt x="66" y="552"/>
                  </a:lnTo>
                  <a:lnTo>
                    <a:pt x="66" y="546"/>
                  </a:lnTo>
                  <a:lnTo>
                    <a:pt x="60" y="546"/>
                  </a:lnTo>
                  <a:lnTo>
                    <a:pt x="60" y="540"/>
                  </a:lnTo>
                  <a:lnTo>
                    <a:pt x="60" y="534"/>
                  </a:lnTo>
                  <a:lnTo>
                    <a:pt x="54" y="534"/>
                  </a:lnTo>
                  <a:lnTo>
                    <a:pt x="54" y="528"/>
                  </a:lnTo>
                  <a:lnTo>
                    <a:pt x="54" y="522"/>
                  </a:lnTo>
                  <a:lnTo>
                    <a:pt x="48" y="522"/>
                  </a:lnTo>
                  <a:lnTo>
                    <a:pt x="48" y="516"/>
                  </a:lnTo>
                  <a:lnTo>
                    <a:pt x="48" y="510"/>
                  </a:lnTo>
                  <a:lnTo>
                    <a:pt x="42" y="510"/>
                  </a:lnTo>
                  <a:lnTo>
                    <a:pt x="42" y="504"/>
                  </a:lnTo>
                  <a:lnTo>
                    <a:pt x="42" y="498"/>
                  </a:lnTo>
                  <a:lnTo>
                    <a:pt x="42" y="492"/>
                  </a:lnTo>
                  <a:lnTo>
                    <a:pt x="36" y="492"/>
                  </a:lnTo>
                  <a:lnTo>
                    <a:pt x="36" y="486"/>
                  </a:lnTo>
                  <a:lnTo>
                    <a:pt x="36" y="480"/>
                  </a:lnTo>
                  <a:lnTo>
                    <a:pt x="36" y="474"/>
                  </a:lnTo>
                  <a:lnTo>
                    <a:pt x="30" y="474"/>
                  </a:lnTo>
                  <a:lnTo>
                    <a:pt x="36" y="474"/>
                  </a:lnTo>
                  <a:lnTo>
                    <a:pt x="30" y="474"/>
                  </a:lnTo>
                  <a:lnTo>
                    <a:pt x="30" y="468"/>
                  </a:lnTo>
                  <a:lnTo>
                    <a:pt x="30" y="462"/>
                  </a:lnTo>
                  <a:lnTo>
                    <a:pt x="30" y="456"/>
                  </a:lnTo>
                  <a:lnTo>
                    <a:pt x="30" y="450"/>
                  </a:lnTo>
                  <a:lnTo>
                    <a:pt x="24" y="450"/>
                  </a:lnTo>
                  <a:lnTo>
                    <a:pt x="24" y="444"/>
                  </a:lnTo>
                  <a:lnTo>
                    <a:pt x="24" y="438"/>
                  </a:lnTo>
                  <a:lnTo>
                    <a:pt x="18" y="438"/>
                  </a:lnTo>
                  <a:lnTo>
                    <a:pt x="18" y="432"/>
                  </a:lnTo>
                  <a:lnTo>
                    <a:pt x="18" y="426"/>
                  </a:lnTo>
                  <a:lnTo>
                    <a:pt x="12" y="426"/>
                  </a:lnTo>
                  <a:lnTo>
                    <a:pt x="12" y="420"/>
                  </a:lnTo>
                  <a:lnTo>
                    <a:pt x="12" y="414"/>
                  </a:lnTo>
                  <a:lnTo>
                    <a:pt x="6" y="414"/>
                  </a:lnTo>
                  <a:lnTo>
                    <a:pt x="6" y="408"/>
                  </a:lnTo>
                  <a:lnTo>
                    <a:pt x="6" y="402"/>
                  </a:lnTo>
                  <a:lnTo>
                    <a:pt x="0" y="402"/>
                  </a:lnTo>
                  <a:lnTo>
                    <a:pt x="0" y="396"/>
                  </a:lnTo>
                  <a:lnTo>
                    <a:pt x="6" y="396"/>
                  </a:lnTo>
                  <a:lnTo>
                    <a:pt x="6" y="390"/>
                  </a:lnTo>
                  <a:lnTo>
                    <a:pt x="12" y="390"/>
                  </a:lnTo>
                  <a:lnTo>
                    <a:pt x="18" y="384"/>
                  </a:lnTo>
                  <a:lnTo>
                    <a:pt x="18" y="378"/>
                  </a:lnTo>
                  <a:lnTo>
                    <a:pt x="12" y="378"/>
                  </a:lnTo>
                  <a:lnTo>
                    <a:pt x="18" y="378"/>
                  </a:lnTo>
                  <a:lnTo>
                    <a:pt x="18" y="372"/>
                  </a:lnTo>
                  <a:lnTo>
                    <a:pt x="18" y="378"/>
                  </a:lnTo>
                  <a:lnTo>
                    <a:pt x="18" y="372"/>
                  </a:lnTo>
                  <a:lnTo>
                    <a:pt x="18" y="366"/>
                  </a:lnTo>
                  <a:lnTo>
                    <a:pt x="24" y="372"/>
                  </a:lnTo>
                  <a:lnTo>
                    <a:pt x="24" y="366"/>
                  </a:lnTo>
                  <a:lnTo>
                    <a:pt x="24" y="360"/>
                  </a:lnTo>
                  <a:lnTo>
                    <a:pt x="24" y="366"/>
                  </a:lnTo>
                  <a:lnTo>
                    <a:pt x="24" y="360"/>
                  </a:lnTo>
                  <a:lnTo>
                    <a:pt x="30" y="360"/>
                  </a:lnTo>
                  <a:lnTo>
                    <a:pt x="30" y="366"/>
                  </a:lnTo>
                  <a:lnTo>
                    <a:pt x="30" y="360"/>
                  </a:lnTo>
                  <a:lnTo>
                    <a:pt x="36" y="360"/>
                  </a:lnTo>
                  <a:lnTo>
                    <a:pt x="36" y="366"/>
                  </a:lnTo>
                  <a:lnTo>
                    <a:pt x="42" y="366"/>
                  </a:lnTo>
                  <a:lnTo>
                    <a:pt x="36" y="372"/>
                  </a:lnTo>
                  <a:lnTo>
                    <a:pt x="42" y="372"/>
                  </a:lnTo>
                  <a:lnTo>
                    <a:pt x="48" y="372"/>
                  </a:lnTo>
                  <a:lnTo>
                    <a:pt x="48" y="378"/>
                  </a:lnTo>
                  <a:lnTo>
                    <a:pt x="54" y="384"/>
                  </a:lnTo>
                  <a:lnTo>
                    <a:pt x="48" y="384"/>
                  </a:lnTo>
                  <a:lnTo>
                    <a:pt x="48" y="390"/>
                  </a:lnTo>
                  <a:lnTo>
                    <a:pt x="48" y="396"/>
                  </a:lnTo>
                  <a:lnTo>
                    <a:pt x="54" y="396"/>
                  </a:lnTo>
                  <a:lnTo>
                    <a:pt x="54" y="402"/>
                  </a:lnTo>
                  <a:lnTo>
                    <a:pt x="60" y="402"/>
                  </a:lnTo>
                  <a:lnTo>
                    <a:pt x="60" y="408"/>
                  </a:lnTo>
                  <a:lnTo>
                    <a:pt x="66" y="408"/>
                  </a:lnTo>
                  <a:lnTo>
                    <a:pt x="72" y="408"/>
                  </a:lnTo>
                  <a:lnTo>
                    <a:pt x="78" y="408"/>
                  </a:lnTo>
                  <a:lnTo>
                    <a:pt x="84" y="408"/>
                  </a:lnTo>
                  <a:lnTo>
                    <a:pt x="84" y="414"/>
                  </a:lnTo>
                  <a:lnTo>
                    <a:pt x="90" y="414"/>
                  </a:lnTo>
                  <a:lnTo>
                    <a:pt x="96" y="414"/>
                  </a:lnTo>
                  <a:lnTo>
                    <a:pt x="102" y="414"/>
                  </a:lnTo>
                  <a:lnTo>
                    <a:pt x="108" y="414"/>
                  </a:lnTo>
                  <a:lnTo>
                    <a:pt x="114" y="414"/>
                  </a:lnTo>
                  <a:lnTo>
                    <a:pt x="120" y="414"/>
                  </a:lnTo>
                  <a:lnTo>
                    <a:pt x="126" y="414"/>
                  </a:lnTo>
                  <a:lnTo>
                    <a:pt x="132" y="414"/>
                  </a:lnTo>
                  <a:lnTo>
                    <a:pt x="138" y="414"/>
                  </a:lnTo>
                  <a:lnTo>
                    <a:pt x="138" y="420"/>
                  </a:lnTo>
                  <a:lnTo>
                    <a:pt x="144" y="420"/>
                  </a:lnTo>
                  <a:lnTo>
                    <a:pt x="150" y="420"/>
                  </a:lnTo>
                  <a:lnTo>
                    <a:pt x="150" y="414"/>
                  </a:lnTo>
                  <a:lnTo>
                    <a:pt x="156" y="414"/>
                  </a:lnTo>
                  <a:lnTo>
                    <a:pt x="156" y="408"/>
                  </a:lnTo>
                  <a:lnTo>
                    <a:pt x="156" y="402"/>
                  </a:lnTo>
                  <a:lnTo>
                    <a:pt x="156" y="408"/>
                  </a:lnTo>
                  <a:lnTo>
                    <a:pt x="162" y="408"/>
                  </a:lnTo>
                  <a:lnTo>
                    <a:pt x="162" y="402"/>
                  </a:lnTo>
                  <a:lnTo>
                    <a:pt x="168" y="402"/>
                  </a:lnTo>
                  <a:lnTo>
                    <a:pt x="168" y="396"/>
                  </a:lnTo>
                  <a:lnTo>
                    <a:pt x="174" y="390"/>
                  </a:lnTo>
                  <a:lnTo>
                    <a:pt x="180" y="390"/>
                  </a:lnTo>
                  <a:lnTo>
                    <a:pt x="186" y="390"/>
                  </a:lnTo>
                  <a:lnTo>
                    <a:pt x="186" y="384"/>
                  </a:lnTo>
                  <a:lnTo>
                    <a:pt x="192" y="384"/>
                  </a:lnTo>
                  <a:lnTo>
                    <a:pt x="198" y="384"/>
                  </a:lnTo>
                  <a:lnTo>
                    <a:pt x="198" y="378"/>
                  </a:lnTo>
                  <a:lnTo>
                    <a:pt x="198" y="366"/>
                  </a:lnTo>
                  <a:lnTo>
                    <a:pt x="198" y="360"/>
                  </a:lnTo>
                  <a:lnTo>
                    <a:pt x="198" y="354"/>
                  </a:lnTo>
                  <a:lnTo>
                    <a:pt x="198" y="342"/>
                  </a:lnTo>
                  <a:lnTo>
                    <a:pt x="198" y="336"/>
                  </a:lnTo>
                  <a:lnTo>
                    <a:pt x="198" y="330"/>
                  </a:lnTo>
                  <a:lnTo>
                    <a:pt x="198" y="318"/>
                  </a:lnTo>
                  <a:lnTo>
                    <a:pt x="198" y="312"/>
                  </a:lnTo>
                  <a:lnTo>
                    <a:pt x="198" y="306"/>
                  </a:lnTo>
                  <a:lnTo>
                    <a:pt x="198" y="294"/>
                  </a:lnTo>
                  <a:lnTo>
                    <a:pt x="198" y="288"/>
                  </a:lnTo>
                  <a:lnTo>
                    <a:pt x="198" y="282"/>
                  </a:lnTo>
                  <a:lnTo>
                    <a:pt x="198" y="276"/>
                  </a:lnTo>
                  <a:lnTo>
                    <a:pt x="198" y="264"/>
                  </a:lnTo>
                  <a:lnTo>
                    <a:pt x="198" y="258"/>
                  </a:lnTo>
                  <a:lnTo>
                    <a:pt x="198" y="252"/>
                  </a:lnTo>
                  <a:lnTo>
                    <a:pt x="198" y="240"/>
                  </a:lnTo>
                  <a:lnTo>
                    <a:pt x="198" y="234"/>
                  </a:lnTo>
                  <a:lnTo>
                    <a:pt x="198" y="228"/>
                  </a:lnTo>
                  <a:lnTo>
                    <a:pt x="198" y="216"/>
                  </a:lnTo>
                  <a:lnTo>
                    <a:pt x="198" y="210"/>
                  </a:lnTo>
                  <a:lnTo>
                    <a:pt x="198" y="204"/>
                  </a:lnTo>
                  <a:lnTo>
                    <a:pt x="198" y="198"/>
                  </a:lnTo>
                  <a:lnTo>
                    <a:pt x="198" y="192"/>
                  </a:lnTo>
                  <a:lnTo>
                    <a:pt x="198" y="186"/>
                  </a:lnTo>
                  <a:lnTo>
                    <a:pt x="198" y="180"/>
                  </a:lnTo>
                  <a:lnTo>
                    <a:pt x="198" y="174"/>
                  </a:lnTo>
                  <a:lnTo>
                    <a:pt x="198" y="168"/>
                  </a:lnTo>
                  <a:lnTo>
                    <a:pt x="198" y="162"/>
                  </a:lnTo>
                  <a:lnTo>
                    <a:pt x="198" y="156"/>
                  </a:lnTo>
                  <a:lnTo>
                    <a:pt x="198" y="162"/>
                  </a:lnTo>
                  <a:lnTo>
                    <a:pt x="204" y="162"/>
                  </a:lnTo>
                  <a:lnTo>
                    <a:pt x="204" y="168"/>
                  </a:lnTo>
                  <a:lnTo>
                    <a:pt x="210" y="168"/>
                  </a:lnTo>
                  <a:lnTo>
                    <a:pt x="216" y="168"/>
                  </a:lnTo>
                  <a:lnTo>
                    <a:pt x="216" y="174"/>
                  </a:lnTo>
                  <a:lnTo>
                    <a:pt x="222" y="180"/>
                  </a:lnTo>
                  <a:lnTo>
                    <a:pt x="216" y="180"/>
                  </a:lnTo>
                  <a:lnTo>
                    <a:pt x="222" y="180"/>
                  </a:lnTo>
                  <a:lnTo>
                    <a:pt x="222" y="186"/>
                  </a:lnTo>
                  <a:lnTo>
                    <a:pt x="228" y="192"/>
                  </a:lnTo>
                  <a:lnTo>
                    <a:pt x="228" y="186"/>
                  </a:lnTo>
                  <a:lnTo>
                    <a:pt x="228" y="192"/>
                  </a:lnTo>
                  <a:lnTo>
                    <a:pt x="222" y="192"/>
                  </a:lnTo>
                  <a:lnTo>
                    <a:pt x="228" y="192"/>
                  </a:lnTo>
                  <a:lnTo>
                    <a:pt x="228" y="198"/>
                  </a:lnTo>
                  <a:lnTo>
                    <a:pt x="234" y="198"/>
                  </a:lnTo>
                  <a:lnTo>
                    <a:pt x="234" y="204"/>
                  </a:lnTo>
                  <a:lnTo>
                    <a:pt x="228" y="204"/>
                  </a:lnTo>
                  <a:lnTo>
                    <a:pt x="234" y="204"/>
                  </a:lnTo>
                  <a:lnTo>
                    <a:pt x="234" y="210"/>
                  </a:lnTo>
                  <a:lnTo>
                    <a:pt x="234" y="216"/>
                  </a:lnTo>
                  <a:lnTo>
                    <a:pt x="240" y="222"/>
                  </a:lnTo>
                  <a:lnTo>
                    <a:pt x="240" y="228"/>
                  </a:lnTo>
                  <a:lnTo>
                    <a:pt x="240" y="234"/>
                  </a:lnTo>
                  <a:lnTo>
                    <a:pt x="240" y="240"/>
                  </a:lnTo>
                  <a:lnTo>
                    <a:pt x="246" y="240"/>
                  </a:lnTo>
                  <a:lnTo>
                    <a:pt x="240" y="246"/>
                  </a:lnTo>
                  <a:lnTo>
                    <a:pt x="240" y="252"/>
                  </a:lnTo>
                  <a:lnTo>
                    <a:pt x="234" y="252"/>
                  </a:lnTo>
                  <a:lnTo>
                    <a:pt x="234" y="258"/>
                  </a:lnTo>
                  <a:lnTo>
                    <a:pt x="228" y="258"/>
                  </a:lnTo>
                  <a:lnTo>
                    <a:pt x="228" y="264"/>
                  </a:lnTo>
                  <a:lnTo>
                    <a:pt x="228" y="270"/>
                  </a:lnTo>
                  <a:lnTo>
                    <a:pt x="234" y="270"/>
                  </a:lnTo>
                  <a:lnTo>
                    <a:pt x="228" y="270"/>
                  </a:lnTo>
                  <a:lnTo>
                    <a:pt x="234" y="276"/>
                  </a:lnTo>
                  <a:lnTo>
                    <a:pt x="228" y="276"/>
                  </a:lnTo>
                  <a:lnTo>
                    <a:pt x="234" y="276"/>
                  </a:lnTo>
                  <a:lnTo>
                    <a:pt x="228" y="282"/>
                  </a:lnTo>
                  <a:lnTo>
                    <a:pt x="234" y="282"/>
                  </a:lnTo>
                  <a:lnTo>
                    <a:pt x="228" y="282"/>
                  </a:lnTo>
                  <a:lnTo>
                    <a:pt x="234" y="282"/>
                  </a:lnTo>
                  <a:lnTo>
                    <a:pt x="234" y="288"/>
                  </a:lnTo>
                  <a:lnTo>
                    <a:pt x="240" y="288"/>
                  </a:lnTo>
                  <a:lnTo>
                    <a:pt x="240" y="282"/>
                  </a:lnTo>
                  <a:lnTo>
                    <a:pt x="246" y="282"/>
                  </a:lnTo>
                  <a:lnTo>
                    <a:pt x="252" y="282"/>
                  </a:lnTo>
                  <a:lnTo>
                    <a:pt x="252" y="288"/>
                  </a:lnTo>
                  <a:lnTo>
                    <a:pt x="258" y="288"/>
                  </a:lnTo>
                  <a:lnTo>
                    <a:pt x="264" y="288"/>
                  </a:lnTo>
                  <a:lnTo>
                    <a:pt x="270" y="288"/>
                  </a:lnTo>
                  <a:lnTo>
                    <a:pt x="270" y="282"/>
                  </a:lnTo>
                  <a:lnTo>
                    <a:pt x="276" y="282"/>
                  </a:lnTo>
                  <a:lnTo>
                    <a:pt x="276" y="288"/>
                  </a:lnTo>
                  <a:lnTo>
                    <a:pt x="282" y="288"/>
                  </a:lnTo>
                  <a:lnTo>
                    <a:pt x="288" y="288"/>
                  </a:lnTo>
                  <a:lnTo>
                    <a:pt x="294" y="282"/>
                  </a:lnTo>
                  <a:lnTo>
                    <a:pt x="294" y="276"/>
                  </a:lnTo>
                  <a:lnTo>
                    <a:pt x="300" y="276"/>
                  </a:lnTo>
                  <a:lnTo>
                    <a:pt x="306" y="276"/>
                  </a:lnTo>
                  <a:lnTo>
                    <a:pt x="312" y="270"/>
                  </a:lnTo>
                  <a:lnTo>
                    <a:pt x="312" y="264"/>
                  </a:lnTo>
                  <a:lnTo>
                    <a:pt x="318" y="264"/>
                  </a:lnTo>
                  <a:lnTo>
                    <a:pt x="318" y="258"/>
                  </a:lnTo>
                  <a:lnTo>
                    <a:pt x="324" y="258"/>
                  </a:lnTo>
                  <a:lnTo>
                    <a:pt x="324" y="252"/>
                  </a:lnTo>
                  <a:lnTo>
                    <a:pt x="330" y="252"/>
                  </a:lnTo>
                  <a:lnTo>
                    <a:pt x="330" y="246"/>
                  </a:lnTo>
                  <a:lnTo>
                    <a:pt x="336" y="246"/>
                  </a:lnTo>
                  <a:lnTo>
                    <a:pt x="342" y="246"/>
                  </a:lnTo>
                  <a:lnTo>
                    <a:pt x="342" y="240"/>
                  </a:lnTo>
                  <a:lnTo>
                    <a:pt x="342" y="234"/>
                  </a:lnTo>
                  <a:lnTo>
                    <a:pt x="348" y="234"/>
                  </a:lnTo>
                  <a:lnTo>
                    <a:pt x="348" y="228"/>
                  </a:lnTo>
                  <a:lnTo>
                    <a:pt x="348" y="222"/>
                  </a:lnTo>
                  <a:lnTo>
                    <a:pt x="348" y="216"/>
                  </a:lnTo>
                  <a:lnTo>
                    <a:pt x="354" y="216"/>
                  </a:lnTo>
                  <a:lnTo>
                    <a:pt x="354" y="210"/>
                  </a:lnTo>
                  <a:lnTo>
                    <a:pt x="354" y="204"/>
                  </a:lnTo>
                  <a:lnTo>
                    <a:pt x="354" y="198"/>
                  </a:lnTo>
                  <a:lnTo>
                    <a:pt x="354" y="204"/>
                  </a:lnTo>
                  <a:lnTo>
                    <a:pt x="360" y="204"/>
                  </a:lnTo>
                  <a:lnTo>
                    <a:pt x="360" y="198"/>
                  </a:lnTo>
                  <a:lnTo>
                    <a:pt x="354" y="198"/>
                  </a:lnTo>
                  <a:lnTo>
                    <a:pt x="360" y="198"/>
                  </a:lnTo>
                  <a:lnTo>
                    <a:pt x="360" y="192"/>
                  </a:lnTo>
                  <a:lnTo>
                    <a:pt x="366" y="192"/>
                  </a:lnTo>
                  <a:lnTo>
                    <a:pt x="372" y="192"/>
                  </a:lnTo>
                  <a:lnTo>
                    <a:pt x="372" y="186"/>
                  </a:lnTo>
                  <a:lnTo>
                    <a:pt x="378" y="186"/>
                  </a:lnTo>
                  <a:lnTo>
                    <a:pt x="378" y="192"/>
                  </a:lnTo>
                  <a:lnTo>
                    <a:pt x="378" y="186"/>
                  </a:lnTo>
                  <a:lnTo>
                    <a:pt x="378" y="192"/>
                  </a:lnTo>
                  <a:lnTo>
                    <a:pt x="384" y="186"/>
                  </a:lnTo>
                  <a:lnTo>
                    <a:pt x="384" y="192"/>
                  </a:lnTo>
                  <a:lnTo>
                    <a:pt x="390" y="186"/>
                  </a:lnTo>
                  <a:lnTo>
                    <a:pt x="390" y="192"/>
                  </a:lnTo>
                  <a:lnTo>
                    <a:pt x="396" y="192"/>
                  </a:lnTo>
                  <a:lnTo>
                    <a:pt x="396" y="198"/>
                  </a:lnTo>
                  <a:lnTo>
                    <a:pt x="396" y="192"/>
                  </a:lnTo>
                  <a:lnTo>
                    <a:pt x="396" y="198"/>
                  </a:lnTo>
                  <a:lnTo>
                    <a:pt x="402" y="198"/>
                  </a:lnTo>
                  <a:lnTo>
                    <a:pt x="402" y="204"/>
                  </a:lnTo>
                  <a:lnTo>
                    <a:pt x="408" y="204"/>
                  </a:lnTo>
                  <a:lnTo>
                    <a:pt x="408" y="210"/>
                  </a:lnTo>
                  <a:lnTo>
                    <a:pt x="414" y="210"/>
                  </a:lnTo>
                  <a:lnTo>
                    <a:pt x="420" y="210"/>
                  </a:lnTo>
                  <a:lnTo>
                    <a:pt x="426" y="210"/>
                  </a:lnTo>
                  <a:lnTo>
                    <a:pt x="432" y="210"/>
                  </a:lnTo>
                  <a:lnTo>
                    <a:pt x="432" y="216"/>
                  </a:lnTo>
                  <a:lnTo>
                    <a:pt x="438" y="216"/>
                  </a:lnTo>
                  <a:lnTo>
                    <a:pt x="444" y="216"/>
                  </a:lnTo>
                  <a:lnTo>
                    <a:pt x="450" y="222"/>
                  </a:lnTo>
                  <a:lnTo>
                    <a:pt x="456" y="222"/>
                  </a:lnTo>
                  <a:lnTo>
                    <a:pt x="462" y="222"/>
                  </a:lnTo>
                  <a:lnTo>
                    <a:pt x="468" y="222"/>
                  </a:lnTo>
                  <a:lnTo>
                    <a:pt x="474" y="216"/>
                  </a:lnTo>
                  <a:lnTo>
                    <a:pt x="480" y="216"/>
                  </a:lnTo>
                  <a:lnTo>
                    <a:pt x="486" y="216"/>
                  </a:lnTo>
                  <a:lnTo>
                    <a:pt x="492" y="216"/>
                  </a:lnTo>
                  <a:lnTo>
                    <a:pt x="492" y="222"/>
                  </a:lnTo>
                  <a:lnTo>
                    <a:pt x="492" y="216"/>
                  </a:lnTo>
                  <a:lnTo>
                    <a:pt x="498" y="216"/>
                  </a:lnTo>
                  <a:lnTo>
                    <a:pt x="504" y="210"/>
                  </a:lnTo>
                  <a:lnTo>
                    <a:pt x="510" y="210"/>
                  </a:lnTo>
                  <a:lnTo>
                    <a:pt x="510" y="204"/>
                  </a:lnTo>
                  <a:lnTo>
                    <a:pt x="510" y="198"/>
                  </a:lnTo>
                  <a:lnTo>
                    <a:pt x="510" y="192"/>
                  </a:lnTo>
                  <a:lnTo>
                    <a:pt x="516" y="186"/>
                  </a:lnTo>
                  <a:lnTo>
                    <a:pt x="516" y="180"/>
                  </a:lnTo>
                  <a:lnTo>
                    <a:pt x="522" y="174"/>
                  </a:lnTo>
                  <a:lnTo>
                    <a:pt x="522" y="168"/>
                  </a:lnTo>
                  <a:lnTo>
                    <a:pt x="522" y="162"/>
                  </a:lnTo>
                  <a:lnTo>
                    <a:pt x="522" y="156"/>
                  </a:lnTo>
                  <a:lnTo>
                    <a:pt x="528" y="156"/>
                  </a:lnTo>
                  <a:lnTo>
                    <a:pt x="534" y="156"/>
                  </a:lnTo>
                  <a:lnTo>
                    <a:pt x="534" y="150"/>
                  </a:lnTo>
                  <a:lnTo>
                    <a:pt x="540" y="150"/>
                  </a:lnTo>
                  <a:lnTo>
                    <a:pt x="546" y="150"/>
                  </a:lnTo>
                  <a:lnTo>
                    <a:pt x="552" y="150"/>
                  </a:lnTo>
                  <a:lnTo>
                    <a:pt x="558" y="150"/>
                  </a:lnTo>
                  <a:lnTo>
                    <a:pt x="558" y="144"/>
                  </a:lnTo>
                  <a:lnTo>
                    <a:pt x="558" y="138"/>
                  </a:lnTo>
                  <a:lnTo>
                    <a:pt x="564" y="138"/>
                  </a:lnTo>
                  <a:lnTo>
                    <a:pt x="564" y="132"/>
                  </a:lnTo>
                  <a:lnTo>
                    <a:pt x="570" y="132"/>
                  </a:lnTo>
                  <a:lnTo>
                    <a:pt x="570" y="126"/>
                  </a:lnTo>
                  <a:lnTo>
                    <a:pt x="570" y="132"/>
                  </a:lnTo>
                  <a:lnTo>
                    <a:pt x="576" y="126"/>
                  </a:lnTo>
                  <a:lnTo>
                    <a:pt x="576" y="120"/>
                  </a:lnTo>
                  <a:lnTo>
                    <a:pt x="576" y="114"/>
                  </a:lnTo>
                  <a:lnTo>
                    <a:pt x="582" y="114"/>
                  </a:lnTo>
                  <a:lnTo>
                    <a:pt x="582" y="108"/>
                  </a:lnTo>
                  <a:lnTo>
                    <a:pt x="582" y="102"/>
                  </a:lnTo>
                  <a:lnTo>
                    <a:pt x="582" y="96"/>
                  </a:lnTo>
                  <a:lnTo>
                    <a:pt x="582" y="90"/>
                  </a:lnTo>
                  <a:lnTo>
                    <a:pt x="588" y="90"/>
                  </a:lnTo>
                  <a:lnTo>
                    <a:pt x="588" y="84"/>
                  </a:lnTo>
                  <a:lnTo>
                    <a:pt x="594" y="84"/>
                  </a:lnTo>
                  <a:lnTo>
                    <a:pt x="600" y="84"/>
                  </a:lnTo>
                  <a:lnTo>
                    <a:pt x="594" y="84"/>
                  </a:lnTo>
                  <a:lnTo>
                    <a:pt x="594" y="78"/>
                  </a:lnTo>
                  <a:lnTo>
                    <a:pt x="600" y="78"/>
                  </a:lnTo>
                  <a:lnTo>
                    <a:pt x="606" y="78"/>
                  </a:lnTo>
                  <a:lnTo>
                    <a:pt x="606" y="72"/>
                  </a:lnTo>
                  <a:lnTo>
                    <a:pt x="606" y="78"/>
                  </a:lnTo>
                  <a:lnTo>
                    <a:pt x="606" y="72"/>
                  </a:lnTo>
                  <a:lnTo>
                    <a:pt x="606" y="78"/>
                  </a:lnTo>
                  <a:lnTo>
                    <a:pt x="612" y="78"/>
                  </a:lnTo>
                  <a:lnTo>
                    <a:pt x="612" y="72"/>
                  </a:lnTo>
                  <a:lnTo>
                    <a:pt x="618" y="72"/>
                  </a:lnTo>
                  <a:lnTo>
                    <a:pt x="618" y="66"/>
                  </a:lnTo>
                  <a:lnTo>
                    <a:pt x="624" y="66"/>
                  </a:lnTo>
                  <a:lnTo>
                    <a:pt x="624" y="60"/>
                  </a:lnTo>
                  <a:lnTo>
                    <a:pt x="624" y="66"/>
                  </a:lnTo>
                  <a:lnTo>
                    <a:pt x="630" y="66"/>
                  </a:lnTo>
                  <a:lnTo>
                    <a:pt x="630" y="60"/>
                  </a:lnTo>
                  <a:lnTo>
                    <a:pt x="630" y="54"/>
                  </a:lnTo>
                  <a:lnTo>
                    <a:pt x="636" y="54"/>
                  </a:lnTo>
                  <a:lnTo>
                    <a:pt x="636" y="48"/>
                  </a:lnTo>
                  <a:lnTo>
                    <a:pt x="642" y="48"/>
                  </a:lnTo>
                  <a:lnTo>
                    <a:pt x="642" y="42"/>
                  </a:lnTo>
                  <a:lnTo>
                    <a:pt x="648" y="42"/>
                  </a:lnTo>
                  <a:lnTo>
                    <a:pt x="648" y="36"/>
                  </a:lnTo>
                  <a:lnTo>
                    <a:pt x="648" y="30"/>
                  </a:lnTo>
                  <a:lnTo>
                    <a:pt x="654" y="30"/>
                  </a:lnTo>
                  <a:lnTo>
                    <a:pt x="654" y="24"/>
                  </a:lnTo>
                  <a:lnTo>
                    <a:pt x="660" y="24"/>
                  </a:lnTo>
                  <a:lnTo>
                    <a:pt x="666" y="24"/>
                  </a:lnTo>
                  <a:lnTo>
                    <a:pt x="672" y="24"/>
                  </a:lnTo>
                  <a:lnTo>
                    <a:pt x="678" y="24"/>
                  </a:lnTo>
                  <a:lnTo>
                    <a:pt x="678" y="18"/>
                  </a:lnTo>
                  <a:lnTo>
                    <a:pt x="684" y="18"/>
                  </a:lnTo>
                  <a:lnTo>
                    <a:pt x="690" y="18"/>
                  </a:lnTo>
                  <a:lnTo>
                    <a:pt x="696" y="18"/>
                  </a:lnTo>
                  <a:lnTo>
                    <a:pt x="696" y="12"/>
                  </a:lnTo>
                  <a:lnTo>
                    <a:pt x="696" y="6"/>
                  </a:lnTo>
                  <a:lnTo>
                    <a:pt x="696" y="0"/>
                  </a:lnTo>
                  <a:lnTo>
                    <a:pt x="702" y="0"/>
                  </a:lnTo>
                  <a:lnTo>
                    <a:pt x="708" y="0"/>
                  </a:lnTo>
                  <a:lnTo>
                    <a:pt x="714" y="0"/>
                  </a:lnTo>
                  <a:lnTo>
                    <a:pt x="720" y="0"/>
                  </a:lnTo>
                  <a:lnTo>
                    <a:pt x="726" y="0"/>
                  </a:lnTo>
                  <a:lnTo>
                    <a:pt x="732" y="0"/>
                  </a:lnTo>
                  <a:lnTo>
                    <a:pt x="738" y="0"/>
                  </a:lnTo>
                  <a:lnTo>
                    <a:pt x="744" y="0"/>
                  </a:lnTo>
                  <a:lnTo>
                    <a:pt x="750" y="0"/>
                  </a:lnTo>
                  <a:lnTo>
                    <a:pt x="750" y="6"/>
                  </a:lnTo>
                  <a:lnTo>
                    <a:pt x="756" y="6"/>
                  </a:lnTo>
                  <a:lnTo>
                    <a:pt x="762" y="6"/>
                  </a:lnTo>
                  <a:lnTo>
                    <a:pt x="768" y="6"/>
                  </a:lnTo>
                  <a:lnTo>
                    <a:pt x="768" y="12"/>
                  </a:lnTo>
                  <a:lnTo>
                    <a:pt x="774" y="12"/>
                  </a:lnTo>
                  <a:lnTo>
                    <a:pt x="780" y="12"/>
                  </a:lnTo>
                  <a:lnTo>
                    <a:pt x="780" y="6"/>
                  </a:lnTo>
                  <a:lnTo>
                    <a:pt x="786" y="6"/>
                  </a:lnTo>
                  <a:lnTo>
                    <a:pt x="786" y="12"/>
                  </a:lnTo>
                  <a:lnTo>
                    <a:pt x="786" y="6"/>
                  </a:lnTo>
                  <a:lnTo>
                    <a:pt x="792" y="6"/>
                  </a:lnTo>
                  <a:lnTo>
                    <a:pt x="798" y="6"/>
                  </a:lnTo>
                  <a:lnTo>
                    <a:pt x="804" y="6"/>
                  </a:lnTo>
                  <a:lnTo>
                    <a:pt x="810" y="12"/>
                  </a:lnTo>
                  <a:lnTo>
                    <a:pt x="810" y="6"/>
                  </a:lnTo>
                  <a:lnTo>
                    <a:pt x="810" y="12"/>
                  </a:lnTo>
                  <a:lnTo>
                    <a:pt x="816" y="12"/>
                  </a:lnTo>
                  <a:lnTo>
                    <a:pt x="822" y="12"/>
                  </a:lnTo>
                  <a:lnTo>
                    <a:pt x="828" y="12"/>
                  </a:lnTo>
                  <a:lnTo>
                    <a:pt x="828" y="24"/>
                  </a:lnTo>
                  <a:lnTo>
                    <a:pt x="834" y="36"/>
                  </a:lnTo>
                  <a:lnTo>
                    <a:pt x="834" y="48"/>
                  </a:lnTo>
                  <a:lnTo>
                    <a:pt x="834" y="54"/>
                  </a:lnTo>
                  <a:lnTo>
                    <a:pt x="840" y="54"/>
                  </a:lnTo>
                  <a:lnTo>
                    <a:pt x="840" y="60"/>
                  </a:lnTo>
                  <a:lnTo>
                    <a:pt x="840" y="66"/>
                  </a:lnTo>
                  <a:lnTo>
                    <a:pt x="840" y="72"/>
                  </a:lnTo>
                  <a:lnTo>
                    <a:pt x="840" y="78"/>
                  </a:lnTo>
                  <a:lnTo>
                    <a:pt x="846" y="84"/>
                  </a:lnTo>
                  <a:lnTo>
                    <a:pt x="846" y="90"/>
                  </a:lnTo>
                  <a:lnTo>
                    <a:pt x="846" y="96"/>
                  </a:lnTo>
                  <a:lnTo>
                    <a:pt x="852" y="102"/>
                  </a:lnTo>
                  <a:lnTo>
                    <a:pt x="858" y="108"/>
                  </a:lnTo>
                  <a:lnTo>
                    <a:pt x="858" y="120"/>
                  </a:lnTo>
                  <a:lnTo>
                    <a:pt x="864" y="126"/>
                  </a:lnTo>
                  <a:lnTo>
                    <a:pt x="864" y="132"/>
                  </a:lnTo>
                  <a:lnTo>
                    <a:pt x="864" y="138"/>
                  </a:lnTo>
                  <a:lnTo>
                    <a:pt x="864" y="144"/>
                  </a:lnTo>
                  <a:lnTo>
                    <a:pt x="864" y="150"/>
                  </a:lnTo>
                  <a:lnTo>
                    <a:pt x="864" y="156"/>
                  </a:lnTo>
                  <a:lnTo>
                    <a:pt x="864" y="162"/>
                  </a:lnTo>
                  <a:lnTo>
                    <a:pt x="864" y="168"/>
                  </a:lnTo>
                  <a:lnTo>
                    <a:pt x="864" y="174"/>
                  </a:lnTo>
                  <a:lnTo>
                    <a:pt x="864" y="180"/>
                  </a:lnTo>
                  <a:lnTo>
                    <a:pt x="864" y="186"/>
                  </a:lnTo>
                  <a:lnTo>
                    <a:pt x="864" y="192"/>
                  </a:lnTo>
                  <a:lnTo>
                    <a:pt x="864" y="198"/>
                  </a:lnTo>
                  <a:lnTo>
                    <a:pt x="864" y="204"/>
                  </a:lnTo>
                  <a:lnTo>
                    <a:pt x="864" y="210"/>
                  </a:lnTo>
                  <a:lnTo>
                    <a:pt x="864" y="216"/>
                  </a:lnTo>
                  <a:lnTo>
                    <a:pt x="864" y="222"/>
                  </a:lnTo>
                  <a:lnTo>
                    <a:pt x="858" y="222"/>
                  </a:lnTo>
                  <a:lnTo>
                    <a:pt x="864" y="228"/>
                  </a:lnTo>
                  <a:lnTo>
                    <a:pt x="858" y="234"/>
                  </a:lnTo>
                  <a:lnTo>
                    <a:pt x="852" y="234"/>
                  </a:lnTo>
                  <a:lnTo>
                    <a:pt x="852" y="228"/>
                  </a:lnTo>
                  <a:lnTo>
                    <a:pt x="846" y="228"/>
                  </a:lnTo>
                  <a:lnTo>
                    <a:pt x="846" y="222"/>
                  </a:lnTo>
                  <a:lnTo>
                    <a:pt x="840" y="222"/>
                  </a:lnTo>
                  <a:lnTo>
                    <a:pt x="834" y="222"/>
                  </a:lnTo>
                  <a:lnTo>
                    <a:pt x="834" y="216"/>
                  </a:lnTo>
                  <a:lnTo>
                    <a:pt x="828" y="216"/>
                  </a:lnTo>
                  <a:lnTo>
                    <a:pt x="822" y="222"/>
                  </a:lnTo>
                  <a:lnTo>
                    <a:pt x="816" y="228"/>
                  </a:lnTo>
                  <a:lnTo>
                    <a:pt x="816" y="234"/>
                  </a:lnTo>
                  <a:lnTo>
                    <a:pt x="810" y="234"/>
                  </a:lnTo>
                  <a:lnTo>
                    <a:pt x="810" y="240"/>
                  </a:lnTo>
                  <a:lnTo>
                    <a:pt x="810" y="246"/>
                  </a:lnTo>
                  <a:lnTo>
                    <a:pt x="804" y="252"/>
                  </a:lnTo>
                  <a:lnTo>
                    <a:pt x="804" y="258"/>
                  </a:lnTo>
                  <a:lnTo>
                    <a:pt x="798" y="258"/>
                  </a:lnTo>
                  <a:lnTo>
                    <a:pt x="798" y="270"/>
                  </a:lnTo>
                  <a:lnTo>
                    <a:pt x="798" y="276"/>
                  </a:lnTo>
                  <a:lnTo>
                    <a:pt x="798" y="282"/>
                  </a:lnTo>
                  <a:lnTo>
                    <a:pt x="798" y="288"/>
                  </a:lnTo>
                  <a:lnTo>
                    <a:pt x="798" y="282"/>
                  </a:lnTo>
                  <a:lnTo>
                    <a:pt x="804" y="282"/>
                  </a:lnTo>
                  <a:lnTo>
                    <a:pt x="804" y="288"/>
                  </a:lnTo>
                  <a:lnTo>
                    <a:pt x="810" y="288"/>
                  </a:lnTo>
                  <a:lnTo>
                    <a:pt x="810" y="294"/>
                  </a:lnTo>
                  <a:lnTo>
                    <a:pt x="804" y="294"/>
                  </a:lnTo>
                  <a:lnTo>
                    <a:pt x="810" y="300"/>
                  </a:lnTo>
                  <a:lnTo>
                    <a:pt x="816" y="306"/>
                  </a:lnTo>
                  <a:lnTo>
                    <a:pt x="822" y="312"/>
                  </a:lnTo>
                  <a:lnTo>
                    <a:pt x="828" y="312"/>
                  </a:lnTo>
                  <a:lnTo>
                    <a:pt x="834" y="312"/>
                  </a:lnTo>
                  <a:lnTo>
                    <a:pt x="834" y="318"/>
                  </a:lnTo>
                  <a:lnTo>
                    <a:pt x="840" y="318"/>
                  </a:lnTo>
                  <a:lnTo>
                    <a:pt x="846" y="318"/>
                  </a:lnTo>
                  <a:lnTo>
                    <a:pt x="852" y="318"/>
                  </a:lnTo>
                  <a:lnTo>
                    <a:pt x="858" y="318"/>
                  </a:lnTo>
                  <a:lnTo>
                    <a:pt x="864" y="318"/>
                  </a:lnTo>
                  <a:lnTo>
                    <a:pt x="864" y="312"/>
                  </a:lnTo>
                  <a:lnTo>
                    <a:pt x="864" y="306"/>
                  </a:lnTo>
                  <a:lnTo>
                    <a:pt x="864" y="300"/>
                  </a:lnTo>
                  <a:lnTo>
                    <a:pt x="864" y="294"/>
                  </a:lnTo>
                  <a:lnTo>
                    <a:pt x="864" y="288"/>
                  </a:lnTo>
                  <a:lnTo>
                    <a:pt x="864" y="282"/>
                  </a:lnTo>
                  <a:lnTo>
                    <a:pt x="870" y="282"/>
                  </a:lnTo>
                  <a:lnTo>
                    <a:pt x="870" y="288"/>
                  </a:lnTo>
                  <a:close/>
                  <a:moveTo>
                    <a:pt x="708" y="468"/>
                  </a:moveTo>
                  <a:lnTo>
                    <a:pt x="702" y="468"/>
                  </a:lnTo>
                  <a:lnTo>
                    <a:pt x="708" y="468"/>
                  </a:lnTo>
                  <a:lnTo>
                    <a:pt x="708" y="462"/>
                  </a:lnTo>
                  <a:lnTo>
                    <a:pt x="714" y="462"/>
                  </a:lnTo>
                  <a:lnTo>
                    <a:pt x="714" y="456"/>
                  </a:lnTo>
                  <a:lnTo>
                    <a:pt x="714" y="450"/>
                  </a:lnTo>
                  <a:lnTo>
                    <a:pt x="720" y="450"/>
                  </a:lnTo>
                  <a:lnTo>
                    <a:pt x="720" y="444"/>
                  </a:lnTo>
                  <a:lnTo>
                    <a:pt x="720" y="438"/>
                  </a:lnTo>
                  <a:lnTo>
                    <a:pt x="720" y="432"/>
                  </a:lnTo>
                  <a:lnTo>
                    <a:pt x="714" y="432"/>
                  </a:lnTo>
                  <a:lnTo>
                    <a:pt x="714" y="426"/>
                  </a:lnTo>
                  <a:lnTo>
                    <a:pt x="708" y="426"/>
                  </a:lnTo>
                  <a:lnTo>
                    <a:pt x="708" y="420"/>
                  </a:lnTo>
                  <a:lnTo>
                    <a:pt x="702" y="420"/>
                  </a:lnTo>
                  <a:lnTo>
                    <a:pt x="696" y="414"/>
                  </a:lnTo>
                  <a:lnTo>
                    <a:pt x="690" y="408"/>
                  </a:lnTo>
                  <a:lnTo>
                    <a:pt x="684" y="408"/>
                  </a:lnTo>
                  <a:lnTo>
                    <a:pt x="684" y="402"/>
                  </a:lnTo>
                  <a:lnTo>
                    <a:pt x="678" y="402"/>
                  </a:lnTo>
                  <a:lnTo>
                    <a:pt x="678" y="396"/>
                  </a:lnTo>
                  <a:lnTo>
                    <a:pt x="672" y="396"/>
                  </a:lnTo>
                  <a:lnTo>
                    <a:pt x="666" y="396"/>
                  </a:lnTo>
                  <a:lnTo>
                    <a:pt x="660" y="402"/>
                  </a:lnTo>
                  <a:lnTo>
                    <a:pt x="654" y="402"/>
                  </a:lnTo>
                  <a:lnTo>
                    <a:pt x="648" y="402"/>
                  </a:lnTo>
                  <a:lnTo>
                    <a:pt x="648" y="408"/>
                  </a:lnTo>
                  <a:lnTo>
                    <a:pt x="648" y="402"/>
                  </a:lnTo>
                  <a:lnTo>
                    <a:pt x="648" y="408"/>
                  </a:lnTo>
                  <a:lnTo>
                    <a:pt x="642" y="408"/>
                  </a:lnTo>
                  <a:lnTo>
                    <a:pt x="642" y="414"/>
                  </a:lnTo>
                  <a:lnTo>
                    <a:pt x="636" y="414"/>
                  </a:lnTo>
                  <a:lnTo>
                    <a:pt x="630" y="414"/>
                  </a:lnTo>
                  <a:lnTo>
                    <a:pt x="630" y="420"/>
                  </a:lnTo>
                  <a:lnTo>
                    <a:pt x="624" y="420"/>
                  </a:lnTo>
                  <a:lnTo>
                    <a:pt x="624" y="426"/>
                  </a:lnTo>
                  <a:lnTo>
                    <a:pt x="624" y="432"/>
                  </a:lnTo>
                  <a:lnTo>
                    <a:pt x="618" y="432"/>
                  </a:lnTo>
                  <a:lnTo>
                    <a:pt x="618" y="438"/>
                  </a:lnTo>
                  <a:lnTo>
                    <a:pt x="612" y="438"/>
                  </a:lnTo>
                  <a:lnTo>
                    <a:pt x="618" y="438"/>
                  </a:lnTo>
                  <a:lnTo>
                    <a:pt x="612" y="438"/>
                  </a:lnTo>
                  <a:lnTo>
                    <a:pt x="612" y="444"/>
                  </a:lnTo>
                  <a:lnTo>
                    <a:pt x="606" y="444"/>
                  </a:lnTo>
                  <a:lnTo>
                    <a:pt x="612" y="444"/>
                  </a:lnTo>
                  <a:lnTo>
                    <a:pt x="612" y="450"/>
                  </a:lnTo>
                  <a:lnTo>
                    <a:pt x="606" y="450"/>
                  </a:lnTo>
                  <a:lnTo>
                    <a:pt x="600" y="456"/>
                  </a:lnTo>
                  <a:lnTo>
                    <a:pt x="606" y="456"/>
                  </a:lnTo>
                  <a:lnTo>
                    <a:pt x="600" y="456"/>
                  </a:lnTo>
                  <a:lnTo>
                    <a:pt x="594" y="456"/>
                  </a:lnTo>
                  <a:lnTo>
                    <a:pt x="594" y="462"/>
                  </a:lnTo>
                  <a:lnTo>
                    <a:pt x="588" y="462"/>
                  </a:lnTo>
                  <a:lnTo>
                    <a:pt x="588" y="468"/>
                  </a:lnTo>
                  <a:lnTo>
                    <a:pt x="594" y="468"/>
                  </a:lnTo>
                  <a:lnTo>
                    <a:pt x="594" y="474"/>
                  </a:lnTo>
                  <a:lnTo>
                    <a:pt x="594" y="480"/>
                  </a:lnTo>
                  <a:lnTo>
                    <a:pt x="600" y="480"/>
                  </a:lnTo>
                  <a:lnTo>
                    <a:pt x="600" y="486"/>
                  </a:lnTo>
                  <a:lnTo>
                    <a:pt x="600" y="492"/>
                  </a:lnTo>
                  <a:lnTo>
                    <a:pt x="606" y="492"/>
                  </a:lnTo>
                  <a:lnTo>
                    <a:pt x="606" y="498"/>
                  </a:lnTo>
                  <a:lnTo>
                    <a:pt x="606" y="492"/>
                  </a:lnTo>
                  <a:lnTo>
                    <a:pt x="606" y="498"/>
                  </a:lnTo>
                  <a:lnTo>
                    <a:pt x="606" y="504"/>
                  </a:lnTo>
                  <a:lnTo>
                    <a:pt x="612" y="504"/>
                  </a:lnTo>
                  <a:lnTo>
                    <a:pt x="612" y="510"/>
                  </a:lnTo>
                  <a:lnTo>
                    <a:pt x="618" y="510"/>
                  </a:lnTo>
                  <a:lnTo>
                    <a:pt x="618" y="516"/>
                  </a:lnTo>
                  <a:lnTo>
                    <a:pt x="624" y="516"/>
                  </a:lnTo>
                  <a:lnTo>
                    <a:pt x="624" y="522"/>
                  </a:lnTo>
                  <a:lnTo>
                    <a:pt x="630" y="522"/>
                  </a:lnTo>
                  <a:lnTo>
                    <a:pt x="636" y="522"/>
                  </a:lnTo>
                  <a:lnTo>
                    <a:pt x="636" y="528"/>
                  </a:lnTo>
                  <a:lnTo>
                    <a:pt x="642" y="528"/>
                  </a:lnTo>
                  <a:lnTo>
                    <a:pt x="648" y="528"/>
                  </a:lnTo>
                  <a:lnTo>
                    <a:pt x="648" y="522"/>
                  </a:lnTo>
                  <a:lnTo>
                    <a:pt x="648" y="516"/>
                  </a:lnTo>
                  <a:lnTo>
                    <a:pt x="654" y="516"/>
                  </a:lnTo>
                  <a:lnTo>
                    <a:pt x="648" y="516"/>
                  </a:lnTo>
                  <a:lnTo>
                    <a:pt x="654" y="516"/>
                  </a:lnTo>
                  <a:lnTo>
                    <a:pt x="654" y="510"/>
                  </a:lnTo>
                  <a:lnTo>
                    <a:pt x="654" y="504"/>
                  </a:lnTo>
                  <a:lnTo>
                    <a:pt x="660" y="504"/>
                  </a:lnTo>
                  <a:lnTo>
                    <a:pt x="660" y="498"/>
                  </a:lnTo>
                  <a:lnTo>
                    <a:pt x="666" y="492"/>
                  </a:lnTo>
                  <a:lnTo>
                    <a:pt x="666" y="498"/>
                  </a:lnTo>
                  <a:lnTo>
                    <a:pt x="672" y="492"/>
                  </a:lnTo>
                  <a:lnTo>
                    <a:pt x="672" y="498"/>
                  </a:lnTo>
                  <a:lnTo>
                    <a:pt x="672" y="492"/>
                  </a:lnTo>
                  <a:lnTo>
                    <a:pt x="678" y="492"/>
                  </a:lnTo>
                  <a:lnTo>
                    <a:pt x="684" y="492"/>
                  </a:lnTo>
                  <a:lnTo>
                    <a:pt x="690" y="492"/>
                  </a:lnTo>
                  <a:lnTo>
                    <a:pt x="696" y="486"/>
                  </a:lnTo>
                  <a:lnTo>
                    <a:pt x="702" y="486"/>
                  </a:lnTo>
                  <a:lnTo>
                    <a:pt x="702" y="480"/>
                  </a:lnTo>
                  <a:lnTo>
                    <a:pt x="702" y="486"/>
                  </a:lnTo>
                  <a:lnTo>
                    <a:pt x="702" y="480"/>
                  </a:lnTo>
                  <a:lnTo>
                    <a:pt x="708" y="480"/>
                  </a:lnTo>
                  <a:lnTo>
                    <a:pt x="708" y="474"/>
                  </a:lnTo>
                  <a:lnTo>
                    <a:pt x="702" y="474"/>
                  </a:lnTo>
                  <a:lnTo>
                    <a:pt x="708" y="474"/>
                  </a:lnTo>
                  <a:lnTo>
                    <a:pt x="708" y="468"/>
                  </a:lnTo>
                  <a:close/>
                  <a:moveTo>
                    <a:pt x="102" y="732"/>
                  </a:moveTo>
                  <a:lnTo>
                    <a:pt x="108" y="732"/>
                  </a:lnTo>
                  <a:lnTo>
                    <a:pt x="108" y="738"/>
                  </a:lnTo>
                  <a:lnTo>
                    <a:pt x="102" y="738"/>
                  </a:lnTo>
                  <a:lnTo>
                    <a:pt x="102" y="73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5" name="Freeform 60"/>
            <p:cNvSpPr>
              <a:spLocks/>
            </p:cNvSpPr>
            <p:nvPr>
              <p:custDataLst>
                <p:tags r:id="rId108"/>
              </p:custDataLst>
            </p:nvPr>
          </p:nvSpPr>
          <p:spPr bwMode="gray">
            <a:xfrm>
              <a:off x="5318125" y="5440363"/>
              <a:ext cx="87313" cy="128588"/>
            </a:xfrm>
            <a:custGeom>
              <a:avLst/>
              <a:gdLst>
                <a:gd name="T0" fmla="*/ 21490 w 72"/>
                <a:gd name="T1" fmla="*/ 3956 h 102"/>
                <a:gd name="T2" fmla="*/ 21490 w 72"/>
                <a:gd name="T3" fmla="*/ 6924 h 102"/>
                <a:gd name="T4" fmla="*/ 24294 w 72"/>
                <a:gd name="T5" fmla="*/ 6924 h 102"/>
                <a:gd name="T6" fmla="*/ 24294 w 72"/>
                <a:gd name="T7" fmla="*/ 10880 h 102"/>
                <a:gd name="T8" fmla="*/ 24294 w 72"/>
                <a:gd name="T9" fmla="*/ 12858 h 102"/>
                <a:gd name="T10" fmla="*/ 24294 w 72"/>
                <a:gd name="T11" fmla="*/ 15825 h 102"/>
                <a:gd name="T12" fmla="*/ 24294 w 72"/>
                <a:gd name="T13" fmla="*/ 17803 h 102"/>
                <a:gd name="T14" fmla="*/ 24294 w 72"/>
                <a:gd name="T15" fmla="*/ 21760 h 102"/>
                <a:gd name="T16" fmla="*/ 24294 w 72"/>
                <a:gd name="T17" fmla="*/ 26705 h 102"/>
                <a:gd name="T18" fmla="*/ 24294 w 72"/>
                <a:gd name="T19" fmla="*/ 23738 h 102"/>
                <a:gd name="T20" fmla="*/ 21490 w 72"/>
                <a:gd name="T21" fmla="*/ 23738 h 102"/>
                <a:gd name="T22" fmla="*/ 21490 w 72"/>
                <a:gd name="T23" fmla="*/ 26705 h 102"/>
                <a:gd name="T24" fmla="*/ 21490 w 72"/>
                <a:gd name="T25" fmla="*/ 28684 h 102"/>
                <a:gd name="T26" fmla="*/ 21490 w 72"/>
                <a:gd name="T27" fmla="*/ 30662 h 102"/>
                <a:gd name="T28" fmla="*/ 21490 w 72"/>
                <a:gd name="T29" fmla="*/ 32640 h 102"/>
                <a:gd name="T30" fmla="*/ 21490 w 72"/>
                <a:gd name="T31" fmla="*/ 34618 h 102"/>
                <a:gd name="T32" fmla="*/ 21490 w 72"/>
                <a:gd name="T33" fmla="*/ 37585 h 102"/>
                <a:gd name="T34" fmla="*/ 20556 w 72"/>
                <a:gd name="T35" fmla="*/ 37585 h 102"/>
                <a:gd name="T36" fmla="*/ 17753 w 72"/>
                <a:gd name="T37" fmla="*/ 37585 h 102"/>
                <a:gd name="T38" fmla="*/ 15884 w 72"/>
                <a:gd name="T39" fmla="*/ 37585 h 102"/>
                <a:gd name="T40" fmla="*/ 14016 w 72"/>
                <a:gd name="T41" fmla="*/ 37585 h 102"/>
                <a:gd name="T42" fmla="*/ 12147 w 72"/>
                <a:gd name="T43" fmla="*/ 37585 h 102"/>
                <a:gd name="T44" fmla="*/ 12147 w 72"/>
                <a:gd name="T45" fmla="*/ 34618 h 102"/>
                <a:gd name="T46" fmla="*/ 10278 w 72"/>
                <a:gd name="T47" fmla="*/ 34618 h 102"/>
                <a:gd name="T48" fmla="*/ 7475 w 72"/>
                <a:gd name="T49" fmla="*/ 34618 h 102"/>
                <a:gd name="T50" fmla="*/ 6540 w 72"/>
                <a:gd name="T51" fmla="*/ 32640 h 102"/>
                <a:gd name="T52" fmla="*/ 3738 w 72"/>
                <a:gd name="T53" fmla="*/ 30662 h 102"/>
                <a:gd name="T54" fmla="*/ 1868 w 72"/>
                <a:gd name="T55" fmla="*/ 28684 h 102"/>
                <a:gd name="T56" fmla="*/ 3738 w 72"/>
                <a:gd name="T57" fmla="*/ 28684 h 102"/>
                <a:gd name="T58" fmla="*/ 3738 w 72"/>
                <a:gd name="T59" fmla="*/ 26705 h 102"/>
                <a:gd name="T60" fmla="*/ 1868 w 72"/>
                <a:gd name="T61" fmla="*/ 26705 h 102"/>
                <a:gd name="T62" fmla="*/ 1868 w 72"/>
                <a:gd name="T63" fmla="*/ 23738 h 102"/>
                <a:gd name="T64" fmla="*/ 0 w 72"/>
                <a:gd name="T65" fmla="*/ 23738 h 102"/>
                <a:gd name="T66" fmla="*/ 0 w 72"/>
                <a:gd name="T67" fmla="*/ 26705 h 102"/>
                <a:gd name="T68" fmla="*/ 0 w 72"/>
                <a:gd name="T69" fmla="*/ 23738 h 102"/>
                <a:gd name="T70" fmla="*/ 0 w 72"/>
                <a:gd name="T71" fmla="*/ 21760 h 102"/>
                <a:gd name="T72" fmla="*/ 0 w 72"/>
                <a:gd name="T73" fmla="*/ 19781 h 102"/>
                <a:gd name="T74" fmla="*/ 0 w 72"/>
                <a:gd name="T75" fmla="*/ 15825 h 102"/>
                <a:gd name="T76" fmla="*/ 1868 w 72"/>
                <a:gd name="T77" fmla="*/ 15825 h 102"/>
                <a:gd name="T78" fmla="*/ 1868 w 72"/>
                <a:gd name="T79" fmla="*/ 12858 h 102"/>
                <a:gd name="T80" fmla="*/ 3738 w 72"/>
                <a:gd name="T81" fmla="*/ 10880 h 102"/>
                <a:gd name="T82" fmla="*/ 3738 w 72"/>
                <a:gd name="T83" fmla="*/ 8902 h 102"/>
                <a:gd name="T84" fmla="*/ 3738 w 72"/>
                <a:gd name="T85" fmla="*/ 6924 h 102"/>
                <a:gd name="T86" fmla="*/ 6540 w 72"/>
                <a:gd name="T87" fmla="*/ 6924 h 102"/>
                <a:gd name="T88" fmla="*/ 6540 w 72"/>
                <a:gd name="T89" fmla="*/ 3956 h 102"/>
                <a:gd name="T90" fmla="*/ 7475 w 72"/>
                <a:gd name="T91" fmla="*/ 1978 h 102"/>
                <a:gd name="T92" fmla="*/ 10278 w 72"/>
                <a:gd name="T93" fmla="*/ 0 h 102"/>
                <a:gd name="T94" fmla="*/ 12147 w 72"/>
                <a:gd name="T95" fmla="*/ 0 h 102"/>
                <a:gd name="T96" fmla="*/ 12147 w 72"/>
                <a:gd name="T97" fmla="*/ 1978 h 102"/>
                <a:gd name="T98" fmla="*/ 14016 w 72"/>
                <a:gd name="T99" fmla="*/ 1978 h 102"/>
                <a:gd name="T100" fmla="*/ 15884 w 72"/>
                <a:gd name="T101" fmla="*/ 1978 h 102"/>
                <a:gd name="T102" fmla="*/ 15884 w 72"/>
                <a:gd name="T103" fmla="*/ 3956 h 102"/>
                <a:gd name="T104" fmla="*/ 17753 w 72"/>
                <a:gd name="T105" fmla="*/ 3956 h 102"/>
                <a:gd name="T106" fmla="*/ 17753 w 72"/>
                <a:gd name="T107" fmla="*/ 6924 h 102"/>
                <a:gd name="T108" fmla="*/ 20556 w 72"/>
                <a:gd name="T109" fmla="*/ 6924 h 102"/>
                <a:gd name="T110" fmla="*/ 21490 w 72"/>
                <a:gd name="T111" fmla="*/ 3956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 h="102">
                  <a:moveTo>
                    <a:pt x="66" y="12"/>
                  </a:moveTo>
                  <a:lnTo>
                    <a:pt x="66" y="18"/>
                  </a:lnTo>
                  <a:lnTo>
                    <a:pt x="72" y="18"/>
                  </a:lnTo>
                  <a:lnTo>
                    <a:pt x="72" y="30"/>
                  </a:lnTo>
                  <a:lnTo>
                    <a:pt x="72" y="36"/>
                  </a:lnTo>
                  <a:lnTo>
                    <a:pt x="72" y="42"/>
                  </a:lnTo>
                  <a:lnTo>
                    <a:pt x="72" y="48"/>
                  </a:lnTo>
                  <a:lnTo>
                    <a:pt x="72" y="60"/>
                  </a:lnTo>
                  <a:lnTo>
                    <a:pt x="72" y="72"/>
                  </a:lnTo>
                  <a:lnTo>
                    <a:pt x="72" y="66"/>
                  </a:lnTo>
                  <a:lnTo>
                    <a:pt x="66" y="66"/>
                  </a:lnTo>
                  <a:lnTo>
                    <a:pt x="66" y="72"/>
                  </a:lnTo>
                  <a:lnTo>
                    <a:pt x="66" y="78"/>
                  </a:lnTo>
                  <a:lnTo>
                    <a:pt x="66" y="84"/>
                  </a:lnTo>
                  <a:lnTo>
                    <a:pt x="66" y="90"/>
                  </a:lnTo>
                  <a:lnTo>
                    <a:pt x="66" y="96"/>
                  </a:lnTo>
                  <a:lnTo>
                    <a:pt x="66" y="102"/>
                  </a:lnTo>
                  <a:lnTo>
                    <a:pt x="60" y="102"/>
                  </a:lnTo>
                  <a:lnTo>
                    <a:pt x="54" y="102"/>
                  </a:lnTo>
                  <a:lnTo>
                    <a:pt x="48" y="102"/>
                  </a:lnTo>
                  <a:lnTo>
                    <a:pt x="42" y="102"/>
                  </a:lnTo>
                  <a:lnTo>
                    <a:pt x="36" y="102"/>
                  </a:lnTo>
                  <a:lnTo>
                    <a:pt x="36" y="96"/>
                  </a:lnTo>
                  <a:lnTo>
                    <a:pt x="30" y="96"/>
                  </a:lnTo>
                  <a:lnTo>
                    <a:pt x="24" y="96"/>
                  </a:lnTo>
                  <a:lnTo>
                    <a:pt x="18" y="90"/>
                  </a:lnTo>
                  <a:lnTo>
                    <a:pt x="12" y="84"/>
                  </a:lnTo>
                  <a:lnTo>
                    <a:pt x="6" y="78"/>
                  </a:lnTo>
                  <a:lnTo>
                    <a:pt x="12" y="78"/>
                  </a:lnTo>
                  <a:lnTo>
                    <a:pt x="12" y="72"/>
                  </a:lnTo>
                  <a:lnTo>
                    <a:pt x="6" y="72"/>
                  </a:lnTo>
                  <a:lnTo>
                    <a:pt x="6" y="66"/>
                  </a:lnTo>
                  <a:lnTo>
                    <a:pt x="0" y="66"/>
                  </a:lnTo>
                  <a:lnTo>
                    <a:pt x="0" y="72"/>
                  </a:lnTo>
                  <a:lnTo>
                    <a:pt x="0" y="66"/>
                  </a:lnTo>
                  <a:lnTo>
                    <a:pt x="0" y="60"/>
                  </a:lnTo>
                  <a:lnTo>
                    <a:pt x="0" y="54"/>
                  </a:lnTo>
                  <a:lnTo>
                    <a:pt x="0" y="42"/>
                  </a:lnTo>
                  <a:lnTo>
                    <a:pt x="6" y="42"/>
                  </a:lnTo>
                  <a:lnTo>
                    <a:pt x="6" y="36"/>
                  </a:lnTo>
                  <a:lnTo>
                    <a:pt x="12" y="30"/>
                  </a:lnTo>
                  <a:lnTo>
                    <a:pt x="12" y="24"/>
                  </a:lnTo>
                  <a:lnTo>
                    <a:pt x="12" y="18"/>
                  </a:lnTo>
                  <a:lnTo>
                    <a:pt x="18" y="18"/>
                  </a:lnTo>
                  <a:lnTo>
                    <a:pt x="18" y="12"/>
                  </a:lnTo>
                  <a:lnTo>
                    <a:pt x="24" y="6"/>
                  </a:lnTo>
                  <a:lnTo>
                    <a:pt x="30" y="0"/>
                  </a:lnTo>
                  <a:lnTo>
                    <a:pt x="36" y="0"/>
                  </a:lnTo>
                  <a:lnTo>
                    <a:pt x="36" y="6"/>
                  </a:lnTo>
                  <a:lnTo>
                    <a:pt x="42" y="6"/>
                  </a:lnTo>
                  <a:lnTo>
                    <a:pt x="48" y="6"/>
                  </a:lnTo>
                  <a:lnTo>
                    <a:pt x="48" y="12"/>
                  </a:lnTo>
                  <a:lnTo>
                    <a:pt x="54" y="12"/>
                  </a:lnTo>
                  <a:lnTo>
                    <a:pt x="54" y="18"/>
                  </a:lnTo>
                  <a:lnTo>
                    <a:pt x="60" y="18"/>
                  </a:lnTo>
                  <a:lnTo>
                    <a:pt x="66" y="1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46" name="Freeform 61"/>
            <p:cNvSpPr>
              <a:spLocks noEditPoints="1"/>
            </p:cNvSpPr>
            <p:nvPr>
              <p:custDataLst>
                <p:tags r:id="rId109"/>
              </p:custDataLst>
            </p:nvPr>
          </p:nvSpPr>
          <p:spPr bwMode="gray">
            <a:xfrm>
              <a:off x="3998913" y="4791076"/>
              <a:ext cx="931863" cy="901700"/>
            </a:xfrm>
            <a:custGeom>
              <a:avLst/>
              <a:gdLst>
                <a:gd name="T0" fmla="*/ 165322 w 750"/>
                <a:gd name="T1" fmla="*/ 179743 h 726"/>
                <a:gd name="T2" fmla="*/ 165322 w 750"/>
                <a:gd name="T3" fmla="*/ 201118 h 726"/>
                <a:gd name="T4" fmla="*/ 165322 w 750"/>
                <a:gd name="T5" fmla="*/ 222493 h 726"/>
                <a:gd name="T6" fmla="*/ 165322 w 750"/>
                <a:gd name="T7" fmla="*/ 245811 h 726"/>
                <a:gd name="T8" fmla="*/ 152679 w 750"/>
                <a:gd name="T9" fmla="*/ 252612 h 726"/>
                <a:gd name="T10" fmla="*/ 145872 w 750"/>
                <a:gd name="T11" fmla="*/ 259413 h 726"/>
                <a:gd name="T12" fmla="*/ 131285 w 750"/>
                <a:gd name="T13" fmla="*/ 256498 h 726"/>
                <a:gd name="T14" fmla="*/ 116698 w 750"/>
                <a:gd name="T15" fmla="*/ 254556 h 726"/>
                <a:gd name="T16" fmla="*/ 111835 w 750"/>
                <a:gd name="T17" fmla="*/ 244839 h 726"/>
                <a:gd name="T18" fmla="*/ 105028 w 750"/>
                <a:gd name="T19" fmla="*/ 239982 h 726"/>
                <a:gd name="T20" fmla="*/ 101138 w 750"/>
                <a:gd name="T21" fmla="*/ 241925 h 726"/>
                <a:gd name="T22" fmla="*/ 96276 w 750"/>
                <a:gd name="T23" fmla="*/ 248726 h 726"/>
                <a:gd name="T24" fmla="*/ 83633 w 750"/>
                <a:gd name="T25" fmla="*/ 241925 h 726"/>
                <a:gd name="T26" fmla="*/ 76826 w 750"/>
                <a:gd name="T27" fmla="*/ 231237 h 726"/>
                <a:gd name="T28" fmla="*/ 70991 w 750"/>
                <a:gd name="T29" fmla="*/ 220550 h 726"/>
                <a:gd name="T30" fmla="*/ 67101 w 750"/>
                <a:gd name="T31" fmla="*/ 209863 h 726"/>
                <a:gd name="T32" fmla="*/ 68074 w 750"/>
                <a:gd name="T33" fmla="*/ 203062 h 726"/>
                <a:gd name="T34" fmla="*/ 62238 w 750"/>
                <a:gd name="T35" fmla="*/ 190431 h 726"/>
                <a:gd name="T36" fmla="*/ 62238 w 750"/>
                <a:gd name="T37" fmla="*/ 175857 h 726"/>
                <a:gd name="T38" fmla="*/ 57377 w 750"/>
                <a:gd name="T39" fmla="*/ 160311 h 726"/>
                <a:gd name="T40" fmla="*/ 53487 w 750"/>
                <a:gd name="T41" fmla="*/ 150596 h 726"/>
                <a:gd name="T42" fmla="*/ 53487 w 750"/>
                <a:gd name="T43" fmla="*/ 135050 h 726"/>
                <a:gd name="T44" fmla="*/ 53487 w 750"/>
                <a:gd name="T45" fmla="*/ 131164 h 726"/>
                <a:gd name="T46" fmla="*/ 56404 w 750"/>
                <a:gd name="T47" fmla="*/ 120476 h 726"/>
                <a:gd name="T48" fmla="*/ 49597 w 750"/>
                <a:gd name="T49" fmla="*/ 106874 h 726"/>
                <a:gd name="T50" fmla="*/ 42789 w 750"/>
                <a:gd name="T51" fmla="*/ 96187 h 726"/>
                <a:gd name="T52" fmla="*/ 36954 w 750"/>
                <a:gd name="T53" fmla="*/ 85500 h 726"/>
                <a:gd name="T54" fmla="*/ 30147 w 750"/>
                <a:gd name="T55" fmla="*/ 74812 h 726"/>
                <a:gd name="T56" fmla="*/ 26257 w 750"/>
                <a:gd name="T57" fmla="*/ 62181 h 726"/>
                <a:gd name="T58" fmla="*/ 19449 w 750"/>
                <a:gd name="T59" fmla="*/ 46636 h 726"/>
                <a:gd name="T60" fmla="*/ 10697 w 750"/>
                <a:gd name="T61" fmla="*/ 36920 h 726"/>
                <a:gd name="T62" fmla="*/ 3890 w 750"/>
                <a:gd name="T63" fmla="*/ 26233 h 726"/>
                <a:gd name="T64" fmla="*/ 0 w 750"/>
                <a:gd name="T65" fmla="*/ 8745 h 726"/>
                <a:gd name="T66" fmla="*/ 6808 w 750"/>
                <a:gd name="T67" fmla="*/ 1943 h 726"/>
                <a:gd name="T68" fmla="*/ 14587 w 750"/>
                <a:gd name="T69" fmla="*/ 6801 h 726"/>
                <a:gd name="T70" fmla="*/ 28202 w 750"/>
                <a:gd name="T71" fmla="*/ 0 h 726"/>
                <a:gd name="T72" fmla="*/ 36954 w 750"/>
                <a:gd name="T73" fmla="*/ 3886 h 726"/>
                <a:gd name="T74" fmla="*/ 49597 w 750"/>
                <a:gd name="T75" fmla="*/ 8745 h 726"/>
                <a:gd name="T76" fmla="*/ 109890 w 750"/>
                <a:gd name="T77" fmla="*/ 8745 h 726"/>
                <a:gd name="T78" fmla="*/ 126423 w 750"/>
                <a:gd name="T79" fmla="*/ 8745 h 726"/>
                <a:gd name="T80" fmla="*/ 137120 w 750"/>
                <a:gd name="T81" fmla="*/ 14574 h 726"/>
                <a:gd name="T82" fmla="*/ 152679 w 750"/>
                <a:gd name="T83" fmla="*/ 17488 h 726"/>
                <a:gd name="T84" fmla="*/ 163377 w 750"/>
                <a:gd name="T85" fmla="*/ 19432 h 726"/>
                <a:gd name="T86" fmla="*/ 172130 w 750"/>
                <a:gd name="T87" fmla="*/ 19432 h 726"/>
                <a:gd name="T88" fmla="*/ 180881 w 750"/>
                <a:gd name="T89" fmla="*/ 21375 h 726"/>
                <a:gd name="T90" fmla="*/ 193524 w 750"/>
                <a:gd name="T91" fmla="*/ 21375 h 726"/>
                <a:gd name="T92" fmla="*/ 253817 w 750"/>
                <a:gd name="T93" fmla="*/ 10687 h 726"/>
                <a:gd name="T94" fmla="*/ 266460 w 750"/>
                <a:gd name="T95" fmla="*/ 12631 h 726"/>
                <a:gd name="T96" fmla="*/ 266460 w 750"/>
                <a:gd name="T97" fmla="*/ 17488 h 726"/>
                <a:gd name="T98" fmla="*/ 259653 w 750"/>
                <a:gd name="T99" fmla="*/ 19432 h 726"/>
                <a:gd name="T100" fmla="*/ 248955 w 750"/>
                <a:gd name="T101" fmla="*/ 21375 h 726"/>
                <a:gd name="T102" fmla="*/ 241176 w 750"/>
                <a:gd name="T103" fmla="*/ 30119 h 726"/>
                <a:gd name="T104" fmla="*/ 231450 w 750"/>
                <a:gd name="T105" fmla="*/ 23318 h 726"/>
                <a:gd name="T106" fmla="*/ 184771 w 750"/>
                <a:gd name="T107" fmla="*/ 27205 h 726"/>
                <a:gd name="T108" fmla="*/ 165322 w 750"/>
                <a:gd name="T109" fmla="*/ 111732 h 726"/>
                <a:gd name="T110" fmla="*/ 165322 w 750"/>
                <a:gd name="T111" fmla="*/ 128249 h 726"/>
                <a:gd name="T112" fmla="*/ 165322 w 750"/>
                <a:gd name="T113" fmla="*/ 145737 h 726"/>
                <a:gd name="T114" fmla="*/ 165322 w 750"/>
                <a:gd name="T115" fmla="*/ 162255 h 726"/>
                <a:gd name="T116" fmla="*/ 65156 w 750"/>
                <a:gd name="T117" fmla="*/ 20111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50" h="726">
                  <a:moveTo>
                    <a:pt x="462" y="462"/>
                  </a:moveTo>
                  <a:lnTo>
                    <a:pt x="462" y="468"/>
                  </a:lnTo>
                  <a:lnTo>
                    <a:pt x="462" y="474"/>
                  </a:lnTo>
                  <a:lnTo>
                    <a:pt x="462" y="480"/>
                  </a:lnTo>
                  <a:lnTo>
                    <a:pt x="462" y="486"/>
                  </a:lnTo>
                  <a:lnTo>
                    <a:pt x="462" y="492"/>
                  </a:lnTo>
                  <a:lnTo>
                    <a:pt x="462" y="498"/>
                  </a:lnTo>
                  <a:lnTo>
                    <a:pt x="462" y="504"/>
                  </a:lnTo>
                  <a:lnTo>
                    <a:pt x="462" y="510"/>
                  </a:lnTo>
                  <a:lnTo>
                    <a:pt x="462" y="516"/>
                  </a:lnTo>
                  <a:lnTo>
                    <a:pt x="462" y="522"/>
                  </a:lnTo>
                  <a:lnTo>
                    <a:pt x="462" y="534"/>
                  </a:lnTo>
                  <a:lnTo>
                    <a:pt x="462" y="540"/>
                  </a:lnTo>
                  <a:lnTo>
                    <a:pt x="462" y="546"/>
                  </a:lnTo>
                  <a:lnTo>
                    <a:pt x="462" y="558"/>
                  </a:lnTo>
                  <a:lnTo>
                    <a:pt x="462" y="564"/>
                  </a:lnTo>
                  <a:lnTo>
                    <a:pt x="462" y="570"/>
                  </a:lnTo>
                  <a:lnTo>
                    <a:pt x="462" y="582"/>
                  </a:lnTo>
                  <a:lnTo>
                    <a:pt x="462" y="588"/>
                  </a:lnTo>
                  <a:lnTo>
                    <a:pt x="462" y="594"/>
                  </a:lnTo>
                  <a:lnTo>
                    <a:pt x="462" y="600"/>
                  </a:lnTo>
                  <a:lnTo>
                    <a:pt x="462" y="612"/>
                  </a:lnTo>
                  <a:lnTo>
                    <a:pt x="462" y="618"/>
                  </a:lnTo>
                  <a:lnTo>
                    <a:pt x="462" y="624"/>
                  </a:lnTo>
                  <a:lnTo>
                    <a:pt x="462" y="636"/>
                  </a:lnTo>
                  <a:lnTo>
                    <a:pt x="462" y="642"/>
                  </a:lnTo>
                  <a:lnTo>
                    <a:pt x="462" y="648"/>
                  </a:lnTo>
                  <a:lnTo>
                    <a:pt x="462" y="660"/>
                  </a:lnTo>
                  <a:lnTo>
                    <a:pt x="462" y="666"/>
                  </a:lnTo>
                  <a:lnTo>
                    <a:pt x="462" y="672"/>
                  </a:lnTo>
                  <a:lnTo>
                    <a:pt x="462" y="684"/>
                  </a:lnTo>
                  <a:lnTo>
                    <a:pt x="462" y="690"/>
                  </a:lnTo>
                  <a:lnTo>
                    <a:pt x="456" y="690"/>
                  </a:lnTo>
                  <a:lnTo>
                    <a:pt x="450" y="690"/>
                  </a:lnTo>
                  <a:lnTo>
                    <a:pt x="450" y="696"/>
                  </a:lnTo>
                  <a:lnTo>
                    <a:pt x="444" y="696"/>
                  </a:lnTo>
                  <a:lnTo>
                    <a:pt x="438" y="696"/>
                  </a:lnTo>
                  <a:lnTo>
                    <a:pt x="432" y="702"/>
                  </a:lnTo>
                  <a:lnTo>
                    <a:pt x="432" y="708"/>
                  </a:lnTo>
                  <a:lnTo>
                    <a:pt x="426" y="708"/>
                  </a:lnTo>
                  <a:lnTo>
                    <a:pt x="426" y="714"/>
                  </a:lnTo>
                  <a:lnTo>
                    <a:pt x="420" y="714"/>
                  </a:lnTo>
                  <a:lnTo>
                    <a:pt x="420" y="708"/>
                  </a:lnTo>
                  <a:lnTo>
                    <a:pt x="420" y="714"/>
                  </a:lnTo>
                  <a:lnTo>
                    <a:pt x="420" y="720"/>
                  </a:lnTo>
                  <a:lnTo>
                    <a:pt x="414" y="720"/>
                  </a:lnTo>
                  <a:lnTo>
                    <a:pt x="414" y="726"/>
                  </a:lnTo>
                  <a:lnTo>
                    <a:pt x="408" y="726"/>
                  </a:lnTo>
                  <a:lnTo>
                    <a:pt x="402" y="726"/>
                  </a:lnTo>
                  <a:lnTo>
                    <a:pt x="402" y="720"/>
                  </a:lnTo>
                  <a:lnTo>
                    <a:pt x="396" y="720"/>
                  </a:lnTo>
                  <a:lnTo>
                    <a:pt x="390" y="720"/>
                  </a:lnTo>
                  <a:lnTo>
                    <a:pt x="384" y="720"/>
                  </a:lnTo>
                  <a:lnTo>
                    <a:pt x="378" y="720"/>
                  </a:lnTo>
                  <a:lnTo>
                    <a:pt x="372" y="720"/>
                  </a:lnTo>
                  <a:lnTo>
                    <a:pt x="366" y="720"/>
                  </a:lnTo>
                  <a:lnTo>
                    <a:pt x="360" y="720"/>
                  </a:lnTo>
                  <a:lnTo>
                    <a:pt x="354" y="720"/>
                  </a:lnTo>
                  <a:lnTo>
                    <a:pt x="348" y="720"/>
                  </a:lnTo>
                  <a:lnTo>
                    <a:pt x="348" y="714"/>
                  </a:lnTo>
                  <a:lnTo>
                    <a:pt x="342" y="714"/>
                  </a:lnTo>
                  <a:lnTo>
                    <a:pt x="336" y="714"/>
                  </a:lnTo>
                  <a:lnTo>
                    <a:pt x="330" y="714"/>
                  </a:lnTo>
                  <a:lnTo>
                    <a:pt x="324" y="714"/>
                  </a:lnTo>
                  <a:lnTo>
                    <a:pt x="324" y="708"/>
                  </a:lnTo>
                  <a:lnTo>
                    <a:pt x="318" y="708"/>
                  </a:lnTo>
                  <a:lnTo>
                    <a:pt x="318" y="702"/>
                  </a:lnTo>
                  <a:lnTo>
                    <a:pt x="312" y="702"/>
                  </a:lnTo>
                  <a:lnTo>
                    <a:pt x="312" y="696"/>
                  </a:lnTo>
                  <a:lnTo>
                    <a:pt x="312" y="690"/>
                  </a:lnTo>
                  <a:lnTo>
                    <a:pt x="318" y="690"/>
                  </a:lnTo>
                  <a:lnTo>
                    <a:pt x="312" y="684"/>
                  </a:lnTo>
                  <a:lnTo>
                    <a:pt x="312" y="678"/>
                  </a:lnTo>
                  <a:lnTo>
                    <a:pt x="306" y="678"/>
                  </a:lnTo>
                  <a:lnTo>
                    <a:pt x="300" y="678"/>
                  </a:lnTo>
                  <a:lnTo>
                    <a:pt x="306" y="672"/>
                  </a:lnTo>
                  <a:lnTo>
                    <a:pt x="300" y="672"/>
                  </a:lnTo>
                  <a:lnTo>
                    <a:pt x="300" y="666"/>
                  </a:lnTo>
                  <a:lnTo>
                    <a:pt x="294" y="666"/>
                  </a:lnTo>
                  <a:lnTo>
                    <a:pt x="294" y="672"/>
                  </a:lnTo>
                  <a:lnTo>
                    <a:pt x="294" y="666"/>
                  </a:lnTo>
                  <a:lnTo>
                    <a:pt x="288" y="666"/>
                  </a:lnTo>
                  <a:lnTo>
                    <a:pt x="288" y="672"/>
                  </a:lnTo>
                  <a:lnTo>
                    <a:pt x="288" y="666"/>
                  </a:lnTo>
                  <a:lnTo>
                    <a:pt x="288" y="672"/>
                  </a:lnTo>
                  <a:lnTo>
                    <a:pt x="288" y="678"/>
                  </a:lnTo>
                  <a:lnTo>
                    <a:pt x="282" y="672"/>
                  </a:lnTo>
                  <a:lnTo>
                    <a:pt x="282" y="678"/>
                  </a:lnTo>
                  <a:lnTo>
                    <a:pt x="282" y="684"/>
                  </a:lnTo>
                  <a:lnTo>
                    <a:pt x="282" y="678"/>
                  </a:lnTo>
                  <a:lnTo>
                    <a:pt x="282" y="684"/>
                  </a:lnTo>
                  <a:lnTo>
                    <a:pt x="276" y="684"/>
                  </a:lnTo>
                  <a:lnTo>
                    <a:pt x="282" y="684"/>
                  </a:lnTo>
                  <a:lnTo>
                    <a:pt x="282" y="690"/>
                  </a:lnTo>
                  <a:lnTo>
                    <a:pt x="276" y="696"/>
                  </a:lnTo>
                  <a:lnTo>
                    <a:pt x="270" y="696"/>
                  </a:lnTo>
                  <a:lnTo>
                    <a:pt x="270" y="702"/>
                  </a:lnTo>
                  <a:lnTo>
                    <a:pt x="264" y="702"/>
                  </a:lnTo>
                  <a:lnTo>
                    <a:pt x="258" y="702"/>
                  </a:lnTo>
                  <a:lnTo>
                    <a:pt x="252" y="696"/>
                  </a:lnTo>
                  <a:lnTo>
                    <a:pt x="246" y="690"/>
                  </a:lnTo>
                  <a:lnTo>
                    <a:pt x="240" y="684"/>
                  </a:lnTo>
                  <a:lnTo>
                    <a:pt x="240" y="678"/>
                  </a:lnTo>
                  <a:lnTo>
                    <a:pt x="234" y="678"/>
                  </a:lnTo>
                  <a:lnTo>
                    <a:pt x="234" y="672"/>
                  </a:lnTo>
                  <a:lnTo>
                    <a:pt x="228" y="672"/>
                  </a:lnTo>
                  <a:lnTo>
                    <a:pt x="228" y="666"/>
                  </a:lnTo>
                  <a:lnTo>
                    <a:pt x="222" y="666"/>
                  </a:lnTo>
                  <a:lnTo>
                    <a:pt x="222" y="660"/>
                  </a:lnTo>
                  <a:lnTo>
                    <a:pt x="216" y="660"/>
                  </a:lnTo>
                  <a:lnTo>
                    <a:pt x="216" y="654"/>
                  </a:lnTo>
                  <a:lnTo>
                    <a:pt x="216" y="648"/>
                  </a:lnTo>
                  <a:lnTo>
                    <a:pt x="210" y="648"/>
                  </a:lnTo>
                  <a:lnTo>
                    <a:pt x="210" y="642"/>
                  </a:lnTo>
                  <a:lnTo>
                    <a:pt x="210" y="636"/>
                  </a:lnTo>
                  <a:lnTo>
                    <a:pt x="204" y="636"/>
                  </a:lnTo>
                  <a:lnTo>
                    <a:pt x="204" y="630"/>
                  </a:lnTo>
                  <a:lnTo>
                    <a:pt x="204" y="624"/>
                  </a:lnTo>
                  <a:lnTo>
                    <a:pt x="198" y="624"/>
                  </a:lnTo>
                  <a:lnTo>
                    <a:pt x="198" y="618"/>
                  </a:lnTo>
                  <a:lnTo>
                    <a:pt x="198" y="612"/>
                  </a:lnTo>
                  <a:lnTo>
                    <a:pt x="198" y="606"/>
                  </a:lnTo>
                  <a:lnTo>
                    <a:pt x="192" y="606"/>
                  </a:lnTo>
                  <a:lnTo>
                    <a:pt x="192" y="600"/>
                  </a:lnTo>
                  <a:lnTo>
                    <a:pt x="192" y="594"/>
                  </a:lnTo>
                  <a:lnTo>
                    <a:pt x="192" y="600"/>
                  </a:lnTo>
                  <a:lnTo>
                    <a:pt x="192" y="594"/>
                  </a:lnTo>
                  <a:lnTo>
                    <a:pt x="186" y="588"/>
                  </a:lnTo>
                  <a:lnTo>
                    <a:pt x="186" y="582"/>
                  </a:lnTo>
                  <a:lnTo>
                    <a:pt x="186" y="576"/>
                  </a:lnTo>
                  <a:lnTo>
                    <a:pt x="186" y="582"/>
                  </a:lnTo>
                  <a:lnTo>
                    <a:pt x="186" y="576"/>
                  </a:lnTo>
                  <a:lnTo>
                    <a:pt x="186" y="582"/>
                  </a:lnTo>
                  <a:lnTo>
                    <a:pt x="192" y="582"/>
                  </a:lnTo>
                  <a:lnTo>
                    <a:pt x="192" y="576"/>
                  </a:lnTo>
                  <a:lnTo>
                    <a:pt x="192" y="570"/>
                  </a:lnTo>
                  <a:lnTo>
                    <a:pt x="186" y="570"/>
                  </a:lnTo>
                  <a:lnTo>
                    <a:pt x="186" y="564"/>
                  </a:lnTo>
                  <a:lnTo>
                    <a:pt x="180" y="564"/>
                  </a:lnTo>
                  <a:lnTo>
                    <a:pt x="180" y="558"/>
                  </a:lnTo>
                  <a:lnTo>
                    <a:pt x="180" y="552"/>
                  </a:lnTo>
                  <a:lnTo>
                    <a:pt x="180" y="546"/>
                  </a:lnTo>
                  <a:lnTo>
                    <a:pt x="180" y="540"/>
                  </a:lnTo>
                  <a:lnTo>
                    <a:pt x="174" y="534"/>
                  </a:lnTo>
                  <a:lnTo>
                    <a:pt x="174" y="528"/>
                  </a:lnTo>
                  <a:lnTo>
                    <a:pt x="174" y="522"/>
                  </a:lnTo>
                  <a:lnTo>
                    <a:pt x="174" y="516"/>
                  </a:lnTo>
                  <a:lnTo>
                    <a:pt x="174" y="510"/>
                  </a:lnTo>
                  <a:lnTo>
                    <a:pt x="174" y="504"/>
                  </a:lnTo>
                  <a:lnTo>
                    <a:pt x="168" y="498"/>
                  </a:lnTo>
                  <a:lnTo>
                    <a:pt x="168" y="492"/>
                  </a:lnTo>
                  <a:lnTo>
                    <a:pt x="174" y="492"/>
                  </a:lnTo>
                  <a:lnTo>
                    <a:pt x="174" y="486"/>
                  </a:lnTo>
                  <a:lnTo>
                    <a:pt x="174" y="480"/>
                  </a:lnTo>
                  <a:lnTo>
                    <a:pt x="174" y="474"/>
                  </a:lnTo>
                  <a:lnTo>
                    <a:pt x="168" y="474"/>
                  </a:lnTo>
                  <a:lnTo>
                    <a:pt x="168" y="468"/>
                  </a:lnTo>
                  <a:lnTo>
                    <a:pt x="168" y="462"/>
                  </a:lnTo>
                  <a:lnTo>
                    <a:pt x="162" y="456"/>
                  </a:lnTo>
                  <a:lnTo>
                    <a:pt x="162" y="450"/>
                  </a:lnTo>
                  <a:lnTo>
                    <a:pt x="156" y="450"/>
                  </a:lnTo>
                  <a:lnTo>
                    <a:pt x="162" y="450"/>
                  </a:lnTo>
                  <a:lnTo>
                    <a:pt x="162" y="444"/>
                  </a:lnTo>
                  <a:lnTo>
                    <a:pt x="156" y="438"/>
                  </a:lnTo>
                  <a:lnTo>
                    <a:pt x="156" y="432"/>
                  </a:lnTo>
                  <a:lnTo>
                    <a:pt x="156" y="426"/>
                  </a:lnTo>
                  <a:lnTo>
                    <a:pt x="150" y="426"/>
                  </a:lnTo>
                  <a:lnTo>
                    <a:pt x="150" y="420"/>
                  </a:lnTo>
                  <a:lnTo>
                    <a:pt x="150" y="414"/>
                  </a:lnTo>
                  <a:lnTo>
                    <a:pt x="156" y="414"/>
                  </a:lnTo>
                  <a:lnTo>
                    <a:pt x="156" y="408"/>
                  </a:lnTo>
                  <a:lnTo>
                    <a:pt x="156" y="402"/>
                  </a:lnTo>
                  <a:lnTo>
                    <a:pt x="156" y="396"/>
                  </a:lnTo>
                  <a:lnTo>
                    <a:pt x="150" y="390"/>
                  </a:lnTo>
                  <a:lnTo>
                    <a:pt x="150" y="384"/>
                  </a:lnTo>
                  <a:lnTo>
                    <a:pt x="150" y="378"/>
                  </a:lnTo>
                  <a:lnTo>
                    <a:pt x="156" y="378"/>
                  </a:lnTo>
                  <a:lnTo>
                    <a:pt x="156" y="372"/>
                  </a:lnTo>
                  <a:lnTo>
                    <a:pt x="156" y="378"/>
                  </a:lnTo>
                  <a:lnTo>
                    <a:pt x="150" y="378"/>
                  </a:lnTo>
                  <a:lnTo>
                    <a:pt x="156" y="378"/>
                  </a:lnTo>
                  <a:lnTo>
                    <a:pt x="156" y="372"/>
                  </a:lnTo>
                  <a:lnTo>
                    <a:pt x="150" y="372"/>
                  </a:lnTo>
                  <a:lnTo>
                    <a:pt x="150" y="366"/>
                  </a:lnTo>
                  <a:lnTo>
                    <a:pt x="150" y="360"/>
                  </a:lnTo>
                  <a:lnTo>
                    <a:pt x="150" y="354"/>
                  </a:lnTo>
                  <a:lnTo>
                    <a:pt x="150" y="348"/>
                  </a:lnTo>
                  <a:lnTo>
                    <a:pt x="150" y="354"/>
                  </a:lnTo>
                  <a:lnTo>
                    <a:pt x="156" y="354"/>
                  </a:lnTo>
                  <a:lnTo>
                    <a:pt x="156" y="348"/>
                  </a:lnTo>
                  <a:lnTo>
                    <a:pt x="156" y="342"/>
                  </a:lnTo>
                  <a:lnTo>
                    <a:pt x="156" y="336"/>
                  </a:lnTo>
                  <a:lnTo>
                    <a:pt x="156" y="330"/>
                  </a:lnTo>
                  <a:lnTo>
                    <a:pt x="150" y="324"/>
                  </a:lnTo>
                  <a:lnTo>
                    <a:pt x="150" y="318"/>
                  </a:lnTo>
                  <a:lnTo>
                    <a:pt x="150" y="312"/>
                  </a:lnTo>
                  <a:lnTo>
                    <a:pt x="144" y="312"/>
                  </a:lnTo>
                  <a:lnTo>
                    <a:pt x="144" y="306"/>
                  </a:lnTo>
                  <a:lnTo>
                    <a:pt x="144" y="300"/>
                  </a:lnTo>
                  <a:lnTo>
                    <a:pt x="138" y="300"/>
                  </a:lnTo>
                  <a:lnTo>
                    <a:pt x="138" y="294"/>
                  </a:lnTo>
                  <a:lnTo>
                    <a:pt x="132" y="294"/>
                  </a:lnTo>
                  <a:lnTo>
                    <a:pt x="132" y="288"/>
                  </a:lnTo>
                  <a:lnTo>
                    <a:pt x="126" y="288"/>
                  </a:lnTo>
                  <a:lnTo>
                    <a:pt x="126" y="282"/>
                  </a:lnTo>
                  <a:lnTo>
                    <a:pt x="126" y="276"/>
                  </a:lnTo>
                  <a:lnTo>
                    <a:pt x="120" y="276"/>
                  </a:lnTo>
                  <a:lnTo>
                    <a:pt x="120" y="270"/>
                  </a:lnTo>
                  <a:lnTo>
                    <a:pt x="120" y="264"/>
                  </a:lnTo>
                  <a:lnTo>
                    <a:pt x="114" y="264"/>
                  </a:lnTo>
                  <a:lnTo>
                    <a:pt x="114" y="258"/>
                  </a:lnTo>
                  <a:lnTo>
                    <a:pt x="108" y="258"/>
                  </a:lnTo>
                  <a:lnTo>
                    <a:pt x="108" y="252"/>
                  </a:lnTo>
                  <a:lnTo>
                    <a:pt x="108" y="246"/>
                  </a:lnTo>
                  <a:lnTo>
                    <a:pt x="102" y="246"/>
                  </a:lnTo>
                  <a:lnTo>
                    <a:pt x="102" y="240"/>
                  </a:lnTo>
                  <a:lnTo>
                    <a:pt x="102" y="234"/>
                  </a:lnTo>
                  <a:lnTo>
                    <a:pt x="96" y="234"/>
                  </a:lnTo>
                  <a:lnTo>
                    <a:pt x="96" y="228"/>
                  </a:lnTo>
                  <a:lnTo>
                    <a:pt x="90" y="228"/>
                  </a:lnTo>
                  <a:lnTo>
                    <a:pt x="90" y="222"/>
                  </a:lnTo>
                  <a:lnTo>
                    <a:pt x="90" y="216"/>
                  </a:lnTo>
                  <a:lnTo>
                    <a:pt x="90" y="210"/>
                  </a:lnTo>
                  <a:lnTo>
                    <a:pt x="84" y="210"/>
                  </a:lnTo>
                  <a:lnTo>
                    <a:pt x="84" y="204"/>
                  </a:lnTo>
                  <a:lnTo>
                    <a:pt x="84" y="198"/>
                  </a:lnTo>
                  <a:lnTo>
                    <a:pt x="84" y="192"/>
                  </a:lnTo>
                  <a:lnTo>
                    <a:pt x="78" y="192"/>
                  </a:lnTo>
                  <a:lnTo>
                    <a:pt x="78" y="186"/>
                  </a:lnTo>
                  <a:lnTo>
                    <a:pt x="72" y="186"/>
                  </a:lnTo>
                  <a:lnTo>
                    <a:pt x="72" y="180"/>
                  </a:lnTo>
                  <a:lnTo>
                    <a:pt x="72" y="174"/>
                  </a:lnTo>
                  <a:lnTo>
                    <a:pt x="66" y="168"/>
                  </a:lnTo>
                  <a:lnTo>
                    <a:pt x="66" y="162"/>
                  </a:lnTo>
                  <a:lnTo>
                    <a:pt x="60" y="156"/>
                  </a:lnTo>
                  <a:lnTo>
                    <a:pt x="60" y="150"/>
                  </a:lnTo>
                  <a:lnTo>
                    <a:pt x="60" y="144"/>
                  </a:lnTo>
                  <a:lnTo>
                    <a:pt x="54" y="144"/>
                  </a:lnTo>
                  <a:lnTo>
                    <a:pt x="54" y="138"/>
                  </a:lnTo>
                  <a:lnTo>
                    <a:pt x="54" y="132"/>
                  </a:lnTo>
                  <a:lnTo>
                    <a:pt x="48" y="132"/>
                  </a:lnTo>
                  <a:lnTo>
                    <a:pt x="48" y="126"/>
                  </a:lnTo>
                  <a:lnTo>
                    <a:pt x="48" y="120"/>
                  </a:lnTo>
                  <a:lnTo>
                    <a:pt x="42" y="120"/>
                  </a:lnTo>
                  <a:lnTo>
                    <a:pt x="42" y="114"/>
                  </a:lnTo>
                  <a:lnTo>
                    <a:pt x="36" y="108"/>
                  </a:lnTo>
                  <a:lnTo>
                    <a:pt x="36" y="102"/>
                  </a:lnTo>
                  <a:lnTo>
                    <a:pt x="30" y="102"/>
                  </a:lnTo>
                  <a:lnTo>
                    <a:pt x="30" y="96"/>
                  </a:lnTo>
                  <a:lnTo>
                    <a:pt x="24" y="96"/>
                  </a:lnTo>
                  <a:lnTo>
                    <a:pt x="24" y="90"/>
                  </a:lnTo>
                  <a:lnTo>
                    <a:pt x="18" y="90"/>
                  </a:lnTo>
                  <a:lnTo>
                    <a:pt x="18" y="84"/>
                  </a:lnTo>
                  <a:lnTo>
                    <a:pt x="12" y="84"/>
                  </a:lnTo>
                  <a:lnTo>
                    <a:pt x="12" y="78"/>
                  </a:lnTo>
                  <a:lnTo>
                    <a:pt x="12" y="72"/>
                  </a:lnTo>
                  <a:lnTo>
                    <a:pt x="6" y="66"/>
                  </a:lnTo>
                  <a:lnTo>
                    <a:pt x="6" y="60"/>
                  </a:lnTo>
                  <a:lnTo>
                    <a:pt x="0" y="54"/>
                  </a:lnTo>
                  <a:lnTo>
                    <a:pt x="0" y="48"/>
                  </a:lnTo>
                  <a:lnTo>
                    <a:pt x="0" y="42"/>
                  </a:lnTo>
                  <a:lnTo>
                    <a:pt x="0" y="36"/>
                  </a:lnTo>
                  <a:lnTo>
                    <a:pt x="0" y="30"/>
                  </a:lnTo>
                  <a:lnTo>
                    <a:pt x="0" y="24"/>
                  </a:lnTo>
                  <a:lnTo>
                    <a:pt x="0" y="18"/>
                  </a:lnTo>
                  <a:lnTo>
                    <a:pt x="0" y="12"/>
                  </a:lnTo>
                  <a:lnTo>
                    <a:pt x="0" y="18"/>
                  </a:lnTo>
                  <a:lnTo>
                    <a:pt x="6" y="18"/>
                  </a:lnTo>
                  <a:lnTo>
                    <a:pt x="6" y="12"/>
                  </a:lnTo>
                  <a:lnTo>
                    <a:pt x="12" y="12"/>
                  </a:lnTo>
                  <a:lnTo>
                    <a:pt x="18" y="12"/>
                  </a:lnTo>
                  <a:lnTo>
                    <a:pt x="18" y="6"/>
                  </a:lnTo>
                  <a:lnTo>
                    <a:pt x="18" y="12"/>
                  </a:lnTo>
                  <a:lnTo>
                    <a:pt x="18" y="6"/>
                  </a:lnTo>
                  <a:lnTo>
                    <a:pt x="18" y="12"/>
                  </a:lnTo>
                  <a:lnTo>
                    <a:pt x="24" y="12"/>
                  </a:lnTo>
                  <a:lnTo>
                    <a:pt x="30" y="12"/>
                  </a:lnTo>
                  <a:lnTo>
                    <a:pt x="36" y="12"/>
                  </a:lnTo>
                  <a:lnTo>
                    <a:pt x="36" y="18"/>
                  </a:lnTo>
                  <a:lnTo>
                    <a:pt x="42" y="18"/>
                  </a:lnTo>
                  <a:lnTo>
                    <a:pt x="42" y="12"/>
                  </a:lnTo>
                  <a:lnTo>
                    <a:pt x="48" y="12"/>
                  </a:lnTo>
                  <a:lnTo>
                    <a:pt x="54" y="12"/>
                  </a:lnTo>
                  <a:lnTo>
                    <a:pt x="54" y="6"/>
                  </a:lnTo>
                  <a:lnTo>
                    <a:pt x="60" y="6"/>
                  </a:lnTo>
                  <a:lnTo>
                    <a:pt x="66" y="0"/>
                  </a:lnTo>
                  <a:lnTo>
                    <a:pt x="72" y="0"/>
                  </a:lnTo>
                  <a:lnTo>
                    <a:pt x="78" y="0"/>
                  </a:lnTo>
                  <a:lnTo>
                    <a:pt x="84" y="0"/>
                  </a:lnTo>
                  <a:lnTo>
                    <a:pt x="90" y="0"/>
                  </a:lnTo>
                  <a:lnTo>
                    <a:pt x="96" y="0"/>
                  </a:lnTo>
                  <a:lnTo>
                    <a:pt x="96" y="6"/>
                  </a:lnTo>
                  <a:lnTo>
                    <a:pt x="102" y="6"/>
                  </a:lnTo>
                  <a:lnTo>
                    <a:pt x="96" y="6"/>
                  </a:lnTo>
                  <a:lnTo>
                    <a:pt x="102" y="6"/>
                  </a:lnTo>
                  <a:lnTo>
                    <a:pt x="102" y="12"/>
                  </a:lnTo>
                  <a:lnTo>
                    <a:pt x="108" y="12"/>
                  </a:lnTo>
                  <a:lnTo>
                    <a:pt x="108" y="18"/>
                  </a:lnTo>
                  <a:lnTo>
                    <a:pt x="114" y="18"/>
                  </a:lnTo>
                  <a:lnTo>
                    <a:pt x="120" y="18"/>
                  </a:lnTo>
                  <a:lnTo>
                    <a:pt x="120" y="24"/>
                  </a:lnTo>
                  <a:lnTo>
                    <a:pt x="126" y="24"/>
                  </a:lnTo>
                  <a:lnTo>
                    <a:pt x="132" y="24"/>
                  </a:lnTo>
                  <a:lnTo>
                    <a:pt x="138" y="24"/>
                  </a:lnTo>
                  <a:lnTo>
                    <a:pt x="144" y="24"/>
                  </a:lnTo>
                  <a:lnTo>
                    <a:pt x="162" y="24"/>
                  </a:lnTo>
                  <a:lnTo>
                    <a:pt x="180" y="24"/>
                  </a:lnTo>
                  <a:lnTo>
                    <a:pt x="192" y="24"/>
                  </a:lnTo>
                  <a:lnTo>
                    <a:pt x="204" y="24"/>
                  </a:lnTo>
                  <a:lnTo>
                    <a:pt x="294" y="24"/>
                  </a:lnTo>
                  <a:lnTo>
                    <a:pt x="300" y="24"/>
                  </a:lnTo>
                  <a:lnTo>
                    <a:pt x="306" y="24"/>
                  </a:lnTo>
                  <a:lnTo>
                    <a:pt x="312" y="24"/>
                  </a:lnTo>
                  <a:lnTo>
                    <a:pt x="318" y="24"/>
                  </a:lnTo>
                  <a:lnTo>
                    <a:pt x="324" y="24"/>
                  </a:lnTo>
                  <a:lnTo>
                    <a:pt x="330" y="24"/>
                  </a:lnTo>
                  <a:lnTo>
                    <a:pt x="336" y="24"/>
                  </a:lnTo>
                  <a:lnTo>
                    <a:pt x="342" y="24"/>
                  </a:lnTo>
                  <a:lnTo>
                    <a:pt x="348" y="24"/>
                  </a:lnTo>
                  <a:lnTo>
                    <a:pt x="354" y="24"/>
                  </a:lnTo>
                  <a:lnTo>
                    <a:pt x="360" y="24"/>
                  </a:lnTo>
                  <a:lnTo>
                    <a:pt x="366" y="24"/>
                  </a:lnTo>
                  <a:lnTo>
                    <a:pt x="372" y="24"/>
                  </a:lnTo>
                  <a:lnTo>
                    <a:pt x="372" y="30"/>
                  </a:lnTo>
                  <a:lnTo>
                    <a:pt x="378" y="30"/>
                  </a:lnTo>
                  <a:lnTo>
                    <a:pt x="378" y="36"/>
                  </a:lnTo>
                  <a:lnTo>
                    <a:pt x="384" y="36"/>
                  </a:lnTo>
                  <a:lnTo>
                    <a:pt x="384" y="42"/>
                  </a:lnTo>
                  <a:lnTo>
                    <a:pt x="390" y="42"/>
                  </a:lnTo>
                  <a:lnTo>
                    <a:pt x="390" y="48"/>
                  </a:lnTo>
                  <a:lnTo>
                    <a:pt x="396" y="48"/>
                  </a:lnTo>
                  <a:lnTo>
                    <a:pt x="402" y="48"/>
                  </a:lnTo>
                  <a:lnTo>
                    <a:pt x="408" y="48"/>
                  </a:lnTo>
                  <a:lnTo>
                    <a:pt x="414" y="48"/>
                  </a:lnTo>
                  <a:lnTo>
                    <a:pt x="420" y="48"/>
                  </a:lnTo>
                  <a:lnTo>
                    <a:pt x="426" y="48"/>
                  </a:lnTo>
                  <a:lnTo>
                    <a:pt x="432" y="48"/>
                  </a:lnTo>
                  <a:lnTo>
                    <a:pt x="438" y="48"/>
                  </a:lnTo>
                  <a:lnTo>
                    <a:pt x="444" y="48"/>
                  </a:lnTo>
                  <a:lnTo>
                    <a:pt x="444" y="54"/>
                  </a:lnTo>
                  <a:lnTo>
                    <a:pt x="450" y="54"/>
                  </a:lnTo>
                  <a:lnTo>
                    <a:pt x="456" y="54"/>
                  </a:lnTo>
                  <a:lnTo>
                    <a:pt x="456" y="48"/>
                  </a:lnTo>
                  <a:lnTo>
                    <a:pt x="456" y="54"/>
                  </a:lnTo>
                  <a:lnTo>
                    <a:pt x="462" y="54"/>
                  </a:lnTo>
                  <a:lnTo>
                    <a:pt x="468" y="54"/>
                  </a:lnTo>
                  <a:lnTo>
                    <a:pt x="474" y="54"/>
                  </a:lnTo>
                  <a:lnTo>
                    <a:pt x="474" y="48"/>
                  </a:lnTo>
                  <a:lnTo>
                    <a:pt x="474" y="54"/>
                  </a:lnTo>
                  <a:lnTo>
                    <a:pt x="474" y="48"/>
                  </a:lnTo>
                  <a:lnTo>
                    <a:pt x="480" y="48"/>
                  </a:lnTo>
                  <a:lnTo>
                    <a:pt x="480" y="54"/>
                  </a:lnTo>
                  <a:lnTo>
                    <a:pt x="486" y="54"/>
                  </a:lnTo>
                  <a:lnTo>
                    <a:pt x="492" y="60"/>
                  </a:lnTo>
                  <a:lnTo>
                    <a:pt x="492" y="54"/>
                  </a:lnTo>
                  <a:lnTo>
                    <a:pt x="492" y="60"/>
                  </a:lnTo>
                  <a:lnTo>
                    <a:pt x="492" y="54"/>
                  </a:lnTo>
                  <a:lnTo>
                    <a:pt x="492" y="60"/>
                  </a:lnTo>
                  <a:lnTo>
                    <a:pt x="498" y="60"/>
                  </a:lnTo>
                  <a:lnTo>
                    <a:pt x="504" y="60"/>
                  </a:lnTo>
                  <a:lnTo>
                    <a:pt x="510" y="60"/>
                  </a:lnTo>
                  <a:lnTo>
                    <a:pt x="510" y="54"/>
                  </a:lnTo>
                  <a:lnTo>
                    <a:pt x="516" y="54"/>
                  </a:lnTo>
                  <a:lnTo>
                    <a:pt x="522" y="54"/>
                  </a:lnTo>
                  <a:lnTo>
                    <a:pt x="528" y="54"/>
                  </a:lnTo>
                  <a:lnTo>
                    <a:pt x="534" y="54"/>
                  </a:lnTo>
                  <a:lnTo>
                    <a:pt x="534" y="60"/>
                  </a:lnTo>
                  <a:lnTo>
                    <a:pt x="540" y="60"/>
                  </a:lnTo>
                  <a:lnTo>
                    <a:pt x="558" y="54"/>
                  </a:lnTo>
                  <a:lnTo>
                    <a:pt x="624" y="42"/>
                  </a:lnTo>
                  <a:lnTo>
                    <a:pt x="642" y="36"/>
                  </a:lnTo>
                  <a:lnTo>
                    <a:pt x="648" y="36"/>
                  </a:lnTo>
                  <a:lnTo>
                    <a:pt x="654" y="36"/>
                  </a:lnTo>
                  <a:lnTo>
                    <a:pt x="696" y="30"/>
                  </a:lnTo>
                  <a:lnTo>
                    <a:pt x="702" y="30"/>
                  </a:lnTo>
                  <a:lnTo>
                    <a:pt x="708" y="30"/>
                  </a:lnTo>
                  <a:lnTo>
                    <a:pt x="714" y="30"/>
                  </a:lnTo>
                  <a:lnTo>
                    <a:pt x="720" y="30"/>
                  </a:lnTo>
                  <a:lnTo>
                    <a:pt x="726" y="30"/>
                  </a:lnTo>
                  <a:lnTo>
                    <a:pt x="732" y="30"/>
                  </a:lnTo>
                  <a:lnTo>
                    <a:pt x="738" y="36"/>
                  </a:lnTo>
                  <a:lnTo>
                    <a:pt x="738" y="30"/>
                  </a:lnTo>
                  <a:lnTo>
                    <a:pt x="738" y="36"/>
                  </a:lnTo>
                  <a:lnTo>
                    <a:pt x="744" y="36"/>
                  </a:lnTo>
                  <a:lnTo>
                    <a:pt x="744" y="42"/>
                  </a:lnTo>
                  <a:lnTo>
                    <a:pt x="750" y="42"/>
                  </a:lnTo>
                  <a:lnTo>
                    <a:pt x="750" y="48"/>
                  </a:lnTo>
                  <a:lnTo>
                    <a:pt x="750" y="42"/>
                  </a:lnTo>
                  <a:lnTo>
                    <a:pt x="750" y="48"/>
                  </a:lnTo>
                  <a:lnTo>
                    <a:pt x="744" y="48"/>
                  </a:lnTo>
                  <a:lnTo>
                    <a:pt x="738" y="48"/>
                  </a:lnTo>
                  <a:lnTo>
                    <a:pt x="744" y="48"/>
                  </a:lnTo>
                  <a:lnTo>
                    <a:pt x="738" y="48"/>
                  </a:lnTo>
                  <a:lnTo>
                    <a:pt x="732" y="48"/>
                  </a:lnTo>
                  <a:lnTo>
                    <a:pt x="726" y="48"/>
                  </a:lnTo>
                  <a:lnTo>
                    <a:pt x="726" y="54"/>
                  </a:lnTo>
                  <a:lnTo>
                    <a:pt x="726" y="48"/>
                  </a:lnTo>
                  <a:lnTo>
                    <a:pt x="726" y="54"/>
                  </a:lnTo>
                  <a:lnTo>
                    <a:pt x="720" y="54"/>
                  </a:lnTo>
                  <a:lnTo>
                    <a:pt x="726" y="54"/>
                  </a:lnTo>
                  <a:lnTo>
                    <a:pt x="720" y="54"/>
                  </a:lnTo>
                  <a:lnTo>
                    <a:pt x="720" y="60"/>
                  </a:lnTo>
                  <a:lnTo>
                    <a:pt x="714" y="60"/>
                  </a:lnTo>
                  <a:lnTo>
                    <a:pt x="708" y="60"/>
                  </a:lnTo>
                  <a:lnTo>
                    <a:pt x="708" y="54"/>
                  </a:lnTo>
                  <a:lnTo>
                    <a:pt x="702" y="54"/>
                  </a:lnTo>
                  <a:lnTo>
                    <a:pt x="702" y="60"/>
                  </a:lnTo>
                  <a:lnTo>
                    <a:pt x="696" y="60"/>
                  </a:lnTo>
                  <a:lnTo>
                    <a:pt x="690" y="60"/>
                  </a:lnTo>
                  <a:lnTo>
                    <a:pt x="690" y="66"/>
                  </a:lnTo>
                  <a:lnTo>
                    <a:pt x="684" y="66"/>
                  </a:lnTo>
                  <a:lnTo>
                    <a:pt x="684" y="72"/>
                  </a:lnTo>
                  <a:lnTo>
                    <a:pt x="678" y="72"/>
                  </a:lnTo>
                  <a:lnTo>
                    <a:pt x="678" y="78"/>
                  </a:lnTo>
                  <a:lnTo>
                    <a:pt x="672" y="78"/>
                  </a:lnTo>
                  <a:lnTo>
                    <a:pt x="672" y="84"/>
                  </a:lnTo>
                  <a:lnTo>
                    <a:pt x="666" y="84"/>
                  </a:lnTo>
                  <a:lnTo>
                    <a:pt x="660" y="90"/>
                  </a:lnTo>
                  <a:lnTo>
                    <a:pt x="660" y="84"/>
                  </a:lnTo>
                  <a:lnTo>
                    <a:pt x="660" y="78"/>
                  </a:lnTo>
                  <a:lnTo>
                    <a:pt x="654" y="78"/>
                  </a:lnTo>
                  <a:lnTo>
                    <a:pt x="654" y="72"/>
                  </a:lnTo>
                  <a:lnTo>
                    <a:pt x="648" y="72"/>
                  </a:lnTo>
                  <a:lnTo>
                    <a:pt x="648" y="66"/>
                  </a:lnTo>
                  <a:lnTo>
                    <a:pt x="642" y="60"/>
                  </a:lnTo>
                  <a:lnTo>
                    <a:pt x="648" y="60"/>
                  </a:lnTo>
                  <a:lnTo>
                    <a:pt x="642" y="60"/>
                  </a:lnTo>
                  <a:lnTo>
                    <a:pt x="636" y="60"/>
                  </a:lnTo>
                  <a:lnTo>
                    <a:pt x="630" y="60"/>
                  </a:lnTo>
                  <a:lnTo>
                    <a:pt x="624" y="60"/>
                  </a:lnTo>
                  <a:lnTo>
                    <a:pt x="540" y="78"/>
                  </a:lnTo>
                  <a:lnTo>
                    <a:pt x="516" y="78"/>
                  </a:lnTo>
                  <a:lnTo>
                    <a:pt x="516" y="126"/>
                  </a:lnTo>
                  <a:lnTo>
                    <a:pt x="516" y="174"/>
                  </a:lnTo>
                  <a:lnTo>
                    <a:pt x="516" y="234"/>
                  </a:lnTo>
                  <a:lnTo>
                    <a:pt x="516" y="294"/>
                  </a:lnTo>
                  <a:lnTo>
                    <a:pt x="462" y="294"/>
                  </a:lnTo>
                  <a:lnTo>
                    <a:pt x="462" y="300"/>
                  </a:lnTo>
                  <a:lnTo>
                    <a:pt x="462" y="306"/>
                  </a:lnTo>
                  <a:lnTo>
                    <a:pt x="462" y="312"/>
                  </a:lnTo>
                  <a:lnTo>
                    <a:pt x="462" y="318"/>
                  </a:lnTo>
                  <a:lnTo>
                    <a:pt x="462" y="324"/>
                  </a:lnTo>
                  <a:lnTo>
                    <a:pt x="462" y="330"/>
                  </a:lnTo>
                  <a:lnTo>
                    <a:pt x="462" y="336"/>
                  </a:lnTo>
                  <a:lnTo>
                    <a:pt x="462" y="342"/>
                  </a:lnTo>
                  <a:lnTo>
                    <a:pt x="462" y="348"/>
                  </a:lnTo>
                  <a:lnTo>
                    <a:pt x="462" y="354"/>
                  </a:lnTo>
                  <a:lnTo>
                    <a:pt x="462" y="360"/>
                  </a:lnTo>
                  <a:lnTo>
                    <a:pt x="462" y="366"/>
                  </a:lnTo>
                  <a:lnTo>
                    <a:pt x="462" y="372"/>
                  </a:lnTo>
                  <a:lnTo>
                    <a:pt x="462" y="378"/>
                  </a:lnTo>
                  <a:lnTo>
                    <a:pt x="462" y="384"/>
                  </a:lnTo>
                  <a:lnTo>
                    <a:pt x="462" y="390"/>
                  </a:lnTo>
                  <a:lnTo>
                    <a:pt x="462" y="396"/>
                  </a:lnTo>
                  <a:lnTo>
                    <a:pt x="462" y="402"/>
                  </a:lnTo>
                  <a:lnTo>
                    <a:pt x="462" y="408"/>
                  </a:lnTo>
                  <a:lnTo>
                    <a:pt x="462" y="414"/>
                  </a:lnTo>
                  <a:lnTo>
                    <a:pt x="462" y="420"/>
                  </a:lnTo>
                  <a:lnTo>
                    <a:pt x="462" y="426"/>
                  </a:lnTo>
                  <a:lnTo>
                    <a:pt x="462" y="432"/>
                  </a:lnTo>
                  <a:lnTo>
                    <a:pt x="462" y="438"/>
                  </a:lnTo>
                  <a:lnTo>
                    <a:pt x="462" y="444"/>
                  </a:lnTo>
                  <a:lnTo>
                    <a:pt x="462" y="450"/>
                  </a:lnTo>
                  <a:lnTo>
                    <a:pt x="462" y="456"/>
                  </a:lnTo>
                  <a:lnTo>
                    <a:pt x="462" y="462"/>
                  </a:lnTo>
                  <a:close/>
                  <a:moveTo>
                    <a:pt x="192" y="600"/>
                  </a:moveTo>
                  <a:lnTo>
                    <a:pt x="192" y="606"/>
                  </a:lnTo>
                  <a:lnTo>
                    <a:pt x="193" y="606"/>
                  </a:lnTo>
                  <a:lnTo>
                    <a:pt x="192" y="600"/>
                  </a:lnTo>
                  <a:close/>
                  <a:moveTo>
                    <a:pt x="180" y="558"/>
                  </a:moveTo>
                  <a:lnTo>
                    <a:pt x="180" y="564"/>
                  </a:lnTo>
                  <a:lnTo>
                    <a:pt x="181" y="564"/>
                  </a:lnTo>
                  <a:lnTo>
                    <a:pt x="180" y="558"/>
                  </a:lnTo>
                  <a:close/>
                  <a:moveTo>
                    <a:pt x="192" y="606"/>
                  </a:moveTo>
                  <a:lnTo>
                    <a:pt x="192" y="612"/>
                  </a:lnTo>
                  <a:lnTo>
                    <a:pt x="193" y="612"/>
                  </a:lnTo>
                  <a:lnTo>
                    <a:pt x="192" y="60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grpSp>
      <p:sp>
        <p:nvSpPr>
          <p:cNvPr id="347" name="Rectangle 8"/>
          <p:cNvSpPr txBox="1"/>
          <p:nvPr/>
        </p:nvSpPr>
        <p:spPr bwMode="gray">
          <a:xfrm>
            <a:off x="413513" y="2576826"/>
            <a:ext cx="67706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a:t>Mauritania </a:t>
            </a:r>
          </a:p>
        </p:txBody>
      </p:sp>
      <p:sp>
        <p:nvSpPr>
          <p:cNvPr id="348" name="Rectangle 8"/>
          <p:cNvSpPr txBox="1"/>
          <p:nvPr/>
        </p:nvSpPr>
        <p:spPr bwMode="gray">
          <a:xfrm>
            <a:off x="202883" y="3456645"/>
            <a:ext cx="43619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Sierra Leone</a:t>
            </a:r>
            <a:endParaRPr lang="en-US" sz="1000" b="1" dirty="0">
              <a:solidFill>
                <a:srgbClr val="000000"/>
              </a:solidFill>
            </a:endParaRPr>
          </a:p>
        </p:txBody>
      </p:sp>
      <p:sp>
        <p:nvSpPr>
          <p:cNvPr id="349" name="Freeform 348"/>
          <p:cNvSpPr/>
          <p:nvPr/>
        </p:nvSpPr>
        <p:spPr bwMode="gray">
          <a:xfrm flipV="1">
            <a:off x="373285" y="3134543"/>
            <a:ext cx="342900" cy="309168"/>
          </a:xfrm>
          <a:custGeom>
            <a:avLst/>
            <a:gdLst>
              <a:gd name="connsiteX0" fmla="*/ 0 w 342900"/>
              <a:gd name="connsiteY0" fmla="*/ 0 h 685800"/>
              <a:gd name="connsiteX1" fmla="*/ 0 w 342900"/>
              <a:gd name="connsiteY1" fmla="*/ 371475 h 685800"/>
              <a:gd name="connsiteX2" fmla="*/ 342900 w 342900"/>
              <a:gd name="connsiteY2" fmla="*/ 685800 h 685800"/>
            </a:gdLst>
            <a:ahLst/>
            <a:cxnLst>
              <a:cxn ang="0">
                <a:pos x="connsiteX0" y="connsiteY0"/>
              </a:cxn>
              <a:cxn ang="0">
                <a:pos x="connsiteX1" y="connsiteY1"/>
              </a:cxn>
              <a:cxn ang="0">
                <a:pos x="connsiteX2" y="connsiteY2"/>
              </a:cxn>
            </a:cxnLst>
            <a:rect l="l" t="t" r="r" b="b"/>
            <a:pathLst>
              <a:path w="342900" h="685800">
                <a:moveTo>
                  <a:pt x="0" y="0"/>
                </a:moveTo>
                <a:lnTo>
                  <a:pt x="0" y="371475"/>
                </a:lnTo>
                <a:lnTo>
                  <a:pt x="342900" y="68580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350" name="Rectangle 8"/>
          <p:cNvSpPr txBox="1"/>
          <p:nvPr/>
        </p:nvSpPr>
        <p:spPr bwMode="gray">
          <a:xfrm>
            <a:off x="975269" y="3483118"/>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Ghana</a:t>
            </a:r>
            <a:endParaRPr lang="en-US" sz="1000" b="1" dirty="0">
              <a:solidFill>
                <a:srgbClr val="000000"/>
              </a:solidFill>
            </a:endParaRPr>
          </a:p>
        </p:txBody>
      </p:sp>
      <p:cxnSp>
        <p:nvCxnSpPr>
          <p:cNvPr id="351" name="Straight Connector 350"/>
          <p:cNvCxnSpPr>
            <a:endCxn id="350" idx="0"/>
          </p:cNvCxnSpPr>
          <p:nvPr/>
        </p:nvCxnSpPr>
        <p:spPr bwMode="gray">
          <a:xfrm>
            <a:off x="1193368" y="3264702"/>
            <a:ext cx="0" cy="218416"/>
          </a:xfrm>
          <a:prstGeom prst="lin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52" name="Rectangle 8"/>
          <p:cNvSpPr txBox="1"/>
          <p:nvPr/>
        </p:nvSpPr>
        <p:spPr bwMode="gray">
          <a:xfrm>
            <a:off x="624074" y="3694802"/>
            <a:ext cx="47632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a:solidFill>
                  <a:srgbClr val="000000"/>
                </a:solidFill>
              </a:rPr>
              <a:t>Burkina Faso </a:t>
            </a:r>
          </a:p>
        </p:txBody>
      </p:sp>
      <p:sp>
        <p:nvSpPr>
          <p:cNvPr id="353" name="Freeform 352"/>
          <p:cNvSpPr/>
          <p:nvPr/>
        </p:nvSpPr>
        <p:spPr bwMode="gray">
          <a:xfrm>
            <a:off x="766233" y="2952750"/>
            <a:ext cx="400050" cy="755650"/>
          </a:xfrm>
          <a:custGeom>
            <a:avLst/>
            <a:gdLst>
              <a:gd name="connsiteX0" fmla="*/ 0 w 400050"/>
              <a:gd name="connsiteY0" fmla="*/ 755650 h 755650"/>
              <a:gd name="connsiteX1" fmla="*/ 0 w 400050"/>
              <a:gd name="connsiteY1" fmla="*/ 527050 h 755650"/>
              <a:gd name="connsiteX2" fmla="*/ 400050 w 400050"/>
              <a:gd name="connsiteY2" fmla="*/ 0 h 755650"/>
            </a:gdLst>
            <a:ahLst/>
            <a:cxnLst>
              <a:cxn ang="0">
                <a:pos x="connsiteX0" y="connsiteY0"/>
              </a:cxn>
              <a:cxn ang="0">
                <a:pos x="connsiteX1" y="connsiteY1"/>
              </a:cxn>
              <a:cxn ang="0">
                <a:pos x="connsiteX2" y="connsiteY2"/>
              </a:cxn>
            </a:cxnLst>
            <a:rect l="l" t="t" r="r" b="b"/>
            <a:pathLst>
              <a:path w="400050" h="755650">
                <a:moveTo>
                  <a:pt x="0" y="755650"/>
                </a:moveTo>
                <a:lnTo>
                  <a:pt x="0" y="527050"/>
                </a:lnTo>
                <a:lnTo>
                  <a:pt x="40005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354" name="Rectangle 8"/>
          <p:cNvSpPr txBox="1"/>
          <p:nvPr/>
        </p:nvSpPr>
        <p:spPr bwMode="gray">
          <a:xfrm>
            <a:off x="1179699" y="3901177"/>
            <a:ext cx="650159"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a:solidFill>
                  <a:srgbClr val="000000"/>
                </a:solidFill>
              </a:rPr>
              <a:t>Equatorial Guinea</a:t>
            </a:r>
          </a:p>
        </p:txBody>
      </p:sp>
      <p:sp>
        <p:nvSpPr>
          <p:cNvPr id="355" name="Freeform 354"/>
          <p:cNvSpPr/>
          <p:nvPr/>
        </p:nvSpPr>
        <p:spPr bwMode="gray">
          <a:xfrm>
            <a:off x="1667933" y="3540125"/>
            <a:ext cx="98425" cy="327025"/>
          </a:xfrm>
          <a:custGeom>
            <a:avLst/>
            <a:gdLst>
              <a:gd name="connsiteX0" fmla="*/ 98425 w 98425"/>
              <a:gd name="connsiteY0" fmla="*/ 0 h 327025"/>
              <a:gd name="connsiteX1" fmla="*/ 0 w 98425"/>
              <a:gd name="connsiteY1" fmla="*/ 0 h 327025"/>
              <a:gd name="connsiteX2" fmla="*/ 0 w 98425"/>
              <a:gd name="connsiteY2" fmla="*/ 327025 h 327025"/>
            </a:gdLst>
            <a:ahLst/>
            <a:cxnLst>
              <a:cxn ang="0">
                <a:pos x="connsiteX0" y="connsiteY0"/>
              </a:cxn>
              <a:cxn ang="0">
                <a:pos x="connsiteX1" y="connsiteY1"/>
              </a:cxn>
              <a:cxn ang="0">
                <a:pos x="connsiteX2" y="connsiteY2"/>
              </a:cxn>
            </a:cxnLst>
            <a:rect l="l" t="t" r="r" b="b"/>
            <a:pathLst>
              <a:path w="98425" h="327025">
                <a:moveTo>
                  <a:pt x="98425" y="0"/>
                </a:moveTo>
                <a:lnTo>
                  <a:pt x="0" y="0"/>
                </a:lnTo>
                <a:lnTo>
                  <a:pt x="0" y="327025"/>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356" name="Rectangle 78"/>
          <p:cNvSpPr>
            <a:spLocks noChangeArrowheads="1"/>
          </p:cNvSpPr>
          <p:nvPr/>
        </p:nvSpPr>
        <p:spPr bwMode="gray">
          <a:xfrm>
            <a:off x="314905" y="4028378"/>
            <a:ext cx="7662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95350">
              <a:buClr>
                <a:srgbClr val="002960"/>
              </a:buClr>
            </a:pPr>
            <a:r>
              <a:rPr lang="en-US" sz="1000" b="1" dirty="0">
                <a:solidFill>
                  <a:srgbClr val="000000"/>
                </a:solidFill>
                <a:latin typeface="+mn-lt"/>
                <a:ea typeface="Arial Unicode MS" pitchFamily="34" charset="-128"/>
                <a:cs typeface="Arial Unicode MS" pitchFamily="34" charset="-128"/>
              </a:rPr>
              <a:t>Sao Tome </a:t>
            </a:r>
            <a:r>
              <a:rPr lang="en-US" sz="1000" b="1" dirty="0" smtClean="0">
                <a:solidFill>
                  <a:srgbClr val="000000"/>
                </a:solidFill>
                <a:latin typeface="+mn-lt"/>
                <a:ea typeface="Arial Unicode MS" pitchFamily="34" charset="-128"/>
                <a:cs typeface="Arial Unicode MS" pitchFamily="34" charset="-128"/>
              </a:rPr>
              <a:t/>
            </a:r>
            <a:br>
              <a:rPr lang="en-US" sz="1000" b="1" dirty="0" smtClean="0">
                <a:solidFill>
                  <a:srgbClr val="000000"/>
                </a:solidFill>
                <a:latin typeface="+mn-lt"/>
                <a:ea typeface="Arial Unicode MS" pitchFamily="34" charset="-128"/>
                <a:cs typeface="Arial Unicode MS" pitchFamily="34" charset="-128"/>
              </a:rPr>
            </a:br>
            <a:r>
              <a:rPr lang="en-US" sz="1000" b="1" dirty="0" smtClean="0">
                <a:solidFill>
                  <a:srgbClr val="000000"/>
                </a:solidFill>
                <a:latin typeface="+mn-lt"/>
                <a:ea typeface="Arial Unicode MS" pitchFamily="34" charset="-128"/>
                <a:cs typeface="Arial Unicode MS" pitchFamily="34" charset="-128"/>
              </a:rPr>
              <a:t>and Principe</a:t>
            </a:r>
            <a:endParaRPr lang="en-US" sz="1000" b="1" dirty="0">
              <a:solidFill>
                <a:srgbClr val="000000"/>
              </a:solidFill>
              <a:latin typeface="+mn-lt"/>
              <a:ea typeface="Arial Unicode MS" pitchFamily="34" charset="-128"/>
              <a:cs typeface="Arial Unicode MS" pitchFamily="34" charset="-128"/>
            </a:endParaRPr>
          </a:p>
        </p:txBody>
      </p:sp>
      <p:sp>
        <p:nvSpPr>
          <p:cNvPr id="357" name="Freeform 356"/>
          <p:cNvSpPr/>
          <p:nvPr/>
        </p:nvSpPr>
        <p:spPr bwMode="gray">
          <a:xfrm>
            <a:off x="970851" y="3542190"/>
            <a:ext cx="559293" cy="577049"/>
          </a:xfrm>
          <a:custGeom>
            <a:avLst/>
            <a:gdLst>
              <a:gd name="connsiteX0" fmla="*/ 559293 w 559293"/>
              <a:gd name="connsiteY0" fmla="*/ 0 h 577049"/>
              <a:gd name="connsiteX1" fmla="*/ 0 w 559293"/>
              <a:gd name="connsiteY1" fmla="*/ 435006 h 577049"/>
              <a:gd name="connsiteX2" fmla="*/ 0 w 559293"/>
              <a:gd name="connsiteY2" fmla="*/ 577049 h 577049"/>
            </a:gdLst>
            <a:ahLst/>
            <a:cxnLst>
              <a:cxn ang="0">
                <a:pos x="connsiteX0" y="connsiteY0"/>
              </a:cxn>
              <a:cxn ang="0">
                <a:pos x="connsiteX1" y="connsiteY1"/>
              </a:cxn>
              <a:cxn ang="0">
                <a:pos x="connsiteX2" y="connsiteY2"/>
              </a:cxn>
            </a:cxnLst>
            <a:rect l="l" t="t" r="r" b="b"/>
            <a:pathLst>
              <a:path w="559293" h="577049">
                <a:moveTo>
                  <a:pt x="559293" y="0"/>
                </a:moveTo>
                <a:lnTo>
                  <a:pt x="0" y="435006"/>
                </a:lnTo>
                <a:lnTo>
                  <a:pt x="0" y="577049"/>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358" name="Rectangle 66"/>
          <p:cNvSpPr>
            <a:spLocks noChangeArrowheads="1"/>
          </p:cNvSpPr>
          <p:nvPr/>
        </p:nvSpPr>
        <p:spPr bwMode="gray">
          <a:xfrm>
            <a:off x="204387" y="1992077"/>
            <a:ext cx="3542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95350">
              <a:buClr>
                <a:srgbClr val="002960"/>
              </a:buClr>
            </a:pPr>
            <a:r>
              <a:rPr lang="en-US" sz="1000" b="1" dirty="0" smtClean="0">
                <a:solidFill>
                  <a:srgbClr val="000000"/>
                </a:solidFill>
                <a:latin typeface="+mn-lt"/>
                <a:ea typeface="Arial Unicode MS" pitchFamily="34" charset="-128"/>
                <a:cs typeface="Arial Unicode MS" pitchFamily="34" charset="-128"/>
              </a:rPr>
              <a:t>Cape</a:t>
            </a:r>
            <a:br>
              <a:rPr lang="en-US" sz="1000" b="1" dirty="0" smtClean="0">
                <a:solidFill>
                  <a:srgbClr val="000000"/>
                </a:solidFill>
                <a:latin typeface="+mn-lt"/>
                <a:ea typeface="Arial Unicode MS" pitchFamily="34" charset="-128"/>
                <a:cs typeface="Arial Unicode MS" pitchFamily="34" charset="-128"/>
              </a:rPr>
            </a:br>
            <a:r>
              <a:rPr lang="en-US" sz="1000" b="1" dirty="0" smtClean="0">
                <a:solidFill>
                  <a:srgbClr val="000000"/>
                </a:solidFill>
                <a:latin typeface="+mn-lt"/>
                <a:ea typeface="Arial Unicode MS" pitchFamily="34" charset="-128"/>
                <a:cs typeface="Arial Unicode MS" pitchFamily="34" charset="-128"/>
              </a:rPr>
              <a:t>Verde</a:t>
            </a:r>
            <a:endParaRPr lang="en-US" sz="1000" b="1" dirty="0">
              <a:solidFill>
                <a:srgbClr val="000000"/>
              </a:solidFill>
              <a:latin typeface="+mn-lt"/>
              <a:ea typeface="Arial Unicode MS" pitchFamily="34" charset="-128"/>
              <a:cs typeface="Arial Unicode MS" pitchFamily="34" charset="-128"/>
            </a:endParaRPr>
          </a:p>
        </p:txBody>
      </p:sp>
      <p:cxnSp>
        <p:nvCxnSpPr>
          <p:cNvPr id="359" name="Straight Connector 358"/>
          <p:cNvCxnSpPr/>
          <p:nvPr/>
        </p:nvCxnSpPr>
        <p:spPr bwMode="gray">
          <a:xfrm flipH="1" flipV="1">
            <a:off x="311733" y="2301640"/>
            <a:ext cx="1" cy="353421"/>
          </a:xfrm>
          <a:prstGeom prst="lin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360" name="Rectangle 8"/>
          <p:cNvSpPr txBox="1"/>
          <p:nvPr/>
        </p:nvSpPr>
        <p:spPr bwMode="gray">
          <a:xfrm>
            <a:off x="1583765" y="2598171"/>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Niger</a:t>
            </a:r>
            <a:endParaRPr lang="en-US" sz="1000" b="1" dirty="0">
              <a:solidFill>
                <a:srgbClr val="FFFFFF"/>
              </a:solidFill>
            </a:endParaRPr>
          </a:p>
        </p:txBody>
      </p:sp>
      <p:sp>
        <p:nvSpPr>
          <p:cNvPr id="361" name="Rectangle 8"/>
          <p:cNvSpPr txBox="1"/>
          <p:nvPr/>
        </p:nvSpPr>
        <p:spPr bwMode="gray">
          <a:xfrm>
            <a:off x="1507565" y="3008579"/>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Nigeria</a:t>
            </a:r>
            <a:endParaRPr lang="en-US" sz="1000" b="1" dirty="0">
              <a:solidFill>
                <a:srgbClr val="FFFFFF"/>
              </a:solidFill>
            </a:endParaRPr>
          </a:p>
        </p:txBody>
      </p:sp>
      <p:sp>
        <p:nvSpPr>
          <p:cNvPr id="362" name="Rectangle 8"/>
          <p:cNvSpPr txBox="1"/>
          <p:nvPr/>
        </p:nvSpPr>
        <p:spPr bwMode="gray">
          <a:xfrm>
            <a:off x="2022555" y="2818804"/>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Chad</a:t>
            </a:r>
            <a:endParaRPr lang="en-US" sz="1000" b="1" dirty="0">
              <a:solidFill>
                <a:srgbClr val="FFFFFF"/>
              </a:solidFill>
            </a:endParaRPr>
          </a:p>
        </p:txBody>
      </p:sp>
      <p:sp>
        <p:nvSpPr>
          <p:cNvPr id="363" name="Rectangle 8"/>
          <p:cNvSpPr txBox="1"/>
          <p:nvPr/>
        </p:nvSpPr>
        <p:spPr bwMode="gray">
          <a:xfrm>
            <a:off x="2186968" y="3661251"/>
            <a:ext cx="5463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Congo</a:t>
            </a:r>
            <a:endParaRPr lang="en-US" sz="1000" b="1" dirty="0">
              <a:solidFill>
                <a:srgbClr val="FFFFFF"/>
              </a:solidFill>
            </a:endParaRPr>
          </a:p>
        </p:txBody>
      </p:sp>
      <p:sp>
        <p:nvSpPr>
          <p:cNvPr id="364" name="Rectangle 8"/>
          <p:cNvSpPr txBox="1"/>
          <p:nvPr/>
        </p:nvSpPr>
        <p:spPr bwMode="gray">
          <a:xfrm>
            <a:off x="2371566" y="4247193"/>
            <a:ext cx="5463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Zambia</a:t>
            </a:r>
            <a:endParaRPr lang="en-US" sz="1000" b="1" dirty="0">
              <a:solidFill>
                <a:srgbClr val="FFFFFF"/>
              </a:solidFill>
            </a:endParaRPr>
          </a:p>
        </p:txBody>
      </p:sp>
      <p:sp>
        <p:nvSpPr>
          <p:cNvPr id="365" name="Rectangle 8"/>
          <p:cNvSpPr txBox="1"/>
          <p:nvPr/>
        </p:nvSpPr>
        <p:spPr bwMode="gray">
          <a:xfrm>
            <a:off x="1884363" y="4229877"/>
            <a:ext cx="5463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Angola</a:t>
            </a:r>
            <a:endParaRPr lang="en-US" sz="1000" b="1" dirty="0">
              <a:solidFill>
                <a:srgbClr val="FFFFFF"/>
              </a:solidFill>
            </a:endParaRPr>
          </a:p>
        </p:txBody>
      </p:sp>
      <p:sp>
        <p:nvSpPr>
          <p:cNvPr id="366" name="Rectangle 8"/>
          <p:cNvSpPr txBox="1"/>
          <p:nvPr/>
        </p:nvSpPr>
        <p:spPr bwMode="gray">
          <a:xfrm>
            <a:off x="3039708" y="3150175"/>
            <a:ext cx="5463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Ethiopia</a:t>
            </a:r>
            <a:endParaRPr lang="en-US" sz="1000" b="1" dirty="0">
              <a:solidFill>
                <a:srgbClr val="FFFFFF"/>
              </a:solidFill>
            </a:endParaRPr>
          </a:p>
        </p:txBody>
      </p:sp>
      <p:sp>
        <p:nvSpPr>
          <p:cNvPr id="367" name="Rectangle 8"/>
          <p:cNvSpPr txBox="1"/>
          <p:nvPr/>
        </p:nvSpPr>
        <p:spPr bwMode="gray">
          <a:xfrm>
            <a:off x="3504312" y="3808545"/>
            <a:ext cx="55918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a:solidFill>
                  <a:srgbClr val="000000"/>
                </a:solidFill>
              </a:rPr>
              <a:t>Tanzania </a:t>
            </a:r>
          </a:p>
        </p:txBody>
      </p:sp>
      <p:sp>
        <p:nvSpPr>
          <p:cNvPr id="368" name="Freeform 367"/>
          <p:cNvSpPr/>
          <p:nvPr/>
        </p:nvSpPr>
        <p:spPr bwMode="gray">
          <a:xfrm>
            <a:off x="3140157" y="3886233"/>
            <a:ext cx="323850" cy="152400"/>
          </a:xfrm>
          <a:custGeom>
            <a:avLst/>
            <a:gdLst>
              <a:gd name="connsiteX0" fmla="*/ 323850 w 323850"/>
              <a:gd name="connsiteY0" fmla="*/ 0 h 152400"/>
              <a:gd name="connsiteX1" fmla="*/ 190500 w 323850"/>
              <a:gd name="connsiteY1" fmla="*/ 0 h 152400"/>
              <a:gd name="connsiteX2" fmla="*/ 0 w 323850"/>
              <a:gd name="connsiteY2" fmla="*/ 152400 h 152400"/>
            </a:gdLst>
            <a:ahLst/>
            <a:cxnLst>
              <a:cxn ang="0">
                <a:pos x="connsiteX0" y="connsiteY0"/>
              </a:cxn>
              <a:cxn ang="0">
                <a:pos x="connsiteX1" y="connsiteY1"/>
              </a:cxn>
              <a:cxn ang="0">
                <a:pos x="connsiteX2" y="connsiteY2"/>
              </a:cxn>
            </a:cxnLst>
            <a:rect l="l" t="t" r="r" b="b"/>
            <a:pathLst>
              <a:path w="323850" h="152400">
                <a:moveTo>
                  <a:pt x="323850" y="0"/>
                </a:moveTo>
                <a:lnTo>
                  <a:pt x="190500" y="0"/>
                </a:lnTo>
                <a:lnTo>
                  <a:pt x="0" y="15240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369" name="Rectangle 8"/>
          <p:cNvSpPr txBox="1"/>
          <p:nvPr/>
        </p:nvSpPr>
        <p:spPr bwMode="gray">
          <a:xfrm>
            <a:off x="2947366" y="5068252"/>
            <a:ext cx="82986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Mozambique</a:t>
            </a:r>
            <a:endParaRPr lang="en-US" sz="1000" b="1" dirty="0">
              <a:solidFill>
                <a:srgbClr val="000000"/>
              </a:solidFill>
            </a:endParaRPr>
          </a:p>
        </p:txBody>
      </p:sp>
      <p:sp>
        <p:nvSpPr>
          <p:cNvPr id="370" name="Freeform 369"/>
          <p:cNvSpPr/>
          <p:nvPr/>
        </p:nvSpPr>
        <p:spPr bwMode="gray">
          <a:xfrm>
            <a:off x="3025129" y="4667587"/>
            <a:ext cx="237893" cy="408878"/>
          </a:xfrm>
          <a:custGeom>
            <a:avLst/>
            <a:gdLst>
              <a:gd name="connsiteX0" fmla="*/ 0 w 237893"/>
              <a:gd name="connsiteY0" fmla="*/ 0 h 408878"/>
              <a:gd name="connsiteX1" fmla="*/ 237893 w 237893"/>
              <a:gd name="connsiteY1" fmla="*/ 89209 h 408878"/>
              <a:gd name="connsiteX2" fmla="*/ 237893 w 237893"/>
              <a:gd name="connsiteY2" fmla="*/ 408878 h 408878"/>
            </a:gdLst>
            <a:ahLst/>
            <a:cxnLst>
              <a:cxn ang="0">
                <a:pos x="connsiteX0" y="connsiteY0"/>
              </a:cxn>
              <a:cxn ang="0">
                <a:pos x="connsiteX1" y="connsiteY1"/>
              </a:cxn>
              <a:cxn ang="0">
                <a:pos x="connsiteX2" y="connsiteY2"/>
              </a:cxn>
            </a:cxnLst>
            <a:rect l="l" t="t" r="r" b="b"/>
            <a:pathLst>
              <a:path w="237893" h="408878">
                <a:moveTo>
                  <a:pt x="0" y="0"/>
                </a:moveTo>
                <a:lnTo>
                  <a:pt x="237893" y="89209"/>
                </a:lnTo>
                <a:lnTo>
                  <a:pt x="237893" y="408878"/>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371" name="Rectangle 8"/>
          <p:cNvSpPr txBox="1"/>
          <p:nvPr/>
        </p:nvSpPr>
        <p:spPr bwMode="gray">
          <a:xfrm>
            <a:off x="3675302" y="3486350"/>
            <a:ext cx="55918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a:solidFill>
                  <a:srgbClr val="000000"/>
                </a:solidFill>
              </a:rPr>
              <a:t>Rwanda </a:t>
            </a:r>
          </a:p>
        </p:txBody>
      </p:sp>
      <p:sp>
        <p:nvSpPr>
          <p:cNvPr id="372" name="Rectangle 8"/>
          <p:cNvSpPr txBox="1"/>
          <p:nvPr/>
        </p:nvSpPr>
        <p:spPr bwMode="gray">
          <a:xfrm>
            <a:off x="3786298" y="3363490"/>
            <a:ext cx="55918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Uganda</a:t>
            </a:r>
            <a:endParaRPr lang="en-US" sz="1000" b="1" dirty="0">
              <a:solidFill>
                <a:srgbClr val="000000"/>
              </a:solidFill>
            </a:endParaRPr>
          </a:p>
        </p:txBody>
      </p:sp>
      <p:sp>
        <p:nvSpPr>
          <p:cNvPr id="373" name="Freeform 372"/>
          <p:cNvSpPr/>
          <p:nvPr/>
        </p:nvSpPr>
        <p:spPr bwMode="gray">
          <a:xfrm>
            <a:off x="2938973" y="3443711"/>
            <a:ext cx="834970" cy="79426"/>
          </a:xfrm>
          <a:custGeom>
            <a:avLst/>
            <a:gdLst>
              <a:gd name="connsiteX0" fmla="*/ 323850 w 323850"/>
              <a:gd name="connsiteY0" fmla="*/ 0 h 152400"/>
              <a:gd name="connsiteX1" fmla="*/ 190500 w 323850"/>
              <a:gd name="connsiteY1" fmla="*/ 0 h 152400"/>
              <a:gd name="connsiteX2" fmla="*/ 0 w 323850"/>
              <a:gd name="connsiteY2" fmla="*/ 152400 h 152400"/>
            </a:gdLst>
            <a:ahLst/>
            <a:cxnLst>
              <a:cxn ang="0">
                <a:pos x="connsiteX0" y="connsiteY0"/>
              </a:cxn>
              <a:cxn ang="0">
                <a:pos x="connsiteX1" y="connsiteY1"/>
              </a:cxn>
              <a:cxn ang="0">
                <a:pos x="connsiteX2" y="connsiteY2"/>
              </a:cxn>
            </a:cxnLst>
            <a:rect l="l" t="t" r="r" b="b"/>
            <a:pathLst>
              <a:path w="323850" h="152400">
                <a:moveTo>
                  <a:pt x="323850" y="0"/>
                </a:moveTo>
                <a:lnTo>
                  <a:pt x="190500" y="0"/>
                </a:lnTo>
                <a:lnTo>
                  <a:pt x="0" y="15240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374" name="Freeform 373"/>
          <p:cNvSpPr/>
          <p:nvPr/>
        </p:nvSpPr>
        <p:spPr bwMode="gray">
          <a:xfrm>
            <a:off x="2821228" y="3565569"/>
            <a:ext cx="832590" cy="155626"/>
          </a:xfrm>
          <a:custGeom>
            <a:avLst/>
            <a:gdLst>
              <a:gd name="connsiteX0" fmla="*/ 323850 w 323850"/>
              <a:gd name="connsiteY0" fmla="*/ 0 h 152400"/>
              <a:gd name="connsiteX1" fmla="*/ 190500 w 323850"/>
              <a:gd name="connsiteY1" fmla="*/ 0 h 152400"/>
              <a:gd name="connsiteX2" fmla="*/ 0 w 323850"/>
              <a:gd name="connsiteY2" fmla="*/ 152400 h 152400"/>
              <a:gd name="connsiteX0" fmla="*/ 322927 w 322927"/>
              <a:gd name="connsiteY0" fmla="*/ 0 h 298610"/>
              <a:gd name="connsiteX1" fmla="*/ 189577 w 322927"/>
              <a:gd name="connsiteY1" fmla="*/ 0 h 298610"/>
              <a:gd name="connsiteX2" fmla="*/ 0 w 322927"/>
              <a:gd name="connsiteY2" fmla="*/ 298610 h 298610"/>
            </a:gdLst>
            <a:ahLst/>
            <a:cxnLst>
              <a:cxn ang="0">
                <a:pos x="connsiteX0" y="connsiteY0"/>
              </a:cxn>
              <a:cxn ang="0">
                <a:pos x="connsiteX1" y="connsiteY1"/>
              </a:cxn>
              <a:cxn ang="0">
                <a:pos x="connsiteX2" y="connsiteY2"/>
              </a:cxn>
            </a:cxnLst>
            <a:rect l="l" t="t" r="r" b="b"/>
            <a:pathLst>
              <a:path w="322927" h="298610">
                <a:moveTo>
                  <a:pt x="322927" y="0"/>
                </a:moveTo>
                <a:lnTo>
                  <a:pt x="189577" y="0"/>
                </a:lnTo>
                <a:cubicBezTo>
                  <a:pt x="126077" y="50800"/>
                  <a:pt x="63500" y="247810"/>
                  <a:pt x="0" y="298610"/>
                </a:cubicBez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grpSp>
        <p:nvGrpSpPr>
          <p:cNvPr id="375" name="Group 374"/>
          <p:cNvGrpSpPr/>
          <p:nvPr/>
        </p:nvGrpSpPr>
        <p:grpSpPr bwMode="gray">
          <a:xfrm>
            <a:off x="4843145" y="1652284"/>
            <a:ext cx="3502201" cy="3774362"/>
            <a:chOff x="400918" y="1652284"/>
            <a:chExt cx="3502201" cy="3774362"/>
          </a:xfrm>
        </p:grpSpPr>
        <p:sp>
          <p:nvSpPr>
            <p:cNvPr id="376" name="Freeform 201"/>
            <p:cNvSpPr>
              <a:spLocks/>
            </p:cNvSpPr>
            <p:nvPr>
              <p:custDataLst>
                <p:tags r:id="rId4"/>
              </p:custDataLst>
            </p:nvPr>
          </p:nvSpPr>
          <p:spPr bwMode="gray">
            <a:xfrm>
              <a:off x="2520210" y="3010338"/>
              <a:ext cx="602178" cy="430685"/>
            </a:xfrm>
            <a:custGeom>
              <a:avLst/>
              <a:gdLst>
                <a:gd name="T0" fmla="*/ 445 w 516"/>
                <a:gd name="T1" fmla="*/ 339 h 385"/>
                <a:gd name="T2" fmla="*/ 394 w 516"/>
                <a:gd name="T3" fmla="*/ 376 h 385"/>
                <a:gd name="T4" fmla="*/ 346 w 516"/>
                <a:gd name="T5" fmla="*/ 382 h 385"/>
                <a:gd name="T6" fmla="*/ 324 w 516"/>
                <a:gd name="T7" fmla="*/ 384 h 385"/>
                <a:gd name="T8" fmla="*/ 291 w 516"/>
                <a:gd name="T9" fmla="*/ 385 h 385"/>
                <a:gd name="T10" fmla="*/ 256 w 516"/>
                <a:gd name="T11" fmla="*/ 360 h 385"/>
                <a:gd name="T12" fmla="*/ 219 w 516"/>
                <a:gd name="T13" fmla="*/ 345 h 385"/>
                <a:gd name="T14" fmla="*/ 186 w 516"/>
                <a:gd name="T15" fmla="*/ 352 h 385"/>
                <a:gd name="T16" fmla="*/ 148 w 516"/>
                <a:gd name="T17" fmla="*/ 327 h 385"/>
                <a:gd name="T18" fmla="*/ 133 w 516"/>
                <a:gd name="T19" fmla="*/ 312 h 385"/>
                <a:gd name="T20" fmla="*/ 99 w 516"/>
                <a:gd name="T21" fmla="*/ 277 h 385"/>
                <a:gd name="T22" fmla="*/ 85 w 516"/>
                <a:gd name="T23" fmla="*/ 246 h 385"/>
                <a:gd name="T24" fmla="*/ 54 w 516"/>
                <a:gd name="T25" fmla="*/ 222 h 385"/>
                <a:gd name="T26" fmla="*/ 34 w 516"/>
                <a:gd name="T27" fmla="*/ 192 h 385"/>
                <a:gd name="T28" fmla="*/ 1 w 516"/>
                <a:gd name="T29" fmla="*/ 175 h 385"/>
                <a:gd name="T30" fmla="*/ 22 w 516"/>
                <a:gd name="T31" fmla="*/ 130 h 385"/>
                <a:gd name="T32" fmla="*/ 39 w 516"/>
                <a:gd name="T33" fmla="*/ 93 h 385"/>
                <a:gd name="T34" fmla="*/ 102 w 516"/>
                <a:gd name="T35" fmla="*/ 112 h 385"/>
                <a:gd name="T36" fmla="*/ 163 w 516"/>
                <a:gd name="T37" fmla="*/ 120 h 385"/>
                <a:gd name="T38" fmla="*/ 204 w 516"/>
                <a:gd name="T39" fmla="*/ 124 h 385"/>
                <a:gd name="T40" fmla="*/ 223 w 516"/>
                <a:gd name="T41" fmla="*/ 111 h 385"/>
                <a:gd name="T42" fmla="*/ 256 w 516"/>
                <a:gd name="T43" fmla="*/ 84 h 385"/>
                <a:gd name="T44" fmla="*/ 315 w 516"/>
                <a:gd name="T45" fmla="*/ 112 h 385"/>
                <a:gd name="T46" fmla="*/ 363 w 516"/>
                <a:gd name="T47" fmla="*/ 60 h 385"/>
                <a:gd name="T48" fmla="*/ 352 w 516"/>
                <a:gd name="T49" fmla="*/ 13 h 385"/>
                <a:gd name="T50" fmla="*/ 396 w 516"/>
                <a:gd name="T51" fmla="*/ 46 h 385"/>
                <a:gd name="T52" fmla="*/ 429 w 516"/>
                <a:gd name="T53" fmla="*/ 84 h 385"/>
                <a:gd name="T54" fmla="*/ 432 w 516"/>
                <a:gd name="T55" fmla="*/ 124 h 385"/>
                <a:gd name="T56" fmla="*/ 402 w 516"/>
                <a:gd name="T57" fmla="*/ 171 h 385"/>
                <a:gd name="T58" fmla="*/ 412 w 516"/>
                <a:gd name="T59" fmla="*/ 202 h 385"/>
                <a:gd name="T60" fmla="*/ 450 w 516"/>
                <a:gd name="T61" fmla="*/ 243 h 385"/>
                <a:gd name="T62" fmla="*/ 474 w 516"/>
                <a:gd name="T63" fmla="*/ 289 h 385"/>
                <a:gd name="T64" fmla="*/ 489 w 516"/>
                <a:gd name="T65" fmla="*/ 309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6" h="385">
                  <a:moveTo>
                    <a:pt x="508" y="339"/>
                  </a:moveTo>
                  <a:lnTo>
                    <a:pt x="445" y="339"/>
                  </a:lnTo>
                  <a:cubicBezTo>
                    <a:pt x="437" y="347"/>
                    <a:pt x="429" y="352"/>
                    <a:pt x="420" y="358"/>
                  </a:cubicBezTo>
                  <a:cubicBezTo>
                    <a:pt x="416" y="369"/>
                    <a:pt x="405" y="374"/>
                    <a:pt x="394" y="376"/>
                  </a:cubicBezTo>
                  <a:cubicBezTo>
                    <a:pt x="387" y="371"/>
                    <a:pt x="384" y="372"/>
                    <a:pt x="375" y="373"/>
                  </a:cubicBezTo>
                  <a:cubicBezTo>
                    <a:pt x="370" y="381"/>
                    <a:pt x="356" y="380"/>
                    <a:pt x="346" y="382"/>
                  </a:cubicBezTo>
                  <a:cubicBezTo>
                    <a:pt x="341" y="379"/>
                    <a:pt x="337" y="377"/>
                    <a:pt x="334" y="372"/>
                  </a:cubicBezTo>
                  <a:cubicBezTo>
                    <a:pt x="326" y="373"/>
                    <a:pt x="325" y="376"/>
                    <a:pt x="324" y="384"/>
                  </a:cubicBezTo>
                  <a:cubicBezTo>
                    <a:pt x="319" y="381"/>
                    <a:pt x="316" y="379"/>
                    <a:pt x="310" y="378"/>
                  </a:cubicBezTo>
                  <a:cubicBezTo>
                    <a:pt x="300" y="379"/>
                    <a:pt x="298" y="380"/>
                    <a:pt x="291" y="385"/>
                  </a:cubicBezTo>
                  <a:cubicBezTo>
                    <a:pt x="286" y="384"/>
                    <a:pt x="282" y="382"/>
                    <a:pt x="277" y="381"/>
                  </a:cubicBezTo>
                  <a:cubicBezTo>
                    <a:pt x="276" y="375"/>
                    <a:pt x="262" y="361"/>
                    <a:pt x="256" y="360"/>
                  </a:cubicBezTo>
                  <a:cubicBezTo>
                    <a:pt x="248" y="354"/>
                    <a:pt x="247" y="344"/>
                    <a:pt x="241" y="336"/>
                  </a:cubicBezTo>
                  <a:cubicBezTo>
                    <a:pt x="231" y="337"/>
                    <a:pt x="227" y="341"/>
                    <a:pt x="219" y="345"/>
                  </a:cubicBezTo>
                  <a:cubicBezTo>
                    <a:pt x="216" y="351"/>
                    <a:pt x="214" y="346"/>
                    <a:pt x="208" y="345"/>
                  </a:cubicBezTo>
                  <a:cubicBezTo>
                    <a:pt x="197" y="339"/>
                    <a:pt x="193" y="347"/>
                    <a:pt x="186" y="352"/>
                  </a:cubicBezTo>
                  <a:cubicBezTo>
                    <a:pt x="178" y="351"/>
                    <a:pt x="171" y="352"/>
                    <a:pt x="165" y="346"/>
                  </a:cubicBezTo>
                  <a:cubicBezTo>
                    <a:pt x="158" y="339"/>
                    <a:pt x="160" y="329"/>
                    <a:pt x="148" y="327"/>
                  </a:cubicBezTo>
                  <a:cubicBezTo>
                    <a:pt x="147" y="325"/>
                    <a:pt x="147" y="323"/>
                    <a:pt x="145" y="322"/>
                  </a:cubicBezTo>
                  <a:cubicBezTo>
                    <a:pt x="143" y="320"/>
                    <a:pt x="138" y="318"/>
                    <a:pt x="133" y="312"/>
                  </a:cubicBezTo>
                  <a:cubicBezTo>
                    <a:pt x="130" y="296"/>
                    <a:pt x="132" y="288"/>
                    <a:pt x="115" y="285"/>
                  </a:cubicBezTo>
                  <a:cubicBezTo>
                    <a:pt x="111" y="278"/>
                    <a:pt x="107" y="279"/>
                    <a:pt x="99" y="277"/>
                  </a:cubicBezTo>
                  <a:cubicBezTo>
                    <a:pt x="100" y="270"/>
                    <a:pt x="100" y="268"/>
                    <a:pt x="93" y="265"/>
                  </a:cubicBezTo>
                  <a:cubicBezTo>
                    <a:pt x="89" y="257"/>
                    <a:pt x="98" y="248"/>
                    <a:pt x="85" y="246"/>
                  </a:cubicBezTo>
                  <a:cubicBezTo>
                    <a:pt x="76" y="239"/>
                    <a:pt x="76" y="227"/>
                    <a:pt x="64" y="225"/>
                  </a:cubicBezTo>
                  <a:cubicBezTo>
                    <a:pt x="61" y="223"/>
                    <a:pt x="57" y="224"/>
                    <a:pt x="54" y="222"/>
                  </a:cubicBezTo>
                  <a:cubicBezTo>
                    <a:pt x="51" y="220"/>
                    <a:pt x="51" y="216"/>
                    <a:pt x="48" y="214"/>
                  </a:cubicBezTo>
                  <a:cubicBezTo>
                    <a:pt x="50" y="201"/>
                    <a:pt x="47" y="195"/>
                    <a:pt x="34" y="192"/>
                  </a:cubicBezTo>
                  <a:cubicBezTo>
                    <a:pt x="22" y="186"/>
                    <a:pt x="28" y="184"/>
                    <a:pt x="10" y="181"/>
                  </a:cubicBezTo>
                  <a:cubicBezTo>
                    <a:pt x="7" y="178"/>
                    <a:pt x="1" y="179"/>
                    <a:pt x="1" y="175"/>
                  </a:cubicBezTo>
                  <a:cubicBezTo>
                    <a:pt x="0" y="162"/>
                    <a:pt x="2" y="154"/>
                    <a:pt x="13" y="151"/>
                  </a:cubicBezTo>
                  <a:cubicBezTo>
                    <a:pt x="16" y="143"/>
                    <a:pt x="18" y="137"/>
                    <a:pt x="22" y="130"/>
                  </a:cubicBezTo>
                  <a:cubicBezTo>
                    <a:pt x="23" y="122"/>
                    <a:pt x="23" y="115"/>
                    <a:pt x="27" y="108"/>
                  </a:cubicBezTo>
                  <a:cubicBezTo>
                    <a:pt x="29" y="99"/>
                    <a:pt x="32" y="98"/>
                    <a:pt x="39" y="93"/>
                  </a:cubicBezTo>
                  <a:cubicBezTo>
                    <a:pt x="48" y="78"/>
                    <a:pt x="53" y="85"/>
                    <a:pt x="75" y="87"/>
                  </a:cubicBezTo>
                  <a:cubicBezTo>
                    <a:pt x="85" y="90"/>
                    <a:pt x="93" y="107"/>
                    <a:pt x="102" y="112"/>
                  </a:cubicBezTo>
                  <a:cubicBezTo>
                    <a:pt x="104" y="128"/>
                    <a:pt x="116" y="119"/>
                    <a:pt x="129" y="117"/>
                  </a:cubicBezTo>
                  <a:cubicBezTo>
                    <a:pt x="140" y="117"/>
                    <a:pt x="154" y="114"/>
                    <a:pt x="163" y="120"/>
                  </a:cubicBezTo>
                  <a:cubicBezTo>
                    <a:pt x="168" y="123"/>
                    <a:pt x="167" y="126"/>
                    <a:pt x="174" y="127"/>
                  </a:cubicBezTo>
                  <a:cubicBezTo>
                    <a:pt x="184" y="127"/>
                    <a:pt x="196" y="131"/>
                    <a:pt x="204" y="124"/>
                  </a:cubicBezTo>
                  <a:cubicBezTo>
                    <a:pt x="206" y="123"/>
                    <a:pt x="204" y="120"/>
                    <a:pt x="205" y="118"/>
                  </a:cubicBezTo>
                  <a:cubicBezTo>
                    <a:pt x="207" y="110"/>
                    <a:pt x="216" y="112"/>
                    <a:pt x="223" y="111"/>
                  </a:cubicBezTo>
                  <a:cubicBezTo>
                    <a:pt x="237" y="108"/>
                    <a:pt x="225" y="98"/>
                    <a:pt x="240" y="96"/>
                  </a:cubicBezTo>
                  <a:cubicBezTo>
                    <a:pt x="244" y="93"/>
                    <a:pt x="256" y="84"/>
                    <a:pt x="256" y="84"/>
                  </a:cubicBezTo>
                  <a:lnTo>
                    <a:pt x="297" y="112"/>
                  </a:lnTo>
                  <a:lnTo>
                    <a:pt x="315" y="112"/>
                  </a:lnTo>
                  <a:lnTo>
                    <a:pt x="343" y="78"/>
                  </a:lnTo>
                  <a:lnTo>
                    <a:pt x="363" y="60"/>
                  </a:lnTo>
                  <a:lnTo>
                    <a:pt x="366" y="25"/>
                  </a:lnTo>
                  <a:lnTo>
                    <a:pt x="352" y="13"/>
                  </a:lnTo>
                  <a:cubicBezTo>
                    <a:pt x="379" y="12"/>
                    <a:pt x="379" y="19"/>
                    <a:pt x="382" y="0"/>
                  </a:cubicBezTo>
                  <a:cubicBezTo>
                    <a:pt x="402" y="3"/>
                    <a:pt x="388" y="30"/>
                    <a:pt x="396" y="46"/>
                  </a:cubicBezTo>
                  <a:cubicBezTo>
                    <a:pt x="397" y="62"/>
                    <a:pt x="398" y="74"/>
                    <a:pt x="415" y="76"/>
                  </a:cubicBezTo>
                  <a:cubicBezTo>
                    <a:pt x="420" y="79"/>
                    <a:pt x="424" y="82"/>
                    <a:pt x="429" y="84"/>
                  </a:cubicBezTo>
                  <a:cubicBezTo>
                    <a:pt x="430" y="91"/>
                    <a:pt x="430" y="97"/>
                    <a:pt x="427" y="103"/>
                  </a:cubicBezTo>
                  <a:cubicBezTo>
                    <a:pt x="425" y="112"/>
                    <a:pt x="427" y="117"/>
                    <a:pt x="432" y="124"/>
                  </a:cubicBezTo>
                  <a:cubicBezTo>
                    <a:pt x="433" y="148"/>
                    <a:pt x="444" y="162"/>
                    <a:pt x="424" y="166"/>
                  </a:cubicBezTo>
                  <a:cubicBezTo>
                    <a:pt x="418" y="177"/>
                    <a:pt x="413" y="172"/>
                    <a:pt x="402" y="171"/>
                  </a:cubicBezTo>
                  <a:cubicBezTo>
                    <a:pt x="388" y="173"/>
                    <a:pt x="390" y="179"/>
                    <a:pt x="388" y="192"/>
                  </a:cubicBezTo>
                  <a:cubicBezTo>
                    <a:pt x="392" y="211"/>
                    <a:pt x="386" y="201"/>
                    <a:pt x="412" y="202"/>
                  </a:cubicBezTo>
                  <a:cubicBezTo>
                    <a:pt x="420" y="207"/>
                    <a:pt x="424" y="220"/>
                    <a:pt x="432" y="225"/>
                  </a:cubicBezTo>
                  <a:cubicBezTo>
                    <a:pt x="437" y="232"/>
                    <a:pt x="442" y="238"/>
                    <a:pt x="450" y="243"/>
                  </a:cubicBezTo>
                  <a:cubicBezTo>
                    <a:pt x="455" y="250"/>
                    <a:pt x="464" y="252"/>
                    <a:pt x="469" y="259"/>
                  </a:cubicBezTo>
                  <a:cubicBezTo>
                    <a:pt x="472" y="286"/>
                    <a:pt x="468" y="277"/>
                    <a:pt x="474" y="289"/>
                  </a:cubicBezTo>
                  <a:cubicBezTo>
                    <a:pt x="475" y="296"/>
                    <a:pt x="477" y="297"/>
                    <a:pt x="483" y="300"/>
                  </a:cubicBezTo>
                  <a:cubicBezTo>
                    <a:pt x="485" y="303"/>
                    <a:pt x="485" y="308"/>
                    <a:pt x="489" y="309"/>
                  </a:cubicBezTo>
                  <a:cubicBezTo>
                    <a:pt x="516" y="313"/>
                    <a:pt x="503" y="286"/>
                    <a:pt x="508" y="339"/>
                  </a:cubicBez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77" name="Freeform 202"/>
            <p:cNvSpPr>
              <a:spLocks/>
            </p:cNvSpPr>
            <p:nvPr>
              <p:custDataLst>
                <p:tags r:id="rId5"/>
              </p:custDataLst>
            </p:nvPr>
          </p:nvSpPr>
          <p:spPr bwMode="gray">
            <a:xfrm>
              <a:off x="2402343" y="2451008"/>
              <a:ext cx="846083" cy="739435"/>
            </a:xfrm>
            <a:custGeom>
              <a:avLst/>
              <a:gdLst>
                <a:gd name="T0" fmla="*/ 96 w 725"/>
                <a:gd name="T1" fmla="*/ 348 h 661"/>
                <a:gd name="T2" fmla="*/ 138 w 725"/>
                <a:gd name="T3" fmla="*/ 149 h 661"/>
                <a:gd name="T4" fmla="*/ 465 w 725"/>
                <a:gd name="T5" fmla="*/ 59 h 661"/>
                <a:gd name="T6" fmla="*/ 509 w 725"/>
                <a:gd name="T7" fmla="*/ 72 h 661"/>
                <a:gd name="T8" fmla="*/ 537 w 725"/>
                <a:gd name="T9" fmla="*/ 56 h 661"/>
                <a:gd name="T10" fmla="*/ 566 w 725"/>
                <a:gd name="T11" fmla="*/ 29 h 661"/>
                <a:gd name="T12" fmla="*/ 596 w 725"/>
                <a:gd name="T13" fmla="*/ 3 h 661"/>
                <a:gd name="T14" fmla="*/ 620 w 725"/>
                <a:gd name="T15" fmla="*/ 24 h 661"/>
                <a:gd name="T16" fmla="*/ 633 w 725"/>
                <a:gd name="T17" fmla="*/ 36 h 661"/>
                <a:gd name="T18" fmla="*/ 659 w 725"/>
                <a:gd name="T19" fmla="*/ 78 h 661"/>
                <a:gd name="T20" fmla="*/ 669 w 725"/>
                <a:gd name="T21" fmla="*/ 147 h 661"/>
                <a:gd name="T22" fmla="*/ 694 w 725"/>
                <a:gd name="T23" fmla="*/ 215 h 661"/>
                <a:gd name="T24" fmla="*/ 725 w 725"/>
                <a:gd name="T25" fmla="*/ 242 h 661"/>
                <a:gd name="T26" fmla="*/ 678 w 725"/>
                <a:gd name="T27" fmla="*/ 276 h 661"/>
                <a:gd name="T28" fmla="*/ 653 w 725"/>
                <a:gd name="T29" fmla="*/ 321 h 661"/>
                <a:gd name="T30" fmla="*/ 633 w 725"/>
                <a:gd name="T31" fmla="*/ 378 h 661"/>
                <a:gd name="T32" fmla="*/ 605 w 725"/>
                <a:gd name="T33" fmla="*/ 483 h 661"/>
                <a:gd name="T34" fmla="*/ 584 w 725"/>
                <a:gd name="T35" fmla="*/ 518 h 661"/>
                <a:gd name="T36" fmla="*/ 569 w 725"/>
                <a:gd name="T37" fmla="*/ 552 h 661"/>
                <a:gd name="T38" fmla="*/ 543 w 725"/>
                <a:gd name="T39" fmla="*/ 582 h 661"/>
                <a:gd name="T40" fmla="*/ 527 w 725"/>
                <a:gd name="T41" fmla="*/ 608 h 661"/>
                <a:gd name="T42" fmla="*/ 501 w 725"/>
                <a:gd name="T43" fmla="*/ 561 h 661"/>
                <a:gd name="T44" fmla="*/ 483 w 725"/>
                <a:gd name="T45" fmla="*/ 501 h 661"/>
                <a:gd name="T46" fmla="*/ 452 w 725"/>
                <a:gd name="T47" fmla="*/ 515 h 661"/>
                <a:gd name="T48" fmla="*/ 467 w 725"/>
                <a:gd name="T49" fmla="*/ 560 h 661"/>
                <a:gd name="T50" fmla="*/ 416 w 725"/>
                <a:gd name="T51" fmla="*/ 612 h 661"/>
                <a:gd name="T52" fmla="*/ 359 w 725"/>
                <a:gd name="T53" fmla="*/ 585 h 661"/>
                <a:gd name="T54" fmla="*/ 329 w 725"/>
                <a:gd name="T55" fmla="*/ 609 h 661"/>
                <a:gd name="T56" fmla="*/ 293 w 725"/>
                <a:gd name="T57" fmla="*/ 627 h 661"/>
                <a:gd name="T58" fmla="*/ 203 w 725"/>
                <a:gd name="T59" fmla="*/ 620 h 661"/>
                <a:gd name="T60" fmla="*/ 134 w 725"/>
                <a:gd name="T61" fmla="*/ 597 h 661"/>
                <a:gd name="T62" fmla="*/ 104 w 725"/>
                <a:gd name="T63" fmla="*/ 659 h 661"/>
                <a:gd name="T64" fmla="*/ 80 w 725"/>
                <a:gd name="T65" fmla="*/ 626 h 661"/>
                <a:gd name="T66" fmla="*/ 57 w 725"/>
                <a:gd name="T67" fmla="*/ 578 h 661"/>
                <a:gd name="T68" fmla="*/ 47 w 725"/>
                <a:gd name="T69" fmla="*/ 540 h 661"/>
                <a:gd name="T70" fmla="*/ 30 w 725"/>
                <a:gd name="T71" fmla="*/ 522 h 661"/>
                <a:gd name="T72" fmla="*/ 5 w 725"/>
                <a:gd name="T73" fmla="*/ 483 h 661"/>
                <a:gd name="T74" fmla="*/ 17 w 725"/>
                <a:gd name="T75" fmla="*/ 444 h 661"/>
                <a:gd name="T76" fmla="*/ 30 w 725"/>
                <a:gd name="T77" fmla="*/ 420 h 661"/>
                <a:gd name="T78" fmla="*/ 44 w 725"/>
                <a:gd name="T79" fmla="*/ 37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5" h="661">
                  <a:moveTo>
                    <a:pt x="53" y="345"/>
                  </a:moveTo>
                  <a:lnTo>
                    <a:pt x="96" y="348"/>
                  </a:lnTo>
                  <a:lnTo>
                    <a:pt x="95" y="146"/>
                  </a:lnTo>
                  <a:lnTo>
                    <a:pt x="138" y="149"/>
                  </a:lnTo>
                  <a:lnTo>
                    <a:pt x="137" y="59"/>
                  </a:lnTo>
                  <a:lnTo>
                    <a:pt x="465" y="59"/>
                  </a:lnTo>
                  <a:lnTo>
                    <a:pt x="495" y="54"/>
                  </a:lnTo>
                  <a:lnTo>
                    <a:pt x="509" y="72"/>
                  </a:lnTo>
                  <a:lnTo>
                    <a:pt x="531" y="69"/>
                  </a:lnTo>
                  <a:cubicBezTo>
                    <a:pt x="530" y="61"/>
                    <a:pt x="531" y="60"/>
                    <a:pt x="537" y="56"/>
                  </a:cubicBezTo>
                  <a:cubicBezTo>
                    <a:pt x="542" y="42"/>
                    <a:pt x="540" y="42"/>
                    <a:pt x="558" y="41"/>
                  </a:cubicBezTo>
                  <a:cubicBezTo>
                    <a:pt x="565" y="38"/>
                    <a:pt x="563" y="35"/>
                    <a:pt x="566" y="29"/>
                  </a:cubicBezTo>
                  <a:cubicBezTo>
                    <a:pt x="568" y="20"/>
                    <a:pt x="572" y="18"/>
                    <a:pt x="581" y="17"/>
                  </a:cubicBezTo>
                  <a:cubicBezTo>
                    <a:pt x="586" y="15"/>
                    <a:pt x="587" y="0"/>
                    <a:pt x="596" y="3"/>
                  </a:cubicBezTo>
                  <a:cubicBezTo>
                    <a:pt x="600" y="4"/>
                    <a:pt x="600" y="20"/>
                    <a:pt x="604" y="23"/>
                  </a:cubicBezTo>
                  <a:cubicBezTo>
                    <a:pt x="608" y="26"/>
                    <a:pt x="616" y="25"/>
                    <a:pt x="620" y="24"/>
                  </a:cubicBezTo>
                  <a:cubicBezTo>
                    <a:pt x="624" y="23"/>
                    <a:pt x="627" y="13"/>
                    <a:pt x="629" y="15"/>
                  </a:cubicBezTo>
                  <a:cubicBezTo>
                    <a:pt x="631" y="17"/>
                    <a:pt x="629" y="28"/>
                    <a:pt x="633" y="36"/>
                  </a:cubicBezTo>
                  <a:cubicBezTo>
                    <a:pt x="645" y="44"/>
                    <a:pt x="649" y="55"/>
                    <a:pt x="653" y="62"/>
                  </a:cubicBezTo>
                  <a:cubicBezTo>
                    <a:pt x="657" y="67"/>
                    <a:pt x="656" y="72"/>
                    <a:pt x="659" y="78"/>
                  </a:cubicBezTo>
                  <a:cubicBezTo>
                    <a:pt x="661" y="86"/>
                    <a:pt x="664" y="94"/>
                    <a:pt x="666" y="105"/>
                  </a:cubicBezTo>
                  <a:cubicBezTo>
                    <a:pt x="668" y="116"/>
                    <a:pt x="668" y="132"/>
                    <a:pt x="669" y="147"/>
                  </a:cubicBezTo>
                  <a:cubicBezTo>
                    <a:pt x="672" y="160"/>
                    <a:pt x="669" y="184"/>
                    <a:pt x="673" y="194"/>
                  </a:cubicBezTo>
                  <a:cubicBezTo>
                    <a:pt x="677" y="205"/>
                    <a:pt x="688" y="209"/>
                    <a:pt x="694" y="215"/>
                  </a:cubicBezTo>
                  <a:cubicBezTo>
                    <a:pt x="700" y="223"/>
                    <a:pt x="699" y="226"/>
                    <a:pt x="710" y="228"/>
                  </a:cubicBezTo>
                  <a:cubicBezTo>
                    <a:pt x="717" y="233"/>
                    <a:pt x="720" y="234"/>
                    <a:pt x="725" y="242"/>
                  </a:cubicBezTo>
                  <a:cubicBezTo>
                    <a:pt x="719" y="254"/>
                    <a:pt x="710" y="267"/>
                    <a:pt x="696" y="270"/>
                  </a:cubicBezTo>
                  <a:cubicBezTo>
                    <a:pt x="690" y="273"/>
                    <a:pt x="684" y="275"/>
                    <a:pt x="678" y="276"/>
                  </a:cubicBezTo>
                  <a:cubicBezTo>
                    <a:pt x="677" y="288"/>
                    <a:pt x="666" y="281"/>
                    <a:pt x="657" y="287"/>
                  </a:cubicBezTo>
                  <a:cubicBezTo>
                    <a:pt x="650" y="296"/>
                    <a:pt x="662" y="314"/>
                    <a:pt x="653" y="321"/>
                  </a:cubicBezTo>
                  <a:cubicBezTo>
                    <a:pt x="647" y="335"/>
                    <a:pt x="648" y="347"/>
                    <a:pt x="639" y="360"/>
                  </a:cubicBezTo>
                  <a:cubicBezTo>
                    <a:pt x="638" y="366"/>
                    <a:pt x="636" y="372"/>
                    <a:pt x="633" y="378"/>
                  </a:cubicBezTo>
                  <a:cubicBezTo>
                    <a:pt x="639" y="394"/>
                    <a:pt x="644" y="441"/>
                    <a:pt x="629" y="452"/>
                  </a:cubicBezTo>
                  <a:cubicBezTo>
                    <a:pt x="618" y="473"/>
                    <a:pt x="635" y="479"/>
                    <a:pt x="605" y="483"/>
                  </a:cubicBezTo>
                  <a:cubicBezTo>
                    <a:pt x="599" y="493"/>
                    <a:pt x="598" y="504"/>
                    <a:pt x="588" y="509"/>
                  </a:cubicBezTo>
                  <a:cubicBezTo>
                    <a:pt x="586" y="512"/>
                    <a:pt x="586" y="515"/>
                    <a:pt x="584" y="518"/>
                  </a:cubicBezTo>
                  <a:cubicBezTo>
                    <a:pt x="582" y="521"/>
                    <a:pt x="575" y="525"/>
                    <a:pt x="575" y="525"/>
                  </a:cubicBezTo>
                  <a:cubicBezTo>
                    <a:pt x="574" y="535"/>
                    <a:pt x="575" y="544"/>
                    <a:pt x="569" y="552"/>
                  </a:cubicBezTo>
                  <a:cubicBezTo>
                    <a:pt x="567" y="569"/>
                    <a:pt x="568" y="569"/>
                    <a:pt x="552" y="570"/>
                  </a:cubicBezTo>
                  <a:cubicBezTo>
                    <a:pt x="551" y="577"/>
                    <a:pt x="549" y="578"/>
                    <a:pt x="543" y="582"/>
                  </a:cubicBezTo>
                  <a:cubicBezTo>
                    <a:pt x="541" y="594"/>
                    <a:pt x="542" y="605"/>
                    <a:pt x="537" y="617"/>
                  </a:cubicBezTo>
                  <a:cubicBezTo>
                    <a:pt x="534" y="621"/>
                    <a:pt x="531" y="615"/>
                    <a:pt x="527" y="608"/>
                  </a:cubicBezTo>
                  <a:cubicBezTo>
                    <a:pt x="535" y="595"/>
                    <a:pt x="526" y="581"/>
                    <a:pt x="513" y="578"/>
                  </a:cubicBezTo>
                  <a:cubicBezTo>
                    <a:pt x="507" y="574"/>
                    <a:pt x="504" y="568"/>
                    <a:pt x="501" y="561"/>
                  </a:cubicBezTo>
                  <a:cubicBezTo>
                    <a:pt x="500" y="549"/>
                    <a:pt x="502" y="545"/>
                    <a:pt x="495" y="536"/>
                  </a:cubicBezTo>
                  <a:cubicBezTo>
                    <a:pt x="495" y="533"/>
                    <a:pt x="506" y="488"/>
                    <a:pt x="483" y="501"/>
                  </a:cubicBezTo>
                  <a:cubicBezTo>
                    <a:pt x="479" y="503"/>
                    <a:pt x="484" y="514"/>
                    <a:pt x="476" y="515"/>
                  </a:cubicBezTo>
                  <a:cubicBezTo>
                    <a:pt x="468" y="516"/>
                    <a:pt x="460" y="515"/>
                    <a:pt x="452" y="515"/>
                  </a:cubicBezTo>
                  <a:lnTo>
                    <a:pt x="467" y="527"/>
                  </a:lnTo>
                  <a:lnTo>
                    <a:pt x="467" y="560"/>
                  </a:lnTo>
                  <a:lnTo>
                    <a:pt x="444" y="579"/>
                  </a:lnTo>
                  <a:lnTo>
                    <a:pt x="416" y="612"/>
                  </a:lnTo>
                  <a:lnTo>
                    <a:pt x="399" y="614"/>
                  </a:lnTo>
                  <a:lnTo>
                    <a:pt x="359" y="585"/>
                  </a:lnTo>
                  <a:cubicBezTo>
                    <a:pt x="352" y="589"/>
                    <a:pt x="344" y="590"/>
                    <a:pt x="339" y="596"/>
                  </a:cubicBezTo>
                  <a:cubicBezTo>
                    <a:pt x="324" y="613"/>
                    <a:pt x="352" y="606"/>
                    <a:pt x="329" y="609"/>
                  </a:cubicBezTo>
                  <a:cubicBezTo>
                    <a:pt x="323" y="613"/>
                    <a:pt x="316" y="614"/>
                    <a:pt x="309" y="615"/>
                  </a:cubicBezTo>
                  <a:cubicBezTo>
                    <a:pt x="307" y="625"/>
                    <a:pt x="303" y="626"/>
                    <a:pt x="293" y="627"/>
                  </a:cubicBezTo>
                  <a:cubicBezTo>
                    <a:pt x="285" y="630"/>
                    <a:pt x="281" y="630"/>
                    <a:pt x="272" y="629"/>
                  </a:cubicBezTo>
                  <a:cubicBezTo>
                    <a:pt x="262" y="605"/>
                    <a:pt x="222" y="620"/>
                    <a:pt x="203" y="620"/>
                  </a:cubicBezTo>
                  <a:cubicBezTo>
                    <a:pt x="198" y="608"/>
                    <a:pt x="185" y="591"/>
                    <a:pt x="174" y="584"/>
                  </a:cubicBezTo>
                  <a:cubicBezTo>
                    <a:pt x="125" y="586"/>
                    <a:pt x="154" y="582"/>
                    <a:pt x="134" y="597"/>
                  </a:cubicBezTo>
                  <a:cubicBezTo>
                    <a:pt x="128" y="608"/>
                    <a:pt x="128" y="619"/>
                    <a:pt x="123" y="630"/>
                  </a:cubicBezTo>
                  <a:cubicBezTo>
                    <a:pt x="122" y="640"/>
                    <a:pt x="112" y="653"/>
                    <a:pt x="104" y="659"/>
                  </a:cubicBezTo>
                  <a:cubicBezTo>
                    <a:pt x="76" y="658"/>
                    <a:pt x="75" y="661"/>
                    <a:pt x="71" y="639"/>
                  </a:cubicBezTo>
                  <a:cubicBezTo>
                    <a:pt x="72" y="631"/>
                    <a:pt x="76" y="632"/>
                    <a:pt x="80" y="626"/>
                  </a:cubicBezTo>
                  <a:cubicBezTo>
                    <a:pt x="82" y="615"/>
                    <a:pt x="80" y="607"/>
                    <a:pt x="75" y="596"/>
                  </a:cubicBezTo>
                  <a:cubicBezTo>
                    <a:pt x="73" y="588"/>
                    <a:pt x="64" y="582"/>
                    <a:pt x="57" y="578"/>
                  </a:cubicBezTo>
                  <a:cubicBezTo>
                    <a:pt x="53" y="572"/>
                    <a:pt x="51" y="566"/>
                    <a:pt x="48" y="560"/>
                  </a:cubicBezTo>
                  <a:cubicBezTo>
                    <a:pt x="48" y="553"/>
                    <a:pt x="49" y="546"/>
                    <a:pt x="47" y="540"/>
                  </a:cubicBezTo>
                  <a:cubicBezTo>
                    <a:pt x="47" y="538"/>
                    <a:pt x="43" y="540"/>
                    <a:pt x="42" y="539"/>
                  </a:cubicBezTo>
                  <a:cubicBezTo>
                    <a:pt x="37" y="536"/>
                    <a:pt x="32" y="527"/>
                    <a:pt x="30" y="522"/>
                  </a:cubicBezTo>
                  <a:cubicBezTo>
                    <a:pt x="29" y="508"/>
                    <a:pt x="26" y="496"/>
                    <a:pt x="24" y="482"/>
                  </a:cubicBezTo>
                  <a:cubicBezTo>
                    <a:pt x="17" y="483"/>
                    <a:pt x="11" y="486"/>
                    <a:pt x="5" y="483"/>
                  </a:cubicBezTo>
                  <a:cubicBezTo>
                    <a:pt x="0" y="473"/>
                    <a:pt x="0" y="463"/>
                    <a:pt x="11" y="459"/>
                  </a:cubicBezTo>
                  <a:cubicBezTo>
                    <a:pt x="15" y="454"/>
                    <a:pt x="15" y="450"/>
                    <a:pt x="17" y="444"/>
                  </a:cubicBezTo>
                  <a:cubicBezTo>
                    <a:pt x="14" y="440"/>
                    <a:pt x="11" y="436"/>
                    <a:pt x="9" y="431"/>
                  </a:cubicBezTo>
                  <a:cubicBezTo>
                    <a:pt x="21" y="428"/>
                    <a:pt x="21" y="427"/>
                    <a:pt x="30" y="420"/>
                  </a:cubicBezTo>
                  <a:cubicBezTo>
                    <a:pt x="17" y="403"/>
                    <a:pt x="33" y="393"/>
                    <a:pt x="47" y="390"/>
                  </a:cubicBezTo>
                  <a:cubicBezTo>
                    <a:pt x="43" y="385"/>
                    <a:pt x="39" y="383"/>
                    <a:pt x="44" y="377"/>
                  </a:cubicBezTo>
                  <a:cubicBezTo>
                    <a:pt x="47" y="361"/>
                    <a:pt x="54" y="365"/>
                    <a:pt x="53" y="345"/>
                  </a:cubicBez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78" name="Freeform 5"/>
            <p:cNvSpPr>
              <a:spLocks/>
            </p:cNvSpPr>
            <p:nvPr>
              <p:custDataLst>
                <p:tags r:id="rId6"/>
              </p:custDataLst>
            </p:nvPr>
          </p:nvSpPr>
          <p:spPr bwMode="gray">
            <a:xfrm>
              <a:off x="624984" y="1736184"/>
              <a:ext cx="617349" cy="472075"/>
            </a:xfrm>
            <a:custGeom>
              <a:avLst/>
              <a:gdLst>
                <a:gd name="T0" fmla="*/ 1933 w 678"/>
                <a:gd name="T1" fmla="*/ 191995 h 540"/>
                <a:gd name="T2" fmla="*/ 8697 w 678"/>
                <a:gd name="T3" fmla="*/ 185208 h 540"/>
                <a:gd name="T4" fmla="*/ 17395 w 678"/>
                <a:gd name="T5" fmla="*/ 185208 h 540"/>
                <a:gd name="T6" fmla="*/ 27058 w 678"/>
                <a:gd name="T7" fmla="*/ 181329 h 540"/>
                <a:gd name="T8" fmla="*/ 33822 w 678"/>
                <a:gd name="T9" fmla="*/ 174542 h 540"/>
                <a:gd name="T10" fmla="*/ 40586 w 678"/>
                <a:gd name="T11" fmla="*/ 168723 h 540"/>
                <a:gd name="T12" fmla="*/ 51216 w 678"/>
                <a:gd name="T13" fmla="*/ 164845 h 540"/>
                <a:gd name="T14" fmla="*/ 57015 w 678"/>
                <a:gd name="T15" fmla="*/ 158057 h 540"/>
                <a:gd name="T16" fmla="*/ 60880 w 678"/>
                <a:gd name="T17" fmla="*/ 149329 h 540"/>
                <a:gd name="T18" fmla="*/ 67644 w 678"/>
                <a:gd name="T19" fmla="*/ 138664 h 540"/>
                <a:gd name="T20" fmla="*/ 67644 w 678"/>
                <a:gd name="T21" fmla="*/ 127997 h 540"/>
                <a:gd name="T22" fmla="*/ 65711 w 678"/>
                <a:gd name="T23" fmla="*/ 121209 h 540"/>
                <a:gd name="T24" fmla="*/ 65711 w 678"/>
                <a:gd name="T25" fmla="*/ 108603 h 540"/>
                <a:gd name="T26" fmla="*/ 70543 w 678"/>
                <a:gd name="T27" fmla="*/ 100846 h 540"/>
                <a:gd name="T28" fmla="*/ 76341 w 678"/>
                <a:gd name="T29" fmla="*/ 94058 h 540"/>
                <a:gd name="T30" fmla="*/ 76341 w 678"/>
                <a:gd name="T31" fmla="*/ 81452 h 540"/>
                <a:gd name="T32" fmla="*/ 83106 w 678"/>
                <a:gd name="T33" fmla="*/ 74665 h 540"/>
                <a:gd name="T34" fmla="*/ 88904 w 678"/>
                <a:gd name="T35" fmla="*/ 65938 h 540"/>
                <a:gd name="T36" fmla="*/ 97601 w 678"/>
                <a:gd name="T37" fmla="*/ 62059 h 540"/>
                <a:gd name="T38" fmla="*/ 105332 w 678"/>
                <a:gd name="T39" fmla="*/ 57211 h 540"/>
                <a:gd name="T40" fmla="*/ 114996 w 678"/>
                <a:gd name="T41" fmla="*/ 53332 h 540"/>
                <a:gd name="T42" fmla="*/ 124659 w 678"/>
                <a:gd name="T43" fmla="*/ 46544 h 540"/>
                <a:gd name="T44" fmla="*/ 129491 w 678"/>
                <a:gd name="T45" fmla="*/ 37817 h 540"/>
                <a:gd name="T46" fmla="*/ 135289 w 678"/>
                <a:gd name="T47" fmla="*/ 26181 h 540"/>
                <a:gd name="T48" fmla="*/ 138188 w 678"/>
                <a:gd name="T49" fmla="*/ 14545 h 540"/>
                <a:gd name="T50" fmla="*/ 142054 w 678"/>
                <a:gd name="T51" fmla="*/ 6788 h 540"/>
                <a:gd name="T52" fmla="*/ 150751 w 678"/>
                <a:gd name="T53" fmla="*/ 1940 h 540"/>
                <a:gd name="T54" fmla="*/ 152684 w 678"/>
                <a:gd name="T55" fmla="*/ 1940 h 540"/>
                <a:gd name="T56" fmla="*/ 158482 w 678"/>
                <a:gd name="T57" fmla="*/ 10666 h 540"/>
                <a:gd name="T58" fmla="*/ 165246 w 678"/>
                <a:gd name="T59" fmla="*/ 17454 h 540"/>
                <a:gd name="T60" fmla="*/ 175875 w 678"/>
                <a:gd name="T61" fmla="*/ 19393 h 540"/>
                <a:gd name="T62" fmla="*/ 184573 w 678"/>
                <a:gd name="T63" fmla="*/ 19393 h 540"/>
                <a:gd name="T64" fmla="*/ 193270 w 678"/>
                <a:gd name="T65" fmla="*/ 19393 h 540"/>
                <a:gd name="T66" fmla="*/ 199068 w 678"/>
                <a:gd name="T67" fmla="*/ 12606 h 540"/>
                <a:gd name="T68" fmla="*/ 202933 w 678"/>
                <a:gd name="T69" fmla="*/ 21333 h 540"/>
                <a:gd name="T70" fmla="*/ 202933 w 678"/>
                <a:gd name="T71" fmla="*/ 19393 h 540"/>
                <a:gd name="T72" fmla="*/ 212597 w 678"/>
                <a:gd name="T73" fmla="*/ 19393 h 540"/>
                <a:gd name="T74" fmla="*/ 218395 w 678"/>
                <a:gd name="T75" fmla="*/ 26181 h 540"/>
                <a:gd name="T76" fmla="*/ 225160 w 678"/>
                <a:gd name="T77" fmla="*/ 33939 h 540"/>
                <a:gd name="T78" fmla="*/ 225160 w 678"/>
                <a:gd name="T79" fmla="*/ 46544 h 540"/>
                <a:gd name="T80" fmla="*/ 227092 w 678"/>
                <a:gd name="T81" fmla="*/ 57211 h 540"/>
                <a:gd name="T82" fmla="*/ 229025 w 678"/>
                <a:gd name="T83" fmla="*/ 70786 h 540"/>
                <a:gd name="T84" fmla="*/ 235790 w 678"/>
                <a:gd name="T85" fmla="*/ 78544 h 540"/>
                <a:gd name="T86" fmla="*/ 235790 w 678"/>
                <a:gd name="T87" fmla="*/ 85332 h 540"/>
                <a:gd name="T88" fmla="*/ 235790 w 678"/>
                <a:gd name="T89" fmla="*/ 90180 h 540"/>
                <a:gd name="T90" fmla="*/ 225160 w 678"/>
                <a:gd name="T91" fmla="*/ 91150 h 540"/>
                <a:gd name="T92" fmla="*/ 212597 w 678"/>
                <a:gd name="T93" fmla="*/ 90180 h 540"/>
                <a:gd name="T94" fmla="*/ 201967 w 678"/>
                <a:gd name="T95" fmla="*/ 94058 h 540"/>
                <a:gd name="T96" fmla="*/ 199068 w 678"/>
                <a:gd name="T97" fmla="*/ 100846 h 540"/>
                <a:gd name="T98" fmla="*/ 188438 w 678"/>
                <a:gd name="T99" fmla="*/ 101816 h 540"/>
                <a:gd name="T100" fmla="*/ 184573 w 678"/>
                <a:gd name="T101" fmla="*/ 110543 h 540"/>
                <a:gd name="T102" fmla="*/ 188438 w 678"/>
                <a:gd name="T103" fmla="*/ 119270 h 540"/>
                <a:gd name="T104" fmla="*/ 179741 w 678"/>
                <a:gd name="T105" fmla="*/ 121209 h 540"/>
                <a:gd name="T106" fmla="*/ 169111 w 678"/>
                <a:gd name="T107" fmla="*/ 124118 h 540"/>
                <a:gd name="T108" fmla="*/ 163313 w 678"/>
                <a:gd name="T109" fmla="*/ 129936 h 540"/>
                <a:gd name="T110" fmla="*/ 158482 w 678"/>
                <a:gd name="T111" fmla="*/ 138664 h 540"/>
                <a:gd name="T112" fmla="*/ 150751 w 678"/>
                <a:gd name="T113" fmla="*/ 142542 h 540"/>
                <a:gd name="T114" fmla="*/ 138188 w 678"/>
                <a:gd name="T115" fmla="*/ 147391 h 540"/>
                <a:gd name="T116" fmla="*/ 127558 w 678"/>
                <a:gd name="T117" fmla="*/ 149329 h 540"/>
                <a:gd name="T118" fmla="*/ 116929 w 678"/>
                <a:gd name="T119" fmla="*/ 151269 h 540"/>
                <a:gd name="T120" fmla="*/ 108231 w 678"/>
                <a:gd name="T121" fmla="*/ 155148 h 540"/>
                <a:gd name="T122" fmla="*/ 99534 w 678"/>
                <a:gd name="T123" fmla="*/ 161935 h 540"/>
                <a:gd name="T124" fmla="*/ 88904 w 678"/>
                <a:gd name="T125" fmla="*/ 168723 h 5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8" h="540">
                  <a:moveTo>
                    <a:pt x="252" y="540"/>
                  </a:moveTo>
                  <a:lnTo>
                    <a:pt x="168" y="540"/>
                  </a:lnTo>
                  <a:lnTo>
                    <a:pt x="96" y="540"/>
                  </a:lnTo>
                  <a:lnTo>
                    <a:pt x="78" y="540"/>
                  </a:lnTo>
                  <a:lnTo>
                    <a:pt x="0" y="540"/>
                  </a:lnTo>
                  <a:lnTo>
                    <a:pt x="6" y="540"/>
                  </a:lnTo>
                  <a:lnTo>
                    <a:pt x="6" y="534"/>
                  </a:lnTo>
                  <a:lnTo>
                    <a:pt x="12" y="534"/>
                  </a:lnTo>
                  <a:lnTo>
                    <a:pt x="12" y="528"/>
                  </a:lnTo>
                  <a:lnTo>
                    <a:pt x="18" y="528"/>
                  </a:lnTo>
                  <a:lnTo>
                    <a:pt x="18" y="522"/>
                  </a:lnTo>
                  <a:lnTo>
                    <a:pt x="24" y="522"/>
                  </a:lnTo>
                  <a:lnTo>
                    <a:pt x="30" y="522"/>
                  </a:lnTo>
                  <a:lnTo>
                    <a:pt x="36" y="522"/>
                  </a:lnTo>
                  <a:lnTo>
                    <a:pt x="42" y="522"/>
                  </a:lnTo>
                  <a:lnTo>
                    <a:pt x="48" y="522"/>
                  </a:lnTo>
                  <a:lnTo>
                    <a:pt x="54" y="522"/>
                  </a:lnTo>
                  <a:lnTo>
                    <a:pt x="48" y="522"/>
                  </a:lnTo>
                  <a:lnTo>
                    <a:pt x="54" y="522"/>
                  </a:lnTo>
                  <a:lnTo>
                    <a:pt x="54" y="516"/>
                  </a:lnTo>
                  <a:lnTo>
                    <a:pt x="60" y="516"/>
                  </a:lnTo>
                  <a:lnTo>
                    <a:pt x="66" y="516"/>
                  </a:lnTo>
                  <a:lnTo>
                    <a:pt x="72" y="510"/>
                  </a:lnTo>
                  <a:lnTo>
                    <a:pt x="78" y="510"/>
                  </a:lnTo>
                  <a:lnTo>
                    <a:pt x="84" y="510"/>
                  </a:lnTo>
                  <a:lnTo>
                    <a:pt x="84" y="504"/>
                  </a:lnTo>
                  <a:lnTo>
                    <a:pt x="90" y="504"/>
                  </a:lnTo>
                  <a:lnTo>
                    <a:pt x="96" y="504"/>
                  </a:lnTo>
                  <a:lnTo>
                    <a:pt x="96" y="498"/>
                  </a:lnTo>
                  <a:lnTo>
                    <a:pt x="96" y="492"/>
                  </a:lnTo>
                  <a:lnTo>
                    <a:pt x="102" y="492"/>
                  </a:lnTo>
                  <a:lnTo>
                    <a:pt x="102" y="486"/>
                  </a:lnTo>
                  <a:lnTo>
                    <a:pt x="108" y="486"/>
                  </a:lnTo>
                  <a:lnTo>
                    <a:pt x="108" y="480"/>
                  </a:lnTo>
                  <a:lnTo>
                    <a:pt x="114" y="480"/>
                  </a:lnTo>
                  <a:lnTo>
                    <a:pt x="114" y="474"/>
                  </a:lnTo>
                  <a:lnTo>
                    <a:pt x="120" y="474"/>
                  </a:lnTo>
                  <a:lnTo>
                    <a:pt x="126" y="474"/>
                  </a:lnTo>
                  <a:lnTo>
                    <a:pt x="126" y="468"/>
                  </a:lnTo>
                  <a:lnTo>
                    <a:pt x="132" y="468"/>
                  </a:lnTo>
                  <a:lnTo>
                    <a:pt x="138" y="462"/>
                  </a:lnTo>
                  <a:lnTo>
                    <a:pt x="144" y="462"/>
                  </a:lnTo>
                  <a:lnTo>
                    <a:pt x="144" y="456"/>
                  </a:lnTo>
                  <a:lnTo>
                    <a:pt x="150" y="456"/>
                  </a:lnTo>
                  <a:lnTo>
                    <a:pt x="150" y="450"/>
                  </a:lnTo>
                  <a:lnTo>
                    <a:pt x="156" y="450"/>
                  </a:lnTo>
                  <a:lnTo>
                    <a:pt x="156" y="444"/>
                  </a:lnTo>
                  <a:lnTo>
                    <a:pt x="162" y="444"/>
                  </a:lnTo>
                  <a:lnTo>
                    <a:pt x="162" y="438"/>
                  </a:lnTo>
                  <a:lnTo>
                    <a:pt x="168" y="438"/>
                  </a:lnTo>
                  <a:lnTo>
                    <a:pt x="168" y="432"/>
                  </a:lnTo>
                  <a:lnTo>
                    <a:pt x="168" y="426"/>
                  </a:lnTo>
                  <a:lnTo>
                    <a:pt x="174" y="426"/>
                  </a:lnTo>
                  <a:lnTo>
                    <a:pt x="174" y="420"/>
                  </a:lnTo>
                  <a:lnTo>
                    <a:pt x="174" y="414"/>
                  </a:lnTo>
                  <a:lnTo>
                    <a:pt x="180" y="414"/>
                  </a:lnTo>
                  <a:lnTo>
                    <a:pt x="186" y="408"/>
                  </a:lnTo>
                  <a:lnTo>
                    <a:pt x="186" y="402"/>
                  </a:lnTo>
                  <a:lnTo>
                    <a:pt x="192" y="396"/>
                  </a:lnTo>
                  <a:lnTo>
                    <a:pt x="192" y="390"/>
                  </a:lnTo>
                  <a:lnTo>
                    <a:pt x="198" y="384"/>
                  </a:lnTo>
                  <a:lnTo>
                    <a:pt x="198" y="378"/>
                  </a:lnTo>
                  <a:lnTo>
                    <a:pt x="198" y="372"/>
                  </a:lnTo>
                  <a:lnTo>
                    <a:pt x="198" y="366"/>
                  </a:lnTo>
                  <a:lnTo>
                    <a:pt x="192" y="366"/>
                  </a:lnTo>
                  <a:lnTo>
                    <a:pt x="192" y="360"/>
                  </a:lnTo>
                  <a:lnTo>
                    <a:pt x="186" y="360"/>
                  </a:lnTo>
                  <a:lnTo>
                    <a:pt x="186" y="354"/>
                  </a:lnTo>
                  <a:lnTo>
                    <a:pt x="180" y="354"/>
                  </a:lnTo>
                  <a:lnTo>
                    <a:pt x="180" y="348"/>
                  </a:lnTo>
                  <a:lnTo>
                    <a:pt x="186" y="348"/>
                  </a:lnTo>
                  <a:lnTo>
                    <a:pt x="186" y="342"/>
                  </a:lnTo>
                  <a:lnTo>
                    <a:pt x="186" y="336"/>
                  </a:lnTo>
                  <a:lnTo>
                    <a:pt x="186" y="330"/>
                  </a:lnTo>
                  <a:lnTo>
                    <a:pt x="186" y="324"/>
                  </a:lnTo>
                  <a:lnTo>
                    <a:pt x="186" y="318"/>
                  </a:lnTo>
                  <a:lnTo>
                    <a:pt x="186" y="312"/>
                  </a:lnTo>
                  <a:lnTo>
                    <a:pt x="186" y="306"/>
                  </a:lnTo>
                  <a:lnTo>
                    <a:pt x="186" y="300"/>
                  </a:lnTo>
                  <a:lnTo>
                    <a:pt x="186" y="294"/>
                  </a:lnTo>
                  <a:lnTo>
                    <a:pt x="192" y="294"/>
                  </a:lnTo>
                  <a:lnTo>
                    <a:pt x="192" y="288"/>
                  </a:lnTo>
                  <a:lnTo>
                    <a:pt x="192" y="282"/>
                  </a:lnTo>
                  <a:lnTo>
                    <a:pt x="198" y="282"/>
                  </a:lnTo>
                  <a:lnTo>
                    <a:pt x="198" y="276"/>
                  </a:lnTo>
                  <a:lnTo>
                    <a:pt x="204" y="276"/>
                  </a:lnTo>
                  <a:lnTo>
                    <a:pt x="204" y="270"/>
                  </a:lnTo>
                  <a:lnTo>
                    <a:pt x="210" y="270"/>
                  </a:lnTo>
                  <a:lnTo>
                    <a:pt x="210" y="264"/>
                  </a:lnTo>
                  <a:lnTo>
                    <a:pt x="216" y="264"/>
                  </a:lnTo>
                  <a:lnTo>
                    <a:pt x="216" y="258"/>
                  </a:lnTo>
                  <a:lnTo>
                    <a:pt x="216" y="252"/>
                  </a:lnTo>
                  <a:lnTo>
                    <a:pt x="216" y="246"/>
                  </a:lnTo>
                  <a:lnTo>
                    <a:pt x="216" y="240"/>
                  </a:lnTo>
                  <a:lnTo>
                    <a:pt x="216" y="234"/>
                  </a:lnTo>
                  <a:lnTo>
                    <a:pt x="216" y="228"/>
                  </a:lnTo>
                  <a:lnTo>
                    <a:pt x="222" y="228"/>
                  </a:lnTo>
                  <a:lnTo>
                    <a:pt x="222" y="222"/>
                  </a:lnTo>
                  <a:lnTo>
                    <a:pt x="228" y="222"/>
                  </a:lnTo>
                  <a:lnTo>
                    <a:pt x="228" y="216"/>
                  </a:lnTo>
                  <a:lnTo>
                    <a:pt x="234" y="216"/>
                  </a:lnTo>
                  <a:lnTo>
                    <a:pt x="234" y="210"/>
                  </a:lnTo>
                  <a:lnTo>
                    <a:pt x="240" y="210"/>
                  </a:lnTo>
                  <a:lnTo>
                    <a:pt x="240" y="204"/>
                  </a:lnTo>
                  <a:lnTo>
                    <a:pt x="246" y="204"/>
                  </a:lnTo>
                  <a:lnTo>
                    <a:pt x="246" y="198"/>
                  </a:lnTo>
                  <a:lnTo>
                    <a:pt x="252" y="192"/>
                  </a:lnTo>
                  <a:lnTo>
                    <a:pt x="252" y="186"/>
                  </a:lnTo>
                  <a:lnTo>
                    <a:pt x="258" y="186"/>
                  </a:lnTo>
                  <a:lnTo>
                    <a:pt x="258" y="180"/>
                  </a:lnTo>
                  <a:lnTo>
                    <a:pt x="264" y="180"/>
                  </a:lnTo>
                  <a:lnTo>
                    <a:pt x="270" y="180"/>
                  </a:lnTo>
                  <a:lnTo>
                    <a:pt x="270" y="174"/>
                  </a:lnTo>
                  <a:lnTo>
                    <a:pt x="276" y="174"/>
                  </a:lnTo>
                  <a:lnTo>
                    <a:pt x="282" y="174"/>
                  </a:lnTo>
                  <a:lnTo>
                    <a:pt x="282" y="168"/>
                  </a:lnTo>
                  <a:lnTo>
                    <a:pt x="288" y="168"/>
                  </a:lnTo>
                  <a:lnTo>
                    <a:pt x="294" y="168"/>
                  </a:lnTo>
                  <a:lnTo>
                    <a:pt x="294" y="162"/>
                  </a:lnTo>
                  <a:lnTo>
                    <a:pt x="300" y="162"/>
                  </a:lnTo>
                  <a:lnTo>
                    <a:pt x="306" y="162"/>
                  </a:lnTo>
                  <a:lnTo>
                    <a:pt x="306" y="156"/>
                  </a:lnTo>
                  <a:lnTo>
                    <a:pt x="312" y="156"/>
                  </a:lnTo>
                  <a:lnTo>
                    <a:pt x="318" y="156"/>
                  </a:lnTo>
                  <a:lnTo>
                    <a:pt x="318" y="150"/>
                  </a:lnTo>
                  <a:lnTo>
                    <a:pt x="324" y="150"/>
                  </a:lnTo>
                  <a:lnTo>
                    <a:pt x="330" y="150"/>
                  </a:lnTo>
                  <a:lnTo>
                    <a:pt x="330" y="144"/>
                  </a:lnTo>
                  <a:lnTo>
                    <a:pt x="336" y="144"/>
                  </a:lnTo>
                  <a:lnTo>
                    <a:pt x="342" y="138"/>
                  </a:lnTo>
                  <a:lnTo>
                    <a:pt x="348" y="132"/>
                  </a:lnTo>
                  <a:lnTo>
                    <a:pt x="354" y="132"/>
                  </a:lnTo>
                  <a:lnTo>
                    <a:pt x="354" y="126"/>
                  </a:lnTo>
                  <a:lnTo>
                    <a:pt x="360" y="120"/>
                  </a:lnTo>
                  <a:lnTo>
                    <a:pt x="360" y="114"/>
                  </a:lnTo>
                  <a:lnTo>
                    <a:pt x="366" y="114"/>
                  </a:lnTo>
                  <a:lnTo>
                    <a:pt x="360" y="114"/>
                  </a:lnTo>
                  <a:lnTo>
                    <a:pt x="366" y="108"/>
                  </a:lnTo>
                  <a:lnTo>
                    <a:pt x="366" y="102"/>
                  </a:lnTo>
                  <a:lnTo>
                    <a:pt x="372" y="96"/>
                  </a:lnTo>
                  <a:lnTo>
                    <a:pt x="378" y="90"/>
                  </a:lnTo>
                  <a:lnTo>
                    <a:pt x="378" y="84"/>
                  </a:lnTo>
                  <a:lnTo>
                    <a:pt x="378" y="78"/>
                  </a:lnTo>
                  <a:lnTo>
                    <a:pt x="384" y="72"/>
                  </a:lnTo>
                  <a:lnTo>
                    <a:pt x="384" y="66"/>
                  </a:lnTo>
                  <a:lnTo>
                    <a:pt x="384" y="60"/>
                  </a:lnTo>
                  <a:lnTo>
                    <a:pt x="390" y="60"/>
                  </a:lnTo>
                  <a:lnTo>
                    <a:pt x="390" y="54"/>
                  </a:lnTo>
                  <a:lnTo>
                    <a:pt x="390" y="48"/>
                  </a:lnTo>
                  <a:lnTo>
                    <a:pt x="390" y="42"/>
                  </a:lnTo>
                  <a:lnTo>
                    <a:pt x="396" y="42"/>
                  </a:lnTo>
                  <a:lnTo>
                    <a:pt x="396" y="36"/>
                  </a:lnTo>
                  <a:lnTo>
                    <a:pt x="396" y="30"/>
                  </a:lnTo>
                  <a:lnTo>
                    <a:pt x="396" y="24"/>
                  </a:lnTo>
                  <a:lnTo>
                    <a:pt x="402" y="24"/>
                  </a:lnTo>
                  <a:lnTo>
                    <a:pt x="402" y="18"/>
                  </a:lnTo>
                  <a:lnTo>
                    <a:pt x="402" y="12"/>
                  </a:lnTo>
                  <a:lnTo>
                    <a:pt x="408" y="12"/>
                  </a:lnTo>
                  <a:lnTo>
                    <a:pt x="414" y="12"/>
                  </a:lnTo>
                  <a:lnTo>
                    <a:pt x="414" y="6"/>
                  </a:lnTo>
                  <a:lnTo>
                    <a:pt x="420" y="6"/>
                  </a:lnTo>
                  <a:lnTo>
                    <a:pt x="426" y="6"/>
                  </a:lnTo>
                  <a:lnTo>
                    <a:pt x="426" y="0"/>
                  </a:lnTo>
                  <a:lnTo>
                    <a:pt x="432" y="0"/>
                  </a:lnTo>
                  <a:lnTo>
                    <a:pt x="438" y="6"/>
                  </a:lnTo>
                  <a:lnTo>
                    <a:pt x="438" y="0"/>
                  </a:lnTo>
                  <a:lnTo>
                    <a:pt x="438" y="6"/>
                  </a:lnTo>
                  <a:lnTo>
                    <a:pt x="432" y="6"/>
                  </a:lnTo>
                  <a:lnTo>
                    <a:pt x="432" y="12"/>
                  </a:lnTo>
                  <a:lnTo>
                    <a:pt x="438" y="12"/>
                  </a:lnTo>
                  <a:lnTo>
                    <a:pt x="438" y="18"/>
                  </a:lnTo>
                  <a:lnTo>
                    <a:pt x="438" y="24"/>
                  </a:lnTo>
                  <a:lnTo>
                    <a:pt x="444" y="30"/>
                  </a:lnTo>
                  <a:lnTo>
                    <a:pt x="450" y="30"/>
                  </a:lnTo>
                  <a:lnTo>
                    <a:pt x="450" y="36"/>
                  </a:lnTo>
                  <a:lnTo>
                    <a:pt x="456" y="36"/>
                  </a:lnTo>
                  <a:lnTo>
                    <a:pt x="456" y="42"/>
                  </a:lnTo>
                  <a:lnTo>
                    <a:pt x="462" y="42"/>
                  </a:lnTo>
                  <a:lnTo>
                    <a:pt x="462" y="48"/>
                  </a:lnTo>
                  <a:lnTo>
                    <a:pt x="468" y="48"/>
                  </a:lnTo>
                  <a:lnTo>
                    <a:pt x="474" y="48"/>
                  </a:lnTo>
                  <a:lnTo>
                    <a:pt x="474" y="54"/>
                  </a:lnTo>
                  <a:lnTo>
                    <a:pt x="480" y="54"/>
                  </a:lnTo>
                  <a:lnTo>
                    <a:pt x="486" y="54"/>
                  </a:lnTo>
                  <a:lnTo>
                    <a:pt x="492" y="54"/>
                  </a:lnTo>
                  <a:lnTo>
                    <a:pt x="498" y="54"/>
                  </a:lnTo>
                  <a:lnTo>
                    <a:pt x="504" y="54"/>
                  </a:lnTo>
                  <a:lnTo>
                    <a:pt x="504" y="48"/>
                  </a:lnTo>
                  <a:lnTo>
                    <a:pt x="510" y="48"/>
                  </a:lnTo>
                  <a:lnTo>
                    <a:pt x="516" y="48"/>
                  </a:lnTo>
                  <a:lnTo>
                    <a:pt x="516" y="54"/>
                  </a:lnTo>
                  <a:lnTo>
                    <a:pt x="522" y="54"/>
                  </a:lnTo>
                  <a:lnTo>
                    <a:pt x="522" y="48"/>
                  </a:lnTo>
                  <a:lnTo>
                    <a:pt x="528" y="48"/>
                  </a:lnTo>
                  <a:lnTo>
                    <a:pt x="534" y="48"/>
                  </a:lnTo>
                  <a:lnTo>
                    <a:pt x="540" y="48"/>
                  </a:lnTo>
                  <a:lnTo>
                    <a:pt x="540" y="54"/>
                  </a:lnTo>
                  <a:lnTo>
                    <a:pt x="546" y="54"/>
                  </a:lnTo>
                  <a:lnTo>
                    <a:pt x="546" y="48"/>
                  </a:lnTo>
                  <a:lnTo>
                    <a:pt x="552" y="48"/>
                  </a:lnTo>
                  <a:lnTo>
                    <a:pt x="558" y="48"/>
                  </a:lnTo>
                  <a:lnTo>
                    <a:pt x="564" y="48"/>
                  </a:lnTo>
                  <a:lnTo>
                    <a:pt x="564" y="42"/>
                  </a:lnTo>
                  <a:lnTo>
                    <a:pt x="564" y="36"/>
                  </a:lnTo>
                  <a:lnTo>
                    <a:pt x="570" y="36"/>
                  </a:lnTo>
                  <a:lnTo>
                    <a:pt x="570" y="42"/>
                  </a:lnTo>
                  <a:lnTo>
                    <a:pt x="570" y="48"/>
                  </a:lnTo>
                  <a:lnTo>
                    <a:pt x="570" y="54"/>
                  </a:lnTo>
                  <a:lnTo>
                    <a:pt x="576" y="54"/>
                  </a:lnTo>
                  <a:lnTo>
                    <a:pt x="576" y="60"/>
                  </a:lnTo>
                  <a:lnTo>
                    <a:pt x="582" y="60"/>
                  </a:lnTo>
                  <a:lnTo>
                    <a:pt x="582" y="54"/>
                  </a:lnTo>
                  <a:lnTo>
                    <a:pt x="576" y="54"/>
                  </a:lnTo>
                  <a:lnTo>
                    <a:pt x="570" y="48"/>
                  </a:lnTo>
                  <a:lnTo>
                    <a:pt x="576" y="48"/>
                  </a:lnTo>
                  <a:lnTo>
                    <a:pt x="576" y="54"/>
                  </a:lnTo>
                  <a:lnTo>
                    <a:pt x="582" y="54"/>
                  </a:lnTo>
                  <a:lnTo>
                    <a:pt x="582" y="60"/>
                  </a:lnTo>
                  <a:lnTo>
                    <a:pt x="588" y="60"/>
                  </a:lnTo>
                  <a:lnTo>
                    <a:pt x="594" y="60"/>
                  </a:lnTo>
                  <a:lnTo>
                    <a:pt x="594" y="54"/>
                  </a:lnTo>
                  <a:lnTo>
                    <a:pt x="600" y="54"/>
                  </a:lnTo>
                  <a:lnTo>
                    <a:pt x="606" y="54"/>
                  </a:lnTo>
                  <a:lnTo>
                    <a:pt x="606" y="60"/>
                  </a:lnTo>
                  <a:lnTo>
                    <a:pt x="612" y="60"/>
                  </a:lnTo>
                  <a:lnTo>
                    <a:pt x="612" y="66"/>
                  </a:lnTo>
                  <a:lnTo>
                    <a:pt x="618" y="66"/>
                  </a:lnTo>
                  <a:lnTo>
                    <a:pt x="618" y="72"/>
                  </a:lnTo>
                  <a:lnTo>
                    <a:pt x="624" y="72"/>
                  </a:lnTo>
                  <a:lnTo>
                    <a:pt x="624" y="78"/>
                  </a:lnTo>
                  <a:lnTo>
                    <a:pt x="630" y="78"/>
                  </a:lnTo>
                  <a:lnTo>
                    <a:pt x="636" y="84"/>
                  </a:lnTo>
                  <a:lnTo>
                    <a:pt x="630" y="90"/>
                  </a:lnTo>
                  <a:lnTo>
                    <a:pt x="636" y="96"/>
                  </a:lnTo>
                  <a:lnTo>
                    <a:pt x="636" y="102"/>
                  </a:lnTo>
                  <a:lnTo>
                    <a:pt x="636" y="108"/>
                  </a:lnTo>
                  <a:lnTo>
                    <a:pt x="636" y="120"/>
                  </a:lnTo>
                  <a:lnTo>
                    <a:pt x="642" y="126"/>
                  </a:lnTo>
                  <a:lnTo>
                    <a:pt x="642" y="132"/>
                  </a:lnTo>
                  <a:lnTo>
                    <a:pt x="636" y="132"/>
                  </a:lnTo>
                  <a:lnTo>
                    <a:pt x="636" y="144"/>
                  </a:lnTo>
                  <a:lnTo>
                    <a:pt x="642" y="150"/>
                  </a:lnTo>
                  <a:lnTo>
                    <a:pt x="636" y="150"/>
                  </a:lnTo>
                  <a:lnTo>
                    <a:pt x="636" y="156"/>
                  </a:lnTo>
                  <a:lnTo>
                    <a:pt x="642" y="156"/>
                  </a:lnTo>
                  <a:lnTo>
                    <a:pt x="642" y="162"/>
                  </a:lnTo>
                  <a:lnTo>
                    <a:pt x="642" y="168"/>
                  </a:lnTo>
                  <a:lnTo>
                    <a:pt x="642" y="174"/>
                  </a:lnTo>
                  <a:lnTo>
                    <a:pt x="642" y="180"/>
                  </a:lnTo>
                  <a:lnTo>
                    <a:pt x="642" y="186"/>
                  </a:lnTo>
                  <a:lnTo>
                    <a:pt x="648" y="192"/>
                  </a:lnTo>
                  <a:lnTo>
                    <a:pt x="648" y="198"/>
                  </a:lnTo>
                  <a:lnTo>
                    <a:pt x="648" y="204"/>
                  </a:lnTo>
                  <a:lnTo>
                    <a:pt x="654" y="210"/>
                  </a:lnTo>
                  <a:lnTo>
                    <a:pt x="654" y="216"/>
                  </a:lnTo>
                  <a:lnTo>
                    <a:pt x="660" y="216"/>
                  </a:lnTo>
                  <a:lnTo>
                    <a:pt x="660" y="222"/>
                  </a:lnTo>
                  <a:lnTo>
                    <a:pt x="666" y="222"/>
                  </a:lnTo>
                  <a:lnTo>
                    <a:pt x="672" y="228"/>
                  </a:lnTo>
                  <a:lnTo>
                    <a:pt x="678" y="228"/>
                  </a:lnTo>
                  <a:lnTo>
                    <a:pt x="678" y="234"/>
                  </a:lnTo>
                  <a:lnTo>
                    <a:pt x="672" y="234"/>
                  </a:lnTo>
                  <a:lnTo>
                    <a:pt x="672" y="240"/>
                  </a:lnTo>
                  <a:lnTo>
                    <a:pt x="666" y="240"/>
                  </a:lnTo>
                  <a:lnTo>
                    <a:pt x="666" y="246"/>
                  </a:lnTo>
                  <a:lnTo>
                    <a:pt x="660" y="246"/>
                  </a:lnTo>
                  <a:lnTo>
                    <a:pt x="666" y="246"/>
                  </a:lnTo>
                  <a:lnTo>
                    <a:pt x="660" y="246"/>
                  </a:lnTo>
                  <a:lnTo>
                    <a:pt x="660" y="252"/>
                  </a:lnTo>
                  <a:lnTo>
                    <a:pt x="666" y="252"/>
                  </a:lnTo>
                  <a:lnTo>
                    <a:pt x="666" y="258"/>
                  </a:lnTo>
                  <a:lnTo>
                    <a:pt x="660" y="258"/>
                  </a:lnTo>
                  <a:lnTo>
                    <a:pt x="654" y="258"/>
                  </a:lnTo>
                  <a:lnTo>
                    <a:pt x="648" y="258"/>
                  </a:lnTo>
                  <a:lnTo>
                    <a:pt x="642" y="258"/>
                  </a:lnTo>
                  <a:lnTo>
                    <a:pt x="636" y="258"/>
                  </a:lnTo>
                  <a:lnTo>
                    <a:pt x="630" y="258"/>
                  </a:lnTo>
                  <a:lnTo>
                    <a:pt x="624" y="258"/>
                  </a:lnTo>
                  <a:lnTo>
                    <a:pt x="618" y="258"/>
                  </a:lnTo>
                  <a:lnTo>
                    <a:pt x="612" y="252"/>
                  </a:lnTo>
                  <a:lnTo>
                    <a:pt x="606" y="252"/>
                  </a:lnTo>
                  <a:lnTo>
                    <a:pt x="600" y="252"/>
                  </a:lnTo>
                  <a:lnTo>
                    <a:pt x="594" y="252"/>
                  </a:lnTo>
                  <a:lnTo>
                    <a:pt x="588" y="258"/>
                  </a:lnTo>
                  <a:lnTo>
                    <a:pt x="582" y="258"/>
                  </a:lnTo>
                  <a:lnTo>
                    <a:pt x="576" y="258"/>
                  </a:lnTo>
                  <a:lnTo>
                    <a:pt x="570" y="258"/>
                  </a:lnTo>
                  <a:lnTo>
                    <a:pt x="570" y="264"/>
                  </a:lnTo>
                  <a:lnTo>
                    <a:pt x="570" y="270"/>
                  </a:lnTo>
                  <a:lnTo>
                    <a:pt x="576" y="270"/>
                  </a:lnTo>
                  <a:lnTo>
                    <a:pt x="576" y="276"/>
                  </a:lnTo>
                  <a:lnTo>
                    <a:pt x="576" y="282"/>
                  </a:lnTo>
                  <a:lnTo>
                    <a:pt x="570" y="282"/>
                  </a:lnTo>
                  <a:lnTo>
                    <a:pt x="564" y="282"/>
                  </a:lnTo>
                  <a:lnTo>
                    <a:pt x="558" y="282"/>
                  </a:lnTo>
                  <a:lnTo>
                    <a:pt x="552" y="282"/>
                  </a:lnTo>
                  <a:lnTo>
                    <a:pt x="552" y="288"/>
                  </a:lnTo>
                  <a:lnTo>
                    <a:pt x="546" y="288"/>
                  </a:lnTo>
                  <a:lnTo>
                    <a:pt x="540" y="288"/>
                  </a:lnTo>
                  <a:lnTo>
                    <a:pt x="534" y="288"/>
                  </a:lnTo>
                  <a:lnTo>
                    <a:pt x="528" y="288"/>
                  </a:lnTo>
                  <a:lnTo>
                    <a:pt x="528" y="294"/>
                  </a:lnTo>
                  <a:lnTo>
                    <a:pt x="528" y="300"/>
                  </a:lnTo>
                  <a:lnTo>
                    <a:pt x="528" y="306"/>
                  </a:lnTo>
                  <a:lnTo>
                    <a:pt x="522" y="306"/>
                  </a:lnTo>
                  <a:lnTo>
                    <a:pt x="522" y="312"/>
                  </a:lnTo>
                  <a:lnTo>
                    <a:pt x="522" y="318"/>
                  </a:lnTo>
                  <a:lnTo>
                    <a:pt x="522" y="324"/>
                  </a:lnTo>
                  <a:lnTo>
                    <a:pt x="528" y="324"/>
                  </a:lnTo>
                  <a:lnTo>
                    <a:pt x="534" y="324"/>
                  </a:lnTo>
                  <a:lnTo>
                    <a:pt x="534" y="330"/>
                  </a:lnTo>
                  <a:lnTo>
                    <a:pt x="534" y="336"/>
                  </a:lnTo>
                  <a:lnTo>
                    <a:pt x="528" y="336"/>
                  </a:lnTo>
                  <a:lnTo>
                    <a:pt x="522" y="336"/>
                  </a:lnTo>
                  <a:lnTo>
                    <a:pt x="522" y="342"/>
                  </a:lnTo>
                  <a:lnTo>
                    <a:pt x="522" y="336"/>
                  </a:lnTo>
                  <a:lnTo>
                    <a:pt x="516" y="336"/>
                  </a:lnTo>
                  <a:lnTo>
                    <a:pt x="510" y="342"/>
                  </a:lnTo>
                  <a:lnTo>
                    <a:pt x="504" y="342"/>
                  </a:lnTo>
                  <a:lnTo>
                    <a:pt x="504" y="348"/>
                  </a:lnTo>
                  <a:lnTo>
                    <a:pt x="498" y="348"/>
                  </a:lnTo>
                  <a:lnTo>
                    <a:pt x="492" y="348"/>
                  </a:lnTo>
                  <a:lnTo>
                    <a:pt x="486" y="348"/>
                  </a:lnTo>
                  <a:lnTo>
                    <a:pt x="480" y="348"/>
                  </a:lnTo>
                  <a:lnTo>
                    <a:pt x="474" y="348"/>
                  </a:lnTo>
                  <a:lnTo>
                    <a:pt x="474" y="354"/>
                  </a:lnTo>
                  <a:lnTo>
                    <a:pt x="468" y="354"/>
                  </a:lnTo>
                  <a:lnTo>
                    <a:pt x="462" y="354"/>
                  </a:lnTo>
                  <a:lnTo>
                    <a:pt x="462" y="360"/>
                  </a:lnTo>
                  <a:lnTo>
                    <a:pt x="462" y="366"/>
                  </a:lnTo>
                  <a:lnTo>
                    <a:pt x="456" y="366"/>
                  </a:lnTo>
                  <a:lnTo>
                    <a:pt x="456" y="372"/>
                  </a:lnTo>
                  <a:lnTo>
                    <a:pt x="456" y="378"/>
                  </a:lnTo>
                  <a:lnTo>
                    <a:pt x="456" y="384"/>
                  </a:lnTo>
                  <a:lnTo>
                    <a:pt x="450" y="384"/>
                  </a:lnTo>
                  <a:lnTo>
                    <a:pt x="450" y="390"/>
                  </a:lnTo>
                  <a:lnTo>
                    <a:pt x="450" y="396"/>
                  </a:lnTo>
                  <a:lnTo>
                    <a:pt x="444" y="396"/>
                  </a:lnTo>
                  <a:lnTo>
                    <a:pt x="438" y="396"/>
                  </a:lnTo>
                  <a:lnTo>
                    <a:pt x="438" y="402"/>
                  </a:lnTo>
                  <a:lnTo>
                    <a:pt x="432" y="402"/>
                  </a:lnTo>
                  <a:lnTo>
                    <a:pt x="426" y="402"/>
                  </a:lnTo>
                  <a:lnTo>
                    <a:pt x="420" y="408"/>
                  </a:lnTo>
                  <a:lnTo>
                    <a:pt x="414" y="408"/>
                  </a:lnTo>
                  <a:lnTo>
                    <a:pt x="408" y="408"/>
                  </a:lnTo>
                  <a:lnTo>
                    <a:pt x="402" y="408"/>
                  </a:lnTo>
                  <a:lnTo>
                    <a:pt x="396" y="414"/>
                  </a:lnTo>
                  <a:lnTo>
                    <a:pt x="390" y="414"/>
                  </a:lnTo>
                  <a:lnTo>
                    <a:pt x="384" y="414"/>
                  </a:lnTo>
                  <a:lnTo>
                    <a:pt x="378" y="414"/>
                  </a:lnTo>
                  <a:lnTo>
                    <a:pt x="372" y="414"/>
                  </a:lnTo>
                  <a:lnTo>
                    <a:pt x="372" y="420"/>
                  </a:lnTo>
                  <a:lnTo>
                    <a:pt x="366" y="420"/>
                  </a:lnTo>
                  <a:lnTo>
                    <a:pt x="360" y="420"/>
                  </a:lnTo>
                  <a:lnTo>
                    <a:pt x="354" y="420"/>
                  </a:lnTo>
                  <a:lnTo>
                    <a:pt x="348" y="420"/>
                  </a:lnTo>
                  <a:lnTo>
                    <a:pt x="342" y="420"/>
                  </a:lnTo>
                  <a:lnTo>
                    <a:pt x="336" y="420"/>
                  </a:lnTo>
                  <a:lnTo>
                    <a:pt x="330" y="420"/>
                  </a:lnTo>
                  <a:lnTo>
                    <a:pt x="330" y="426"/>
                  </a:lnTo>
                  <a:lnTo>
                    <a:pt x="324" y="426"/>
                  </a:lnTo>
                  <a:lnTo>
                    <a:pt x="324" y="432"/>
                  </a:lnTo>
                  <a:lnTo>
                    <a:pt x="318" y="432"/>
                  </a:lnTo>
                  <a:lnTo>
                    <a:pt x="318" y="438"/>
                  </a:lnTo>
                  <a:lnTo>
                    <a:pt x="312" y="432"/>
                  </a:lnTo>
                  <a:lnTo>
                    <a:pt x="306" y="438"/>
                  </a:lnTo>
                  <a:lnTo>
                    <a:pt x="300" y="438"/>
                  </a:lnTo>
                  <a:lnTo>
                    <a:pt x="300" y="444"/>
                  </a:lnTo>
                  <a:lnTo>
                    <a:pt x="294" y="444"/>
                  </a:lnTo>
                  <a:lnTo>
                    <a:pt x="294" y="450"/>
                  </a:lnTo>
                  <a:lnTo>
                    <a:pt x="288" y="450"/>
                  </a:lnTo>
                  <a:lnTo>
                    <a:pt x="282" y="456"/>
                  </a:lnTo>
                  <a:lnTo>
                    <a:pt x="276" y="456"/>
                  </a:lnTo>
                  <a:lnTo>
                    <a:pt x="270" y="462"/>
                  </a:lnTo>
                  <a:lnTo>
                    <a:pt x="264" y="468"/>
                  </a:lnTo>
                  <a:lnTo>
                    <a:pt x="258" y="468"/>
                  </a:lnTo>
                  <a:lnTo>
                    <a:pt x="258" y="474"/>
                  </a:lnTo>
                  <a:lnTo>
                    <a:pt x="252" y="474"/>
                  </a:lnTo>
                  <a:lnTo>
                    <a:pt x="252" y="480"/>
                  </a:lnTo>
                  <a:lnTo>
                    <a:pt x="252" y="486"/>
                  </a:lnTo>
                  <a:lnTo>
                    <a:pt x="252" y="498"/>
                  </a:lnTo>
                  <a:lnTo>
                    <a:pt x="252" y="504"/>
                  </a:lnTo>
                  <a:lnTo>
                    <a:pt x="252" y="54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79" name="Freeform 6"/>
            <p:cNvSpPr>
              <a:spLocks/>
            </p:cNvSpPr>
            <p:nvPr>
              <p:custDataLst>
                <p:tags r:id="rId7"/>
              </p:custDataLst>
            </p:nvPr>
          </p:nvSpPr>
          <p:spPr bwMode="gray">
            <a:xfrm>
              <a:off x="421924" y="2208259"/>
              <a:ext cx="431794" cy="373633"/>
            </a:xfrm>
            <a:custGeom>
              <a:avLst/>
              <a:gdLst>
                <a:gd name="T0" fmla="*/ 1936 w 474"/>
                <a:gd name="T1" fmla="*/ 151395 h 426"/>
                <a:gd name="T2" fmla="*/ 1936 w 474"/>
                <a:gd name="T3" fmla="*/ 147488 h 426"/>
                <a:gd name="T4" fmla="*/ 1936 w 474"/>
                <a:gd name="T5" fmla="*/ 138698 h 426"/>
                <a:gd name="T6" fmla="*/ 3872 w 474"/>
                <a:gd name="T7" fmla="*/ 132837 h 426"/>
                <a:gd name="T8" fmla="*/ 6776 w 474"/>
                <a:gd name="T9" fmla="*/ 126000 h 426"/>
                <a:gd name="T10" fmla="*/ 10648 w 474"/>
                <a:gd name="T11" fmla="*/ 121117 h 426"/>
                <a:gd name="T12" fmla="*/ 14521 w 474"/>
                <a:gd name="T13" fmla="*/ 117209 h 426"/>
                <a:gd name="T14" fmla="*/ 17424 w 474"/>
                <a:gd name="T15" fmla="*/ 110372 h 426"/>
                <a:gd name="T16" fmla="*/ 19360 w 474"/>
                <a:gd name="T17" fmla="*/ 103535 h 426"/>
                <a:gd name="T18" fmla="*/ 21296 w 474"/>
                <a:gd name="T19" fmla="*/ 97675 h 426"/>
                <a:gd name="T20" fmla="*/ 26137 w 474"/>
                <a:gd name="T21" fmla="*/ 92791 h 426"/>
                <a:gd name="T22" fmla="*/ 26137 w 474"/>
                <a:gd name="T23" fmla="*/ 88884 h 426"/>
                <a:gd name="T24" fmla="*/ 27104 w 474"/>
                <a:gd name="T25" fmla="*/ 86930 h 426"/>
                <a:gd name="T26" fmla="*/ 26137 w 474"/>
                <a:gd name="T27" fmla="*/ 88884 h 426"/>
                <a:gd name="T28" fmla="*/ 23232 w 474"/>
                <a:gd name="T29" fmla="*/ 86930 h 426"/>
                <a:gd name="T30" fmla="*/ 30008 w 474"/>
                <a:gd name="T31" fmla="*/ 84000 h 426"/>
                <a:gd name="T32" fmla="*/ 31944 w 474"/>
                <a:gd name="T33" fmla="*/ 83023 h 426"/>
                <a:gd name="T34" fmla="*/ 36785 w 474"/>
                <a:gd name="T35" fmla="*/ 76186 h 426"/>
                <a:gd name="T36" fmla="*/ 40656 w 474"/>
                <a:gd name="T37" fmla="*/ 71302 h 426"/>
                <a:gd name="T38" fmla="*/ 44529 w 474"/>
                <a:gd name="T39" fmla="*/ 67395 h 426"/>
                <a:gd name="T40" fmla="*/ 46465 w 474"/>
                <a:gd name="T41" fmla="*/ 58604 h 426"/>
                <a:gd name="T42" fmla="*/ 46465 w 474"/>
                <a:gd name="T43" fmla="*/ 53721 h 426"/>
                <a:gd name="T44" fmla="*/ 46465 w 474"/>
                <a:gd name="T45" fmla="*/ 49814 h 426"/>
                <a:gd name="T46" fmla="*/ 49368 w 474"/>
                <a:gd name="T47" fmla="*/ 42977 h 426"/>
                <a:gd name="T48" fmla="*/ 53241 w 474"/>
                <a:gd name="T49" fmla="*/ 37116 h 426"/>
                <a:gd name="T50" fmla="*/ 57113 w 474"/>
                <a:gd name="T51" fmla="*/ 32233 h 426"/>
                <a:gd name="T52" fmla="*/ 61953 w 474"/>
                <a:gd name="T53" fmla="*/ 28326 h 426"/>
                <a:gd name="T54" fmla="*/ 67761 w 474"/>
                <a:gd name="T55" fmla="*/ 26372 h 426"/>
                <a:gd name="T56" fmla="*/ 72601 w 474"/>
                <a:gd name="T57" fmla="*/ 21488 h 426"/>
                <a:gd name="T58" fmla="*/ 74537 w 474"/>
                <a:gd name="T59" fmla="*/ 15628 h 426"/>
                <a:gd name="T60" fmla="*/ 76473 w 474"/>
                <a:gd name="T61" fmla="*/ 6838 h 426"/>
                <a:gd name="T62" fmla="*/ 78409 w 474"/>
                <a:gd name="T63" fmla="*/ 0 h 426"/>
                <a:gd name="T64" fmla="*/ 168434 w 474"/>
                <a:gd name="T65" fmla="*/ 0 h 426"/>
                <a:gd name="T66" fmla="*/ 168434 w 474"/>
                <a:gd name="T67" fmla="*/ 39069 h 426"/>
                <a:gd name="T68" fmla="*/ 157786 w 474"/>
                <a:gd name="T69" fmla="*/ 39069 h 426"/>
                <a:gd name="T70" fmla="*/ 147138 w 474"/>
                <a:gd name="T71" fmla="*/ 39069 h 426"/>
                <a:gd name="T72" fmla="*/ 136490 w 474"/>
                <a:gd name="T73" fmla="*/ 39069 h 426"/>
                <a:gd name="T74" fmla="*/ 127778 w 474"/>
                <a:gd name="T75" fmla="*/ 39069 h 426"/>
                <a:gd name="T76" fmla="*/ 115193 w 474"/>
                <a:gd name="T77" fmla="*/ 39069 h 426"/>
                <a:gd name="T78" fmla="*/ 104545 w 474"/>
                <a:gd name="T79" fmla="*/ 39069 h 426"/>
                <a:gd name="T80" fmla="*/ 101641 w 474"/>
                <a:gd name="T81" fmla="*/ 64465 h 426"/>
                <a:gd name="T82" fmla="*/ 90026 w 474"/>
                <a:gd name="T83" fmla="*/ 95721 h 426"/>
                <a:gd name="T84" fmla="*/ 81313 w 474"/>
                <a:gd name="T85" fmla="*/ 101581 h 426"/>
                <a:gd name="T86" fmla="*/ 78409 w 474"/>
                <a:gd name="T87" fmla="*/ 110372 h 426"/>
                <a:gd name="T88" fmla="*/ 81313 w 474"/>
                <a:gd name="T89" fmla="*/ 121117 h 426"/>
                <a:gd name="T90" fmla="*/ 81313 w 474"/>
                <a:gd name="T91" fmla="*/ 129907 h 426"/>
                <a:gd name="T92" fmla="*/ 81313 w 474"/>
                <a:gd name="T93" fmla="*/ 138698 h 426"/>
                <a:gd name="T94" fmla="*/ 72601 w 474"/>
                <a:gd name="T95" fmla="*/ 140651 h 426"/>
                <a:gd name="T96" fmla="*/ 61953 w 474"/>
                <a:gd name="T97" fmla="*/ 140651 h 426"/>
                <a:gd name="T98" fmla="*/ 53241 w 474"/>
                <a:gd name="T99" fmla="*/ 140651 h 426"/>
                <a:gd name="T100" fmla="*/ 44529 w 474"/>
                <a:gd name="T101" fmla="*/ 140651 h 426"/>
                <a:gd name="T102" fmla="*/ 27104 w 474"/>
                <a:gd name="T103" fmla="*/ 140651 h 426"/>
                <a:gd name="T104" fmla="*/ 3872 w 474"/>
                <a:gd name="T105" fmla="*/ 140651 h 426"/>
                <a:gd name="T106" fmla="*/ 1936 w 474"/>
                <a:gd name="T107" fmla="*/ 147488 h 4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74" h="426">
                  <a:moveTo>
                    <a:pt x="6" y="426"/>
                  </a:moveTo>
                  <a:lnTo>
                    <a:pt x="6" y="420"/>
                  </a:lnTo>
                  <a:lnTo>
                    <a:pt x="0" y="420"/>
                  </a:lnTo>
                  <a:lnTo>
                    <a:pt x="6" y="420"/>
                  </a:lnTo>
                  <a:lnTo>
                    <a:pt x="6" y="414"/>
                  </a:lnTo>
                  <a:lnTo>
                    <a:pt x="0" y="414"/>
                  </a:lnTo>
                  <a:lnTo>
                    <a:pt x="6" y="414"/>
                  </a:lnTo>
                  <a:lnTo>
                    <a:pt x="6" y="408"/>
                  </a:lnTo>
                  <a:lnTo>
                    <a:pt x="6" y="402"/>
                  </a:lnTo>
                  <a:lnTo>
                    <a:pt x="6" y="396"/>
                  </a:lnTo>
                  <a:lnTo>
                    <a:pt x="6" y="390"/>
                  </a:lnTo>
                  <a:lnTo>
                    <a:pt x="6" y="384"/>
                  </a:lnTo>
                  <a:lnTo>
                    <a:pt x="6" y="378"/>
                  </a:lnTo>
                  <a:lnTo>
                    <a:pt x="12" y="378"/>
                  </a:lnTo>
                  <a:lnTo>
                    <a:pt x="12" y="372"/>
                  </a:lnTo>
                  <a:lnTo>
                    <a:pt x="12" y="366"/>
                  </a:lnTo>
                  <a:lnTo>
                    <a:pt x="12" y="360"/>
                  </a:lnTo>
                  <a:lnTo>
                    <a:pt x="12" y="354"/>
                  </a:lnTo>
                  <a:lnTo>
                    <a:pt x="18" y="354"/>
                  </a:lnTo>
                  <a:lnTo>
                    <a:pt x="18" y="348"/>
                  </a:lnTo>
                  <a:lnTo>
                    <a:pt x="18" y="342"/>
                  </a:lnTo>
                  <a:lnTo>
                    <a:pt x="18" y="336"/>
                  </a:lnTo>
                  <a:lnTo>
                    <a:pt x="24" y="336"/>
                  </a:lnTo>
                  <a:lnTo>
                    <a:pt x="30" y="336"/>
                  </a:lnTo>
                  <a:lnTo>
                    <a:pt x="36" y="336"/>
                  </a:lnTo>
                  <a:lnTo>
                    <a:pt x="36" y="330"/>
                  </a:lnTo>
                  <a:lnTo>
                    <a:pt x="36" y="324"/>
                  </a:lnTo>
                  <a:lnTo>
                    <a:pt x="42" y="324"/>
                  </a:lnTo>
                  <a:lnTo>
                    <a:pt x="42" y="318"/>
                  </a:lnTo>
                  <a:lnTo>
                    <a:pt x="42" y="312"/>
                  </a:lnTo>
                  <a:lnTo>
                    <a:pt x="42" y="306"/>
                  </a:lnTo>
                  <a:lnTo>
                    <a:pt x="48" y="306"/>
                  </a:lnTo>
                  <a:lnTo>
                    <a:pt x="48" y="300"/>
                  </a:lnTo>
                  <a:lnTo>
                    <a:pt x="48" y="294"/>
                  </a:lnTo>
                  <a:lnTo>
                    <a:pt x="54" y="294"/>
                  </a:lnTo>
                  <a:lnTo>
                    <a:pt x="54" y="288"/>
                  </a:lnTo>
                  <a:lnTo>
                    <a:pt x="54" y="282"/>
                  </a:lnTo>
                  <a:lnTo>
                    <a:pt x="60" y="282"/>
                  </a:lnTo>
                  <a:lnTo>
                    <a:pt x="60" y="276"/>
                  </a:lnTo>
                  <a:lnTo>
                    <a:pt x="60" y="270"/>
                  </a:lnTo>
                  <a:lnTo>
                    <a:pt x="66" y="270"/>
                  </a:lnTo>
                  <a:lnTo>
                    <a:pt x="66" y="264"/>
                  </a:lnTo>
                  <a:lnTo>
                    <a:pt x="66" y="258"/>
                  </a:lnTo>
                  <a:lnTo>
                    <a:pt x="72" y="258"/>
                  </a:lnTo>
                  <a:lnTo>
                    <a:pt x="72" y="252"/>
                  </a:lnTo>
                  <a:lnTo>
                    <a:pt x="72" y="246"/>
                  </a:lnTo>
                  <a:lnTo>
                    <a:pt x="78" y="246"/>
                  </a:lnTo>
                  <a:lnTo>
                    <a:pt x="72" y="246"/>
                  </a:lnTo>
                  <a:lnTo>
                    <a:pt x="78" y="246"/>
                  </a:lnTo>
                  <a:lnTo>
                    <a:pt x="78" y="240"/>
                  </a:lnTo>
                  <a:lnTo>
                    <a:pt x="78" y="234"/>
                  </a:lnTo>
                  <a:lnTo>
                    <a:pt x="78" y="240"/>
                  </a:lnTo>
                  <a:lnTo>
                    <a:pt x="78" y="234"/>
                  </a:lnTo>
                  <a:lnTo>
                    <a:pt x="78" y="240"/>
                  </a:lnTo>
                  <a:lnTo>
                    <a:pt x="72" y="240"/>
                  </a:lnTo>
                  <a:lnTo>
                    <a:pt x="72" y="246"/>
                  </a:lnTo>
                  <a:lnTo>
                    <a:pt x="66" y="246"/>
                  </a:lnTo>
                  <a:lnTo>
                    <a:pt x="66" y="252"/>
                  </a:lnTo>
                  <a:lnTo>
                    <a:pt x="66" y="246"/>
                  </a:lnTo>
                  <a:lnTo>
                    <a:pt x="66" y="240"/>
                  </a:lnTo>
                  <a:lnTo>
                    <a:pt x="72" y="240"/>
                  </a:lnTo>
                  <a:lnTo>
                    <a:pt x="72" y="234"/>
                  </a:lnTo>
                  <a:lnTo>
                    <a:pt x="78" y="234"/>
                  </a:lnTo>
                  <a:lnTo>
                    <a:pt x="84" y="234"/>
                  </a:lnTo>
                  <a:lnTo>
                    <a:pt x="84" y="228"/>
                  </a:lnTo>
                  <a:lnTo>
                    <a:pt x="90" y="228"/>
                  </a:lnTo>
                  <a:lnTo>
                    <a:pt x="84" y="228"/>
                  </a:lnTo>
                  <a:lnTo>
                    <a:pt x="90" y="228"/>
                  </a:lnTo>
                  <a:lnTo>
                    <a:pt x="90" y="222"/>
                  </a:lnTo>
                  <a:lnTo>
                    <a:pt x="96" y="216"/>
                  </a:lnTo>
                  <a:lnTo>
                    <a:pt x="102" y="216"/>
                  </a:lnTo>
                  <a:lnTo>
                    <a:pt x="102" y="210"/>
                  </a:lnTo>
                  <a:lnTo>
                    <a:pt x="102" y="204"/>
                  </a:lnTo>
                  <a:lnTo>
                    <a:pt x="108" y="204"/>
                  </a:lnTo>
                  <a:lnTo>
                    <a:pt x="108" y="198"/>
                  </a:lnTo>
                  <a:lnTo>
                    <a:pt x="114" y="198"/>
                  </a:lnTo>
                  <a:lnTo>
                    <a:pt x="120" y="198"/>
                  </a:lnTo>
                  <a:lnTo>
                    <a:pt x="120" y="192"/>
                  </a:lnTo>
                  <a:lnTo>
                    <a:pt x="126" y="192"/>
                  </a:lnTo>
                  <a:lnTo>
                    <a:pt x="126" y="186"/>
                  </a:lnTo>
                  <a:lnTo>
                    <a:pt x="126" y="180"/>
                  </a:lnTo>
                  <a:lnTo>
                    <a:pt x="126" y="174"/>
                  </a:lnTo>
                  <a:lnTo>
                    <a:pt x="132" y="168"/>
                  </a:lnTo>
                  <a:lnTo>
                    <a:pt x="132" y="162"/>
                  </a:lnTo>
                  <a:lnTo>
                    <a:pt x="126" y="162"/>
                  </a:lnTo>
                  <a:lnTo>
                    <a:pt x="126" y="156"/>
                  </a:lnTo>
                  <a:lnTo>
                    <a:pt x="132" y="156"/>
                  </a:lnTo>
                  <a:lnTo>
                    <a:pt x="132" y="150"/>
                  </a:lnTo>
                  <a:lnTo>
                    <a:pt x="126" y="150"/>
                  </a:lnTo>
                  <a:lnTo>
                    <a:pt x="132" y="150"/>
                  </a:lnTo>
                  <a:lnTo>
                    <a:pt x="132" y="144"/>
                  </a:lnTo>
                  <a:lnTo>
                    <a:pt x="132" y="138"/>
                  </a:lnTo>
                  <a:lnTo>
                    <a:pt x="138" y="138"/>
                  </a:lnTo>
                  <a:lnTo>
                    <a:pt x="138" y="132"/>
                  </a:lnTo>
                  <a:lnTo>
                    <a:pt x="138" y="126"/>
                  </a:lnTo>
                  <a:lnTo>
                    <a:pt x="138" y="120"/>
                  </a:lnTo>
                  <a:lnTo>
                    <a:pt x="144" y="120"/>
                  </a:lnTo>
                  <a:lnTo>
                    <a:pt x="144" y="114"/>
                  </a:lnTo>
                  <a:lnTo>
                    <a:pt x="150" y="108"/>
                  </a:lnTo>
                  <a:lnTo>
                    <a:pt x="150" y="102"/>
                  </a:lnTo>
                  <a:lnTo>
                    <a:pt x="150" y="96"/>
                  </a:lnTo>
                  <a:lnTo>
                    <a:pt x="150" y="90"/>
                  </a:lnTo>
                  <a:lnTo>
                    <a:pt x="156" y="90"/>
                  </a:lnTo>
                  <a:lnTo>
                    <a:pt x="162" y="90"/>
                  </a:lnTo>
                  <a:lnTo>
                    <a:pt x="162" y="84"/>
                  </a:lnTo>
                  <a:lnTo>
                    <a:pt x="168" y="84"/>
                  </a:lnTo>
                  <a:lnTo>
                    <a:pt x="168" y="78"/>
                  </a:lnTo>
                  <a:lnTo>
                    <a:pt x="174" y="78"/>
                  </a:lnTo>
                  <a:lnTo>
                    <a:pt x="180" y="78"/>
                  </a:lnTo>
                  <a:lnTo>
                    <a:pt x="180" y="72"/>
                  </a:lnTo>
                  <a:lnTo>
                    <a:pt x="186" y="72"/>
                  </a:lnTo>
                  <a:lnTo>
                    <a:pt x="192" y="72"/>
                  </a:lnTo>
                  <a:lnTo>
                    <a:pt x="192" y="66"/>
                  </a:lnTo>
                  <a:lnTo>
                    <a:pt x="198" y="66"/>
                  </a:lnTo>
                  <a:lnTo>
                    <a:pt x="198" y="60"/>
                  </a:lnTo>
                  <a:lnTo>
                    <a:pt x="204" y="60"/>
                  </a:lnTo>
                  <a:lnTo>
                    <a:pt x="204" y="54"/>
                  </a:lnTo>
                  <a:lnTo>
                    <a:pt x="204" y="48"/>
                  </a:lnTo>
                  <a:lnTo>
                    <a:pt x="204" y="42"/>
                  </a:lnTo>
                  <a:lnTo>
                    <a:pt x="210" y="42"/>
                  </a:lnTo>
                  <a:lnTo>
                    <a:pt x="210" y="36"/>
                  </a:lnTo>
                  <a:lnTo>
                    <a:pt x="210" y="30"/>
                  </a:lnTo>
                  <a:lnTo>
                    <a:pt x="216" y="24"/>
                  </a:lnTo>
                  <a:lnTo>
                    <a:pt x="216" y="18"/>
                  </a:lnTo>
                  <a:lnTo>
                    <a:pt x="216" y="12"/>
                  </a:lnTo>
                  <a:lnTo>
                    <a:pt x="222" y="12"/>
                  </a:lnTo>
                  <a:lnTo>
                    <a:pt x="222" y="6"/>
                  </a:lnTo>
                  <a:lnTo>
                    <a:pt x="222" y="0"/>
                  </a:lnTo>
                  <a:lnTo>
                    <a:pt x="300" y="0"/>
                  </a:lnTo>
                  <a:lnTo>
                    <a:pt x="318" y="0"/>
                  </a:lnTo>
                  <a:lnTo>
                    <a:pt x="390" y="0"/>
                  </a:lnTo>
                  <a:lnTo>
                    <a:pt x="474" y="0"/>
                  </a:lnTo>
                  <a:lnTo>
                    <a:pt x="474" y="30"/>
                  </a:lnTo>
                  <a:lnTo>
                    <a:pt x="474" y="42"/>
                  </a:lnTo>
                  <a:lnTo>
                    <a:pt x="474" y="54"/>
                  </a:lnTo>
                  <a:lnTo>
                    <a:pt x="474" y="108"/>
                  </a:lnTo>
                  <a:lnTo>
                    <a:pt x="468" y="108"/>
                  </a:lnTo>
                  <a:lnTo>
                    <a:pt x="456" y="108"/>
                  </a:lnTo>
                  <a:lnTo>
                    <a:pt x="450" y="108"/>
                  </a:lnTo>
                  <a:lnTo>
                    <a:pt x="444" y="108"/>
                  </a:lnTo>
                  <a:lnTo>
                    <a:pt x="438" y="108"/>
                  </a:lnTo>
                  <a:lnTo>
                    <a:pt x="426" y="108"/>
                  </a:lnTo>
                  <a:lnTo>
                    <a:pt x="420" y="108"/>
                  </a:lnTo>
                  <a:lnTo>
                    <a:pt x="414" y="108"/>
                  </a:lnTo>
                  <a:lnTo>
                    <a:pt x="402" y="108"/>
                  </a:lnTo>
                  <a:lnTo>
                    <a:pt x="396" y="108"/>
                  </a:lnTo>
                  <a:lnTo>
                    <a:pt x="390" y="108"/>
                  </a:lnTo>
                  <a:lnTo>
                    <a:pt x="384" y="108"/>
                  </a:lnTo>
                  <a:lnTo>
                    <a:pt x="378" y="108"/>
                  </a:lnTo>
                  <a:lnTo>
                    <a:pt x="372" y="108"/>
                  </a:lnTo>
                  <a:lnTo>
                    <a:pt x="366" y="108"/>
                  </a:lnTo>
                  <a:lnTo>
                    <a:pt x="360" y="108"/>
                  </a:lnTo>
                  <a:lnTo>
                    <a:pt x="348" y="108"/>
                  </a:lnTo>
                  <a:lnTo>
                    <a:pt x="342" y="108"/>
                  </a:lnTo>
                  <a:lnTo>
                    <a:pt x="336" y="108"/>
                  </a:lnTo>
                  <a:lnTo>
                    <a:pt x="324" y="108"/>
                  </a:lnTo>
                  <a:lnTo>
                    <a:pt x="318" y="108"/>
                  </a:lnTo>
                  <a:lnTo>
                    <a:pt x="312" y="108"/>
                  </a:lnTo>
                  <a:lnTo>
                    <a:pt x="300" y="108"/>
                  </a:lnTo>
                  <a:lnTo>
                    <a:pt x="294" y="108"/>
                  </a:lnTo>
                  <a:lnTo>
                    <a:pt x="288" y="108"/>
                  </a:lnTo>
                  <a:lnTo>
                    <a:pt x="288" y="114"/>
                  </a:lnTo>
                  <a:lnTo>
                    <a:pt x="288" y="168"/>
                  </a:lnTo>
                  <a:lnTo>
                    <a:pt x="288" y="180"/>
                  </a:lnTo>
                  <a:lnTo>
                    <a:pt x="288" y="204"/>
                  </a:lnTo>
                  <a:lnTo>
                    <a:pt x="288" y="264"/>
                  </a:lnTo>
                  <a:lnTo>
                    <a:pt x="258" y="264"/>
                  </a:lnTo>
                  <a:lnTo>
                    <a:pt x="252" y="264"/>
                  </a:lnTo>
                  <a:lnTo>
                    <a:pt x="246" y="270"/>
                  </a:lnTo>
                  <a:lnTo>
                    <a:pt x="240" y="270"/>
                  </a:lnTo>
                  <a:lnTo>
                    <a:pt x="234" y="276"/>
                  </a:lnTo>
                  <a:lnTo>
                    <a:pt x="228" y="282"/>
                  </a:lnTo>
                  <a:lnTo>
                    <a:pt x="228" y="288"/>
                  </a:lnTo>
                  <a:lnTo>
                    <a:pt x="228" y="294"/>
                  </a:lnTo>
                  <a:lnTo>
                    <a:pt x="222" y="300"/>
                  </a:lnTo>
                  <a:lnTo>
                    <a:pt x="222" y="306"/>
                  </a:lnTo>
                  <a:lnTo>
                    <a:pt x="222" y="312"/>
                  </a:lnTo>
                  <a:lnTo>
                    <a:pt x="222" y="318"/>
                  </a:lnTo>
                  <a:lnTo>
                    <a:pt x="222" y="330"/>
                  </a:lnTo>
                  <a:lnTo>
                    <a:pt x="228" y="336"/>
                  </a:lnTo>
                  <a:lnTo>
                    <a:pt x="228" y="342"/>
                  </a:lnTo>
                  <a:lnTo>
                    <a:pt x="228" y="348"/>
                  </a:lnTo>
                  <a:lnTo>
                    <a:pt x="228" y="354"/>
                  </a:lnTo>
                  <a:lnTo>
                    <a:pt x="228" y="360"/>
                  </a:lnTo>
                  <a:lnTo>
                    <a:pt x="228" y="366"/>
                  </a:lnTo>
                  <a:lnTo>
                    <a:pt x="228" y="372"/>
                  </a:lnTo>
                  <a:lnTo>
                    <a:pt x="228" y="378"/>
                  </a:lnTo>
                  <a:lnTo>
                    <a:pt x="228" y="384"/>
                  </a:lnTo>
                  <a:lnTo>
                    <a:pt x="228" y="390"/>
                  </a:lnTo>
                  <a:lnTo>
                    <a:pt x="222" y="390"/>
                  </a:lnTo>
                  <a:lnTo>
                    <a:pt x="210" y="390"/>
                  </a:lnTo>
                  <a:lnTo>
                    <a:pt x="204" y="390"/>
                  </a:lnTo>
                  <a:lnTo>
                    <a:pt x="198" y="390"/>
                  </a:lnTo>
                  <a:lnTo>
                    <a:pt x="192" y="390"/>
                  </a:lnTo>
                  <a:lnTo>
                    <a:pt x="180" y="390"/>
                  </a:lnTo>
                  <a:lnTo>
                    <a:pt x="174" y="390"/>
                  </a:lnTo>
                  <a:lnTo>
                    <a:pt x="168" y="390"/>
                  </a:lnTo>
                  <a:lnTo>
                    <a:pt x="162" y="390"/>
                  </a:lnTo>
                  <a:lnTo>
                    <a:pt x="156" y="390"/>
                  </a:lnTo>
                  <a:lnTo>
                    <a:pt x="150" y="390"/>
                  </a:lnTo>
                  <a:lnTo>
                    <a:pt x="144" y="390"/>
                  </a:lnTo>
                  <a:lnTo>
                    <a:pt x="138" y="390"/>
                  </a:lnTo>
                  <a:lnTo>
                    <a:pt x="132" y="390"/>
                  </a:lnTo>
                  <a:lnTo>
                    <a:pt x="126" y="390"/>
                  </a:lnTo>
                  <a:lnTo>
                    <a:pt x="120" y="390"/>
                  </a:lnTo>
                  <a:lnTo>
                    <a:pt x="108" y="390"/>
                  </a:lnTo>
                  <a:lnTo>
                    <a:pt x="90" y="390"/>
                  </a:lnTo>
                  <a:lnTo>
                    <a:pt x="78" y="390"/>
                  </a:lnTo>
                  <a:lnTo>
                    <a:pt x="60" y="390"/>
                  </a:lnTo>
                  <a:lnTo>
                    <a:pt x="48" y="390"/>
                  </a:lnTo>
                  <a:lnTo>
                    <a:pt x="30" y="390"/>
                  </a:lnTo>
                  <a:lnTo>
                    <a:pt x="12" y="390"/>
                  </a:lnTo>
                  <a:lnTo>
                    <a:pt x="12" y="396"/>
                  </a:lnTo>
                  <a:lnTo>
                    <a:pt x="12" y="402"/>
                  </a:lnTo>
                  <a:lnTo>
                    <a:pt x="6" y="402"/>
                  </a:lnTo>
                  <a:lnTo>
                    <a:pt x="6" y="408"/>
                  </a:lnTo>
                  <a:lnTo>
                    <a:pt x="6" y="414"/>
                  </a:lnTo>
                  <a:lnTo>
                    <a:pt x="6" y="420"/>
                  </a:lnTo>
                  <a:lnTo>
                    <a:pt x="6" y="42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0" name="Freeform 8"/>
            <p:cNvSpPr>
              <a:spLocks noEditPoints="1"/>
            </p:cNvSpPr>
            <p:nvPr>
              <p:custDataLst>
                <p:tags r:id="rId8"/>
              </p:custDataLst>
            </p:nvPr>
          </p:nvSpPr>
          <p:spPr bwMode="gray">
            <a:xfrm>
              <a:off x="444098" y="2991321"/>
              <a:ext cx="158714" cy="95087"/>
            </a:xfrm>
            <a:custGeom>
              <a:avLst/>
              <a:gdLst>
                <a:gd name="T0" fmla="*/ 31879 w 174"/>
                <a:gd name="T1" fmla="*/ 35479 h 108"/>
                <a:gd name="T2" fmla="*/ 31879 w 174"/>
                <a:gd name="T3" fmla="*/ 33508 h 108"/>
                <a:gd name="T4" fmla="*/ 33811 w 174"/>
                <a:gd name="T5" fmla="*/ 33508 h 108"/>
                <a:gd name="T6" fmla="*/ 29947 w 174"/>
                <a:gd name="T7" fmla="*/ 30551 h 108"/>
                <a:gd name="T8" fmla="*/ 25116 w 174"/>
                <a:gd name="T9" fmla="*/ 28580 h 108"/>
                <a:gd name="T10" fmla="*/ 23184 w 174"/>
                <a:gd name="T11" fmla="*/ 28580 h 108"/>
                <a:gd name="T12" fmla="*/ 25116 w 174"/>
                <a:gd name="T13" fmla="*/ 23653 h 108"/>
                <a:gd name="T14" fmla="*/ 27048 w 174"/>
                <a:gd name="T15" fmla="*/ 23653 h 108"/>
                <a:gd name="T16" fmla="*/ 27048 w 174"/>
                <a:gd name="T17" fmla="*/ 22667 h 108"/>
                <a:gd name="T18" fmla="*/ 31879 w 174"/>
                <a:gd name="T19" fmla="*/ 23653 h 108"/>
                <a:gd name="T20" fmla="*/ 33811 w 174"/>
                <a:gd name="T21" fmla="*/ 23653 h 108"/>
                <a:gd name="T22" fmla="*/ 29947 w 174"/>
                <a:gd name="T23" fmla="*/ 22667 h 108"/>
                <a:gd name="T24" fmla="*/ 27048 w 174"/>
                <a:gd name="T25" fmla="*/ 22667 h 108"/>
                <a:gd name="T26" fmla="*/ 27048 w 174"/>
                <a:gd name="T27" fmla="*/ 19711 h 108"/>
                <a:gd name="T28" fmla="*/ 25116 w 174"/>
                <a:gd name="T29" fmla="*/ 22667 h 108"/>
                <a:gd name="T30" fmla="*/ 25116 w 174"/>
                <a:gd name="T31" fmla="*/ 17740 h 108"/>
                <a:gd name="T32" fmla="*/ 33811 w 174"/>
                <a:gd name="T33" fmla="*/ 15768 h 108"/>
                <a:gd name="T34" fmla="*/ 25116 w 174"/>
                <a:gd name="T35" fmla="*/ 15768 h 108"/>
                <a:gd name="T36" fmla="*/ 19321 w 174"/>
                <a:gd name="T37" fmla="*/ 19711 h 108"/>
                <a:gd name="T38" fmla="*/ 14490 w 174"/>
                <a:gd name="T39" fmla="*/ 17740 h 108"/>
                <a:gd name="T40" fmla="*/ 12558 w 174"/>
                <a:gd name="T41" fmla="*/ 17740 h 108"/>
                <a:gd name="T42" fmla="*/ 6762 w 174"/>
                <a:gd name="T43" fmla="*/ 10841 h 108"/>
                <a:gd name="T44" fmla="*/ 7728 w 174"/>
                <a:gd name="T45" fmla="*/ 10841 h 108"/>
                <a:gd name="T46" fmla="*/ 0 w 174"/>
                <a:gd name="T47" fmla="*/ 8870 h 108"/>
                <a:gd name="T48" fmla="*/ 7728 w 174"/>
                <a:gd name="T49" fmla="*/ 6898 h 108"/>
                <a:gd name="T50" fmla="*/ 19321 w 174"/>
                <a:gd name="T51" fmla="*/ 6898 h 108"/>
                <a:gd name="T52" fmla="*/ 25116 w 174"/>
                <a:gd name="T53" fmla="*/ 1971 h 108"/>
                <a:gd name="T54" fmla="*/ 35742 w 174"/>
                <a:gd name="T55" fmla="*/ 0 h 108"/>
                <a:gd name="T56" fmla="*/ 48301 w 174"/>
                <a:gd name="T57" fmla="*/ 0 h 108"/>
                <a:gd name="T58" fmla="*/ 58927 w 174"/>
                <a:gd name="T59" fmla="*/ 0 h 108"/>
                <a:gd name="T60" fmla="*/ 58927 w 174"/>
                <a:gd name="T61" fmla="*/ 6898 h 108"/>
                <a:gd name="T62" fmla="*/ 55063 w 174"/>
                <a:gd name="T63" fmla="*/ 8870 h 108"/>
                <a:gd name="T64" fmla="*/ 58927 w 174"/>
                <a:gd name="T65" fmla="*/ 15768 h 108"/>
                <a:gd name="T66" fmla="*/ 56995 w 174"/>
                <a:gd name="T67" fmla="*/ 19711 h 108"/>
                <a:gd name="T68" fmla="*/ 55063 w 174"/>
                <a:gd name="T69" fmla="*/ 19711 h 108"/>
                <a:gd name="T70" fmla="*/ 46369 w 174"/>
                <a:gd name="T71" fmla="*/ 22667 h 108"/>
                <a:gd name="T72" fmla="*/ 40573 w 174"/>
                <a:gd name="T73" fmla="*/ 23653 h 108"/>
                <a:gd name="T74" fmla="*/ 35742 w 174"/>
                <a:gd name="T75" fmla="*/ 33508 h 108"/>
                <a:gd name="T76" fmla="*/ 7728 w 174"/>
                <a:gd name="T77" fmla="*/ 35479 h 108"/>
                <a:gd name="T78" fmla="*/ 10626 w 174"/>
                <a:gd name="T79" fmla="*/ 19711 h 108"/>
                <a:gd name="T80" fmla="*/ 12558 w 174"/>
                <a:gd name="T81" fmla="*/ 26610 h 108"/>
                <a:gd name="T82" fmla="*/ 6762 w 174"/>
                <a:gd name="T83" fmla="*/ 26610 h 108"/>
                <a:gd name="T84" fmla="*/ 19321 w 174"/>
                <a:gd name="T85" fmla="*/ 33508 h 108"/>
                <a:gd name="T86" fmla="*/ 14490 w 174"/>
                <a:gd name="T87" fmla="*/ 35479 h 108"/>
                <a:gd name="T88" fmla="*/ 6762 w 174"/>
                <a:gd name="T89" fmla="*/ 17740 h 108"/>
                <a:gd name="T90" fmla="*/ 7728 w 174"/>
                <a:gd name="T91" fmla="*/ 30551 h 108"/>
                <a:gd name="T92" fmla="*/ 21252 w 174"/>
                <a:gd name="T93" fmla="*/ 23653 h 108"/>
                <a:gd name="T94" fmla="*/ 12558 w 174"/>
                <a:gd name="T95" fmla="*/ 35479 h 108"/>
                <a:gd name="T96" fmla="*/ 7728 w 174"/>
                <a:gd name="T97" fmla="*/ 26610 h 108"/>
                <a:gd name="T98" fmla="*/ 14490 w 174"/>
                <a:gd name="T99" fmla="*/ 30551 h 108"/>
                <a:gd name="T100" fmla="*/ 10626 w 174"/>
                <a:gd name="T101" fmla="*/ 28580 h 108"/>
                <a:gd name="T102" fmla="*/ 17388 w 174"/>
                <a:gd name="T103" fmla="*/ 23653 h 108"/>
                <a:gd name="T104" fmla="*/ 21252 w 174"/>
                <a:gd name="T105" fmla="*/ 26610 h 108"/>
                <a:gd name="T106" fmla="*/ 12558 w 174"/>
                <a:gd name="T107" fmla="*/ 28580 h 108"/>
                <a:gd name="T108" fmla="*/ 17388 w 174"/>
                <a:gd name="T109" fmla="*/ 28580 h 108"/>
                <a:gd name="T110" fmla="*/ 6762 w 174"/>
                <a:gd name="T111" fmla="*/ 28580 h 108"/>
                <a:gd name="T112" fmla="*/ 14490 w 174"/>
                <a:gd name="T113" fmla="*/ 17740 h 108"/>
                <a:gd name="T114" fmla="*/ 6762 w 174"/>
                <a:gd name="T115" fmla="*/ 30551 h 108"/>
                <a:gd name="T116" fmla="*/ 21252 w 174"/>
                <a:gd name="T117" fmla="*/ 37450 h 108"/>
                <a:gd name="T118" fmla="*/ 12558 w 174"/>
                <a:gd name="T119" fmla="*/ 28580 h 108"/>
                <a:gd name="T120" fmla="*/ 29947 w 174"/>
                <a:gd name="T121" fmla="*/ 39421 h 1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108">
                  <a:moveTo>
                    <a:pt x="102" y="96"/>
                  </a:moveTo>
                  <a:lnTo>
                    <a:pt x="96" y="96"/>
                  </a:lnTo>
                  <a:lnTo>
                    <a:pt x="96" y="102"/>
                  </a:lnTo>
                  <a:lnTo>
                    <a:pt x="90" y="102"/>
                  </a:lnTo>
                  <a:lnTo>
                    <a:pt x="90" y="96"/>
                  </a:lnTo>
                  <a:lnTo>
                    <a:pt x="96" y="96"/>
                  </a:lnTo>
                  <a:lnTo>
                    <a:pt x="90" y="96"/>
                  </a:lnTo>
                  <a:lnTo>
                    <a:pt x="90" y="102"/>
                  </a:lnTo>
                  <a:lnTo>
                    <a:pt x="90" y="96"/>
                  </a:lnTo>
                  <a:lnTo>
                    <a:pt x="90" y="90"/>
                  </a:lnTo>
                  <a:lnTo>
                    <a:pt x="96" y="90"/>
                  </a:lnTo>
                  <a:lnTo>
                    <a:pt x="90" y="90"/>
                  </a:lnTo>
                  <a:lnTo>
                    <a:pt x="96" y="90"/>
                  </a:lnTo>
                  <a:lnTo>
                    <a:pt x="96" y="84"/>
                  </a:lnTo>
                  <a:lnTo>
                    <a:pt x="96" y="90"/>
                  </a:lnTo>
                  <a:lnTo>
                    <a:pt x="90" y="90"/>
                  </a:lnTo>
                  <a:lnTo>
                    <a:pt x="84" y="90"/>
                  </a:lnTo>
                  <a:lnTo>
                    <a:pt x="84" y="96"/>
                  </a:lnTo>
                  <a:lnTo>
                    <a:pt x="84" y="90"/>
                  </a:lnTo>
                  <a:lnTo>
                    <a:pt x="84" y="84"/>
                  </a:lnTo>
                  <a:lnTo>
                    <a:pt x="84" y="90"/>
                  </a:lnTo>
                  <a:lnTo>
                    <a:pt x="78" y="90"/>
                  </a:lnTo>
                  <a:lnTo>
                    <a:pt x="72" y="90"/>
                  </a:lnTo>
                  <a:lnTo>
                    <a:pt x="72" y="84"/>
                  </a:lnTo>
                  <a:lnTo>
                    <a:pt x="72" y="78"/>
                  </a:lnTo>
                  <a:lnTo>
                    <a:pt x="78" y="78"/>
                  </a:lnTo>
                  <a:lnTo>
                    <a:pt x="78" y="72"/>
                  </a:lnTo>
                  <a:lnTo>
                    <a:pt x="72" y="72"/>
                  </a:lnTo>
                  <a:lnTo>
                    <a:pt x="72" y="78"/>
                  </a:lnTo>
                  <a:lnTo>
                    <a:pt x="66" y="78"/>
                  </a:lnTo>
                  <a:lnTo>
                    <a:pt x="66" y="72"/>
                  </a:lnTo>
                  <a:lnTo>
                    <a:pt x="72" y="72"/>
                  </a:lnTo>
                  <a:lnTo>
                    <a:pt x="66" y="72"/>
                  </a:lnTo>
                  <a:lnTo>
                    <a:pt x="72" y="72"/>
                  </a:lnTo>
                  <a:lnTo>
                    <a:pt x="72" y="66"/>
                  </a:lnTo>
                  <a:lnTo>
                    <a:pt x="72" y="72"/>
                  </a:lnTo>
                  <a:lnTo>
                    <a:pt x="72" y="66"/>
                  </a:lnTo>
                  <a:lnTo>
                    <a:pt x="78" y="66"/>
                  </a:lnTo>
                  <a:lnTo>
                    <a:pt x="78" y="60"/>
                  </a:lnTo>
                  <a:lnTo>
                    <a:pt x="78" y="66"/>
                  </a:lnTo>
                  <a:lnTo>
                    <a:pt x="84" y="66"/>
                  </a:lnTo>
                  <a:lnTo>
                    <a:pt x="78" y="66"/>
                  </a:lnTo>
                  <a:lnTo>
                    <a:pt x="84" y="66"/>
                  </a:lnTo>
                  <a:lnTo>
                    <a:pt x="78" y="66"/>
                  </a:lnTo>
                  <a:lnTo>
                    <a:pt x="78" y="60"/>
                  </a:lnTo>
                  <a:lnTo>
                    <a:pt x="84" y="60"/>
                  </a:lnTo>
                  <a:lnTo>
                    <a:pt x="84" y="66"/>
                  </a:lnTo>
                  <a:lnTo>
                    <a:pt x="84" y="60"/>
                  </a:lnTo>
                  <a:lnTo>
                    <a:pt x="90" y="60"/>
                  </a:lnTo>
                  <a:lnTo>
                    <a:pt x="90" y="66"/>
                  </a:lnTo>
                  <a:lnTo>
                    <a:pt x="90" y="60"/>
                  </a:lnTo>
                  <a:lnTo>
                    <a:pt x="90" y="66"/>
                  </a:lnTo>
                  <a:lnTo>
                    <a:pt x="96" y="66"/>
                  </a:lnTo>
                  <a:lnTo>
                    <a:pt x="96" y="60"/>
                  </a:lnTo>
                  <a:lnTo>
                    <a:pt x="96" y="66"/>
                  </a:lnTo>
                  <a:lnTo>
                    <a:pt x="90" y="66"/>
                  </a:lnTo>
                  <a:lnTo>
                    <a:pt x="90" y="60"/>
                  </a:lnTo>
                  <a:lnTo>
                    <a:pt x="84" y="60"/>
                  </a:lnTo>
                  <a:lnTo>
                    <a:pt x="90" y="60"/>
                  </a:lnTo>
                  <a:lnTo>
                    <a:pt x="84" y="60"/>
                  </a:lnTo>
                  <a:lnTo>
                    <a:pt x="78" y="60"/>
                  </a:lnTo>
                  <a:lnTo>
                    <a:pt x="84" y="60"/>
                  </a:lnTo>
                  <a:lnTo>
                    <a:pt x="84" y="54"/>
                  </a:lnTo>
                  <a:lnTo>
                    <a:pt x="84" y="60"/>
                  </a:lnTo>
                  <a:lnTo>
                    <a:pt x="78" y="60"/>
                  </a:lnTo>
                  <a:lnTo>
                    <a:pt x="84" y="60"/>
                  </a:lnTo>
                  <a:lnTo>
                    <a:pt x="78" y="60"/>
                  </a:lnTo>
                  <a:lnTo>
                    <a:pt x="78" y="54"/>
                  </a:lnTo>
                  <a:lnTo>
                    <a:pt x="78" y="60"/>
                  </a:lnTo>
                  <a:lnTo>
                    <a:pt x="78" y="54"/>
                  </a:lnTo>
                  <a:lnTo>
                    <a:pt x="78" y="60"/>
                  </a:lnTo>
                  <a:lnTo>
                    <a:pt x="72" y="60"/>
                  </a:lnTo>
                  <a:lnTo>
                    <a:pt x="78" y="66"/>
                  </a:lnTo>
                  <a:lnTo>
                    <a:pt x="72" y="66"/>
                  </a:lnTo>
                  <a:lnTo>
                    <a:pt x="72" y="60"/>
                  </a:lnTo>
                  <a:lnTo>
                    <a:pt x="72" y="66"/>
                  </a:lnTo>
                  <a:lnTo>
                    <a:pt x="72" y="60"/>
                  </a:lnTo>
                  <a:lnTo>
                    <a:pt x="66" y="60"/>
                  </a:lnTo>
                  <a:lnTo>
                    <a:pt x="66" y="54"/>
                  </a:lnTo>
                  <a:lnTo>
                    <a:pt x="72" y="48"/>
                  </a:lnTo>
                  <a:lnTo>
                    <a:pt x="78" y="48"/>
                  </a:lnTo>
                  <a:lnTo>
                    <a:pt x="84" y="48"/>
                  </a:lnTo>
                  <a:lnTo>
                    <a:pt x="90" y="48"/>
                  </a:lnTo>
                  <a:lnTo>
                    <a:pt x="90" y="42"/>
                  </a:lnTo>
                  <a:lnTo>
                    <a:pt x="96" y="42"/>
                  </a:lnTo>
                  <a:lnTo>
                    <a:pt x="90" y="42"/>
                  </a:lnTo>
                  <a:lnTo>
                    <a:pt x="84" y="42"/>
                  </a:lnTo>
                  <a:lnTo>
                    <a:pt x="84" y="48"/>
                  </a:lnTo>
                  <a:lnTo>
                    <a:pt x="78" y="42"/>
                  </a:lnTo>
                  <a:lnTo>
                    <a:pt x="72" y="42"/>
                  </a:lnTo>
                  <a:lnTo>
                    <a:pt x="66" y="42"/>
                  </a:lnTo>
                  <a:lnTo>
                    <a:pt x="66" y="48"/>
                  </a:lnTo>
                  <a:lnTo>
                    <a:pt x="60" y="48"/>
                  </a:lnTo>
                  <a:lnTo>
                    <a:pt x="60" y="54"/>
                  </a:lnTo>
                  <a:lnTo>
                    <a:pt x="54" y="54"/>
                  </a:lnTo>
                  <a:lnTo>
                    <a:pt x="48" y="54"/>
                  </a:lnTo>
                  <a:lnTo>
                    <a:pt x="48" y="48"/>
                  </a:lnTo>
                  <a:lnTo>
                    <a:pt x="48" y="54"/>
                  </a:lnTo>
                  <a:lnTo>
                    <a:pt x="42" y="54"/>
                  </a:lnTo>
                  <a:lnTo>
                    <a:pt x="42" y="48"/>
                  </a:lnTo>
                  <a:lnTo>
                    <a:pt x="48" y="48"/>
                  </a:lnTo>
                  <a:lnTo>
                    <a:pt x="48" y="42"/>
                  </a:lnTo>
                  <a:lnTo>
                    <a:pt x="42" y="42"/>
                  </a:lnTo>
                  <a:lnTo>
                    <a:pt x="42" y="48"/>
                  </a:lnTo>
                  <a:lnTo>
                    <a:pt x="36" y="48"/>
                  </a:lnTo>
                  <a:lnTo>
                    <a:pt x="30" y="48"/>
                  </a:lnTo>
                  <a:lnTo>
                    <a:pt x="24" y="42"/>
                  </a:lnTo>
                  <a:lnTo>
                    <a:pt x="18" y="42"/>
                  </a:lnTo>
                  <a:lnTo>
                    <a:pt x="18" y="36"/>
                  </a:lnTo>
                  <a:lnTo>
                    <a:pt x="18" y="30"/>
                  </a:lnTo>
                  <a:lnTo>
                    <a:pt x="24" y="30"/>
                  </a:lnTo>
                  <a:lnTo>
                    <a:pt x="24" y="24"/>
                  </a:lnTo>
                  <a:lnTo>
                    <a:pt x="30" y="24"/>
                  </a:lnTo>
                  <a:lnTo>
                    <a:pt x="24" y="24"/>
                  </a:lnTo>
                  <a:lnTo>
                    <a:pt x="24" y="30"/>
                  </a:lnTo>
                  <a:lnTo>
                    <a:pt x="18" y="30"/>
                  </a:lnTo>
                  <a:lnTo>
                    <a:pt x="12" y="30"/>
                  </a:lnTo>
                  <a:lnTo>
                    <a:pt x="12" y="24"/>
                  </a:lnTo>
                  <a:lnTo>
                    <a:pt x="6" y="24"/>
                  </a:lnTo>
                  <a:lnTo>
                    <a:pt x="0" y="24"/>
                  </a:lnTo>
                  <a:lnTo>
                    <a:pt x="0" y="18"/>
                  </a:lnTo>
                  <a:lnTo>
                    <a:pt x="6" y="18"/>
                  </a:lnTo>
                  <a:lnTo>
                    <a:pt x="12" y="18"/>
                  </a:lnTo>
                  <a:lnTo>
                    <a:pt x="18" y="18"/>
                  </a:lnTo>
                  <a:lnTo>
                    <a:pt x="24" y="18"/>
                  </a:lnTo>
                  <a:lnTo>
                    <a:pt x="30" y="12"/>
                  </a:lnTo>
                  <a:lnTo>
                    <a:pt x="36" y="12"/>
                  </a:lnTo>
                  <a:lnTo>
                    <a:pt x="42" y="18"/>
                  </a:lnTo>
                  <a:lnTo>
                    <a:pt x="48" y="18"/>
                  </a:lnTo>
                  <a:lnTo>
                    <a:pt x="54" y="18"/>
                  </a:lnTo>
                  <a:lnTo>
                    <a:pt x="60" y="18"/>
                  </a:lnTo>
                  <a:lnTo>
                    <a:pt x="60" y="12"/>
                  </a:lnTo>
                  <a:lnTo>
                    <a:pt x="66" y="12"/>
                  </a:lnTo>
                  <a:lnTo>
                    <a:pt x="72" y="12"/>
                  </a:lnTo>
                  <a:lnTo>
                    <a:pt x="72" y="6"/>
                  </a:lnTo>
                  <a:lnTo>
                    <a:pt x="78" y="6"/>
                  </a:lnTo>
                  <a:lnTo>
                    <a:pt x="84" y="0"/>
                  </a:lnTo>
                  <a:lnTo>
                    <a:pt x="90" y="0"/>
                  </a:lnTo>
                  <a:lnTo>
                    <a:pt x="96" y="0"/>
                  </a:lnTo>
                  <a:lnTo>
                    <a:pt x="102" y="0"/>
                  </a:lnTo>
                  <a:lnTo>
                    <a:pt x="108" y="0"/>
                  </a:lnTo>
                  <a:lnTo>
                    <a:pt x="114" y="0"/>
                  </a:lnTo>
                  <a:lnTo>
                    <a:pt x="120" y="0"/>
                  </a:lnTo>
                  <a:lnTo>
                    <a:pt x="132" y="0"/>
                  </a:lnTo>
                  <a:lnTo>
                    <a:pt x="138" y="0"/>
                  </a:lnTo>
                  <a:lnTo>
                    <a:pt x="144" y="0"/>
                  </a:lnTo>
                  <a:lnTo>
                    <a:pt x="150" y="0"/>
                  </a:lnTo>
                  <a:lnTo>
                    <a:pt x="156" y="0"/>
                  </a:lnTo>
                  <a:lnTo>
                    <a:pt x="162" y="0"/>
                  </a:lnTo>
                  <a:lnTo>
                    <a:pt x="168" y="0"/>
                  </a:lnTo>
                  <a:lnTo>
                    <a:pt x="168" y="6"/>
                  </a:lnTo>
                  <a:lnTo>
                    <a:pt x="168" y="12"/>
                  </a:lnTo>
                  <a:lnTo>
                    <a:pt x="174" y="12"/>
                  </a:lnTo>
                  <a:lnTo>
                    <a:pt x="174" y="18"/>
                  </a:lnTo>
                  <a:lnTo>
                    <a:pt x="168" y="18"/>
                  </a:lnTo>
                  <a:lnTo>
                    <a:pt x="168" y="24"/>
                  </a:lnTo>
                  <a:lnTo>
                    <a:pt x="162" y="24"/>
                  </a:lnTo>
                  <a:lnTo>
                    <a:pt x="156" y="24"/>
                  </a:lnTo>
                  <a:lnTo>
                    <a:pt x="162" y="24"/>
                  </a:lnTo>
                  <a:lnTo>
                    <a:pt x="156" y="24"/>
                  </a:lnTo>
                  <a:lnTo>
                    <a:pt x="156" y="30"/>
                  </a:lnTo>
                  <a:lnTo>
                    <a:pt x="156" y="36"/>
                  </a:lnTo>
                  <a:lnTo>
                    <a:pt x="162" y="36"/>
                  </a:lnTo>
                  <a:lnTo>
                    <a:pt x="162" y="42"/>
                  </a:lnTo>
                  <a:lnTo>
                    <a:pt x="168" y="42"/>
                  </a:lnTo>
                  <a:lnTo>
                    <a:pt x="168" y="48"/>
                  </a:lnTo>
                  <a:lnTo>
                    <a:pt x="168" y="54"/>
                  </a:lnTo>
                  <a:lnTo>
                    <a:pt x="168" y="60"/>
                  </a:lnTo>
                  <a:lnTo>
                    <a:pt x="162" y="60"/>
                  </a:lnTo>
                  <a:lnTo>
                    <a:pt x="162" y="54"/>
                  </a:lnTo>
                  <a:lnTo>
                    <a:pt x="162" y="60"/>
                  </a:lnTo>
                  <a:lnTo>
                    <a:pt x="162" y="54"/>
                  </a:lnTo>
                  <a:lnTo>
                    <a:pt x="156" y="54"/>
                  </a:lnTo>
                  <a:lnTo>
                    <a:pt x="162" y="54"/>
                  </a:lnTo>
                  <a:lnTo>
                    <a:pt x="156" y="54"/>
                  </a:lnTo>
                  <a:lnTo>
                    <a:pt x="156" y="60"/>
                  </a:lnTo>
                  <a:lnTo>
                    <a:pt x="150" y="60"/>
                  </a:lnTo>
                  <a:lnTo>
                    <a:pt x="144" y="60"/>
                  </a:lnTo>
                  <a:lnTo>
                    <a:pt x="138" y="60"/>
                  </a:lnTo>
                  <a:lnTo>
                    <a:pt x="132" y="60"/>
                  </a:lnTo>
                  <a:lnTo>
                    <a:pt x="132" y="66"/>
                  </a:lnTo>
                  <a:lnTo>
                    <a:pt x="126" y="66"/>
                  </a:lnTo>
                  <a:lnTo>
                    <a:pt x="120" y="72"/>
                  </a:lnTo>
                  <a:lnTo>
                    <a:pt x="120" y="66"/>
                  </a:lnTo>
                  <a:lnTo>
                    <a:pt x="114" y="66"/>
                  </a:lnTo>
                  <a:lnTo>
                    <a:pt x="114" y="72"/>
                  </a:lnTo>
                  <a:lnTo>
                    <a:pt x="108" y="72"/>
                  </a:lnTo>
                  <a:lnTo>
                    <a:pt x="108" y="78"/>
                  </a:lnTo>
                  <a:lnTo>
                    <a:pt x="108" y="84"/>
                  </a:lnTo>
                  <a:lnTo>
                    <a:pt x="102" y="90"/>
                  </a:lnTo>
                  <a:lnTo>
                    <a:pt x="102" y="96"/>
                  </a:lnTo>
                  <a:close/>
                  <a:moveTo>
                    <a:pt x="24" y="84"/>
                  </a:moveTo>
                  <a:lnTo>
                    <a:pt x="36" y="84"/>
                  </a:lnTo>
                  <a:lnTo>
                    <a:pt x="36" y="96"/>
                  </a:lnTo>
                  <a:lnTo>
                    <a:pt x="24" y="96"/>
                  </a:lnTo>
                  <a:lnTo>
                    <a:pt x="24" y="84"/>
                  </a:lnTo>
                  <a:close/>
                  <a:moveTo>
                    <a:pt x="30" y="48"/>
                  </a:moveTo>
                  <a:lnTo>
                    <a:pt x="42" y="48"/>
                  </a:lnTo>
                  <a:lnTo>
                    <a:pt x="42" y="54"/>
                  </a:lnTo>
                  <a:lnTo>
                    <a:pt x="30" y="54"/>
                  </a:lnTo>
                  <a:lnTo>
                    <a:pt x="30" y="48"/>
                  </a:lnTo>
                  <a:close/>
                  <a:moveTo>
                    <a:pt x="36" y="66"/>
                  </a:moveTo>
                  <a:lnTo>
                    <a:pt x="42" y="66"/>
                  </a:lnTo>
                  <a:lnTo>
                    <a:pt x="42" y="72"/>
                  </a:lnTo>
                  <a:lnTo>
                    <a:pt x="36" y="72"/>
                  </a:lnTo>
                  <a:lnTo>
                    <a:pt x="36" y="66"/>
                  </a:lnTo>
                  <a:close/>
                  <a:moveTo>
                    <a:pt x="18" y="66"/>
                  </a:moveTo>
                  <a:lnTo>
                    <a:pt x="24" y="66"/>
                  </a:lnTo>
                  <a:lnTo>
                    <a:pt x="24" y="72"/>
                  </a:lnTo>
                  <a:lnTo>
                    <a:pt x="18" y="72"/>
                  </a:lnTo>
                  <a:lnTo>
                    <a:pt x="18" y="66"/>
                  </a:lnTo>
                  <a:close/>
                  <a:moveTo>
                    <a:pt x="54" y="78"/>
                  </a:moveTo>
                  <a:lnTo>
                    <a:pt x="60" y="78"/>
                  </a:lnTo>
                  <a:lnTo>
                    <a:pt x="60" y="90"/>
                  </a:lnTo>
                  <a:lnTo>
                    <a:pt x="54" y="90"/>
                  </a:lnTo>
                  <a:lnTo>
                    <a:pt x="54" y="78"/>
                  </a:lnTo>
                  <a:close/>
                  <a:moveTo>
                    <a:pt x="42" y="84"/>
                  </a:moveTo>
                  <a:lnTo>
                    <a:pt x="48" y="84"/>
                  </a:lnTo>
                  <a:lnTo>
                    <a:pt x="48" y="96"/>
                  </a:lnTo>
                  <a:lnTo>
                    <a:pt x="42" y="96"/>
                  </a:lnTo>
                  <a:lnTo>
                    <a:pt x="42" y="84"/>
                  </a:lnTo>
                  <a:close/>
                  <a:moveTo>
                    <a:pt x="18" y="42"/>
                  </a:moveTo>
                  <a:lnTo>
                    <a:pt x="30" y="42"/>
                  </a:lnTo>
                  <a:lnTo>
                    <a:pt x="30" y="48"/>
                  </a:lnTo>
                  <a:lnTo>
                    <a:pt x="18" y="48"/>
                  </a:lnTo>
                  <a:lnTo>
                    <a:pt x="18" y="42"/>
                  </a:lnTo>
                  <a:close/>
                  <a:moveTo>
                    <a:pt x="24" y="78"/>
                  </a:moveTo>
                  <a:lnTo>
                    <a:pt x="30" y="78"/>
                  </a:lnTo>
                  <a:lnTo>
                    <a:pt x="30" y="84"/>
                  </a:lnTo>
                  <a:lnTo>
                    <a:pt x="24" y="84"/>
                  </a:lnTo>
                  <a:lnTo>
                    <a:pt x="24" y="78"/>
                  </a:lnTo>
                  <a:close/>
                  <a:moveTo>
                    <a:pt x="60" y="60"/>
                  </a:moveTo>
                  <a:lnTo>
                    <a:pt x="72" y="60"/>
                  </a:lnTo>
                  <a:lnTo>
                    <a:pt x="72" y="66"/>
                  </a:lnTo>
                  <a:lnTo>
                    <a:pt x="60" y="66"/>
                  </a:lnTo>
                  <a:lnTo>
                    <a:pt x="60" y="60"/>
                  </a:lnTo>
                  <a:close/>
                  <a:moveTo>
                    <a:pt x="36" y="84"/>
                  </a:moveTo>
                  <a:lnTo>
                    <a:pt x="42" y="84"/>
                  </a:lnTo>
                  <a:lnTo>
                    <a:pt x="42" y="96"/>
                  </a:lnTo>
                  <a:lnTo>
                    <a:pt x="36" y="96"/>
                  </a:lnTo>
                  <a:lnTo>
                    <a:pt x="36" y="84"/>
                  </a:lnTo>
                  <a:close/>
                  <a:moveTo>
                    <a:pt x="24" y="66"/>
                  </a:moveTo>
                  <a:lnTo>
                    <a:pt x="30" y="66"/>
                  </a:lnTo>
                  <a:lnTo>
                    <a:pt x="30" y="72"/>
                  </a:lnTo>
                  <a:lnTo>
                    <a:pt x="24" y="72"/>
                  </a:lnTo>
                  <a:lnTo>
                    <a:pt x="24" y="66"/>
                  </a:lnTo>
                  <a:close/>
                  <a:moveTo>
                    <a:pt x="42" y="78"/>
                  </a:moveTo>
                  <a:lnTo>
                    <a:pt x="48" y="78"/>
                  </a:lnTo>
                  <a:lnTo>
                    <a:pt x="48" y="84"/>
                  </a:lnTo>
                  <a:lnTo>
                    <a:pt x="42" y="84"/>
                  </a:lnTo>
                  <a:lnTo>
                    <a:pt x="42" y="78"/>
                  </a:lnTo>
                  <a:close/>
                  <a:moveTo>
                    <a:pt x="78" y="96"/>
                  </a:moveTo>
                  <a:lnTo>
                    <a:pt x="84" y="96"/>
                  </a:lnTo>
                  <a:lnTo>
                    <a:pt x="78" y="96"/>
                  </a:lnTo>
                  <a:close/>
                  <a:moveTo>
                    <a:pt x="30" y="78"/>
                  </a:moveTo>
                  <a:lnTo>
                    <a:pt x="36" y="78"/>
                  </a:lnTo>
                  <a:lnTo>
                    <a:pt x="30" y="78"/>
                  </a:lnTo>
                  <a:close/>
                  <a:moveTo>
                    <a:pt x="42" y="60"/>
                  </a:moveTo>
                  <a:lnTo>
                    <a:pt x="48" y="60"/>
                  </a:lnTo>
                  <a:lnTo>
                    <a:pt x="48" y="66"/>
                  </a:lnTo>
                  <a:lnTo>
                    <a:pt x="42" y="66"/>
                  </a:lnTo>
                  <a:lnTo>
                    <a:pt x="42" y="60"/>
                  </a:lnTo>
                  <a:close/>
                  <a:moveTo>
                    <a:pt x="54" y="66"/>
                  </a:moveTo>
                  <a:lnTo>
                    <a:pt x="60" y="66"/>
                  </a:lnTo>
                  <a:lnTo>
                    <a:pt x="60" y="72"/>
                  </a:lnTo>
                  <a:lnTo>
                    <a:pt x="54" y="72"/>
                  </a:lnTo>
                  <a:lnTo>
                    <a:pt x="54" y="66"/>
                  </a:lnTo>
                  <a:close/>
                  <a:moveTo>
                    <a:pt x="30" y="72"/>
                  </a:moveTo>
                  <a:lnTo>
                    <a:pt x="36" y="72"/>
                  </a:lnTo>
                  <a:lnTo>
                    <a:pt x="36" y="78"/>
                  </a:lnTo>
                  <a:lnTo>
                    <a:pt x="30" y="78"/>
                  </a:lnTo>
                  <a:lnTo>
                    <a:pt x="30" y="72"/>
                  </a:lnTo>
                  <a:close/>
                  <a:moveTo>
                    <a:pt x="48" y="78"/>
                  </a:moveTo>
                  <a:lnTo>
                    <a:pt x="54" y="78"/>
                  </a:lnTo>
                  <a:lnTo>
                    <a:pt x="48" y="78"/>
                  </a:lnTo>
                  <a:close/>
                  <a:moveTo>
                    <a:pt x="36" y="66"/>
                  </a:moveTo>
                  <a:lnTo>
                    <a:pt x="42" y="66"/>
                  </a:lnTo>
                  <a:lnTo>
                    <a:pt x="36" y="66"/>
                  </a:lnTo>
                  <a:close/>
                  <a:moveTo>
                    <a:pt x="12" y="78"/>
                  </a:moveTo>
                  <a:lnTo>
                    <a:pt x="18" y="78"/>
                  </a:lnTo>
                  <a:lnTo>
                    <a:pt x="18" y="84"/>
                  </a:lnTo>
                  <a:lnTo>
                    <a:pt x="12" y="84"/>
                  </a:lnTo>
                  <a:lnTo>
                    <a:pt x="12" y="78"/>
                  </a:lnTo>
                  <a:close/>
                  <a:moveTo>
                    <a:pt x="36" y="48"/>
                  </a:moveTo>
                  <a:lnTo>
                    <a:pt x="42" y="48"/>
                  </a:lnTo>
                  <a:lnTo>
                    <a:pt x="42" y="54"/>
                  </a:lnTo>
                  <a:lnTo>
                    <a:pt x="36" y="54"/>
                  </a:lnTo>
                  <a:lnTo>
                    <a:pt x="36" y="48"/>
                  </a:lnTo>
                  <a:close/>
                  <a:moveTo>
                    <a:pt x="18" y="78"/>
                  </a:moveTo>
                  <a:lnTo>
                    <a:pt x="18" y="84"/>
                  </a:lnTo>
                  <a:lnTo>
                    <a:pt x="19" y="84"/>
                  </a:lnTo>
                  <a:lnTo>
                    <a:pt x="18" y="78"/>
                  </a:lnTo>
                  <a:close/>
                  <a:moveTo>
                    <a:pt x="60" y="96"/>
                  </a:moveTo>
                  <a:lnTo>
                    <a:pt x="60" y="102"/>
                  </a:lnTo>
                  <a:lnTo>
                    <a:pt x="61" y="102"/>
                  </a:lnTo>
                  <a:lnTo>
                    <a:pt x="60" y="96"/>
                  </a:lnTo>
                  <a:close/>
                  <a:moveTo>
                    <a:pt x="36" y="48"/>
                  </a:moveTo>
                  <a:lnTo>
                    <a:pt x="42" y="48"/>
                  </a:lnTo>
                  <a:lnTo>
                    <a:pt x="36" y="48"/>
                  </a:lnTo>
                  <a:close/>
                  <a:moveTo>
                    <a:pt x="36" y="78"/>
                  </a:moveTo>
                  <a:lnTo>
                    <a:pt x="42" y="78"/>
                  </a:lnTo>
                  <a:lnTo>
                    <a:pt x="36" y="78"/>
                  </a:lnTo>
                  <a:close/>
                  <a:moveTo>
                    <a:pt x="84" y="102"/>
                  </a:moveTo>
                  <a:lnTo>
                    <a:pt x="84" y="108"/>
                  </a:lnTo>
                  <a:lnTo>
                    <a:pt x="85" y="108"/>
                  </a:lnTo>
                  <a:lnTo>
                    <a:pt x="84" y="102"/>
                  </a:lnTo>
                  <a:close/>
                </a:path>
              </a:pathLst>
            </a:custGeom>
            <a:solidFill>
              <a:schemeClr val="accent3"/>
            </a:solidFill>
            <a:ln w="9525" cap="flat" cmpd="sng">
              <a:solidFill>
                <a:schemeClr val="bg1"/>
              </a:solidFill>
              <a:prstDash val="solid"/>
              <a:round/>
              <a:headEnd type="none" w="med" len="med"/>
              <a:tailEnd type="none" w="med" len="med"/>
            </a:ln>
            <a:effectLst/>
            <a:extLst/>
          </p:spPr>
          <p:txBody>
            <a:bodyPr>
              <a:noAutofit/>
            </a:bodyPr>
            <a:lstStyle/>
            <a:p>
              <a:endParaRPr lang="en-CA" sz="800" dirty="0"/>
            </a:p>
          </p:txBody>
        </p:sp>
        <p:sp>
          <p:nvSpPr>
            <p:cNvPr id="381" name="Freeform 9"/>
            <p:cNvSpPr>
              <a:spLocks/>
            </p:cNvSpPr>
            <p:nvPr>
              <p:custDataLst>
                <p:tags r:id="rId9"/>
              </p:custDataLst>
            </p:nvPr>
          </p:nvSpPr>
          <p:spPr bwMode="gray">
            <a:xfrm>
              <a:off x="438262" y="2933151"/>
              <a:ext cx="154045" cy="41391"/>
            </a:xfrm>
            <a:custGeom>
              <a:avLst/>
              <a:gdLst>
                <a:gd name="T0" fmla="*/ 0 w 168"/>
                <a:gd name="T1" fmla="*/ 17177 h 48"/>
                <a:gd name="T2" fmla="*/ 0 w 168"/>
                <a:gd name="T3" fmla="*/ 12406 h 48"/>
                <a:gd name="T4" fmla="*/ 1954 w 168"/>
                <a:gd name="T5" fmla="*/ 8589 h 48"/>
                <a:gd name="T6" fmla="*/ 3908 w 168"/>
                <a:gd name="T7" fmla="*/ 10497 h 48"/>
                <a:gd name="T8" fmla="*/ 6840 w 168"/>
                <a:gd name="T9" fmla="*/ 12406 h 48"/>
                <a:gd name="T10" fmla="*/ 10748 w 168"/>
                <a:gd name="T11" fmla="*/ 10497 h 48"/>
                <a:gd name="T12" fmla="*/ 10748 w 168"/>
                <a:gd name="T13" fmla="*/ 10497 h 48"/>
                <a:gd name="T14" fmla="*/ 12702 w 168"/>
                <a:gd name="T15" fmla="*/ 8589 h 48"/>
                <a:gd name="T16" fmla="*/ 17587 w 168"/>
                <a:gd name="T17" fmla="*/ 8589 h 48"/>
                <a:gd name="T18" fmla="*/ 21495 w 168"/>
                <a:gd name="T19" fmla="*/ 8589 h 48"/>
                <a:gd name="T20" fmla="*/ 23449 w 168"/>
                <a:gd name="T21" fmla="*/ 6680 h 48"/>
                <a:gd name="T22" fmla="*/ 23449 w 168"/>
                <a:gd name="T23" fmla="*/ 6680 h 48"/>
                <a:gd name="T24" fmla="*/ 19541 w 168"/>
                <a:gd name="T25" fmla="*/ 8589 h 48"/>
                <a:gd name="T26" fmla="*/ 15633 w 168"/>
                <a:gd name="T27" fmla="*/ 8589 h 48"/>
                <a:gd name="T28" fmla="*/ 10748 w 168"/>
                <a:gd name="T29" fmla="*/ 8589 h 48"/>
                <a:gd name="T30" fmla="*/ 8794 w 168"/>
                <a:gd name="T31" fmla="*/ 10497 h 48"/>
                <a:gd name="T32" fmla="*/ 6840 w 168"/>
                <a:gd name="T33" fmla="*/ 8589 h 48"/>
                <a:gd name="T34" fmla="*/ 3908 w 168"/>
                <a:gd name="T35" fmla="*/ 6680 h 48"/>
                <a:gd name="T36" fmla="*/ 3908 w 168"/>
                <a:gd name="T37" fmla="*/ 6680 h 48"/>
                <a:gd name="T38" fmla="*/ 8794 w 168"/>
                <a:gd name="T39" fmla="*/ 6680 h 48"/>
                <a:gd name="T40" fmla="*/ 12702 w 168"/>
                <a:gd name="T41" fmla="*/ 6680 h 48"/>
                <a:gd name="T42" fmla="*/ 17587 w 168"/>
                <a:gd name="T43" fmla="*/ 6680 h 48"/>
                <a:gd name="T44" fmla="*/ 21495 w 168"/>
                <a:gd name="T45" fmla="*/ 6680 h 48"/>
                <a:gd name="T46" fmla="*/ 26380 w 168"/>
                <a:gd name="T47" fmla="*/ 6680 h 48"/>
                <a:gd name="T48" fmla="*/ 28334 w 168"/>
                <a:gd name="T49" fmla="*/ 3817 h 48"/>
                <a:gd name="T50" fmla="*/ 30289 w 168"/>
                <a:gd name="T51" fmla="*/ 1909 h 48"/>
                <a:gd name="T52" fmla="*/ 34197 w 168"/>
                <a:gd name="T53" fmla="*/ 1909 h 48"/>
                <a:gd name="T54" fmla="*/ 37127 w 168"/>
                <a:gd name="T55" fmla="*/ 1909 h 48"/>
                <a:gd name="T56" fmla="*/ 41036 w 168"/>
                <a:gd name="T57" fmla="*/ 1909 h 48"/>
                <a:gd name="T58" fmla="*/ 42990 w 168"/>
                <a:gd name="T59" fmla="*/ 3817 h 48"/>
                <a:gd name="T60" fmla="*/ 47875 w 168"/>
                <a:gd name="T61" fmla="*/ 3817 h 48"/>
                <a:gd name="T62" fmla="*/ 49829 w 168"/>
                <a:gd name="T63" fmla="*/ 8589 h 48"/>
                <a:gd name="T64" fmla="*/ 51783 w 168"/>
                <a:gd name="T65" fmla="*/ 6680 h 48"/>
                <a:gd name="T66" fmla="*/ 56668 w 168"/>
                <a:gd name="T67" fmla="*/ 6680 h 48"/>
                <a:gd name="T68" fmla="*/ 60576 w 168"/>
                <a:gd name="T69" fmla="*/ 6680 h 48"/>
                <a:gd name="T70" fmla="*/ 60576 w 168"/>
                <a:gd name="T71" fmla="*/ 10497 h 48"/>
                <a:gd name="T72" fmla="*/ 56668 w 168"/>
                <a:gd name="T73" fmla="*/ 10497 h 48"/>
                <a:gd name="T74" fmla="*/ 53737 w 168"/>
                <a:gd name="T75" fmla="*/ 12406 h 48"/>
                <a:gd name="T76" fmla="*/ 49829 w 168"/>
                <a:gd name="T77" fmla="*/ 12406 h 48"/>
                <a:gd name="T78" fmla="*/ 47875 w 168"/>
                <a:gd name="T79" fmla="*/ 10497 h 48"/>
                <a:gd name="T80" fmla="*/ 42990 w 168"/>
                <a:gd name="T81" fmla="*/ 10497 h 48"/>
                <a:gd name="T82" fmla="*/ 41036 w 168"/>
                <a:gd name="T83" fmla="*/ 8589 h 48"/>
                <a:gd name="T84" fmla="*/ 37127 w 168"/>
                <a:gd name="T85" fmla="*/ 8589 h 48"/>
                <a:gd name="T86" fmla="*/ 32243 w 168"/>
                <a:gd name="T87" fmla="*/ 6680 h 48"/>
                <a:gd name="T88" fmla="*/ 30289 w 168"/>
                <a:gd name="T89" fmla="*/ 10497 h 48"/>
                <a:gd name="T90" fmla="*/ 26380 w 168"/>
                <a:gd name="T91" fmla="*/ 10497 h 48"/>
                <a:gd name="T92" fmla="*/ 21495 w 168"/>
                <a:gd name="T93" fmla="*/ 10497 h 48"/>
                <a:gd name="T94" fmla="*/ 19541 w 168"/>
                <a:gd name="T95" fmla="*/ 12406 h 48"/>
                <a:gd name="T96" fmla="*/ 17587 w 168"/>
                <a:gd name="T97" fmla="*/ 14314 h 48"/>
                <a:gd name="T98" fmla="*/ 12702 w 168"/>
                <a:gd name="T99" fmla="*/ 14314 h 48"/>
                <a:gd name="T100" fmla="*/ 8794 w 168"/>
                <a:gd name="T101" fmla="*/ 14314 h 48"/>
                <a:gd name="T102" fmla="*/ 3908 w 168"/>
                <a:gd name="T103" fmla="*/ 14314 h 48"/>
                <a:gd name="T104" fmla="*/ 1954 w 168"/>
                <a:gd name="T105" fmla="*/ 17177 h 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8" h="48">
                  <a:moveTo>
                    <a:pt x="6" y="48"/>
                  </a:moveTo>
                  <a:lnTo>
                    <a:pt x="0" y="48"/>
                  </a:lnTo>
                  <a:lnTo>
                    <a:pt x="0" y="42"/>
                  </a:lnTo>
                  <a:lnTo>
                    <a:pt x="0" y="36"/>
                  </a:lnTo>
                  <a:lnTo>
                    <a:pt x="0" y="30"/>
                  </a:lnTo>
                  <a:lnTo>
                    <a:pt x="6" y="24"/>
                  </a:lnTo>
                  <a:lnTo>
                    <a:pt x="12" y="24"/>
                  </a:lnTo>
                  <a:lnTo>
                    <a:pt x="12" y="30"/>
                  </a:lnTo>
                  <a:lnTo>
                    <a:pt x="18" y="30"/>
                  </a:lnTo>
                  <a:lnTo>
                    <a:pt x="18" y="36"/>
                  </a:lnTo>
                  <a:lnTo>
                    <a:pt x="24" y="36"/>
                  </a:lnTo>
                  <a:lnTo>
                    <a:pt x="30" y="30"/>
                  </a:lnTo>
                  <a:lnTo>
                    <a:pt x="30" y="36"/>
                  </a:lnTo>
                  <a:lnTo>
                    <a:pt x="30" y="30"/>
                  </a:lnTo>
                  <a:lnTo>
                    <a:pt x="36" y="30"/>
                  </a:lnTo>
                  <a:lnTo>
                    <a:pt x="36" y="24"/>
                  </a:lnTo>
                  <a:lnTo>
                    <a:pt x="42" y="24"/>
                  </a:lnTo>
                  <a:lnTo>
                    <a:pt x="48" y="24"/>
                  </a:lnTo>
                  <a:lnTo>
                    <a:pt x="54" y="24"/>
                  </a:lnTo>
                  <a:lnTo>
                    <a:pt x="60" y="24"/>
                  </a:lnTo>
                  <a:lnTo>
                    <a:pt x="66" y="24"/>
                  </a:lnTo>
                  <a:lnTo>
                    <a:pt x="66" y="18"/>
                  </a:lnTo>
                  <a:lnTo>
                    <a:pt x="66" y="24"/>
                  </a:lnTo>
                  <a:lnTo>
                    <a:pt x="66" y="18"/>
                  </a:lnTo>
                  <a:lnTo>
                    <a:pt x="60" y="24"/>
                  </a:lnTo>
                  <a:lnTo>
                    <a:pt x="54" y="24"/>
                  </a:lnTo>
                  <a:lnTo>
                    <a:pt x="48" y="24"/>
                  </a:lnTo>
                  <a:lnTo>
                    <a:pt x="42" y="24"/>
                  </a:lnTo>
                  <a:lnTo>
                    <a:pt x="36" y="24"/>
                  </a:lnTo>
                  <a:lnTo>
                    <a:pt x="30" y="24"/>
                  </a:lnTo>
                  <a:lnTo>
                    <a:pt x="30" y="30"/>
                  </a:lnTo>
                  <a:lnTo>
                    <a:pt x="24" y="30"/>
                  </a:lnTo>
                  <a:lnTo>
                    <a:pt x="18" y="30"/>
                  </a:lnTo>
                  <a:lnTo>
                    <a:pt x="18" y="24"/>
                  </a:lnTo>
                  <a:lnTo>
                    <a:pt x="12" y="24"/>
                  </a:lnTo>
                  <a:lnTo>
                    <a:pt x="12" y="18"/>
                  </a:lnTo>
                  <a:lnTo>
                    <a:pt x="18" y="18"/>
                  </a:lnTo>
                  <a:lnTo>
                    <a:pt x="12" y="18"/>
                  </a:lnTo>
                  <a:lnTo>
                    <a:pt x="18" y="18"/>
                  </a:lnTo>
                  <a:lnTo>
                    <a:pt x="24" y="18"/>
                  </a:lnTo>
                  <a:lnTo>
                    <a:pt x="30" y="18"/>
                  </a:lnTo>
                  <a:lnTo>
                    <a:pt x="36" y="18"/>
                  </a:lnTo>
                  <a:lnTo>
                    <a:pt x="42" y="18"/>
                  </a:lnTo>
                  <a:lnTo>
                    <a:pt x="48" y="18"/>
                  </a:lnTo>
                  <a:lnTo>
                    <a:pt x="54" y="18"/>
                  </a:lnTo>
                  <a:lnTo>
                    <a:pt x="60" y="18"/>
                  </a:lnTo>
                  <a:lnTo>
                    <a:pt x="66" y="18"/>
                  </a:lnTo>
                  <a:lnTo>
                    <a:pt x="72" y="18"/>
                  </a:lnTo>
                  <a:lnTo>
                    <a:pt x="72" y="12"/>
                  </a:lnTo>
                  <a:lnTo>
                    <a:pt x="78" y="12"/>
                  </a:lnTo>
                  <a:lnTo>
                    <a:pt x="78" y="6"/>
                  </a:lnTo>
                  <a:lnTo>
                    <a:pt x="84" y="6"/>
                  </a:lnTo>
                  <a:lnTo>
                    <a:pt x="90" y="6"/>
                  </a:lnTo>
                  <a:lnTo>
                    <a:pt x="96" y="6"/>
                  </a:lnTo>
                  <a:lnTo>
                    <a:pt x="96" y="0"/>
                  </a:lnTo>
                  <a:lnTo>
                    <a:pt x="102" y="6"/>
                  </a:lnTo>
                  <a:lnTo>
                    <a:pt x="108" y="6"/>
                  </a:lnTo>
                  <a:lnTo>
                    <a:pt x="114" y="6"/>
                  </a:lnTo>
                  <a:lnTo>
                    <a:pt x="114" y="12"/>
                  </a:lnTo>
                  <a:lnTo>
                    <a:pt x="120" y="12"/>
                  </a:lnTo>
                  <a:lnTo>
                    <a:pt x="126" y="12"/>
                  </a:lnTo>
                  <a:lnTo>
                    <a:pt x="132" y="12"/>
                  </a:lnTo>
                  <a:lnTo>
                    <a:pt x="132" y="18"/>
                  </a:lnTo>
                  <a:lnTo>
                    <a:pt x="138" y="24"/>
                  </a:lnTo>
                  <a:lnTo>
                    <a:pt x="144" y="24"/>
                  </a:lnTo>
                  <a:lnTo>
                    <a:pt x="144" y="18"/>
                  </a:lnTo>
                  <a:lnTo>
                    <a:pt x="150" y="18"/>
                  </a:lnTo>
                  <a:lnTo>
                    <a:pt x="156" y="18"/>
                  </a:lnTo>
                  <a:lnTo>
                    <a:pt x="162" y="18"/>
                  </a:lnTo>
                  <a:lnTo>
                    <a:pt x="168" y="18"/>
                  </a:lnTo>
                  <a:lnTo>
                    <a:pt x="168" y="24"/>
                  </a:lnTo>
                  <a:lnTo>
                    <a:pt x="168" y="30"/>
                  </a:lnTo>
                  <a:lnTo>
                    <a:pt x="162" y="30"/>
                  </a:lnTo>
                  <a:lnTo>
                    <a:pt x="156" y="30"/>
                  </a:lnTo>
                  <a:lnTo>
                    <a:pt x="156" y="36"/>
                  </a:lnTo>
                  <a:lnTo>
                    <a:pt x="150" y="36"/>
                  </a:lnTo>
                  <a:lnTo>
                    <a:pt x="144" y="36"/>
                  </a:lnTo>
                  <a:lnTo>
                    <a:pt x="138" y="36"/>
                  </a:lnTo>
                  <a:lnTo>
                    <a:pt x="132" y="36"/>
                  </a:lnTo>
                  <a:lnTo>
                    <a:pt x="132" y="30"/>
                  </a:lnTo>
                  <a:lnTo>
                    <a:pt x="126" y="30"/>
                  </a:lnTo>
                  <a:lnTo>
                    <a:pt x="120" y="30"/>
                  </a:lnTo>
                  <a:lnTo>
                    <a:pt x="114" y="30"/>
                  </a:lnTo>
                  <a:lnTo>
                    <a:pt x="114" y="24"/>
                  </a:lnTo>
                  <a:lnTo>
                    <a:pt x="108" y="24"/>
                  </a:lnTo>
                  <a:lnTo>
                    <a:pt x="102" y="24"/>
                  </a:lnTo>
                  <a:lnTo>
                    <a:pt x="96" y="18"/>
                  </a:lnTo>
                  <a:lnTo>
                    <a:pt x="90" y="18"/>
                  </a:lnTo>
                  <a:lnTo>
                    <a:pt x="90" y="24"/>
                  </a:lnTo>
                  <a:lnTo>
                    <a:pt x="84" y="30"/>
                  </a:lnTo>
                  <a:lnTo>
                    <a:pt x="78" y="30"/>
                  </a:lnTo>
                  <a:lnTo>
                    <a:pt x="72" y="30"/>
                  </a:lnTo>
                  <a:lnTo>
                    <a:pt x="66" y="30"/>
                  </a:lnTo>
                  <a:lnTo>
                    <a:pt x="60" y="30"/>
                  </a:lnTo>
                  <a:lnTo>
                    <a:pt x="54" y="30"/>
                  </a:lnTo>
                  <a:lnTo>
                    <a:pt x="54" y="36"/>
                  </a:lnTo>
                  <a:lnTo>
                    <a:pt x="54" y="42"/>
                  </a:lnTo>
                  <a:lnTo>
                    <a:pt x="48" y="42"/>
                  </a:lnTo>
                  <a:lnTo>
                    <a:pt x="42" y="42"/>
                  </a:lnTo>
                  <a:lnTo>
                    <a:pt x="36" y="42"/>
                  </a:lnTo>
                  <a:lnTo>
                    <a:pt x="30" y="42"/>
                  </a:lnTo>
                  <a:lnTo>
                    <a:pt x="24" y="42"/>
                  </a:lnTo>
                  <a:lnTo>
                    <a:pt x="18" y="42"/>
                  </a:lnTo>
                  <a:lnTo>
                    <a:pt x="12" y="42"/>
                  </a:lnTo>
                  <a:lnTo>
                    <a:pt x="6" y="42"/>
                  </a:lnTo>
                  <a:lnTo>
                    <a:pt x="6" y="48"/>
                  </a:lnTo>
                  <a:close/>
                </a:path>
              </a:pathLst>
            </a:custGeom>
            <a:solidFill>
              <a:schemeClr val="accent3"/>
            </a:solidFill>
            <a:ln w="9525" cap="flat" cmpd="sng">
              <a:solidFill>
                <a:schemeClr val="bg1"/>
              </a:solidFill>
              <a:prstDash val="solid"/>
              <a:round/>
              <a:headEnd type="none" w="med" len="med"/>
              <a:tailEnd type="none" w="med" len="med"/>
            </a:ln>
            <a:effectLst/>
            <a:extLst/>
          </p:spPr>
          <p:txBody>
            <a:bodyPr>
              <a:noAutofit/>
            </a:bodyPr>
            <a:lstStyle/>
            <a:p>
              <a:endParaRPr lang="en-CA" sz="800" dirty="0"/>
            </a:p>
          </p:txBody>
        </p:sp>
        <p:sp>
          <p:nvSpPr>
            <p:cNvPr id="382" name="Freeform 10"/>
            <p:cNvSpPr>
              <a:spLocks noEditPoints="1"/>
            </p:cNvSpPr>
            <p:nvPr>
              <p:custDataLst>
                <p:tags r:id="rId10"/>
              </p:custDataLst>
            </p:nvPr>
          </p:nvSpPr>
          <p:spPr bwMode="gray">
            <a:xfrm>
              <a:off x="400918" y="2791081"/>
              <a:ext cx="317427" cy="221495"/>
            </a:xfrm>
            <a:custGeom>
              <a:avLst/>
              <a:gdLst>
                <a:gd name="T0" fmla="*/ 66972 w 348"/>
                <a:gd name="T1" fmla="*/ 82109 h 252"/>
                <a:gd name="T2" fmla="*/ 51442 w 348"/>
                <a:gd name="T3" fmla="*/ 82109 h 252"/>
                <a:gd name="T4" fmla="*/ 40766 w 348"/>
                <a:gd name="T5" fmla="*/ 86996 h 252"/>
                <a:gd name="T6" fmla="*/ 30089 w 348"/>
                <a:gd name="T7" fmla="*/ 86996 h 252"/>
                <a:gd name="T8" fmla="*/ 17471 w 348"/>
                <a:gd name="T9" fmla="*/ 87973 h 252"/>
                <a:gd name="T10" fmla="*/ 17471 w 348"/>
                <a:gd name="T11" fmla="*/ 84064 h 252"/>
                <a:gd name="T12" fmla="*/ 21354 w 348"/>
                <a:gd name="T13" fmla="*/ 84064 h 252"/>
                <a:gd name="T14" fmla="*/ 14559 w 348"/>
                <a:gd name="T15" fmla="*/ 80154 h 252"/>
                <a:gd name="T16" fmla="*/ 21354 w 348"/>
                <a:gd name="T17" fmla="*/ 73311 h 252"/>
                <a:gd name="T18" fmla="*/ 33972 w 348"/>
                <a:gd name="T19" fmla="*/ 73311 h 252"/>
                <a:gd name="T20" fmla="*/ 42707 w 348"/>
                <a:gd name="T21" fmla="*/ 69401 h 252"/>
                <a:gd name="T22" fmla="*/ 53384 w 348"/>
                <a:gd name="T23" fmla="*/ 67447 h 252"/>
                <a:gd name="T24" fmla="*/ 62119 w 348"/>
                <a:gd name="T25" fmla="*/ 71356 h 252"/>
                <a:gd name="T26" fmla="*/ 72796 w 348"/>
                <a:gd name="T27" fmla="*/ 69401 h 252"/>
                <a:gd name="T28" fmla="*/ 67943 w 348"/>
                <a:gd name="T29" fmla="*/ 64513 h 252"/>
                <a:gd name="T30" fmla="*/ 60178 w 348"/>
                <a:gd name="T31" fmla="*/ 62559 h 252"/>
                <a:gd name="T32" fmla="*/ 49502 w 348"/>
                <a:gd name="T33" fmla="*/ 58649 h 252"/>
                <a:gd name="T34" fmla="*/ 40766 w 348"/>
                <a:gd name="T35" fmla="*/ 62559 h 252"/>
                <a:gd name="T36" fmla="*/ 30089 w 348"/>
                <a:gd name="T37" fmla="*/ 64513 h 252"/>
                <a:gd name="T38" fmla="*/ 19412 w 348"/>
                <a:gd name="T39" fmla="*/ 62559 h 252"/>
                <a:gd name="T40" fmla="*/ 19412 w 348"/>
                <a:gd name="T41" fmla="*/ 58649 h 252"/>
                <a:gd name="T42" fmla="*/ 14559 w 348"/>
                <a:gd name="T43" fmla="*/ 58649 h 252"/>
                <a:gd name="T44" fmla="*/ 12618 w 348"/>
                <a:gd name="T45" fmla="*/ 51807 h 252"/>
                <a:gd name="T46" fmla="*/ 8735 w 348"/>
                <a:gd name="T47" fmla="*/ 43009 h 252"/>
                <a:gd name="T48" fmla="*/ 1942 w 348"/>
                <a:gd name="T49" fmla="*/ 39100 h 252"/>
                <a:gd name="T50" fmla="*/ 10677 w 348"/>
                <a:gd name="T51" fmla="*/ 34212 h 252"/>
                <a:gd name="T52" fmla="*/ 14559 w 348"/>
                <a:gd name="T53" fmla="*/ 26392 h 252"/>
                <a:gd name="T54" fmla="*/ 21354 w 348"/>
                <a:gd name="T55" fmla="*/ 17595 h 252"/>
                <a:gd name="T56" fmla="*/ 23295 w 348"/>
                <a:gd name="T57" fmla="*/ 8798 h 252"/>
                <a:gd name="T58" fmla="*/ 27177 w 348"/>
                <a:gd name="T59" fmla="*/ 1955 h 252"/>
                <a:gd name="T60" fmla="*/ 36883 w 348"/>
                <a:gd name="T61" fmla="*/ 3910 h 252"/>
                <a:gd name="T62" fmla="*/ 42707 w 348"/>
                <a:gd name="T63" fmla="*/ 1955 h 252"/>
                <a:gd name="T64" fmla="*/ 53384 w 348"/>
                <a:gd name="T65" fmla="*/ 0 h 252"/>
                <a:gd name="T66" fmla="*/ 64061 w 348"/>
                <a:gd name="T67" fmla="*/ 1955 h 252"/>
                <a:gd name="T68" fmla="*/ 72796 w 348"/>
                <a:gd name="T69" fmla="*/ 8798 h 252"/>
                <a:gd name="T70" fmla="*/ 76678 w 348"/>
                <a:gd name="T71" fmla="*/ 12707 h 252"/>
                <a:gd name="T72" fmla="*/ 81532 w 348"/>
                <a:gd name="T73" fmla="*/ 12707 h 252"/>
                <a:gd name="T74" fmla="*/ 86385 w 348"/>
                <a:gd name="T75" fmla="*/ 21504 h 252"/>
                <a:gd name="T76" fmla="*/ 90267 w 348"/>
                <a:gd name="T77" fmla="*/ 23460 h 252"/>
                <a:gd name="T78" fmla="*/ 92209 w 348"/>
                <a:gd name="T79" fmla="*/ 30302 h 252"/>
                <a:gd name="T80" fmla="*/ 100944 w 348"/>
                <a:gd name="T81" fmla="*/ 34212 h 252"/>
                <a:gd name="T82" fmla="*/ 106768 w 348"/>
                <a:gd name="T83" fmla="*/ 41054 h 252"/>
                <a:gd name="T84" fmla="*/ 111621 w 348"/>
                <a:gd name="T85" fmla="*/ 49851 h 252"/>
                <a:gd name="T86" fmla="*/ 109679 w 348"/>
                <a:gd name="T87" fmla="*/ 60604 h 252"/>
                <a:gd name="T88" fmla="*/ 115503 w 348"/>
                <a:gd name="T89" fmla="*/ 67447 h 252"/>
                <a:gd name="T90" fmla="*/ 122298 w 348"/>
                <a:gd name="T91" fmla="*/ 73311 h 252"/>
                <a:gd name="T92" fmla="*/ 122298 w 348"/>
                <a:gd name="T93" fmla="*/ 78198 h 252"/>
                <a:gd name="T94" fmla="*/ 122298 w 348"/>
                <a:gd name="T95" fmla="*/ 86996 h 252"/>
                <a:gd name="T96" fmla="*/ 120356 w 348"/>
                <a:gd name="T97" fmla="*/ 87973 h 252"/>
                <a:gd name="T98" fmla="*/ 106768 w 348"/>
                <a:gd name="T99" fmla="*/ 87973 h 252"/>
                <a:gd name="T100" fmla="*/ 96091 w 348"/>
                <a:gd name="T101" fmla="*/ 87973 h 252"/>
                <a:gd name="T102" fmla="*/ 87355 w 348"/>
                <a:gd name="T103" fmla="*/ 84064 h 252"/>
                <a:gd name="T104" fmla="*/ 76678 w 348"/>
                <a:gd name="T105" fmla="*/ 82109 h 252"/>
                <a:gd name="T106" fmla="*/ 17471 w 348"/>
                <a:gd name="T107" fmla="*/ 62559 h 252"/>
                <a:gd name="T108" fmla="*/ 17471 w 348"/>
                <a:gd name="T109" fmla="*/ 56694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8" h="252">
                  <a:moveTo>
                    <a:pt x="216" y="228"/>
                  </a:moveTo>
                  <a:lnTo>
                    <a:pt x="210" y="228"/>
                  </a:lnTo>
                  <a:lnTo>
                    <a:pt x="204" y="228"/>
                  </a:lnTo>
                  <a:lnTo>
                    <a:pt x="198" y="228"/>
                  </a:lnTo>
                  <a:lnTo>
                    <a:pt x="192" y="228"/>
                  </a:lnTo>
                  <a:lnTo>
                    <a:pt x="186" y="228"/>
                  </a:lnTo>
                  <a:lnTo>
                    <a:pt x="180" y="228"/>
                  </a:lnTo>
                  <a:lnTo>
                    <a:pt x="168" y="228"/>
                  </a:lnTo>
                  <a:lnTo>
                    <a:pt x="162" y="228"/>
                  </a:lnTo>
                  <a:lnTo>
                    <a:pt x="156" y="228"/>
                  </a:lnTo>
                  <a:lnTo>
                    <a:pt x="150" y="228"/>
                  </a:lnTo>
                  <a:lnTo>
                    <a:pt x="144" y="228"/>
                  </a:lnTo>
                  <a:lnTo>
                    <a:pt x="138" y="228"/>
                  </a:lnTo>
                  <a:lnTo>
                    <a:pt x="132" y="228"/>
                  </a:lnTo>
                  <a:lnTo>
                    <a:pt x="126" y="234"/>
                  </a:lnTo>
                  <a:lnTo>
                    <a:pt x="120" y="234"/>
                  </a:lnTo>
                  <a:lnTo>
                    <a:pt x="120" y="240"/>
                  </a:lnTo>
                  <a:lnTo>
                    <a:pt x="114" y="240"/>
                  </a:lnTo>
                  <a:lnTo>
                    <a:pt x="108" y="240"/>
                  </a:lnTo>
                  <a:lnTo>
                    <a:pt x="108" y="246"/>
                  </a:lnTo>
                  <a:lnTo>
                    <a:pt x="102" y="246"/>
                  </a:lnTo>
                  <a:lnTo>
                    <a:pt x="96" y="246"/>
                  </a:lnTo>
                  <a:lnTo>
                    <a:pt x="90" y="246"/>
                  </a:lnTo>
                  <a:lnTo>
                    <a:pt x="84" y="240"/>
                  </a:lnTo>
                  <a:lnTo>
                    <a:pt x="78" y="240"/>
                  </a:lnTo>
                  <a:lnTo>
                    <a:pt x="72" y="246"/>
                  </a:lnTo>
                  <a:lnTo>
                    <a:pt x="66" y="246"/>
                  </a:lnTo>
                  <a:lnTo>
                    <a:pt x="60" y="246"/>
                  </a:lnTo>
                  <a:lnTo>
                    <a:pt x="54" y="246"/>
                  </a:lnTo>
                  <a:lnTo>
                    <a:pt x="48" y="246"/>
                  </a:lnTo>
                  <a:lnTo>
                    <a:pt x="48" y="252"/>
                  </a:lnTo>
                  <a:lnTo>
                    <a:pt x="48" y="246"/>
                  </a:lnTo>
                  <a:lnTo>
                    <a:pt x="42" y="246"/>
                  </a:lnTo>
                  <a:lnTo>
                    <a:pt x="42" y="240"/>
                  </a:lnTo>
                  <a:lnTo>
                    <a:pt x="48" y="240"/>
                  </a:lnTo>
                  <a:lnTo>
                    <a:pt x="48" y="234"/>
                  </a:lnTo>
                  <a:lnTo>
                    <a:pt x="48" y="240"/>
                  </a:lnTo>
                  <a:lnTo>
                    <a:pt x="48" y="234"/>
                  </a:lnTo>
                  <a:lnTo>
                    <a:pt x="54" y="234"/>
                  </a:lnTo>
                  <a:lnTo>
                    <a:pt x="60" y="234"/>
                  </a:lnTo>
                  <a:lnTo>
                    <a:pt x="66" y="234"/>
                  </a:lnTo>
                  <a:lnTo>
                    <a:pt x="60" y="234"/>
                  </a:lnTo>
                  <a:lnTo>
                    <a:pt x="54" y="228"/>
                  </a:lnTo>
                  <a:lnTo>
                    <a:pt x="54" y="234"/>
                  </a:lnTo>
                  <a:lnTo>
                    <a:pt x="48" y="234"/>
                  </a:lnTo>
                  <a:lnTo>
                    <a:pt x="42" y="234"/>
                  </a:lnTo>
                  <a:lnTo>
                    <a:pt x="42" y="228"/>
                  </a:lnTo>
                  <a:lnTo>
                    <a:pt x="42" y="222"/>
                  </a:lnTo>
                  <a:lnTo>
                    <a:pt x="42" y="216"/>
                  </a:lnTo>
                  <a:lnTo>
                    <a:pt x="48" y="216"/>
                  </a:lnTo>
                  <a:lnTo>
                    <a:pt x="48" y="210"/>
                  </a:lnTo>
                  <a:lnTo>
                    <a:pt x="48" y="204"/>
                  </a:lnTo>
                  <a:lnTo>
                    <a:pt x="54" y="204"/>
                  </a:lnTo>
                  <a:lnTo>
                    <a:pt x="60" y="204"/>
                  </a:lnTo>
                  <a:lnTo>
                    <a:pt x="66" y="204"/>
                  </a:lnTo>
                  <a:lnTo>
                    <a:pt x="72" y="204"/>
                  </a:lnTo>
                  <a:lnTo>
                    <a:pt x="78" y="204"/>
                  </a:lnTo>
                  <a:lnTo>
                    <a:pt x="84" y="204"/>
                  </a:lnTo>
                  <a:lnTo>
                    <a:pt x="90" y="204"/>
                  </a:lnTo>
                  <a:lnTo>
                    <a:pt x="96" y="204"/>
                  </a:lnTo>
                  <a:lnTo>
                    <a:pt x="96" y="198"/>
                  </a:lnTo>
                  <a:lnTo>
                    <a:pt x="96" y="192"/>
                  </a:lnTo>
                  <a:lnTo>
                    <a:pt x="102" y="192"/>
                  </a:lnTo>
                  <a:lnTo>
                    <a:pt x="108" y="192"/>
                  </a:lnTo>
                  <a:lnTo>
                    <a:pt x="114" y="192"/>
                  </a:lnTo>
                  <a:lnTo>
                    <a:pt x="120" y="192"/>
                  </a:lnTo>
                  <a:lnTo>
                    <a:pt x="126" y="192"/>
                  </a:lnTo>
                  <a:lnTo>
                    <a:pt x="132" y="186"/>
                  </a:lnTo>
                  <a:lnTo>
                    <a:pt x="132" y="180"/>
                  </a:lnTo>
                  <a:lnTo>
                    <a:pt x="138" y="180"/>
                  </a:lnTo>
                  <a:lnTo>
                    <a:pt x="144" y="186"/>
                  </a:lnTo>
                  <a:lnTo>
                    <a:pt x="150" y="186"/>
                  </a:lnTo>
                  <a:lnTo>
                    <a:pt x="156" y="186"/>
                  </a:lnTo>
                  <a:lnTo>
                    <a:pt x="156" y="192"/>
                  </a:lnTo>
                  <a:lnTo>
                    <a:pt x="162" y="192"/>
                  </a:lnTo>
                  <a:lnTo>
                    <a:pt x="168" y="192"/>
                  </a:lnTo>
                  <a:lnTo>
                    <a:pt x="174" y="192"/>
                  </a:lnTo>
                  <a:lnTo>
                    <a:pt x="174" y="198"/>
                  </a:lnTo>
                  <a:lnTo>
                    <a:pt x="180" y="198"/>
                  </a:lnTo>
                  <a:lnTo>
                    <a:pt x="186" y="198"/>
                  </a:lnTo>
                  <a:lnTo>
                    <a:pt x="192" y="198"/>
                  </a:lnTo>
                  <a:lnTo>
                    <a:pt x="198" y="198"/>
                  </a:lnTo>
                  <a:lnTo>
                    <a:pt x="198" y="192"/>
                  </a:lnTo>
                  <a:lnTo>
                    <a:pt x="204" y="192"/>
                  </a:lnTo>
                  <a:lnTo>
                    <a:pt x="210" y="192"/>
                  </a:lnTo>
                  <a:lnTo>
                    <a:pt x="210" y="186"/>
                  </a:lnTo>
                  <a:lnTo>
                    <a:pt x="210" y="180"/>
                  </a:lnTo>
                  <a:lnTo>
                    <a:pt x="204" y="180"/>
                  </a:lnTo>
                  <a:lnTo>
                    <a:pt x="198" y="180"/>
                  </a:lnTo>
                  <a:lnTo>
                    <a:pt x="192" y="180"/>
                  </a:lnTo>
                  <a:lnTo>
                    <a:pt x="186" y="180"/>
                  </a:lnTo>
                  <a:lnTo>
                    <a:pt x="186" y="186"/>
                  </a:lnTo>
                  <a:lnTo>
                    <a:pt x="180" y="186"/>
                  </a:lnTo>
                  <a:lnTo>
                    <a:pt x="174" y="180"/>
                  </a:lnTo>
                  <a:lnTo>
                    <a:pt x="174" y="174"/>
                  </a:lnTo>
                  <a:lnTo>
                    <a:pt x="168" y="174"/>
                  </a:lnTo>
                  <a:lnTo>
                    <a:pt x="162" y="174"/>
                  </a:lnTo>
                  <a:lnTo>
                    <a:pt x="156" y="174"/>
                  </a:lnTo>
                  <a:lnTo>
                    <a:pt x="156" y="168"/>
                  </a:lnTo>
                  <a:lnTo>
                    <a:pt x="150" y="168"/>
                  </a:lnTo>
                  <a:lnTo>
                    <a:pt x="144" y="168"/>
                  </a:lnTo>
                  <a:lnTo>
                    <a:pt x="138" y="162"/>
                  </a:lnTo>
                  <a:lnTo>
                    <a:pt x="138" y="168"/>
                  </a:lnTo>
                  <a:lnTo>
                    <a:pt x="132" y="168"/>
                  </a:lnTo>
                  <a:lnTo>
                    <a:pt x="126" y="168"/>
                  </a:lnTo>
                  <a:lnTo>
                    <a:pt x="120" y="168"/>
                  </a:lnTo>
                  <a:lnTo>
                    <a:pt x="120" y="174"/>
                  </a:lnTo>
                  <a:lnTo>
                    <a:pt x="114" y="174"/>
                  </a:lnTo>
                  <a:lnTo>
                    <a:pt x="114" y="180"/>
                  </a:lnTo>
                  <a:lnTo>
                    <a:pt x="108" y="180"/>
                  </a:lnTo>
                  <a:lnTo>
                    <a:pt x="102" y="180"/>
                  </a:lnTo>
                  <a:lnTo>
                    <a:pt x="96" y="180"/>
                  </a:lnTo>
                  <a:lnTo>
                    <a:pt x="90" y="180"/>
                  </a:lnTo>
                  <a:lnTo>
                    <a:pt x="84" y="180"/>
                  </a:lnTo>
                  <a:lnTo>
                    <a:pt x="78" y="180"/>
                  </a:lnTo>
                  <a:lnTo>
                    <a:pt x="72" y="180"/>
                  </a:lnTo>
                  <a:lnTo>
                    <a:pt x="66" y="180"/>
                  </a:lnTo>
                  <a:lnTo>
                    <a:pt x="60" y="180"/>
                  </a:lnTo>
                  <a:lnTo>
                    <a:pt x="54" y="180"/>
                  </a:lnTo>
                  <a:lnTo>
                    <a:pt x="54" y="174"/>
                  </a:lnTo>
                  <a:lnTo>
                    <a:pt x="54" y="168"/>
                  </a:lnTo>
                  <a:lnTo>
                    <a:pt x="54" y="162"/>
                  </a:lnTo>
                  <a:lnTo>
                    <a:pt x="60" y="162"/>
                  </a:lnTo>
                  <a:lnTo>
                    <a:pt x="54" y="162"/>
                  </a:lnTo>
                  <a:lnTo>
                    <a:pt x="60" y="162"/>
                  </a:lnTo>
                  <a:lnTo>
                    <a:pt x="54" y="162"/>
                  </a:lnTo>
                  <a:lnTo>
                    <a:pt x="48" y="162"/>
                  </a:lnTo>
                  <a:lnTo>
                    <a:pt x="48" y="168"/>
                  </a:lnTo>
                  <a:lnTo>
                    <a:pt x="48" y="162"/>
                  </a:lnTo>
                  <a:lnTo>
                    <a:pt x="48" y="156"/>
                  </a:lnTo>
                  <a:lnTo>
                    <a:pt x="42" y="156"/>
                  </a:lnTo>
                  <a:lnTo>
                    <a:pt x="42" y="162"/>
                  </a:lnTo>
                  <a:lnTo>
                    <a:pt x="48" y="162"/>
                  </a:lnTo>
                  <a:lnTo>
                    <a:pt x="42" y="162"/>
                  </a:lnTo>
                  <a:lnTo>
                    <a:pt x="42" y="156"/>
                  </a:lnTo>
                  <a:lnTo>
                    <a:pt x="42" y="150"/>
                  </a:lnTo>
                  <a:lnTo>
                    <a:pt x="42" y="144"/>
                  </a:lnTo>
                  <a:lnTo>
                    <a:pt x="36" y="144"/>
                  </a:lnTo>
                  <a:lnTo>
                    <a:pt x="36" y="138"/>
                  </a:lnTo>
                  <a:lnTo>
                    <a:pt x="36" y="132"/>
                  </a:lnTo>
                  <a:lnTo>
                    <a:pt x="30" y="132"/>
                  </a:lnTo>
                  <a:lnTo>
                    <a:pt x="30" y="126"/>
                  </a:lnTo>
                  <a:lnTo>
                    <a:pt x="24" y="126"/>
                  </a:lnTo>
                  <a:lnTo>
                    <a:pt x="24" y="120"/>
                  </a:lnTo>
                  <a:lnTo>
                    <a:pt x="18" y="114"/>
                  </a:lnTo>
                  <a:lnTo>
                    <a:pt x="12" y="114"/>
                  </a:lnTo>
                  <a:lnTo>
                    <a:pt x="6" y="114"/>
                  </a:lnTo>
                  <a:lnTo>
                    <a:pt x="0" y="114"/>
                  </a:lnTo>
                  <a:lnTo>
                    <a:pt x="6" y="114"/>
                  </a:lnTo>
                  <a:lnTo>
                    <a:pt x="6" y="108"/>
                  </a:lnTo>
                  <a:lnTo>
                    <a:pt x="12" y="108"/>
                  </a:lnTo>
                  <a:lnTo>
                    <a:pt x="18" y="108"/>
                  </a:lnTo>
                  <a:lnTo>
                    <a:pt x="18" y="102"/>
                  </a:lnTo>
                  <a:lnTo>
                    <a:pt x="24" y="102"/>
                  </a:lnTo>
                  <a:lnTo>
                    <a:pt x="24" y="96"/>
                  </a:lnTo>
                  <a:lnTo>
                    <a:pt x="30" y="96"/>
                  </a:lnTo>
                  <a:lnTo>
                    <a:pt x="30" y="90"/>
                  </a:lnTo>
                  <a:lnTo>
                    <a:pt x="36" y="90"/>
                  </a:lnTo>
                  <a:lnTo>
                    <a:pt x="36" y="84"/>
                  </a:lnTo>
                  <a:lnTo>
                    <a:pt x="42" y="84"/>
                  </a:lnTo>
                  <a:lnTo>
                    <a:pt x="42" y="78"/>
                  </a:lnTo>
                  <a:lnTo>
                    <a:pt x="42" y="72"/>
                  </a:lnTo>
                  <a:lnTo>
                    <a:pt x="48" y="72"/>
                  </a:lnTo>
                  <a:lnTo>
                    <a:pt x="48" y="66"/>
                  </a:lnTo>
                  <a:lnTo>
                    <a:pt x="54" y="60"/>
                  </a:lnTo>
                  <a:lnTo>
                    <a:pt x="54" y="54"/>
                  </a:lnTo>
                  <a:lnTo>
                    <a:pt x="60" y="54"/>
                  </a:lnTo>
                  <a:lnTo>
                    <a:pt x="60" y="48"/>
                  </a:lnTo>
                  <a:lnTo>
                    <a:pt x="60" y="42"/>
                  </a:lnTo>
                  <a:lnTo>
                    <a:pt x="60" y="36"/>
                  </a:lnTo>
                  <a:lnTo>
                    <a:pt x="66" y="36"/>
                  </a:lnTo>
                  <a:lnTo>
                    <a:pt x="66" y="30"/>
                  </a:lnTo>
                  <a:lnTo>
                    <a:pt x="60" y="30"/>
                  </a:lnTo>
                  <a:lnTo>
                    <a:pt x="66" y="24"/>
                  </a:lnTo>
                  <a:lnTo>
                    <a:pt x="66" y="18"/>
                  </a:lnTo>
                  <a:lnTo>
                    <a:pt x="72" y="18"/>
                  </a:lnTo>
                  <a:lnTo>
                    <a:pt x="72" y="12"/>
                  </a:lnTo>
                  <a:lnTo>
                    <a:pt x="72" y="6"/>
                  </a:lnTo>
                  <a:lnTo>
                    <a:pt x="78" y="12"/>
                  </a:lnTo>
                  <a:lnTo>
                    <a:pt x="78" y="6"/>
                  </a:lnTo>
                  <a:lnTo>
                    <a:pt x="84" y="6"/>
                  </a:lnTo>
                  <a:lnTo>
                    <a:pt x="84" y="12"/>
                  </a:lnTo>
                  <a:lnTo>
                    <a:pt x="90" y="12"/>
                  </a:lnTo>
                  <a:lnTo>
                    <a:pt x="96" y="6"/>
                  </a:lnTo>
                  <a:lnTo>
                    <a:pt x="96" y="12"/>
                  </a:lnTo>
                  <a:lnTo>
                    <a:pt x="102" y="12"/>
                  </a:lnTo>
                  <a:lnTo>
                    <a:pt x="108" y="12"/>
                  </a:lnTo>
                  <a:lnTo>
                    <a:pt x="108" y="6"/>
                  </a:lnTo>
                  <a:lnTo>
                    <a:pt x="114" y="6"/>
                  </a:lnTo>
                  <a:lnTo>
                    <a:pt x="114" y="12"/>
                  </a:lnTo>
                  <a:lnTo>
                    <a:pt x="114" y="6"/>
                  </a:lnTo>
                  <a:lnTo>
                    <a:pt x="120" y="6"/>
                  </a:lnTo>
                  <a:lnTo>
                    <a:pt x="126" y="6"/>
                  </a:lnTo>
                  <a:lnTo>
                    <a:pt x="132" y="6"/>
                  </a:lnTo>
                  <a:lnTo>
                    <a:pt x="138" y="6"/>
                  </a:lnTo>
                  <a:lnTo>
                    <a:pt x="138" y="0"/>
                  </a:lnTo>
                  <a:lnTo>
                    <a:pt x="144" y="0"/>
                  </a:lnTo>
                  <a:lnTo>
                    <a:pt x="150" y="0"/>
                  </a:lnTo>
                  <a:lnTo>
                    <a:pt x="156" y="0"/>
                  </a:lnTo>
                  <a:lnTo>
                    <a:pt x="162" y="0"/>
                  </a:lnTo>
                  <a:lnTo>
                    <a:pt x="168" y="0"/>
                  </a:lnTo>
                  <a:lnTo>
                    <a:pt x="174" y="0"/>
                  </a:lnTo>
                  <a:lnTo>
                    <a:pt x="180" y="0"/>
                  </a:lnTo>
                  <a:lnTo>
                    <a:pt x="180" y="6"/>
                  </a:lnTo>
                  <a:lnTo>
                    <a:pt x="186" y="6"/>
                  </a:lnTo>
                  <a:lnTo>
                    <a:pt x="186" y="12"/>
                  </a:lnTo>
                  <a:lnTo>
                    <a:pt x="192" y="12"/>
                  </a:lnTo>
                  <a:lnTo>
                    <a:pt x="198" y="18"/>
                  </a:lnTo>
                  <a:lnTo>
                    <a:pt x="204" y="18"/>
                  </a:lnTo>
                  <a:lnTo>
                    <a:pt x="204" y="24"/>
                  </a:lnTo>
                  <a:lnTo>
                    <a:pt x="198" y="24"/>
                  </a:lnTo>
                  <a:lnTo>
                    <a:pt x="204" y="24"/>
                  </a:lnTo>
                  <a:lnTo>
                    <a:pt x="204" y="30"/>
                  </a:lnTo>
                  <a:lnTo>
                    <a:pt x="210" y="30"/>
                  </a:lnTo>
                  <a:lnTo>
                    <a:pt x="216" y="30"/>
                  </a:lnTo>
                  <a:lnTo>
                    <a:pt x="216" y="36"/>
                  </a:lnTo>
                  <a:lnTo>
                    <a:pt x="216" y="30"/>
                  </a:lnTo>
                  <a:lnTo>
                    <a:pt x="222" y="30"/>
                  </a:lnTo>
                  <a:lnTo>
                    <a:pt x="228" y="30"/>
                  </a:lnTo>
                  <a:lnTo>
                    <a:pt x="228" y="36"/>
                  </a:lnTo>
                  <a:lnTo>
                    <a:pt x="228" y="30"/>
                  </a:lnTo>
                  <a:lnTo>
                    <a:pt x="228" y="36"/>
                  </a:lnTo>
                  <a:lnTo>
                    <a:pt x="234" y="36"/>
                  </a:lnTo>
                  <a:lnTo>
                    <a:pt x="234" y="42"/>
                  </a:lnTo>
                  <a:lnTo>
                    <a:pt x="234" y="48"/>
                  </a:lnTo>
                  <a:lnTo>
                    <a:pt x="240" y="48"/>
                  </a:lnTo>
                  <a:lnTo>
                    <a:pt x="240" y="54"/>
                  </a:lnTo>
                  <a:lnTo>
                    <a:pt x="240" y="60"/>
                  </a:lnTo>
                  <a:lnTo>
                    <a:pt x="246" y="60"/>
                  </a:lnTo>
                  <a:lnTo>
                    <a:pt x="252" y="66"/>
                  </a:lnTo>
                  <a:lnTo>
                    <a:pt x="246" y="66"/>
                  </a:lnTo>
                  <a:lnTo>
                    <a:pt x="252" y="66"/>
                  </a:lnTo>
                  <a:lnTo>
                    <a:pt x="252" y="72"/>
                  </a:lnTo>
                  <a:lnTo>
                    <a:pt x="252" y="66"/>
                  </a:lnTo>
                  <a:lnTo>
                    <a:pt x="258" y="66"/>
                  </a:lnTo>
                  <a:lnTo>
                    <a:pt x="258" y="72"/>
                  </a:lnTo>
                  <a:lnTo>
                    <a:pt x="258" y="78"/>
                  </a:lnTo>
                  <a:lnTo>
                    <a:pt x="264" y="78"/>
                  </a:lnTo>
                  <a:lnTo>
                    <a:pt x="264" y="84"/>
                  </a:lnTo>
                  <a:lnTo>
                    <a:pt x="258" y="84"/>
                  </a:lnTo>
                  <a:lnTo>
                    <a:pt x="264" y="84"/>
                  </a:lnTo>
                  <a:lnTo>
                    <a:pt x="264" y="90"/>
                  </a:lnTo>
                  <a:lnTo>
                    <a:pt x="270" y="90"/>
                  </a:lnTo>
                  <a:lnTo>
                    <a:pt x="276" y="90"/>
                  </a:lnTo>
                  <a:lnTo>
                    <a:pt x="276" y="96"/>
                  </a:lnTo>
                  <a:lnTo>
                    <a:pt x="282" y="96"/>
                  </a:lnTo>
                  <a:lnTo>
                    <a:pt x="282" y="102"/>
                  </a:lnTo>
                  <a:lnTo>
                    <a:pt x="288" y="102"/>
                  </a:lnTo>
                  <a:lnTo>
                    <a:pt x="288" y="108"/>
                  </a:lnTo>
                  <a:lnTo>
                    <a:pt x="294" y="108"/>
                  </a:lnTo>
                  <a:lnTo>
                    <a:pt x="294" y="114"/>
                  </a:lnTo>
                  <a:lnTo>
                    <a:pt x="300" y="114"/>
                  </a:lnTo>
                  <a:lnTo>
                    <a:pt x="300" y="120"/>
                  </a:lnTo>
                  <a:lnTo>
                    <a:pt x="300" y="126"/>
                  </a:lnTo>
                  <a:lnTo>
                    <a:pt x="300" y="132"/>
                  </a:lnTo>
                  <a:lnTo>
                    <a:pt x="306" y="132"/>
                  </a:lnTo>
                  <a:lnTo>
                    <a:pt x="306" y="138"/>
                  </a:lnTo>
                  <a:lnTo>
                    <a:pt x="312" y="138"/>
                  </a:lnTo>
                  <a:lnTo>
                    <a:pt x="312" y="144"/>
                  </a:lnTo>
                  <a:lnTo>
                    <a:pt x="312" y="150"/>
                  </a:lnTo>
                  <a:lnTo>
                    <a:pt x="312" y="156"/>
                  </a:lnTo>
                  <a:lnTo>
                    <a:pt x="312" y="162"/>
                  </a:lnTo>
                  <a:lnTo>
                    <a:pt x="312" y="168"/>
                  </a:lnTo>
                  <a:lnTo>
                    <a:pt x="306" y="168"/>
                  </a:lnTo>
                  <a:lnTo>
                    <a:pt x="306" y="174"/>
                  </a:lnTo>
                  <a:lnTo>
                    <a:pt x="312" y="180"/>
                  </a:lnTo>
                  <a:lnTo>
                    <a:pt x="318" y="186"/>
                  </a:lnTo>
                  <a:lnTo>
                    <a:pt x="318" y="192"/>
                  </a:lnTo>
                  <a:lnTo>
                    <a:pt x="324" y="192"/>
                  </a:lnTo>
                  <a:lnTo>
                    <a:pt x="324" y="186"/>
                  </a:lnTo>
                  <a:lnTo>
                    <a:pt x="324" y="192"/>
                  </a:lnTo>
                  <a:lnTo>
                    <a:pt x="330" y="192"/>
                  </a:lnTo>
                  <a:lnTo>
                    <a:pt x="336" y="192"/>
                  </a:lnTo>
                  <a:lnTo>
                    <a:pt x="336" y="198"/>
                  </a:lnTo>
                  <a:lnTo>
                    <a:pt x="336" y="204"/>
                  </a:lnTo>
                  <a:lnTo>
                    <a:pt x="342" y="204"/>
                  </a:lnTo>
                  <a:lnTo>
                    <a:pt x="342" y="210"/>
                  </a:lnTo>
                  <a:lnTo>
                    <a:pt x="342" y="216"/>
                  </a:lnTo>
                  <a:lnTo>
                    <a:pt x="342" y="210"/>
                  </a:lnTo>
                  <a:lnTo>
                    <a:pt x="348" y="210"/>
                  </a:lnTo>
                  <a:lnTo>
                    <a:pt x="348" y="216"/>
                  </a:lnTo>
                  <a:lnTo>
                    <a:pt x="342" y="216"/>
                  </a:lnTo>
                  <a:lnTo>
                    <a:pt x="342" y="222"/>
                  </a:lnTo>
                  <a:lnTo>
                    <a:pt x="342" y="228"/>
                  </a:lnTo>
                  <a:lnTo>
                    <a:pt x="348" y="228"/>
                  </a:lnTo>
                  <a:lnTo>
                    <a:pt x="342" y="228"/>
                  </a:lnTo>
                  <a:lnTo>
                    <a:pt x="342" y="234"/>
                  </a:lnTo>
                  <a:lnTo>
                    <a:pt x="342" y="240"/>
                  </a:lnTo>
                  <a:lnTo>
                    <a:pt x="348" y="240"/>
                  </a:lnTo>
                  <a:lnTo>
                    <a:pt x="348" y="246"/>
                  </a:lnTo>
                  <a:lnTo>
                    <a:pt x="342" y="246"/>
                  </a:lnTo>
                  <a:lnTo>
                    <a:pt x="348" y="246"/>
                  </a:lnTo>
                  <a:lnTo>
                    <a:pt x="342" y="246"/>
                  </a:lnTo>
                  <a:lnTo>
                    <a:pt x="336" y="246"/>
                  </a:lnTo>
                  <a:lnTo>
                    <a:pt x="330" y="246"/>
                  </a:lnTo>
                  <a:lnTo>
                    <a:pt x="324" y="246"/>
                  </a:lnTo>
                  <a:lnTo>
                    <a:pt x="318" y="246"/>
                  </a:lnTo>
                  <a:lnTo>
                    <a:pt x="312" y="246"/>
                  </a:lnTo>
                  <a:lnTo>
                    <a:pt x="306" y="246"/>
                  </a:lnTo>
                  <a:lnTo>
                    <a:pt x="300" y="246"/>
                  </a:lnTo>
                  <a:lnTo>
                    <a:pt x="294" y="252"/>
                  </a:lnTo>
                  <a:lnTo>
                    <a:pt x="288" y="252"/>
                  </a:lnTo>
                  <a:lnTo>
                    <a:pt x="288" y="246"/>
                  </a:lnTo>
                  <a:lnTo>
                    <a:pt x="282" y="246"/>
                  </a:lnTo>
                  <a:lnTo>
                    <a:pt x="276" y="246"/>
                  </a:lnTo>
                  <a:lnTo>
                    <a:pt x="270" y="246"/>
                  </a:lnTo>
                  <a:lnTo>
                    <a:pt x="270" y="240"/>
                  </a:lnTo>
                  <a:lnTo>
                    <a:pt x="264" y="240"/>
                  </a:lnTo>
                  <a:lnTo>
                    <a:pt x="258" y="240"/>
                  </a:lnTo>
                  <a:lnTo>
                    <a:pt x="252" y="240"/>
                  </a:lnTo>
                  <a:lnTo>
                    <a:pt x="252" y="234"/>
                  </a:lnTo>
                  <a:lnTo>
                    <a:pt x="246" y="234"/>
                  </a:lnTo>
                  <a:lnTo>
                    <a:pt x="240" y="234"/>
                  </a:lnTo>
                  <a:lnTo>
                    <a:pt x="234" y="234"/>
                  </a:lnTo>
                  <a:lnTo>
                    <a:pt x="234" y="228"/>
                  </a:lnTo>
                  <a:lnTo>
                    <a:pt x="228" y="228"/>
                  </a:lnTo>
                  <a:lnTo>
                    <a:pt x="222" y="228"/>
                  </a:lnTo>
                  <a:lnTo>
                    <a:pt x="216" y="228"/>
                  </a:lnTo>
                  <a:close/>
                  <a:moveTo>
                    <a:pt x="48" y="162"/>
                  </a:moveTo>
                  <a:lnTo>
                    <a:pt x="54" y="162"/>
                  </a:lnTo>
                  <a:lnTo>
                    <a:pt x="54" y="168"/>
                  </a:lnTo>
                  <a:lnTo>
                    <a:pt x="48" y="168"/>
                  </a:lnTo>
                  <a:lnTo>
                    <a:pt x="48" y="162"/>
                  </a:lnTo>
                  <a:close/>
                  <a:moveTo>
                    <a:pt x="48" y="174"/>
                  </a:moveTo>
                  <a:lnTo>
                    <a:pt x="54" y="174"/>
                  </a:lnTo>
                  <a:lnTo>
                    <a:pt x="48" y="174"/>
                  </a:lnTo>
                  <a:close/>
                  <a:moveTo>
                    <a:pt x="48" y="156"/>
                  </a:moveTo>
                  <a:lnTo>
                    <a:pt x="48" y="162"/>
                  </a:lnTo>
                  <a:lnTo>
                    <a:pt x="49" y="162"/>
                  </a:lnTo>
                  <a:lnTo>
                    <a:pt x="48" y="15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3" name="Freeform 11"/>
            <p:cNvSpPr>
              <a:spLocks noEditPoints="1"/>
            </p:cNvSpPr>
            <p:nvPr>
              <p:custDataLst>
                <p:tags r:id="rId11"/>
              </p:custDataLst>
            </p:nvPr>
          </p:nvSpPr>
          <p:spPr bwMode="gray">
            <a:xfrm>
              <a:off x="427760" y="2235107"/>
              <a:ext cx="618516" cy="655535"/>
            </a:xfrm>
            <a:custGeom>
              <a:avLst/>
              <a:gdLst>
                <a:gd name="T0" fmla="*/ 83466 w 678"/>
                <a:gd name="T1" fmla="*/ 257790 h 750"/>
                <a:gd name="T2" fmla="*/ 79584 w 678"/>
                <a:gd name="T3" fmla="*/ 251975 h 750"/>
                <a:gd name="T4" fmla="*/ 72791 w 678"/>
                <a:gd name="T5" fmla="*/ 240345 h 750"/>
                <a:gd name="T6" fmla="*/ 66967 w 678"/>
                <a:gd name="T7" fmla="*/ 236469 h 750"/>
                <a:gd name="T8" fmla="*/ 56291 w 678"/>
                <a:gd name="T9" fmla="*/ 229685 h 750"/>
                <a:gd name="T10" fmla="*/ 40762 w 678"/>
                <a:gd name="T11" fmla="*/ 225808 h 750"/>
                <a:gd name="T12" fmla="*/ 27175 w 678"/>
                <a:gd name="T13" fmla="*/ 227747 h 750"/>
                <a:gd name="T14" fmla="*/ 17470 w 678"/>
                <a:gd name="T15" fmla="*/ 229685 h 750"/>
                <a:gd name="T16" fmla="*/ 10676 w 678"/>
                <a:gd name="T17" fmla="*/ 238407 h 750"/>
                <a:gd name="T18" fmla="*/ 12617 w 678"/>
                <a:gd name="T19" fmla="*/ 221931 h 750"/>
                <a:gd name="T20" fmla="*/ 19411 w 678"/>
                <a:gd name="T21" fmla="*/ 206426 h 750"/>
                <a:gd name="T22" fmla="*/ 19411 w 678"/>
                <a:gd name="T23" fmla="*/ 188012 h 750"/>
                <a:gd name="T24" fmla="*/ 12617 w 678"/>
                <a:gd name="T25" fmla="*/ 172506 h 750"/>
                <a:gd name="T26" fmla="*/ 12617 w 678"/>
                <a:gd name="T27" fmla="*/ 165722 h 750"/>
                <a:gd name="T28" fmla="*/ 14558 w 678"/>
                <a:gd name="T29" fmla="*/ 159907 h 750"/>
                <a:gd name="T30" fmla="*/ 14558 w 678"/>
                <a:gd name="T31" fmla="*/ 151185 h 750"/>
                <a:gd name="T32" fmla="*/ 10676 w 678"/>
                <a:gd name="T33" fmla="*/ 145370 h 750"/>
                <a:gd name="T34" fmla="*/ 6794 w 678"/>
                <a:gd name="T35" fmla="*/ 135679 h 750"/>
                <a:gd name="T36" fmla="*/ 0 w 678"/>
                <a:gd name="T37" fmla="*/ 138586 h 750"/>
                <a:gd name="T38" fmla="*/ 8735 w 678"/>
                <a:gd name="T39" fmla="*/ 127926 h 750"/>
                <a:gd name="T40" fmla="*/ 46586 w 678"/>
                <a:gd name="T41" fmla="*/ 127926 h 750"/>
                <a:gd name="T42" fmla="*/ 67938 w 678"/>
                <a:gd name="T43" fmla="*/ 127926 h 750"/>
                <a:gd name="T44" fmla="*/ 79584 w 678"/>
                <a:gd name="T45" fmla="*/ 117266 h 750"/>
                <a:gd name="T46" fmla="*/ 76673 w 678"/>
                <a:gd name="T47" fmla="*/ 95945 h 750"/>
                <a:gd name="T48" fmla="*/ 100936 w 678"/>
                <a:gd name="T49" fmla="*/ 83346 h 750"/>
                <a:gd name="T50" fmla="*/ 111612 w 678"/>
                <a:gd name="T51" fmla="*/ 27136 h 750"/>
                <a:gd name="T52" fmla="*/ 134905 w 678"/>
                <a:gd name="T53" fmla="*/ 27136 h 750"/>
                <a:gd name="T54" fmla="*/ 158198 w 678"/>
                <a:gd name="T55" fmla="*/ 27136 h 750"/>
                <a:gd name="T56" fmla="*/ 173727 w 678"/>
                <a:gd name="T57" fmla="*/ 1938 h 750"/>
                <a:gd name="T58" fmla="*/ 192166 w 678"/>
                <a:gd name="T59" fmla="*/ 14537 h 750"/>
                <a:gd name="T60" fmla="*/ 211577 w 678"/>
                <a:gd name="T61" fmla="*/ 30043 h 750"/>
                <a:gd name="T62" fmla="*/ 230988 w 678"/>
                <a:gd name="T63" fmla="*/ 42642 h 750"/>
                <a:gd name="T64" fmla="*/ 234871 w 678"/>
                <a:gd name="T65" fmla="*/ 49426 h 750"/>
                <a:gd name="T66" fmla="*/ 215459 w 678"/>
                <a:gd name="T67" fmla="*/ 49426 h 750"/>
                <a:gd name="T68" fmla="*/ 209636 w 678"/>
                <a:gd name="T69" fmla="*/ 70747 h 750"/>
                <a:gd name="T70" fmla="*/ 211577 w 678"/>
                <a:gd name="T71" fmla="*/ 90129 h 750"/>
                <a:gd name="T72" fmla="*/ 214489 w 678"/>
                <a:gd name="T73" fmla="*/ 106605 h 750"/>
                <a:gd name="T74" fmla="*/ 215459 w 678"/>
                <a:gd name="T75" fmla="*/ 124049 h 750"/>
                <a:gd name="T76" fmla="*/ 218371 w 678"/>
                <a:gd name="T77" fmla="*/ 142463 h 750"/>
                <a:gd name="T78" fmla="*/ 220312 w 678"/>
                <a:gd name="T79" fmla="*/ 163784 h 750"/>
                <a:gd name="T80" fmla="*/ 222253 w 678"/>
                <a:gd name="T81" fmla="*/ 181228 h 750"/>
                <a:gd name="T82" fmla="*/ 225165 w 678"/>
                <a:gd name="T83" fmla="*/ 199642 h 750"/>
                <a:gd name="T84" fmla="*/ 227106 w 678"/>
                <a:gd name="T85" fmla="*/ 219024 h 750"/>
                <a:gd name="T86" fmla="*/ 229047 w 678"/>
                <a:gd name="T87" fmla="*/ 247129 h 750"/>
                <a:gd name="T88" fmla="*/ 211577 w 678"/>
                <a:gd name="T89" fmla="*/ 249068 h 750"/>
                <a:gd name="T90" fmla="*/ 190225 w 678"/>
                <a:gd name="T91" fmla="*/ 249068 h 750"/>
                <a:gd name="T92" fmla="*/ 168874 w 678"/>
                <a:gd name="T93" fmla="*/ 249068 h 750"/>
                <a:gd name="T94" fmla="*/ 154315 w 678"/>
                <a:gd name="T95" fmla="*/ 247129 h 750"/>
                <a:gd name="T96" fmla="*/ 143639 w 678"/>
                <a:gd name="T97" fmla="*/ 251975 h 750"/>
                <a:gd name="T98" fmla="*/ 128111 w 678"/>
                <a:gd name="T99" fmla="*/ 251975 h 750"/>
                <a:gd name="T100" fmla="*/ 117435 w 678"/>
                <a:gd name="T101" fmla="*/ 253913 h 750"/>
                <a:gd name="T102" fmla="*/ 104818 w 678"/>
                <a:gd name="T103" fmla="*/ 249068 h 750"/>
                <a:gd name="T104" fmla="*/ 104818 w 678"/>
                <a:gd name="T105" fmla="*/ 262636 h 750"/>
                <a:gd name="T106" fmla="*/ 10676 w 678"/>
                <a:gd name="T107" fmla="*/ 163784 h 750"/>
                <a:gd name="T108" fmla="*/ 14558 w 678"/>
                <a:gd name="T109" fmla="*/ 161845 h 750"/>
                <a:gd name="T110" fmla="*/ 10676 w 678"/>
                <a:gd name="T111" fmla="*/ 163784 h 750"/>
                <a:gd name="T112" fmla="*/ 10676 w 678"/>
                <a:gd name="T113" fmla="*/ 145370 h 7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78" h="750">
                  <a:moveTo>
                    <a:pt x="264" y="744"/>
                  </a:moveTo>
                  <a:lnTo>
                    <a:pt x="258" y="744"/>
                  </a:lnTo>
                  <a:lnTo>
                    <a:pt x="258" y="738"/>
                  </a:lnTo>
                  <a:lnTo>
                    <a:pt x="252" y="738"/>
                  </a:lnTo>
                  <a:lnTo>
                    <a:pt x="252" y="732"/>
                  </a:lnTo>
                  <a:lnTo>
                    <a:pt x="246" y="732"/>
                  </a:lnTo>
                  <a:lnTo>
                    <a:pt x="246" y="726"/>
                  </a:lnTo>
                  <a:lnTo>
                    <a:pt x="240" y="726"/>
                  </a:lnTo>
                  <a:lnTo>
                    <a:pt x="234" y="726"/>
                  </a:lnTo>
                  <a:lnTo>
                    <a:pt x="234" y="720"/>
                  </a:lnTo>
                  <a:lnTo>
                    <a:pt x="228" y="720"/>
                  </a:lnTo>
                  <a:lnTo>
                    <a:pt x="234" y="720"/>
                  </a:lnTo>
                  <a:lnTo>
                    <a:pt x="234" y="714"/>
                  </a:lnTo>
                  <a:lnTo>
                    <a:pt x="228" y="714"/>
                  </a:lnTo>
                  <a:lnTo>
                    <a:pt x="228" y="708"/>
                  </a:lnTo>
                  <a:lnTo>
                    <a:pt x="228" y="702"/>
                  </a:lnTo>
                  <a:lnTo>
                    <a:pt x="222" y="702"/>
                  </a:lnTo>
                  <a:lnTo>
                    <a:pt x="222" y="708"/>
                  </a:lnTo>
                  <a:lnTo>
                    <a:pt x="222" y="702"/>
                  </a:lnTo>
                  <a:lnTo>
                    <a:pt x="216" y="702"/>
                  </a:lnTo>
                  <a:lnTo>
                    <a:pt x="222" y="702"/>
                  </a:lnTo>
                  <a:lnTo>
                    <a:pt x="216" y="696"/>
                  </a:lnTo>
                  <a:lnTo>
                    <a:pt x="210" y="696"/>
                  </a:lnTo>
                  <a:lnTo>
                    <a:pt x="210" y="690"/>
                  </a:lnTo>
                  <a:lnTo>
                    <a:pt x="210" y="684"/>
                  </a:lnTo>
                  <a:lnTo>
                    <a:pt x="204" y="684"/>
                  </a:lnTo>
                  <a:lnTo>
                    <a:pt x="204" y="678"/>
                  </a:lnTo>
                  <a:lnTo>
                    <a:pt x="204" y="672"/>
                  </a:lnTo>
                  <a:lnTo>
                    <a:pt x="198" y="672"/>
                  </a:lnTo>
                  <a:lnTo>
                    <a:pt x="198" y="666"/>
                  </a:lnTo>
                  <a:lnTo>
                    <a:pt x="198" y="672"/>
                  </a:lnTo>
                  <a:lnTo>
                    <a:pt x="198" y="666"/>
                  </a:lnTo>
                  <a:lnTo>
                    <a:pt x="192" y="666"/>
                  </a:lnTo>
                  <a:lnTo>
                    <a:pt x="186" y="666"/>
                  </a:lnTo>
                  <a:lnTo>
                    <a:pt x="186" y="672"/>
                  </a:lnTo>
                  <a:lnTo>
                    <a:pt x="186" y="666"/>
                  </a:lnTo>
                  <a:lnTo>
                    <a:pt x="180" y="666"/>
                  </a:lnTo>
                  <a:lnTo>
                    <a:pt x="174" y="666"/>
                  </a:lnTo>
                  <a:lnTo>
                    <a:pt x="174" y="660"/>
                  </a:lnTo>
                  <a:lnTo>
                    <a:pt x="168" y="660"/>
                  </a:lnTo>
                  <a:lnTo>
                    <a:pt x="174" y="660"/>
                  </a:lnTo>
                  <a:lnTo>
                    <a:pt x="174" y="654"/>
                  </a:lnTo>
                  <a:lnTo>
                    <a:pt x="168" y="654"/>
                  </a:lnTo>
                  <a:lnTo>
                    <a:pt x="162" y="648"/>
                  </a:lnTo>
                  <a:lnTo>
                    <a:pt x="156" y="648"/>
                  </a:lnTo>
                  <a:lnTo>
                    <a:pt x="156" y="642"/>
                  </a:lnTo>
                  <a:lnTo>
                    <a:pt x="150" y="642"/>
                  </a:lnTo>
                  <a:lnTo>
                    <a:pt x="150" y="636"/>
                  </a:lnTo>
                  <a:lnTo>
                    <a:pt x="144" y="636"/>
                  </a:lnTo>
                  <a:lnTo>
                    <a:pt x="138" y="636"/>
                  </a:lnTo>
                  <a:lnTo>
                    <a:pt x="132" y="636"/>
                  </a:lnTo>
                  <a:lnTo>
                    <a:pt x="126" y="636"/>
                  </a:lnTo>
                  <a:lnTo>
                    <a:pt x="120" y="636"/>
                  </a:lnTo>
                  <a:lnTo>
                    <a:pt x="114" y="636"/>
                  </a:lnTo>
                  <a:lnTo>
                    <a:pt x="108" y="636"/>
                  </a:lnTo>
                  <a:lnTo>
                    <a:pt x="108" y="642"/>
                  </a:lnTo>
                  <a:lnTo>
                    <a:pt x="102" y="642"/>
                  </a:lnTo>
                  <a:lnTo>
                    <a:pt x="96" y="642"/>
                  </a:lnTo>
                  <a:lnTo>
                    <a:pt x="90" y="642"/>
                  </a:lnTo>
                  <a:lnTo>
                    <a:pt x="84" y="642"/>
                  </a:lnTo>
                  <a:lnTo>
                    <a:pt x="84" y="648"/>
                  </a:lnTo>
                  <a:lnTo>
                    <a:pt x="84" y="642"/>
                  </a:lnTo>
                  <a:lnTo>
                    <a:pt x="78" y="642"/>
                  </a:lnTo>
                  <a:lnTo>
                    <a:pt x="78" y="648"/>
                  </a:lnTo>
                  <a:lnTo>
                    <a:pt x="72" y="648"/>
                  </a:lnTo>
                  <a:lnTo>
                    <a:pt x="66" y="648"/>
                  </a:lnTo>
                  <a:lnTo>
                    <a:pt x="66" y="642"/>
                  </a:lnTo>
                  <a:lnTo>
                    <a:pt x="60" y="648"/>
                  </a:lnTo>
                  <a:lnTo>
                    <a:pt x="54" y="648"/>
                  </a:lnTo>
                  <a:lnTo>
                    <a:pt x="54" y="642"/>
                  </a:lnTo>
                  <a:lnTo>
                    <a:pt x="48" y="642"/>
                  </a:lnTo>
                  <a:lnTo>
                    <a:pt x="48" y="648"/>
                  </a:lnTo>
                  <a:lnTo>
                    <a:pt x="42" y="642"/>
                  </a:lnTo>
                  <a:lnTo>
                    <a:pt x="42" y="648"/>
                  </a:lnTo>
                  <a:lnTo>
                    <a:pt x="42" y="654"/>
                  </a:lnTo>
                  <a:lnTo>
                    <a:pt x="36" y="654"/>
                  </a:lnTo>
                  <a:lnTo>
                    <a:pt x="36" y="660"/>
                  </a:lnTo>
                  <a:lnTo>
                    <a:pt x="30" y="666"/>
                  </a:lnTo>
                  <a:lnTo>
                    <a:pt x="36" y="666"/>
                  </a:lnTo>
                  <a:lnTo>
                    <a:pt x="36" y="672"/>
                  </a:lnTo>
                  <a:lnTo>
                    <a:pt x="30" y="672"/>
                  </a:lnTo>
                  <a:lnTo>
                    <a:pt x="30" y="666"/>
                  </a:lnTo>
                  <a:lnTo>
                    <a:pt x="30" y="660"/>
                  </a:lnTo>
                  <a:lnTo>
                    <a:pt x="30" y="654"/>
                  </a:lnTo>
                  <a:lnTo>
                    <a:pt x="30" y="648"/>
                  </a:lnTo>
                  <a:lnTo>
                    <a:pt x="30" y="642"/>
                  </a:lnTo>
                  <a:lnTo>
                    <a:pt x="36" y="642"/>
                  </a:lnTo>
                  <a:lnTo>
                    <a:pt x="36" y="636"/>
                  </a:lnTo>
                  <a:lnTo>
                    <a:pt x="36" y="630"/>
                  </a:lnTo>
                  <a:lnTo>
                    <a:pt x="36" y="624"/>
                  </a:lnTo>
                  <a:lnTo>
                    <a:pt x="42" y="624"/>
                  </a:lnTo>
                  <a:lnTo>
                    <a:pt x="42" y="618"/>
                  </a:lnTo>
                  <a:lnTo>
                    <a:pt x="42" y="612"/>
                  </a:lnTo>
                  <a:lnTo>
                    <a:pt x="48" y="612"/>
                  </a:lnTo>
                  <a:lnTo>
                    <a:pt x="48" y="606"/>
                  </a:lnTo>
                  <a:lnTo>
                    <a:pt x="48" y="600"/>
                  </a:lnTo>
                  <a:lnTo>
                    <a:pt x="54" y="594"/>
                  </a:lnTo>
                  <a:lnTo>
                    <a:pt x="54" y="588"/>
                  </a:lnTo>
                  <a:lnTo>
                    <a:pt x="54" y="582"/>
                  </a:lnTo>
                  <a:lnTo>
                    <a:pt x="54" y="576"/>
                  </a:lnTo>
                  <a:lnTo>
                    <a:pt x="54" y="570"/>
                  </a:lnTo>
                  <a:lnTo>
                    <a:pt x="54" y="564"/>
                  </a:lnTo>
                  <a:lnTo>
                    <a:pt x="54" y="558"/>
                  </a:lnTo>
                  <a:lnTo>
                    <a:pt x="54" y="552"/>
                  </a:lnTo>
                  <a:lnTo>
                    <a:pt x="54" y="546"/>
                  </a:lnTo>
                  <a:lnTo>
                    <a:pt x="54" y="540"/>
                  </a:lnTo>
                  <a:lnTo>
                    <a:pt x="54" y="534"/>
                  </a:lnTo>
                  <a:lnTo>
                    <a:pt x="54" y="528"/>
                  </a:lnTo>
                  <a:lnTo>
                    <a:pt x="54" y="522"/>
                  </a:lnTo>
                  <a:lnTo>
                    <a:pt x="48" y="522"/>
                  </a:lnTo>
                  <a:lnTo>
                    <a:pt x="48" y="516"/>
                  </a:lnTo>
                  <a:lnTo>
                    <a:pt x="48" y="510"/>
                  </a:lnTo>
                  <a:lnTo>
                    <a:pt x="48" y="504"/>
                  </a:lnTo>
                  <a:lnTo>
                    <a:pt x="48" y="498"/>
                  </a:lnTo>
                  <a:lnTo>
                    <a:pt x="42" y="498"/>
                  </a:lnTo>
                  <a:lnTo>
                    <a:pt x="42" y="492"/>
                  </a:lnTo>
                  <a:lnTo>
                    <a:pt x="36" y="486"/>
                  </a:lnTo>
                  <a:lnTo>
                    <a:pt x="30" y="486"/>
                  </a:lnTo>
                  <a:lnTo>
                    <a:pt x="30" y="480"/>
                  </a:lnTo>
                  <a:lnTo>
                    <a:pt x="30" y="474"/>
                  </a:lnTo>
                  <a:lnTo>
                    <a:pt x="30" y="480"/>
                  </a:lnTo>
                  <a:lnTo>
                    <a:pt x="36" y="480"/>
                  </a:lnTo>
                  <a:lnTo>
                    <a:pt x="36" y="474"/>
                  </a:lnTo>
                  <a:lnTo>
                    <a:pt x="42" y="474"/>
                  </a:lnTo>
                  <a:lnTo>
                    <a:pt x="42" y="468"/>
                  </a:lnTo>
                  <a:lnTo>
                    <a:pt x="36" y="468"/>
                  </a:lnTo>
                  <a:lnTo>
                    <a:pt x="36" y="474"/>
                  </a:lnTo>
                  <a:lnTo>
                    <a:pt x="36" y="468"/>
                  </a:lnTo>
                  <a:lnTo>
                    <a:pt x="36" y="474"/>
                  </a:lnTo>
                  <a:lnTo>
                    <a:pt x="30" y="474"/>
                  </a:lnTo>
                  <a:lnTo>
                    <a:pt x="36" y="468"/>
                  </a:lnTo>
                  <a:lnTo>
                    <a:pt x="36" y="462"/>
                  </a:lnTo>
                  <a:lnTo>
                    <a:pt x="42" y="462"/>
                  </a:lnTo>
                  <a:lnTo>
                    <a:pt x="42" y="456"/>
                  </a:lnTo>
                  <a:lnTo>
                    <a:pt x="42" y="450"/>
                  </a:lnTo>
                  <a:lnTo>
                    <a:pt x="42" y="444"/>
                  </a:lnTo>
                  <a:lnTo>
                    <a:pt x="42" y="450"/>
                  </a:lnTo>
                  <a:lnTo>
                    <a:pt x="42" y="444"/>
                  </a:lnTo>
                  <a:lnTo>
                    <a:pt x="48" y="444"/>
                  </a:lnTo>
                  <a:lnTo>
                    <a:pt x="42" y="438"/>
                  </a:lnTo>
                  <a:lnTo>
                    <a:pt x="42" y="432"/>
                  </a:lnTo>
                  <a:lnTo>
                    <a:pt x="48" y="432"/>
                  </a:lnTo>
                  <a:lnTo>
                    <a:pt x="48" y="426"/>
                  </a:lnTo>
                  <a:lnTo>
                    <a:pt x="42" y="426"/>
                  </a:lnTo>
                  <a:lnTo>
                    <a:pt x="42" y="420"/>
                  </a:lnTo>
                  <a:lnTo>
                    <a:pt x="36" y="420"/>
                  </a:lnTo>
                  <a:lnTo>
                    <a:pt x="36" y="414"/>
                  </a:lnTo>
                  <a:lnTo>
                    <a:pt x="36" y="408"/>
                  </a:lnTo>
                  <a:lnTo>
                    <a:pt x="36" y="402"/>
                  </a:lnTo>
                  <a:lnTo>
                    <a:pt x="30" y="402"/>
                  </a:lnTo>
                  <a:lnTo>
                    <a:pt x="30" y="396"/>
                  </a:lnTo>
                  <a:lnTo>
                    <a:pt x="30" y="402"/>
                  </a:lnTo>
                  <a:lnTo>
                    <a:pt x="30" y="408"/>
                  </a:lnTo>
                  <a:lnTo>
                    <a:pt x="24" y="408"/>
                  </a:lnTo>
                  <a:lnTo>
                    <a:pt x="24" y="402"/>
                  </a:lnTo>
                  <a:lnTo>
                    <a:pt x="18" y="402"/>
                  </a:lnTo>
                  <a:lnTo>
                    <a:pt x="18" y="396"/>
                  </a:lnTo>
                  <a:lnTo>
                    <a:pt x="18" y="390"/>
                  </a:lnTo>
                  <a:lnTo>
                    <a:pt x="12" y="384"/>
                  </a:lnTo>
                  <a:lnTo>
                    <a:pt x="12" y="378"/>
                  </a:lnTo>
                  <a:lnTo>
                    <a:pt x="12" y="384"/>
                  </a:lnTo>
                  <a:lnTo>
                    <a:pt x="18" y="384"/>
                  </a:lnTo>
                  <a:lnTo>
                    <a:pt x="18" y="378"/>
                  </a:lnTo>
                  <a:lnTo>
                    <a:pt x="12" y="378"/>
                  </a:lnTo>
                  <a:lnTo>
                    <a:pt x="12" y="372"/>
                  </a:lnTo>
                  <a:lnTo>
                    <a:pt x="12" y="366"/>
                  </a:lnTo>
                  <a:lnTo>
                    <a:pt x="6" y="366"/>
                  </a:lnTo>
                  <a:lnTo>
                    <a:pt x="6" y="372"/>
                  </a:lnTo>
                  <a:lnTo>
                    <a:pt x="0" y="378"/>
                  </a:lnTo>
                  <a:lnTo>
                    <a:pt x="0" y="384"/>
                  </a:lnTo>
                  <a:lnTo>
                    <a:pt x="0" y="390"/>
                  </a:lnTo>
                  <a:lnTo>
                    <a:pt x="0" y="396"/>
                  </a:lnTo>
                  <a:lnTo>
                    <a:pt x="0" y="390"/>
                  </a:lnTo>
                  <a:lnTo>
                    <a:pt x="0" y="384"/>
                  </a:lnTo>
                  <a:lnTo>
                    <a:pt x="0" y="378"/>
                  </a:lnTo>
                  <a:lnTo>
                    <a:pt x="0" y="372"/>
                  </a:lnTo>
                  <a:lnTo>
                    <a:pt x="6" y="372"/>
                  </a:lnTo>
                  <a:lnTo>
                    <a:pt x="6" y="366"/>
                  </a:lnTo>
                  <a:lnTo>
                    <a:pt x="6" y="360"/>
                  </a:lnTo>
                  <a:lnTo>
                    <a:pt x="24" y="360"/>
                  </a:lnTo>
                  <a:lnTo>
                    <a:pt x="42" y="360"/>
                  </a:lnTo>
                  <a:lnTo>
                    <a:pt x="54" y="360"/>
                  </a:lnTo>
                  <a:lnTo>
                    <a:pt x="72" y="360"/>
                  </a:lnTo>
                  <a:lnTo>
                    <a:pt x="84" y="360"/>
                  </a:lnTo>
                  <a:lnTo>
                    <a:pt x="102" y="360"/>
                  </a:lnTo>
                  <a:lnTo>
                    <a:pt x="114" y="360"/>
                  </a:lnTo>
                  <a:lnTo>
                    <a:pt x="120" y="360"/>
                  </a:lnTo>
                  <a:lnTo>
                    <a:pt x="126" y="360"/>
                  </a:lnTo>
                  <a:lnTo>
                    <a:pt x="132" y="360"/>
                  </a:lnTo>
                  <a:lnTo>
                    <a:pt x="138" y="360"/>
                  </a:lnTo>
                  <a:lnTo>
                    <a:pt x="144" y="360"/>
                  </a:lnTo>
                  <a:lnTo>
                    <a:pt x="150" y="360"/>
                  </a:lnTo>
                  <a:lnTo>
                    <a:pt x="156" y="360"/>
                  </a:lnTo>
                  <a:lnTo>
                    <a:pt x="162" y="360"/>
                  </a:lnTo>
                  <a:lnTo>
                    <a:pt x="168" y="360"/>
                  </a:lnTo>
                  <a:lnTo>
                    <a:pt x="174" y="360"/>
                  </a:lnTo>
                  <a:lnTo>
                    <a:pt x="186" y="360"/>
                  </a:lnTo>
                  <a:lnTo>
                    <a:pt x="192" y="360"/>
                  </a:lnTo>
                  <a:lnTo>
                    <a:pt x="198" y="360"/>
                  </a:lnTo>
                  <a:lnTo>
                    <a:pt x="204" y="360"/>
                  </a:lnTo>
                  <a:lnTo>
                    <a:pt x="216" y="360"/>
                  </a:lnTo>
                  <a:lnTo>
                    <a:pt x="222" y="360"/>
                  </a:lnTo>
                  <a:lnTo>
                    <a:pt x="222" y="354"/>
                  </a:lnTo>
                  <a:lnTo>
                    <a:pt x="222" y="348"/>
                  </a:lnTo>
                  <a:lnTo>
                    <a:pt x="222" y="342"/>
                  </a:lnTo>
                  <a:lnTo>
                    <a:pt x="222" y="336"/>
                  </a:lnTo>
                  <a:lnTo>
                    <a:pt x="222" y="330"/>
                  </a:lnTo>
                  <a:lnTo>
                    <a:pt x="222" y="324"/>
                  </a:lnTo>
                  <a:lnTo>
                    <a:pt x="222" y="318"/>
                  </a:lnTo>
                  <a:lnTo>
                    <a:pt x="222" y="312"/>
                  </a:lnTo>
                  <a:lnTo>
                    <a:pt x="222" y="306"/>
                  </a:lnTo>
                  <a:lnTo>
                    <a:pt x="216" y="300"/>
                  </a:lnTo>
                  <a:lnTo>
                    <a:pt x="216" y="288"/>
                  </a:lnTo>
                  <a:lnTo>
                    <a:pt x="216" y="282"/>
                  </a:lnTo>
                  <a:lnTo>
                    <a:pt x="216" y="276"/>
                  </a:lnTo>
                  <a:lnTo>
                    <a:pt x="216" y="270"/>
                  </a:lnTo>
                  <a:lnTo>
                    <a:pt x="222" y="264"/>
                  </a:lnTo>
                  <a:lnTo>
                    <a:pt x="222" y="258"/>
                  </a:lnTo>
                  <a:lnTo>
                    <a:pt x="222" y="252"/>
                  </a:lnTo>
                  <a:lnTo>
                    <a:pt x="228" y="246"/>
                  </a:lnTo>
                  <a:lnTo>
                    <a:pt x="234" y="240"/>
                  </a:lnTo>
                  <a:lnTo>
                    <a:pt x="240" y="240"/>
                  </a:lnTo>
                  <a:lnTo>
                    <a:pt x="246" y="234"/>
                  </a:lnTo>
                  <a:lnTo>
                    <a:pt x="252" y="234"/>
                  </a:lnTo>
                  <a:lnTo>
                    <a:pt x="282" y="234"/>
                  </a:lnTo>
                  <a:lnTo>
                    <a:pt x="282" y="174"/>
                  </a:lnTo>
                  <a:lnTo>
                    <a:pt x="282" y="150"/>
                  </a:lnTo>
                  <a:lnTo>
                    <a:pt x="282" y="138"/>
                  </a:lnTo>
                  <a:lnTo>
                    <a:pt x="282" y="84"/>
                  </a:lnTo>
                  <a:lnTo>
                    <a:pt x="282" y="78"/>
                  </a:lnTo>
                  <a:lnTo>
                    <a:pt x="288" y="78"/>
                  </a:lnTo>
                  <a:lnTo>
                    <a:pt x="294" y="78"/>
                  </a:lnTo>
                  <a:lnTo>
                    <a:pt x="306" y="78"/>
                  </a:lnTo>
                  <a:lnTo>
                    <a:pt x="312" y="78"/>
                  </a:lnTo>
                  <a:lnTo>
                    <a:pt x="318" y="78"/>
                  </a:lnTo>
                  <a:lnTo>
                    <a:pt x="330" y="78"/>
                  </a:lnTo>
                  <a:lnTo>
                    <a:pt x="336" y="78"/>
                  </a:lnTo>
                  <a:lnTo>
                    <a:pt x="342" y="78"/>
                  </a:lnTo>
                  <a:lnTo>
                    <a:pt x="354" y="78"/>
                  </a:lnTo>
                  <a:lnTo>
                    <a:pt x="360" y="78"/>
                  </a:lnTo>
                  <a:lnTo>
                    <a:pt x="366" y="78"/>
                  </a:lnTo>
                  <a:lnTo>
                    <a:pt x="372" y="78"/>
                  </a:lnTo>
                  <a:lnTo>
                    <a:pt x="378" y="78"/>
                  </a:lnTo>
                  <a:lnTo>
                    <a:pt x="384" y="78"/>
                  </a:lnTo>
                  <a:lnTo>
                    <a:pt x="390" y="78"/>
                  </a:lnTo>
                  <a:lnTo>
                    <a:pt x="396" y="78"/>
                  </a:lnTo>
                  <a:lnTo>
                    <a:pt x="408" y="78"/>
                  </a:lnTo>
                  <a:lnTo>
                    <a:pt x="414" y="78"/>
                  </a:lnTo>
                  <a:lnTo>
                    <a:pt x="420" y="78"/>
                  </a:lnTo>
                  <a:lnTo>
                    <a:pt x="432" y="78"/>
                  </a:lnTo>
                  <a:lnTo>
                    <a:pt x="438" y="78"/>
                  </a:lnTo>
                  <a:lnTo>
                    <a:pt x="444" y="78"/>
                  </a:lnTo>
                  <a:lnTo>
                    <a:pt x="450" y="78"/>
                  </a:lnTo>
                  <a:lnTo>
                    <a:pt x="462" y="78"/>
                  </a:lnTo>
                  <a:lnTo>
                    <a:pt x="468" y="78"/>
                  </a:lnTo>
                  <a:lnTo>
                    <a:pt x="468" y="24"/>
                  </a:lnTo>
                  <a:lnTo>
                    <a:pt x="468" y="12"/>
                  </a:lnTo>
                  <a:lnTo>
                    <a:pt x="468" y="0"/>
                  </a:lnTo>
                  <a:lnTo>
                    <a:pt x="474" y="0"/>
                  </a:lnTo>
                  <a:lnTo>
                    <a:pt x="480" y="6"/>
                  </a:lnTo>
                  <a:lnTo>
                    <a:pt x="486" y="6"/>
                  </a:lnTo>
                  <a:lnTo>
                    <a:pt x="486" y="12"/>
                  </a:lnTo>
                  <a:lnTo>
                    <a:pt x="492" y="12"/>
                  </a:lnTo>
                  <a:lnTo>
                    <a:pt x="498" y="18"/>
                  </a:lnTo>
                  <a:lnTo>
                    <a:pt x="504" y="24"/>
                  </a:lnTo>
                  <a:lnTo>
                    <a:pt x="510" y="24"/>
                  </a:lnTo>
                  <a:lnTo>
                    <a:pt x="516" y="30"/>
                  </a:lnTo>
                  <a:lnTo>
                    <a:pt x="528" y="36"/>
                  </a:lnTo>
                  <a:lnTo>
                    <a:pt x="534" y="42"/>
                  </a:lnTo>
                  <a:lnTo>
                    <a:pt x="540" y="42"/>
                  </a:lnTo>
                  <a:lnTo>
                    <a:pt x="546" y="48"/>
                  </a:lnTo>
                  <a:lnTo>
                    <a:pt x="552" y="54"/>
                  </a:lnTo>
                  <a:lnTo>
                    <a:pt x="558" y="54"/>
                  </a:lnTo>
                  <a:lnTo>
                    <a:pt x="564" y="60"/>
                  </a:lnTo>
                  <a:lnTo>
                    <a:pt x="576" y="66"/>
                  </a:lnTo>
                  <a:lnTo>
                    <a:pt x="582" y="72"/>
                  </a:lnTo>
                  <a:lnTo>
                    <a:pt x="588" y="78"/>
                  </a:lnTo>
                  <a:lnTo>
                    <a:pt x="594" y="78"/>
                  </a:lnTo>
                  <a:lnTo>
                    <a:pt x="594" y="84"/>
                  </a:lnTo>
                  <a:lnTo>
                    <a:pt x="606" y="90"/>
                  </a:lnTo>
                  <a:lnTo>
                    <a:pt x="612" y="90"/>
                  </a:lnTo>
                  <a:lnTo>
                    <a:pt x="618" y="96"/>
                  </a:lnTo>
                  <a:lnTo>
                    <a:pt x="624" y="102"/>
                  </a:lnTo>
                  <a:lnTo>
                    <a:pt x="630" y="102"/>
                  </a:lnTo>
                  <a:lnTo>
                    <a:pt x="636" y="108"/>
                  </a:lnTo>
                  <a:lnTo>
                    <a:pt x="642" y="114"/>
                  </a:lnTo>
                  <a:lnTo>
                    <a:pt x="648" y="114"/>
                  </a:lnTo>
                  <a:lnTo>
                    <a:pt x="648" y="120"/>
                  </a:lnTo>
                  <a:lnTo>
                    <a:pt x="654" y="120"/>
                  </a:lnTo>
                  <a:lnTo>
                    <a:pt x="660" y="126"/>
                  </a:lnTo>
                  <a:lnTo>
                    <a:pt x="666" y="132"/>
                  </a:lnTo>
                  <a:lnTo>
                    <a:pt x="672" y="132"/>
                  </a:lnTo>
                  <a:lnTo>
                    <a:pt x="672" y="138"/>
                  </a:lnTo>
                  <a:lnTo>
                    <a:pt x="678" y="138"/>
                  </a:lnTo>
                  <a:lnTo>
                    <a:pt x="672" y="138"/>
                  </a:lnTo>
                  <a:lnTo>
                    <a:pt x="666" y="138"/>
                  </a:lnTo>
                  <a:lnTo>
                    <a:pt x="660" y="138"/>
                  </a:lnTo>
                  <a:lnTo>
                    <a:pt x="654" y="138"/>
                  </a:lnTo>
                  <a:lnTo>
                    <a:pt x="648" y="138"/>
                  </a:lnTo>
                  <a:lnTo>
                    <a:pt x="642" y="138"/>
                  </a:lnTo>
                  <a:lnTo>
                    <a:pt x="636" y="138"/>
                  </a:lnTo>
                  <a:lnTo>
                    <a:pt x="630" y="138"/>
                  </a:lnTo>
                  <a:lnTo>
                    <a:pt x="624" y="138"/>
                  </a:lnTo>
                  <a:lnTo>
                    <a:pt x="618" y="138"/>
                  </a:lnTo>
                  <a:lnTo>
                    <a:pt x="612" y="138"/>
                  </a:lnTo>
                  <a:lnTo>
                    <a:pt x="606" y="138"/>
                  </a:lnTo>
                  <a:lnTo>
                    <a:pt x="600" y="138"/>
                  </a:lnTo>
                  <a:lnTo>
                    <a:pt x="594" y="138"/>
                  </a:lnTo>
                  <a:lnTo>
                    <a:pt x="588" y="138"/>
                  </a:lnTo>
                  <a:lnTo>
                    <a:pt x="582" y="138"/>
                  </a:lnTo>
                  <a:lnTo>
                    <a:pt x="582" y="144"/>
                  </a:lnTo>
                  <a:lnTo>
                    <a:pt x="588" y="174"/>
                  </a:lnTo>
                  <a:lnTo>
                    <a:pt x="588" y="180"/>
                  </a:lnTo>
                  <a:lnTo>
                    <a:pt x="588" y="192"/>
                  </a:lnTo>
                  <a:lnTo>
                    <a:pt x="588" y="198"/>
                  </a:lnTo>
                  <a:lnTo>
                    <a:pt x="588" y="204"/>
                  </a:lnTo>
                  <a:lnTo>
                    <a:pt x="588" y="210"/>
                  </a:lnTo>
                  <a:lnTo>
                    <a:pt x="588" y="216"/>
                  </a:lnTo>
                  <a:lnTo>
                    <a:pt x="594" y="222"/>
                  </a:lnTo>
                  <a:lnTo>
                    <a:pt x="594" y="228"/>
                  </a:lnTo>
                  <a:lnTo>
                    <a:pt x="594" y="234"/>
                  </a:lnTo>
                  <a:lnTo>
                    <a:pt x="594" y="240"/>
                  </a:lnTo>
                  <a:lnTo>
                    <a:pt x="594" y="246"/>
                  </a:lnTo>
                  <a:lnTo>
                    <a:pt x="594" y="252"/>
                  </a:lnTo>
                  <a:lnTo>
                    <a:pt x="594" y="258"/>
                  </a:lnTo>
                  <a:lnTo>
                    <a:pt x="594" y="264"/>
                  </a:lnTo>
                  <a:lnTo>
                    <a:pt x="594" y="270"/>
                  </a:lnTo>
                  <a:lnTo>
                    <a:pt x="594" y="276"/>
                  </a:lnTo>
                  <a:lnTo>
                    <a:pt x="600" y="276"/>
                  </a:lnTo>
                  <a:lnTo>
                    <a:pt x="600" y="282"/>
                  </a:lnTo>
                  <a:lnTo>
                    <a:pt x="600" y="288"/>
                  </a:lnTo>
                  <a:lnTo>
                    <a:pt x="600" y="294"/>
                  </a:lnTo>
                  <a:lnTo>
                    <a:pt x="600" y="300"/>
                  </a:lnTo>
                  <a:lnTo>
                    <a:pt x="600" y="306"/>
                  </a:lnTo>
                  <a:lnTo>
                    <a:pt x="600" y="312"/>
                  </a:lnTo>
                  <a:lnTo>
                    <a:pt x="600" y="318"/>
                  </a:lnTo>
                  <a:lnTo>
                    <a:pt x="600" y="324"/>
                  </a:lnTo>
                  <a:lnTo>
                    <a:pt x="600" y="330"/>
                  </a:lnTo>
                  <a:lnTo>
                    <a:pt x="606" y="330"/>
                  </a:lnTo>
                  <a:lnTo>
                    <a:pt x="606" y="336"/>
                  </a:lnTo>
                  <a:lnTo>
                    <a:pt x="606" y="342"/>
                  </a:lnTo>
                  <a:lnTo>
                    <a:pt x="606" y="348"/>
                  </a:lnTo>
                  <a:lnTo>
                    <a:pt x="606" y="354"/>
                  </a:lnTo>
                  <a:lnTo>
                    <a:pt x="606" y="360"/>
                  </a:lnTo>
                  <a:lnTo>
                    <a:pt x="606" y="366"/>
                  </a:lnTo>
                  <a:lnTo>
                    <a:pt x="606" y="372"/>
                  </a:lnTo>
                  <a:lnTo>
                    <a:pt x="606" y="378"/>
                  </a:lnTo>
                  <a:lnTo>
                    <a:pt x="606" y="384"/>
                  </a:lnTo>
                  <a:lnTo>
                    <a:pt x="612" y="390"/>
                  </a:lnTo>
                  <a:lnTo>
                    <a:pt x="612" y="396"/>
                  </a:lnTo>
                  <a:lnTo>
                    <a:pt x="612" y="402"/>
                  </a:lnTo>
                  <a:lnTo>
                    <a:pt x="612" y="408"/>
                  </a:lnTo>
                  <a:lnTo>
                    <a:pt x="612" y="420"/>
                  </a:lnTo>
                  <a:lnTo>
                    <a:pt x="612" y="432"/>
                  </a:lnTo>
                  <a:lnTo>
                    <a:pt x="612" y="438"/>
                  </a:lnTo>
                  <a:lnTo>
                    <a:pt x="612" y="444"/>
                  </a:lnTo>
                  <a:lnTo>
                    <a:pt x="618" y="444"/>
                  </a:lnTo>
                  <a:lnTo>
                    <a:pt x="618" y="450"/>
                  </a:lnTo>
                  <a:lnTo>
                    <a:pt x="618" y="456"/>
                  </a:lnTo>
                  <a:lnTo>
                    <a:pt x="618" y="462"/>
                  </a:lnTo>
                  <a:lnTo>
                    <a:pt x="618" y="468"/>
                  </a:lnTo>
                  <a:lnTo>
                    <a:pt x="618" y="474"/>
                  </a:lnTo>
                  <a:lnTo>
                    <a:pt x="618" y="480"/>
                  </a:lnTo>
                  <a:lnTo>
                    <a:pt x="618" y="486"/>
                  </a:lnTo>
                  <a:lnTo>
                    <a:pt x="618" y="492"/>
                  </a:lnTo>
                  <a:lnTo>
                    <a:pt x="618" y="498"/>
                  </a:lnTo>
                  <a:lnTo>
                    <a:pt x="624" y="498"/>
                  </a:lnTo>
                  <a:lnTo>
                    <a:pt x="624" y="504"/>
                  </a:lnTo>
                  <a:lnTo>
                    <a:pt x="624" y="510"/>
                  </a:lnTo>
                  <a:lnTo>
                    <a:pt x="624" y="516"/>
                  </a:lnTo>
                  <a:lnTo>
                    <a:pt x="624" y="522"/>
                  </a:lnTo>
                  <a:lnTo>
                    <a:pt x="624" y="528"/>
                  </a:lnTo>
                  <a:lnTo>
                    <a:pt x="624" y="534"/>
                  </a:lnTo>
                  <a:lnTo>
                    <a:pt x="624" y="540"/>
                  </a:lnTo>
                  <a:lnTo>
                    <a:pt x="624" y="546"/>
                  </a:lnTo>
                  <a:lnTo>
                    <a:pt x="624" y="552"/>
                  </a:lnTo>
                  <a:lnTo>
                    <a:pt x="630" y="558"/>
                  </a:lnTo>
                  <a:lnTo>
                    <a:pt x="630" y="564"/>
                  </a:lnTo>
                  <a:lnTo>
                    <a:pt x="630" y="570"/>
                  </a:lnTo>
                  <a:lnTo>
                    <a:pt x="630" y="576"/>
                  </a:lnTo>
                  <a:lnTo>
                    <a:pt x="630" y="582"/>
                  </a:lnTo>
                  <a:lnTo>
                    <a:pt x="630" y="588"/>
                  </a:lnTo>
                  <a:lnTo>
                    <a:pt x="630" y="594"/>
                  </a:lnTo>
                  <a:lnTo>
                    <a:pt x="630" y="600"/>
                  </a:lnTo>
                  <a:lnTo>
                    <a:pt x="630" y="606"/>
                  </a:lnTo>
                  <a:lnTo>
                    <a:pt x="630" y="612"/>
                  </a:lnTo>
                  <a:lnTo>
                    <a:pt x="636" y="618"/>
                  </a:lnTo>
                  <a:lnTo>
                    <a:pt x="636" y="624"/>
                  </a:lnTo>
                  <a:lnTo>
                    <a:pt x="636" y="648"/>
                  </a:lnTo>
                  <a:lnTo>
                    <a:pt x="654" y="654"/>
                  </a:lnTo>
                  <a:lnTo>
                    <a:pt x="648" y="672"/>
                  </a:lnTo>
                  <a:lnTo>
                    <a:pt x="648" y="678"/>
                  </a:lnTo>
                  <a:lnTo>
                    <a:pt x="648" y="684"/>
                  </a:lnTo>
                  <a:lnTo>
                    <a:pt x="648" y="690"/>
                  </a:lnTo>
                  <a:lnTo>
                    <a:pt x="642" y="690"/>
                  </a:lnTo>
                  <a:lnTo>
                    <a:pt x="642" y="696"/>
                  </a:lnTo>
                  <a:lnTo>
                    <a:pt x="642" y="702"/>
                  </a:lnTo>
                  <a:lnTo>
                    <a:pt x="636" y="702"/>
                  </a:lnTo>
                  <a:lnTo>
                    <a:pt x="630" y="702"/>
                  </a:lnTo>
                  <a:lnTo>
                    <a:pt x="624" y="702"/>
                  </a:lnTo>
                  <a:lnTo>
                    <a:pt x="618" y="702"/>
                  </a:lnTo>
                  <a:lnTo>
                    <a:pt x="612" y="702"/>
                  </a:lnTo>
                  <a:lnTo>
                    <a:pt x="606" y="702"/>
                  </a:lnTo>
                  <a:lnTo>
                    <a:pt x="600" y="702"/>
                  </a:lnTo>
                  <a:lnTo>
                    <a:pt x="594" y="702"/>
                  </a:lnTo>
                  <a:lnTo>
                    <a:pt x="588" y="702"/>
                  </a:lnTo>
                  <a:lnTo>
                    <a:pt x="582" y="702"/>
                  </a:lnTo>
                  <a:lnTo>
                    <a:pt x="576" y="702"/>
                  </a:lnTo>
                  <a:lnTo>
                    <a:pt x="570" y="702"/>
                  </a:lnTo>
                  <a:lnTo>
                    <a:pt x="564" y="702"/>
                  </a:lnTo>
                  <a:lnTo>
                    <a:pt x="552" y="702"/>
                  </a:lnTo>
                  <a:lnTo>
                    <a:pt x="546" y="702"/>
                  </a:lnTo>
                  <a:lnTo>
                    <a:pt x="540" y="702"/>
                  </a:lnTo>
                  <a:lnTo>
                    <a:pt x="534" y="702"/>
                  </a:lnTo>
                  <a:lnTo>
                    <a:pt x="522" y="702"/>
                  </a:lnTo>
                  <a:lnTo>
                    <a:pt x="516" y="702"/>
                  </a:lnTo>
                  <a:lnTo>
                    <a:pt x="510" y="702"/>
                  </a:lnTo>
                  <a:lnTo>
                    <a:pt x="504" y="702"/>
                  </a:lnTo>
                  <a:lnTo>
                    <a:pt x="498" y="702"/>
                  </a:lnTo>
                  <a:lnTo>
                    <a:pt x="492" y="702"/>
                  </a:lnTo>
                  <a:lnTo>
                    <a:pt x="486" y="702"/>
                  </a:lnTo>
                  <a:lnTo>
                    <a:pt x="480" y="702"/>
                  </a:lnTo>
                  <a:lnTo>
                    <a:pt x="474" y="702"/>
                  </a:lnTo>
                  <a:lnTo>
                    <a:pt x="468" y="702"/>
                  </a:lnTo>
                  <a:lnTo>
                    <a:pt x="462" y="702"/>
                  </a:lnTo>
                  <a:lnTo>
                    <a:pt x="456" y="702"/>
                  </a:lnTo>
                  <a:lnTo>
                    <a:pt x="450" y="702"/>
                  </a:lnTo>
                  <a:lnTo>
                    <a:pt x="444" y="702"/>
                  </a:lnTo>
                  <a:lnTo>
                    <a:pt x="438" y="702"/>
                  </a:lnTo>
                  <a:lnTo>
                    <a:pt x="432" y="702"/>
                  </a:lnTo>
                  <a:lnTo>
                    <a:pt x="426" y="702"/>
                  </a:lnTo>
                  <a:lnTo>
                    <a:pt x="432" y="696"/>
                  </a:lnTo>
                  <a:lnTo>
                    <a:pt x="426" y="690"/>
                  </a:lnTo>
                  <a:lnTo>
                    <a:pt x="426" y="696"/>
                  </a:lnTo>
                  <a:lnTo>
                    <a:pt x="420" y="696"/>
                  </a:lnTo>
                  <a:lnTo>
                    <a:pt x="426" y="702"/>
                  </a:lnTo>
                  <a:lnTo>
                    <a:pt x="426" y="708"/>
                  </a:lnTo>
                  <a:lnTo>
                    <a:pt x="420" y="708"/>
                  </a:lnTo>
                  <a:lnTo>
                    <a:pt x="414" y="708"/>
                  </a:lnTo>
                  <a:lnTo>
                    <a:pt x="408" y="708"/>
                  </a:lnTo>
                  <a:lnTo>
                    <a:pt x="402" y="708"/>
                  </a:lnTo>
                  <a:lnTo>
                    <a:pt x="402" y="714"/>
                  </a:lnTo>
                  <a:lnTo>
                    <a:pt x="396" y="714"/>
                  </a:lnTo>
                  <a:lnTo>
                    <a:pt x="390" y="714"/>
                  </a:lnTo>
                  <a:lnTo>
                    <a:pt x="384" y="714"/>
                  </a:lnTo>
                  <a:lnTo>
                    <a:pt x="384" y="708"/>
                  </a:lnTo>
                  <a:lnTo>
                    <a:pt x="378" y="708"/>
                  </a:lnTo>
                  <a:lnTo>
                    <a:pt x="372" y="708"/>
                  </a:lnTo>
                  <a:lnTo>
                    <a:pt x="366" y="708"/>
                  </a:lnTo>
                  <a:lnTo>
                    <a:pt x="360" y="708"/>
                  </a:lnTo>
                  <a:lnTo>
                    <a:pt x="354" y="708"/>
                  </a:lnTo>
                  <a:lnTo>
                    <a:pt x="354" y="714"/>
                  </a:lnTo>
                  <a:lnTo>
                    <a:pt x="348" y="714"/>
                  </a:lnTo>
                  <a:lnTo>
                    <a:pt x="348" y="720"/>
                  </a:lnTo>
                  <a:lnTo>
                    <a:pt x="342" y="720"/>
                  </a:lnTo>
                  <a:lnTo>
                    <a:pt x="342" y="726"/>
                  </a:lnTo>
                  <a:lnTo>
                    <a:pt x="342" y="720"/>
                  </a:lnTo>
                  <a:lnTo>
                    <a:pt x="336" y="720"/>
                  </a:lnTo>
                  <a:lnTo>
                    <a:pt x="330" y="714"/>
                  </a:lnTo>
                  <a:lnTo>
                    <a:pt x="324" y="714"/>
                  </a:lnTo>
                  <a:lnTo>
                    <a:pt x="324" y="708"/>
                  </a:lnTo>
                  <a:lnTo>
                    <a:pt x="318" y="708"/>
                  </a:lnTo>
                  <a:lnTo>
                    <a:pt x="318" y="702"/>
                  </a:lnTo>
                  <a:lnTo>
                    <a:pt x="312" y="696"/>
                  </a:lnTo>
                  <a:lnTo>
                    <a:pt x="306" y="696"/>
                  </a:lnTo>
                  <a:lnTo>
                    <a:pt x="306" y="702"/>
                  </a:lnTo>
                  <a:lnTo>
                    <a:pt x="300" y="702"/>
                  </a:lnTo>
                  <a:lnTo>
                    <a:pt x="294" y="702"/>
                  </a:lnTo>
                  <a:lnTo>
                    <a:pt x="294" y="708"/>
                  </a:lnTo>
                  <a:lnTo>
                    <a:pt x="294" y="714"/>
                  </a:lnTo>
                  <a:lnTo>
                    <a:pt x="294" y="720"/>
                  </a:lnTo>
                  <a:lnTo>
                    <a:pt x="288" y="720"/>
                  </a:lnTo>
                  <a:lnTo>
                    <a:pt x="288" y="726"/>
                  </a:lnTo>
                  <a:lnTo>
                    <a:pt x="288" y="732"/>
                  </a:lnTo>
                  <a:lnTo>
                    <a:pt x="294" y="732"/>
                  </a:lnTo>
                  <a:lnTo>
                    <a:pt x="288" y="738"/>
                  </a:lnTo>
                  <a:lnTo>
                    <a:pt x="294" y="738"/>
                  </a:lnTo>
                  <a:lnTo>
                    <a:pt x="288" y="738"/>
                  </a:lnTo>
                  <a:lnTo>
                    <a:pt x="288" y="744"/>
                  </a:lnTo>
                  <a:lnTo>
                    <a:pt x="282" y="744"/>
                  </a:lnTo>
                  <a:lnTo>
                    <a:pt x="276" y="744"/>
                  </a:lnTo>
                  <a:lnTo>
                    <a:pt x="276" y="750"/>
                  </a:lnTo>
                  <a:lnTo>
                    <a:pt x="276" y="744"/>
                  </a:lnTo>
                  <a:lnTo>
                    <a:pt x="270" y="744"/>
                  </a:lnTo>
                  <a:lnTo>
                    <a:pt x="264" y="744"/>
                  </a:lnTo>
                  <a:close/>
                  <a:moveTo>
                    <a:pt x="30" y="462"/>
                  </a:moveTo>
                  <a:lnTo>
                    <a:pt x="36" y="456"/>
                  </a:lnTo>
                  <a:lnTo>
                    <a:pt x="36" y="450"/>
                  </a:lnTo>
                  <a:lnTo>
                    <a:pt x="36" y="456"/>
                  </a:lnTo>
                  <a:lnTo>
                    <a:pt x="36" y="462"/>
                  </a:lnTo>
                  <a:lnTo>
                    <a:pt x="30" y="462"/>
                  </a:lnTo>
                  <a:lnTo>
                    <a:pt x="36" y="462"/>
                  </a:lnTo>
                  <a:lnTo>
                    <a:pt x="30" y="462"/>
                  </a:lnTo>
                  <a:close/>
                  <a:moveTo>
                    <a:pt x="36" y="456"/>
                  </a:moveTo>
                  <a:lnTo>
                    <a:pt x="42" y="456"/>
                  </a:lnTo>
                  <a:lnTo>
                    <a:pt x="42" y="468"/>
                  </a:lnTo>
                  <a:lnTo>
                    <a:pt x="36" y="468"/>
                  </a:lnTo>
                  <a:lnTo>
                    <a:pt x="36" y="456"/>
                  </a:lnTo>
                  <a:close/>
                  <a:moveTo>
                    <a:pt x="30" y="402"/>
                  </a:moveTo>
                  <a:lnTo>
                    <a:pt x="30" y="408"/>
                  </a:lnTo>
                  <a:lnTo>
                    <a:pt x="31" y="408"/>
                  </a:lnTo>
                  <a:lnTo>
                    <a:pt x="30" y="402"/>
                  </a:lnTo>
                  <a:close/>
                  <a:moveTo>
                    <a:pt x="30" y="456"/>
                  </a:moveTo>
                  <a:lnTo>
                    <a:pt x="30" y="462"/>
                  </a:lnTo>
                  <a:lnTo>
                    <a:pt x="31" y="462"/>
                  </a:lnTo>
                  <a:lnTo>
                    <a:pt x="30" y="456"/>
                  </a:lnTo>
                  <a:close/>
                  <a:moveTo>
                    <a:pt x="36" y="456"/>
                  </a:moveTo>
                  <a:lnTo>
                    <a:pt x="42" y="456"/>
                  </a:lnTo>
                  <a:lnTo>
                    <a:pt x="42" y="462"/>
                  </a:lnTo>
                  <a:lnTo>
                    <a:pt x="36" y="462"/>
                  </a:lnTo>
                  <a:lnTo>
                    <a:pt x="36" y="456"/>
                  </a:lnTo>
                  <a:close/>
                  <a:moveTo>
                    <a:pt x="30" y="402"/>
                  </a:moveTo>
                  <a:lnTo>
                    <a:pt x="30" y="408"/>
                  </a:lnTo>
                  <a:lnTo>
                    <a:pt x="31" y="408"/>
                  </a:lnTo>
                  <a:lnTo>
                    <a:pt x="30" y="40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4" name="Freeform 12"/>
            <p:cNvSpPr>
              <a:spLocks/>
            </p:cNvSpPr>
            <p:nvPr>
              <p:custDataLst>
                <p:tags r:id="rId12"/>
              </p:custDataLst>
            </p:nvPr>
          </p:nvSpPr>
          <p:spPr bwMode="gray">
            <a:xfrm>
              <a:off x="669331" y="2355922"/>
              <a:ext cx="836747" cy="760689"/>
            </a:xfrm>
            <a:custGeom>
              <a:avLst/>
              <a:gdLst>
                <a:gd name="T0" fmla="*/ 228652 w 918"/>
                <a:gd name="T1" fmla="*/ 209550 h 870"/>
                <a:gd name="T2" fmla="*/ 204430 w 918"/>
                <a:gd name="T3" fmla="*/ 222162 h 870"/>
                <a:gd name="T4" fmla="*/ 189897 w 918"/>
                <a:gd name="T5" fmla="*/ 228953 h 870"/>
                <a:gd name="T6" fmla="*/ 179240 w 918"/>
                <a:gd name="T7" fmla="*/ 239624 h 870"/>
                <a:gd name="T8" fmla="*/ 165675 w 918"/>
                <a:gd name="T9" fmla="*/ 245446 h 870"/>
                <a:gd name="T10" fmla="*/ 157925 w 918"/>
                <a:gd name="T11" fmla="*/ 252236 h 870"/>
                <a:gd name="T12" fmla="*/ 155987 w 918"/>
                <a:gd name="T13" fmla="*/ 266788 h 870"/>
                <a:gd name="T14" fmla="*/ 140485 w 918"/>
                <a:gd name="T15" fmla="*/ 273580 h 870"/>
                <a:gd name="T16" fmla="*/ 140485 w 918"/>
                <a:gd name="T17" fmla="*/ 282311 h 870"/>
                <a:gd name="T18" fmla="*/ 134672 w 918"/>
                <a:gd name="T19" fmla="*/ 296863 h 870"/>
                <a:gd name="T20" fmla="*/ 125952 w 918"/>
                <a:gd name="T21" fmla="*/ 309474 h 870"/>
                <a:gd name="T22" fmla="*/ 120139 w 918"/>
                <a:gd name="T23" fmla="*/ 298803 h 870"/>
                <a:gd name="T24" fmla="*/ 110451 w 918"/>
                <a:gd name="T25" fmla="*/ 305594 h 870"/>
                <a:gd name="T26" fmla="*/ 95917 w 918"/>
                <a:gd name="T27" fmla="*/ 303654 h 870"/>
                <a:gd name="T28" fmla="*/ 81384 w 918"/>
                <a:gd name="T29" fmla="*/ 305594 h 870"/>
                <a:gd name="T30" fmla="*/ 72665 w 918"/>
                <a:gd name="T31" fmla="*/ 292982 h 870"/>
                <a:gd name="T32" fmla="*/ 70727 w 918"/>
                <a:gd name="T33" fmla="*/ 282311 h 870"/>
                <a:gd name="T34" fmla="*/ 67821 w 918"/>
                <a:gd name="T35" fmla="*/ 268729 h 870"/>
                <a:gd name="T36" fmla="*/ 60069 w 918"/>
                <a:gd name="T37" fmla="*/ 264848 h 870"/>
                <a:gd name="T38" fmla="*/ 44568 w 918"/>
                <a:gd name="T39" fmla="*/ 268729 h 870"/>
                <a:gd name="T40" fmla="*/ 31972 w 918"/>
                <a:gd name="T41" fmla="*/ 273580 h 870"/>
                <a:gd name="T42" fmla="*/ 19377 w 918"/>
                <a:gd name="T43" fmla="*/ 273580 h 870"/>
                <a:gd name="T44" fmla="*/ 19377 w 918"/>
                <a:gd name="T45" fmla="*/ 264848 h 870"/>
                <a:gd name="T46" fmla="*/ 17439 w 918"/>
                <a:gd name="T47" fmla="*/ 254177 h 870"/>
                <a:gd name="T48" fmla="*/ 6782 w 918"/>
                <a:gd name="T49" fmla="*/ 241565 h 870"/>
                <a:gd name="T50" fmla="*/ 1938 w 918"/>
                <a:gd name="T51" fmla="*/ 222162 h 870"/>
                <a:gd name="T52" fmla="*/ 10657 w 918"/>
                <a:gd name="T53" fmla="*/ 213431 h 870"/>
                <a:gd name="T54" fmla="*/ 14533 w 918"/>
                <a:gd name="T55" fmla="*/ 198879 h 870"/>
                <a:gd name="T56" fmla="*/ 30035 w 918"/>
                <a:gd name="T57" fmla="*/ 204700 h 870"/>
                <a:gd name="T58" fmla="*/ 49412 w 918"/>
                <a:gd name="T59" fmla="*/ 202759 h 870"/>
                <a:gd name="T60" fmla="*/ 62007 w 918"/>
                <a:gd name="T61" fmla="*/ 200819 h 870"/>
                <a:gd name="T62" fmla="*/ 87198 w 918"/>
                <a:gd name="T63" fmla="*/ 200819 h 870"/>
                <a:gd name="T64" fmla="*/ 117233 w 918"/>
                <a:gd name="T65" fmla="*/ 200819 h 870"/>
                <a:gd name="T66" fmla="*/ 136610 w 918"/>
                <a:gd name="T67" fmla="*/ 194998 h 870"/>
                <a:gd name="T68" fmla="*/ 129828 w 918"/>
                <a:gd name="T69" fmla="*/ 158133 h 870"/>
                <a:gd name="T70" fmla="*/ 127890 w 918"/>
                <a:gd name="T71" fmla="*/ 131939 h 870"/>
                <a:gd name="T72" fmla="*/ 125952 w 918"/>
                <a:gd name="T73" fmla="*/ 108655 h 870"/>
                <a:gd name="T74" fmla="*/ 121108 w 918"/>
                <a:gd name="T75" fmla="*/ 81491 h 870"/>
                <a:gd name="T76" fmla="*/ 120139 w 918"/>
                <a:gd name="T77" fmla="*/ 57238 h 870"/>
                <a:gd name="T78" fmla="*/ 117233 w 918"/>
                <a:gd name="T79" fmla="*/ 33955 h 870"/>
                <a:gd name="T80" fmla="*/ 115295 w 918"/>
                <a:gd name="T81" fmla="*/ 0 h 870"/>
                <a:gd name="T82" fmla="*/ 140485 w 918"/>
                <a:gd name="T83" fmla="*/ 0 h 870"/>
                <a:gd name="T84" fmla="*/ 164707 w 918"/>
                <a:gd name="T85" fmla="*/ 12612 h 870"/>
                <a:gd name="T86" fmla="*/ 184084 w 918"/>
                <a:gd name="T87" fmla="*/ 26194 h 870"/>
                <a:gd name="T88" fmla="*/ 200555 w 918"/>
                <a:gd name="T89" fmla="*/ 36865 h 870"/>
                <a:gd name="T90" fmla="*/ 217995 w 918"/>
                <a:gd name="T91" fmla="*/ 49477 h 870"/>
                <a:gd name="T92" fmla="*/ 234465 w 918"/>
                <a:gd name="T93" fmla="*/ 62089 h 870"/>
                <a:gd name="T94" fmla="*/ 251904 w 918"/>
                <a:gd name="T95" fmla="*/ 74701 h 870"/>
                <a:gd name="T96" fmla="*/ 266437 w 918"/>
                <a:gd name="T97" fmla="*/ 91193 h 870"/>
                <a:gd name="T98" fmla="*/ 279033 w 918"/>
                <a:gd name="T99" fmla="*/ 100895 h 870"/>
                <a:gd name="T100" fmla="*/ 298410 w 918"/>
                <a:gd name="T101" fmla="*/ 106715 h 870"/>
                <a:gd name="T102" fmla="*/ 307130 w 918"/>
                <a:gd name="T103" fmla="*/ 124178 h 870"/>
                <a:gd name="T104" fmla="*/ 322631 w 918"/>
                <a:gd name="T105" fmla="*/ 128058 h 870"/>
                <a:gd name="T106" fmla="*/ 326507 w 918"/>
                <a:gd name="T107" fmla="*/ 145521 h 870"/>
                <a:gd name="T108" fmla="*/ 326507 w 918"/>
                <a:gd name="T109" fmla="*/ 170745 h 870"/>
                <a:gd name="T110" fmla="*/ 319725 w 918"/>
                <a:gd name="T111" fmla="*/ 194998 h 870"/>
                <a:gd name="T112" fmla="*/ 305192 w 918"/>
                <a:gd name="T113" fmla="*/ 204700 h 870"/>
                <a:gd name="T114" fmla="*/ 279033 w 918"/>
                <a:gd name="T115" fmla="*/ 204700 h 870"/>
                <a:gd name="T116" fmla="*/ 259656 w 918"/>
                <a:gd name="T117" fmla="*/ 211490 h 8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18" h="870">
                  <a:moveTo>
                    <a:pt x="696" y="594"/>
                  </a:moveTo>
                  <a:lnTo>
                    <a:pt x="690" y="594"/>
                  </a:lnTo>
                  <a:lnTo>
                    <a:pt x="684" y="594"/>
                  </a:lnTo>
                  <a:lnTo>
                    <a:pt x="678" y="594"/>
                  </a:lnTo>
                  <a:lnTo>
                    <a:pt x="672" y="594"/>
                  </a:lnTo>
                  <a:lnTo>
                    <a:pt x="672" y="588"/>
                  </a:lnTo>
                  <a:lnTo>
                    <a:pt x="666" y="594"/>
                  </a:lnTo>
                  <a:lnTo>
                    <a:pt x="660" y="594"/>
                  </a:lnTo>
                  <a:lnTo>
                    <a:pt x="660" y="588"/>
                  </a:lnTo>
                  <a:lnTo>
                    <a:pt x="654" y="588"/>
                  </a:lnTo>
                  <a:lnTo>
                    <a:pt x="648" y="588"/>
                  </a:lnTo>
                  <a:lnTo>
                    <a:pt x="642" y="588"/>
                  </a:lnTo>
                  <a:lnTo>
                    <a:pt x="642" y="594"/>
                  </a:lnTo>
                  <a:lnTo>
                    <a:pt x="636" y="594"/>
                  </a:lnTo>
                  <a:lnTo>
                    <a:pt x="636" y="600"/>
                  </a:lnTo>
                  <a:lnTo>
                    <a:pt x="630" y="600"/>
                  </a:lnTo>
                  <a:lnTo>
                    <a:pt x="630" y="606"/>
                  </a:lnTo>
                  <a:lnTo>
                    <a:pt x="624" y="606"/>
                  </a:lnTo>
                  <a:lnTo>
                    <a:pt x="618" y="606"/>
                  </a:lnTo>
                  <a:lnTo>
                    <a:pt x="612" y="612"/>
                  </a:lnTo>
                  <a:lnTo>
                    <a:pt x="594" y="618"/>
                  </a:lnTo>
                  <a:lnTo>
                    <a:pt x="594" y="624"/>
                  </a:lnTo>
                  <a:lnTo>
                    <a:pt x="588" y="624"/>
                  </a:lnTo>
                  <a:lnTo>
                    <a:pt x="576" y="624"/>
                  </a:lnTo>
                  <a:lnTo>
                    <a:pt x="576" y="630"/>
                  </a:lnTo>
                  <a:lnTo>
                    <a:pt x="576" y="636"/>
                  </a:lnTo>
                  <a:lnTo>
                    <a:pt x="570" y="636"/>
                  </a:lnTo>
                  <a:lnTo>
                    <a:pt x="570" y="642"/>
                  </a:lnTo>
                  <a:lnTo>
                    <a:pt x="564" y="642"/>
                  </a:lnTo>
                  <a:lnTo>
                    <a:pt x="558" y="642"/>
                  </a:lnTo>
                  <a:lnTo>
                    <a:pt x="558" y="636"/>
                  </a:lnTo>
                  <a:lnTo>
                    <a:pt x="552" y="636"/>
                  </a:lnTo>
                  <a:lnTo>
                    <a:pt x="546" y="636"/>
                  </a:lnTo>
                  <a:lnTo>
                    <a:pt x="540" y="636"/>
                  </a:lnTo>
                  <a:lnTo>
                    <a:pt x="540" y="642"/>
                  </a:lnTo>
                  <a:lnTo>
                    <a:pt x="534" y="642"/>
                  </a:lnTo>
                  <a:lnTo>
                    <a:pt x="534" y="648"/>
                  </a:lnTo>
                  <a:lnTo>
                    <a:pt x="528" y="648"/>
                  </a:lnTo>
                  <a:lnTo>
                    <a:pt x="528" y="654"/>
                  </a:lnTo>
                  <a:lnTo>
                    <a:pt x="522" y="654"/>
                  </a:lnTo>
                  <a:lnTo>
                    <a:pt x="522" y="660"/>
                  </a:lnTo>
                  <a:lnTo>
                    <a:pt x="522" y="666"/>
                  </a:lnTo>
                  <a:lnTo>
                    <a:pt x="522" y="672"/>
                  </a:lnTo>
                  <a:lnTo>
                    <a:pt x="516" y="672"/>
                  </a:lnTo>
                  <a:lnTo>
                    <a:pt x="510" y="672"/>
                  </a:lnTo>
                  <a:lnTo>
                    <a:pt x="504" y="672"/>
                  </a:lnTo>
                  <a:lnTo>
                    <a:pt x="504" y="666"/>
                  </a:lnTo>
                  <a:lnTo>
                    <a:pt x="504" y="672"/>
                  </a:lnTo>
                  <a:lnTo>
                    <a:pt x="504" y="678"/>
                  </a:lnTo>
                  <a:lnTo>
                    <a:pt x="504" y="684"/>
                  </a:lnTo>
                  <a:lnTo>
                    <a:pt x="504" y="690"/>
                  </a:lnTo>
                  <a:lnTo>
                    <a:pt x="504" y="696"/>
                  </a:lnTo>
                  <a:lnTo>
                    <a:pt x="498" y="696"/>
                  </a:lnTo>
                  <a:lnTo>
                    <a:pt x="492" y="696"/>
                  </a:lnTo>
                  <a:lnTo>
                    <a:pt x="492" y="702"/>
                  </a:lnTo>
                  <a:lnTo>
                    <a:pt x="486" y="702"/>
                  </a:lnTo>
                  <a:lnTo>
                    <a:pt x="486" y="696"/>
                  </a:lnTo>
                  <a:lnTo>
                    <a:pt x="480" y="696"/>
                  </a:lnTo>
                  <a:lnTo>
                    <a:pt x="474" y="690"/>
                  </a:lnTo>
                  <a:lnTo>
                    <a:pt x="468" y="690"/>
                  </a:lnTo>
                  <a:lnTo>
                    <a:pt x="462" y="690"/>
                  </a:lnTo>
                  <a:lnTo>
                    <a:pt x="462" y="684"/>
                  </a:lnTo>
                  <a:lnTo>
                    <a:pt x="468" y="684"/>
                  </a:lnTo>
                  <a:lnTo>
                    <a:pt x="462" y="684"/>
                  </a:lnTo>
                  <a:lnTo>
                    <a:pt x="462" y="678"/>
                  </a:lnTo>
                  <a:lnTo>
                    <a:pt x="462" y="684"/>
                  </a:lnTo>
                  <a:lnTo>
                    <a:pt x="456" y="684"/>
                  </a:lnTo>
                  <a:lnTo>
                    <a:pt x="456" y="690"/>
                  </a:lnTo>
                  <a:lnTo>
                    <a:pt x="450" y="696"/>
                  </a:lnTo>
                  <a:lnTo>
                    <a:pt x="450" y="702"/>
                  </a:lnTo>
                  <a:lnTo>
                    <a:pt x="444" y="702"/>
                  </a:lnTo>
                  <a:lnTo>
                    <a:pt x="444" y="708"/>
                  </a:lnTo>
                  <a:lnTo>
                    <a:pt x="450" y="708"/>
                  </a:lnTo>
                  <a:lnTo>
                    <a:pt x="450" y="714"/>
                  </a:lnTo>
                  <a:lnTo>
                    <a:pt x="450" y="720"/>
                  </a:lnTo>
                  <a:lnTo>
                    <a:pt x="450" y="726"/>
                  </a:lnTo>
                  <a:lnTo>
                    <a:pt x="444" y="726"/>
                  </a:lnTo>
                  <a:lnTo>
                    <a:pt x="438" y="726"/>
                  </a:lnTo>
                  <a:lnTo>
                    <a:pt x="432" y="726"/>
                  </a:lnTo>
                  <a:lnTo>
                    <a:pt x="432" y="732"/>
                  </a:lnTo>
                  <a:lnTo>
                    <a:pt x="438" y="732"/>
                  </a:lnTo>
                  <a:lnTo>
                    <a:pt x="438" y="738"/>
                  </a:lnTo>
                  <a:lnTo>
                    <a:pt x="438" y="744"/>
                  </a:lnTo>
                  <a:lnTo>
                    <a:pt x="438" y="750"/>
                  </a:lnTo>
                  <a:lnTo>
                    <a:pt x="432" y="750"/>
                  </a:lnTo>
                  <a:lnTo>
                    <a:pt x="432" y="756"/>
                  </a:lnTo>
                  <a:lnTo>
                    <a:pt x="426" y="756"/>
                  </a:lnTo>
                  <a:lnTo>
                    <a:pt x="432" y="756"/>
                  </a:lnTo>
                  <a:lnTo>
                    <a:pt x="432" y="762"/>
                  </a:lnTo>
                  <a:lnTo>
                    <a:pt x="426" y="762"/>
                  </a:lnTo>
                  <a:lnTo>
                    <a:pt x="420" y="762"/>
                  </a:lnTo>
                  <a:lnTo>
                    <a:pt x="420" y="768"/>
                  </a:lnTo>
                  <a:lnTo>
                    <a:pt x="414" y="768"/>
                  </a:lnTo>
                  <a:lnTo>
                    <a:pt x="408" y="768"/>
                  </a:lnTo>
                  <a:lnTo>
                    <a:pt x="402" y="768"/>
                  </a:lnTo>
                  <a:lnTo>
                    <a:pt x="396" y="768"/>
                  </a:lnTo>
                  <a:lnTo>
                    <a:pt x="396" y="774"/>
                  </a:lnTo>
                  <a:lnTo>
                    <a:pt x="390" y="774"/>
                  </a:lnTo>
                  <a:lnTo>
                    <a:pt x="384" y="774"/>
                  </a:lnTo>
                  <a:lnTo>
                    <a:pt x="384" y="780"/>
                  </a:lnTo>
                  <a:lnTo>
                    <a:pt x="384" y="774"/>
                  </a:lnTo>
                  <a:lnTo>
                    <a:pt x="384" y="780"/>
                  </a:lnTo>
                  <a:lnTo>
                    <a:pt x="390" y="780"/>
                  </a:lnTo>
                  <a:lnTo>
                    <a:pt x="390" y="786"/>
                  </a:lnTo>
                  <a:lnTo>
                    <a:pt x="390" y="792"/>
                  </a:lnTo>
                  <a:lnTo>
                    <a:pt x="390" y="786"/>
                  </a:lnTo>
                  <a:lnTo>
                    <a:pt x="390" y="792"/>
                  </a:lnTo>
                  <a:lnTo>
                    <a:pt x="396" y="792"/>
                  </a:lnTo>
                  <a:lnTo>
                    <a:pt x="396" y="798"/>
                  </a:lnTo>
                  <a:lnTo>
                    <a:pt x="396" y="804"/>
                  </a:lnTo>
                  <a:lnTo>
                    <a:pt x="390" y="804"/>
                  </a:lnTo>
                  <a:lnTo>
                    <a:pt x="390" y="810"/>
                  </a:lnTo>
                  <a:lnTo>
                    <a:pt x="390" y="816"/>
                  </a:lnTo>
                  <a:lnTo>
                    <a:pt x="384" y="816"/>
                  </a:lnTo>
                  <a:lnTo>
                    <a:pt x="378" y="816"/>
                  </a:lnTo>
                  <a:lnTo>
                    <a:pt x="378" y="822"/>
                  </a:lnTo>
                  <a:lnTo>
                    <a:pt x="378" y="828"/>
                  </a:lnTo>
                  <a:lnTo>
                    <a:pt x="384" y="828"/>
                  </a:lnTo>
                  <a:lnTo>
                    <a:pt x="384" y="834"/>
                  </a:lnTo>
                  <a:lnTo>
                    <a:pt x="378" y="834"/>
                  </a:lnTo>
                  <a:lnTo>
                    <a:pt x="378" y="840"/>
                  </a:lnTo>
                  <a:lnTo>
                    <a:pt x="378" y="846"/>
                  </a:lnTo>
                  <a:lnTo>
                    <a:pt x="378" y="852"/>
                  </a:lnTo>
                  <a:lnTo>
                    <a:pt x="378" y="858"/>
                  </a:lnTo>
                  <a:lnTo>
                    <a:pt x="378" y="852"/>
                  </a:lnTo>
                  <a:lnTo>
                    <a:pt x="372" y="852"/>
                  </a:lnTo>
                  <a:lnTo>
                    <a:pt x="366" y="852"/>
                  </a:lnTo>
                  <a:lnTo>
                    <a:pt x="366" y="858"/>
                  </a:lnTo>
                  <a:lnTo>
                    <a:pt x="360" y="858"/>
                  </a:lnTo>
                  <a:lnTo>
                    <a:pt x="354" y="858"/>
                  </a:lnTo>
                  <a:lnTo>
                    <a:pt x="354" y="864"/>
                  </a:lnTo>
                  <a:lnTo>
                    <a:pt x="354" y="870"/>
                  </a:lnTo>
                  <a:lnTo>
                    <a:pt x="348" y="870"/>
                  </a:lnTo>
                  <a:lnTo>
                    <a:pt x="342" y="870"/>
                  </a:lnTo>
                  <a:lnTo>
                    <a:pt x="342" y="864"/>
                  </a:lnTo>
                  <a:lnTo>
                    <a:pt x="336" y="864"/>
                  </a:lnTo>
                  <a:lnTo>
                    <a:pt x="342" y="864"/>
                  </a:lnTo>
                  <a:lnTo>
                    <a:pt x="342" y="858"/>
                  </a:lnTo>
                  <a:lnTo>
                    <a:pt x="342" y="852"/>
                  </a:lnTo>
                  <a:lnTo>
                    <a:pt x="336" y="852"/>
                  </a:lnTo>
                  <a:lnTo>
                    <a:pt x="336" y="846"/>
                  </a:lnTo>
                  <a:lnTo>
                    <a:pt x="342" y="846"/>
                  </a:lnTo>
                  <a:lnTo>
                    <a:pt x="336" y="846"/>
                  </a:lnTo>
                  <a:lnTo>
                    <a:pt x="336" y="840"/>
                  </a:lnTo>
                  <a:lnTo>
                    <a:pt x="330" y="840"/>
                  </a:lnTo>
                  <a:lnTo>
                    <a:pt x="324" y="840"/>
                  </a:lnTo>
                  <a:lnTo>
                    <a:pt x="330" y="846"/>
                  </a:lnTo>
                  <a:lnTo>
                    <a:pt x="324" y="846"/>
                  </a:lnTo>
                  <a:lnTo>
                    <a:pt x="318" y="846"/>
                  </a:lnTo>
                  <a:lnTo>
                    <a:pt x="318" y="840"/>
                  </a:lnTo>
                  <a:lnTo>
                    <a:pt x="312" y="840"/>
                  </a:lnTo>
                  <a:lnTo>
                    <a:pt x="312" y="846"/>
                  </a:lnTo>
                  <a:lnTo>
                    <a:pt x="312" y="852"/>
                  </a:lnTo>
                  <a:lnTo>
                    <a:pt x="318" y="852"/>
                  </a:lnTo>
                  <a:lnTo>
                    <a:pt x="318" y="858"/>
                  </a:lnTo>
                  <a:lnTo>
                    <a:pt x="312" y="858"/>
                  </a:lnTo>
                  <a:lnTo>
                    <a:pt x="306" y="858"/>
                  </a:lnTo>
                  <a:lnTo>
                    <a:pt x="300" y="858"/>
                  </a:lnTo>
                  <a:lnTo>
                    <a:pt x="294" y="858"/>
                  </a:lnTo>
                  <a:lnTo>
                    <a:pt x="294" y="864"/>
                  </a:lnTo>
                  <a:lnTo>
                    <a:pt x="294" y="870"/>
                  </a:lnTo>
                  <a:lnTo>
                    <a:pt x="288" y="870"/>
                  </a:lnTo>
                  <a:lnTo>
                    <a:pt x="288" y="864"/>
                  </a:lnTo>
                  <a:lnTo>
                    <a:pt x="282" y="864"/>
                  </a:lnTo>
                  <a:lnTo>
                    <a:pt x="276" y="864"/>
                  </a:lnTo>
                  <a:lnTo>
                    <a:pt x="276" y="858"/>
                  </a:lnTo>
                  <a:lnTo>
                    <a:pt x="270" y="858"/>
                  </a:lnTo>
                  <a:lnTo>
                    <a:pt x="270" y="852"/>
                  </a:lnTo>
                  <a:lnTo>
                    <a:pt x="264" y="852"/>
                  </a:lnTo>
                  <a:lnTo>
                    <a:pt x="258" y="852"/>
                  </a:lnTo>
                  <a:lnTo>
                    <a:pt x="258" y="858"/>
                  </a:lnTo>
                  <a:lnTo>
                    <a:pt x="252" y="858"/>
                  </a:lnTo>
                  <a:lnTo>
                    <a:pt x="252" y="864"/>
                  </a:lnTo>
                  <a:lnTo>
                    <a:pt x="246" y="864"/>
                  </a:lnTo>
                  <a:lnTo>
                    <a:pt x="246" y="870"/>
                  </a:lnTo>
                  <a:lnTo>
                    <a:pt x="240" y="870"/>
                  </a:lnTo>
                  <a:lnTo>
                    <a:pt x="240" y="864"/>
                  </a:lnTo>
                  <a:lnTo>
                    <a:pt x="240" y="858"/>
                  </a:lnTo>
                  <a:lnTo>
                    <a:pt x="234" y="858"/>
                  </a:lnTo>
                  <a:lnTo>
                    <a:pt x="228" y="858"/>
                  </a:lnTo>
                  <a:lnTo>
                    <a:pt x="228" y="852"/>
                  </a:lnTo>
                  <a:lnTo>
                    <a:pt x="222" y="852"/>
                  </a:lnTo>
                  <a:lnTo>
                    <a:pt x="222" y="846"/>
                  </a:lnTo>
                  <a:lnTo>
                    <a:pt x="222" y="840"/>
                  </a:lnTo>
                  <a:lnTo>
                    <a:pt x="222" y="834"/>
                  </a:lnTo>
                  <a:lnTo>
                    <a:pt x="222" y="828"/>
                  </a:lnTo>
                  <a:lnTo>
                    <a:pt x="222" y="822"/>
                  </a:lnTo>
                  <a:lnTo>
                    <a:pt x="216" y="822"/>
                  </a:lnTo>
                  <a:lnTo>
                    <a:pt x="210" y="822"/>
                  </a:lnTo>
                  <a:lnTo>
                    <a:pt x="210" y="828"/>
                  </a:lnTo>
                  <a:lnTo>
                    <a:pt x="204" y="828"/>
                  </a:lnTo>
                  <a:lnTo>
                    <a:pt x="204" y="822"/>
                  </a:lnTo>
                  <a:lnTo>
                    <a:pt x="204" y="816"/>
                  </a:lnTo>
                  <a:lnTo>
                    <a:pt x="210" y="816"/>
                  </a:lnTo>
                  <a:lnTo>
                    <a:pt x="210" y="810"/>
                  </a:lnTo>
                  <a:lnTo>
                    <a:pt x="210" y="804"/>
                  </a:lnTo>
                  <a:lnTo>
                    <a:pt x="216" y="804"/>
                  </a:lnTo>
                  <a:lnTo>
                    <a:pt x="216" y="810"/>
                  </a:lnTo>
                  <a:lnTo>
                    <a:pt x="216" y="804"/>
                  </a:lnTo>
                  <a:lnTo>
                    <a:pt x="210" y="804"/>
                  </a:lnTo>
                  <a:lnTo>
                    <a:pt x="210" y="798"/>
                  </a:lnTo>
                  <a:lnTo>
                    <a:pt x="204" y="798"/>
                  </a:lnTo>
                  <a:lnTo>
                    <a:pt x="204" y="792"/>
                  </a:lnTo>
                  <a:lnTo>
                    <a:pt x="198" y="792"/>
                  </a:lnTo>
                  <a:lnTo>
                    <a:pt x="198" y="786"/>
                  </a:lnTo>
                  <a:lnTo>
                    <a:pt x="204" y="786"/>
                  </a:lnTo>
                  <a:lnTo>
                    <a:pt x="198" y="786"/>
                  </a:lnTo>
                  <a:lnTo>
                    <a:pt x="192" y="786"/>
                  </a:lnTo>
                  <a:lnTo>
                    <a:pt x="192" y="780"/>
                  </a:lnTo>
                  <a:lnTo>
                    <a:pt x="192" y="774"/>
                  </a:lnTo>
                  <a:lnTo>
                    <a:pt x="192" y="768"/>
                  </a:lnTo>
                  <a:lnTo>
                    <a:pt x="192" y="762"/>
                  </a:lnTo>
                  <a:lnTo>
                    <a:pt x="192" y="768"/>
                  </a:lnTo>
                  <a:lnTo>
                    <a:pt x="192" y="762"/>
                  </a:lnTo>
                  <a:lnTo>
                    <a:pt x="186" y="762"/>
                  </a:lnTo>
                  <a:lnTo>
                    <a:pt x="192" y="756"/>
                  </a:lnTo>
                  <a:lnTo>
                    <a:pt x="186" y="756"/>
                  </a:lnTo>
                  <a:lnTo>
                    <a:pt x="186" y="750"/>
                  </a:lnTo>
                  <a:lnTo>
                    <a:pt x="186" y="744"/>
                  </a:lnTo>
                  <a:lnTo>
                    <a:pt x="180" y="744"/>
                  </a:lnTo>
                  <a:lnTo>
                    <a:pt x="180" y="738"/>
                  </a:lnTo>
                  <a:lnTo>
                    <a:pt x="174" y="738"/>
                  </a:lnTo>
                  <a:lnTo>
                    <a:pt x="168" y="738"/>
                  </a:lnTo>
                  <a:lnTo>
                    <a:pt x="162" y="738"/>
                  </a:lnTo>
                  <a:lnTo>
                    <a:pt x="162" y="744"/>
                  </a:lnTo>
                  <a:lnTo>
                    <a:pt x="162" y="738"/>
                  </a:lnTo>
                  <a:lnTo>
                    <a:pt x="162" y="744"/>
                  </a:lnTo>
                  <a:lnTo>
                    <a:pt x="168" y="744"/>
                  </a:lnTo>
                  <a:lnTo>
                    <a:pt x="168" y="750"/>
                  </a:lnTo>
                  <a:lnTo>
                    <a:pt x="162" y="750"/>
                  </a:lnTo>
                  <a:lnTo>
                    <a:pt x="156" y="750"/>
                  </a:lnTo>
                  <a:lnTo>
                    <a:pt x="156" y="756"/>
                  </a:lnTo>
                  <a:lnTo>
                    <a:pt x="150" y="756"/>
                  </a:lnTo>
                  <a:lnTo>
                    <a:pt x="144" y="756"/>
                  </a:lnTo>
                  <a:lnTo>
                    <a:pt x="144" y="762"/>
                  </a:lnTo>
                  <a:lnTo>
                    <a:pt x="144" y="768"/>
                  </a:lnTo>
                  <a:lnTo>
                    <a:pt x="138" y="762"/>
                  </a:lnTo>
                  <a:lnTo>
                    <a:pt x="132" y="762"/>
                  </a:lnTo>
                  <a:lnTo>
                    <a:pt x="126" y="762"/>
                  </a:lnTo>
                  <a:lnTo>
                    <a:pt x="126" y="756"/>
                  </a:lnTo>
                  <a:lnTo>
                    <a:pt x="120" y="756"/>
                  </a:lnTo>
                  <a:lnTo>
                    <a:pt x="114" y="756"/>
                  </a:lnTo>
                  <a:lnTo>
                    <a:pt x="108" y="756"/>
                  </a:lnTo>
                  <a:lnTo>
                    <a:pt x="102" y="756"/>
                  </a:lnTo>
                  <a:lnTo>
                    <a:pt x="102" y="762"/>
                  </a:lnTo>
                  <a:lnTo>
                    <a:pt x="96" y="762"/>
                  </a:lnTo>
                  <a:lnTo>
                    <a:pt x="102" y="762"/>
                  </a:lnTo>
                  <a:lnTo>
                    <a:pt x="96" y="762"/>
                  </a:lnTo>
                  <a:lnTo>
                    <a:pt x="96" y="768"/>
                  </a:lnTo>
                  <a:lnTo>
                    <a:pt x="96" y="762"/>
                  </a:lnTo>
                  <a:lnTo>
                    <a:pt x="96" y="768"/>
                  </a:lnTo>
                  <a:lnTo>
                    <a:pt x="90" y="768"/>
                  </a:lnTo>
                  <a:lnTo>
                    <a:pt x="90" y="774"/>
                  </a:lnTo>
                  <a:lnTo>
                    <a:pt x="84" y="774"/>
                  </a:lnTo>
                  <a:lnTo>
                    <a:pt x="84" y="768"/>
                  </a:lnTo>
                  <a:lnTo>
                    <a:pt x="84" y="762"/>
                  </a:lnTo>
                  <a:lnTo>
                    <a:pt x="78" y="762"/>
                  </a:lnTo>
                  <a:lnTo>
                    <a:pt x="78" y="756"/>
                  </a:lnTo>
                  <a:lnTo>
                    <a:pt x="72" y="756"/>
                  </a:lnTo>
                  <a:lnTo>
                    <a:pt x="66" y="756"/>
                  </a:lnTo>
                  <a:lnTo>
                    <a:pt x="66" y="762"/>
                  </a:lnTo>
                  <a:lnTo>
                    <a:pt x="60" y="762"/>
                  </a:lnTo>
                  <a:lnTo>
                    <a:pt x="60" y="768"/>
                  </a:lnTo>
                  <a:lnTo>
                    <a:pt x="54" y="768"/>
                  </a:lnTo>
                  <a:lnTo>
                    <a:pt x="54" y="762"/>
                  </a:lnTo>
                  <a:lnTo>
                    <a:pt x="48" y="762"/>
                  </a:lnTo>
                  <a:lnTo>
                    <a:pt x="48" y="756"/>
                  </a:lnTo>
                  <a:lnTo>
                    <a:pt x="42" y="756"/>
                  </a:lnTo>
                  <a:lnTo>
                    <a:pt x="48" y="756"/>
                  </a:lnTo>
                  <a:lnTo>
                    <a:pt x="48" y="750"/>
                  </a:lnTo>
                  <a:lnTo>
                    <a:pt x="48" y="744"/>
                  </a:lnTo>
                  <a:lnTo>
                    <a:pt x="54" y="744"/>
                  </a:lnTo>
                  <a:lnTo>
                    <a:pt x="48" y="744"/>
                  </a:lnTo>
                  <a:lnTo>
                    <a:pt x="54" y="744"/>
                  </a:lnTo>
                  <a:lnTo>
                    <a:pt x="48" y="744"/>
                  </a:lnTo>
                  <a:lnTo>
                    <a:pt x="54" y="744"/>
                  </a:lnTo>
                  <a:lnTo>
                    <a:pt x="54" y="738"/>
                  </a:lnTo>
                  <a:lnTo>
                    <a:pt x="48" y="738"/>
                  </a:lnTo>
                  <a:lnTo>
                    <a:pt x="48" y="732"/>
                  </a:lnTo>
                  <a:lnTo>
                    <a:pt x="48" y="726"/>
                  </a:lnTo>
                  <a:lnTo>
                    <a:pt x="54" y="726"/>
                  </a:lnTo>
                  <a:lnTo>
                    <a:pt x="48" y="726"/>
                  </a:lnTo>
                  <a:lnTo>
                    <a:pt x="48" y="720"/>
                  </a:lnTo>
                  <a:lnTo>
                    <a:pt x="48" y="714"/>
                  </a:lnTo>
                  <a:lnTo>
                    <a:pt x="54" y="714"/>
                  </a:lnTo>
                  <a:lnTo>
                    <a:pt x="54" y="708"/>
                  </a:lnTo>
                  <a:lnTo>
                    <a:pt x="48" y="708"/>
                  </a:lnTo>
                  <a:lnTo>
                    <a:pt x="48" y="714"/>
                  </a:lnTo>
                  <a:lnTo>
                    <a:pt x="48" y="708"/>
                  </a:lnTo>
                  <a:lnTo>
                    <a:pt x="48" y="702"/>
                  </a:lnTo>
                  <a:lnTo>
                    <a:pt x="42" y="702"/>
                  </a:lnTo>
                  <a:lnTo>
                    <a:pt x="42" y="696"/>
                  </a:lnTo>
                  <a:lnTo>
                    <a:pt x="42" y="690"/>
                  </a:lnTo>
                  <a:lnTo>
                    <a:pt x="36" y="690"/>
                  </a:lnTo>
                  <a:lnTo>
                    <a:pt x="30" y="690"/>
                  </a:lnTo>
                  <a:lnTo>
                    <a:pt x="30" y="684"/>
                  </a:lnTo>
                  <a:lnTo>
                    <a:pt x="30" y="690"/>
                  </a:lnTo>
                  <a:lnTo>
                    <a:pt x="24" y="690"/>
                  </a:lnTo>
                  <a:lnTo>
                    <a:pt x="24" y="684"/>
                  </a:lnTo>
                  <a:lnTo>
                    <a:pt x="18" y="678"/>
                  </a:lnTo>
                  <a:lnTo>
                    <a:pt x="12" y="672"/>
                  </a:lnTo>
                  <a:lnTo>
                    <a:pt x="12" y="666"/>
                  </a:lnTo>
                  <a:lnTo>
                    <a:pt x="18" y="666"/>
                  </a:lnTo>
                  <a:lnTo>
                    <a:pt x="18" y="660"/>
                  </a:lnTo>
                  <a:lnTo>
                    <a:pt x="18" y="654"/>
                  </a:lnTo>
                  <a:lnTo>
                    <a:pt x="18" y="648"/>
                  </a:lnTo>
                  <a:lnTo>
                    <a:pt x="18" y="642"/>
                  </a:lnTo>
                  <a:lnTo>
                    <a:pt x="18" y="636"/>
                  </a:lnTo>
                  <a:lnTo>
                    <a:pt x="12" y="636"/>
                  </a:lnTo>
                  <a:lnTo>
                    <a:pt x="12" y="630"/>
                  </a:lnTo>
                  <a:lnTo>
                    <a:pt x="6" y="630"/>
                  </a:lnTo>
                  <a:lnTo>
                    <a:pt x="6" y="624"/>
                  </a:lnTo>
                  <a:lnTo>
                    <a:pt x="6" y="618"/>
                  </a:lnTo>
                  <a:lnTo>
                    <a:pt x="6" y="612"/>
                  </a:lnTo>
                  <a:lnTo>
                    <a:pt x="0" y="612"/>
                  </a:lnTo>
                  <a:lnTo>
                    <a:pt x="0" y="606"/>
                  </a:lnTo>
                  <a:lnTo>
                    <a:pt x="6" y="606"/>
                  </a:lnTo>
                  <a:lnTo>
                    <a:pt x="12" y="606"/>
                  </a:lnTo>
                  <a:lnTo>
                    <a:pt x="12" y="612"/>
                  </a:lnTo>
                  <a:lnTo>
                    <a:pt x="12" y="606"/>
                  </a:lnTo>
                  <a:lnTo>
                    <a:pt x="18" y="606"/>
                  </a:lnTo>
                  <a:lnTo>
                    <a:pt x="24" y="606"/>
                  </a:lnTo>
                  <a:lnTo>
                    <a:pt x="24" y="600"/>
                  </a:lnTo>
                  <a:lnTo>
                    <a:pt x="30" y="600"/>
                  </a:lnTo>
                  <a:lnTo>
                    <a:pt x="24" y="600"/>
                  </a:lnTo>
                  <a:lnTo>
                    <a:pt x="30" y="594"/>
                  </a:lnTo>
                  <a:lnTo>
                    <a:pt x="24" y="594"/>
                  </a:lnTo>
                  <a:lnTo>
                    <a:pt x="24" y="588"/>
                  </a:lnTo>
                  <a:lnTo>
                    <a:pt x="24" y="582"/>
                  </a:lnTo>
                  <a:lnTo>
                    <a:pt x="30" y="582"/>
                  </a:lnTo>
                  <a:lnTo>
                    <a:pt x="30" y="576"/>
                  </a:lnTo>
                  <a:lnTo>
                    <a:pt x="30" y="570"/>
                  </a:lnTo>
                  <a:lnTo>
                    <a:pt x="30" y="564"/>
                  </a:lnTo>
                  <a:lnTo>
                    <a:pt x="36" y="564"/>
                  </a:lnTo>
                  <a:lnTo>
                    <a:pt x="42" y="564"/>
                  </a:lnTo>
                  <a:lnTo>
                    <a:pt x="42" y="558"/>
                  </a:lnTo>
                  <a:lnTo>
                    <a:pt x="48" y="558"/>
                  </a:lnTo>
                  <a:lnTo>
                    <a:pt x="54" y="564"/>
                  </a:lnTo>
                  <a:lnTo>
                    <a:pt x="54" y="570"/>
                  </a:lnTo>
                  <a:lnTo>
                    <a:pt x="60" y="570"/>
                  </a:lnTo>
                  <a:lnTo>
                    <a:pt x="60" y="576"/>
                  </a:lnTo>
                  <a:lnTo>
                    <a:pt x="66" y="576"/>
                  </a:lnTo>
                  <a:lnTo>
                    <a:pt x="72" y="582"/>
                  </a:lnTo>
                  <a:lnTo>
                    <a:pt x="78" y="582"/>
                  </a:lnTo>
                  <a:lnTo>
                    <a:pt x="78" y="588"/>
                  </a:lnTo>
                  <a:lnTo>
                    <a:pt x="78" y="582"/>
                  </a:lnTo>
                  <a:lnTo>
                    <a:pt x="84" y="582"/>
                  </a:lnTo>
                  <a:lnTo>
                    <a:pt x="84" y="576"/>
                  </a:lnTo>
                  <a:lnTo>
                    <a:pt x="90" y="576"/>
                  </a:lnTo>
                  <a:lnTo>
                    <a:pt x="90" y="570"/>
                  </a:lnTo>
                  <a:lnTo>
                    <a:pt x="96" y="570"/>
                  </a:lnTo>
                  <a:lnTo>
                    <a:pt x="102" y="570"/>
                  </a:lnTo>
                  <a:lnTo>
                    <a:pt x="108" y="570"/>
                  </a:lnTo>
                  <a:lnTo>
                    <a:pt x="114" y="570"/>
                  </a:lnTo>
                  <a:lnTo>
                    <a:pt x="120" y="570"/>
                  </a:lnTo>
                  <a:lnTo>
                    <a:pt x="120" y="576"/>
                  </a:lnTo>
                  <a:lnTo>
                    <a:pt x="126" y="576"/>
                  </a:lnTo>
                  <a:lnTo>
                    <a:pt x="132" y="576"/>
                  </a:lnTo>
                  <a:lnTo>
                    <a:pt x="138" y="576"/>
                  </a:lnTo>
                  <a:lnTo>
                    <a:pt x="138" y="570"/>
                  </a:lnTo>
                  <a:lnTo>
                    <a:pt x="144" y="570"/>
                  </a:lnTo>
                  <a:lnTo>
                    <a:pt x="150" y="570"/>
                  </a:lnTo>
                  <a:lnTo>
                    <a:pt x="156" y="570"/>
                  </a:lnTo>
                  <a:lnTo>
                    <a:pt x="162" y="570"/>
                  </a:lnTo>
                  <a:lnTo>
                    <a:pt x="162" y="564"/>
                  </a:lnTo>
                  <a:lnTo>
                    <a:pt x="156" y="558"/>
                  </a:lnTo>
                  <a:lnTo>
                    <a:pt x="162" y="558"/>
                  </a:lnTo>
                  <a:lnTo>
                    <a:pt x="162" y="552"/>
                  </a:lnTo>
                  <a:lnTo>
                    <a:pt x="168" y="558"/>
                  </a:lnTo>
                  <a:lnTo>
                    <a:pt x="162" y="564"/>
                  </a:lnTo>
                  <a:lnTo>
                    <a:pt x="168" y="564"/>
                  </a:lnTo>
                  <a:lnTo>
                    <a:pt x="174" y="564"/>
                  </a:lnTo>
                  <a:lnTo>
                    <a:pt x="180" y="564"/>
                  </a:lnTo>
                  <a:lnTo>
                    <a:pt x="186" y="564"/>
                  </a:lnTo>
                  <a:lnTo>
                    <a:pt x="192" y="564"/>
                  </a:lnTo>
                  <a:lnTo>
                    <a:pt x="198" y="564"/>
                  </a:lnTo>
                  <a:lnTo>
                    <a:pt x="204" y="564"/>
                  </a:lnTo>
                  <a:lnTo>
                    <a:pt x="210" y="564"/>
                  </a:lnTo>
                  <a:lnTo>
                    <a:pt x="216" y="564"/>
                  </a:lnTo>
                  <a:lnTo>
                    <a:pt x="222" y="564"/>
                  </a:lnTo>
                  <a:lnTo>
                    <a:pt x="228" y="564"/>
                  </a:lnTo>
                  <a:lnTo>
                    <a:pt x="234" y="564"/>
                  </a:lnTo>
                  <a:lnTo>
                    <a:pt x="240" y="564"/>
                  </a:lnTo>
                  <a:lnTo>
                    <a:pt x="246" y="564"/>
                  </a:lnTo>
                  <a:lnTo>
                    <a:pt x="252" y="564"/>
                  </a:lnTo>
                  <a:lnTo>
                    <a:pt x="258" y="564"/>
                  </a:lnTo>
                  <a:lnTo>
                    <a:pt x="270" y="564"/>
                  </a:lnTo>
                  <a:lnTo>
                    <a:pt x="276" y="564"/>
                  </a:lnTo>
                  <a:lnTo>
                    <a:pt x="282" y="564"/>
                  </a:lnTo>
                  <a:lnTo>
                    <a:pt x="288" y="564"/>
                  </a:lnTo>
                  <a:lnTo>
                    <a:pt x="300" y="564"/>
                  </a:lnTo>
                  <a:lnTo>
                    <a:pt x="306" y="564"/>
                  </a:lnTo>
                  <a:lnTo>
                    <a:pt x="312" y="564"/>
                  </a:lnTo>
                  <a:lnTo>
                    <a:pt x="318" y="564"/>
                  </a:lnTo>
                  <a:lnTo>
                    <a:pt x="324" y="564"/>
                  </a:lnTo>
                  <a:lnTo>
                    <a:pt x="330" y="564"/>
                  </a:lnTo>
                  <a:lnTo>
                    <a:pt x="336" y="564"/>
                  </a:lnTo>
                  <a:lnTo>
                    <a:pt x="342" y="564"/>
                  </a:lnTo>
                  <a:lnTo>
                    <a:pt x="348" y="564"/>
                  </a:lnTo>
                  <a:lnTo>
                    <a:pt x="354" y="564"/>
                  </a:lnTo>
                  <a:lnTo>
                    <a:pt x="360" y="564"/>
                  </a:lnTo>
                  <a:lnTo>
                    <a:pt x="366" y="564"/>
                  </a:lnTo>
                  <a:lnTo>
                    <a:pt x="372" y="564"/>
                  </a:lnTo>
                  <a:lnTo>
                    <a:pt x="378" y="564"/>
                  </a:lnTo>
                  <a:lnTo>
                    <a:pt x="378" y="558"/>
                  </a:lnTo>
                  <a:lnTo>
                    <a:pt x="378" y="552"/>
                  </a:lnTo>
                  <a:lnTo>
                    <a:pt x="384" y="552"/>
                  </a:lnTo>
                  <a:lnTo>
                    <a:pt x="384" y="546"/>
                  </a:lnTo>
                  <a:lnTo>
                    <a:pt x="384" y="540"/>
                  </a:lnTo>
                  <a:lnTo>
                    <a:pt x="384" y="534"/>
                  </a:lnTo>
                  <a:lnTo>
                    <a:pt x="390" y="516"/>
                  </a:lnTo>
                  <a:lnTo>
                    <a:pt x="372" y="510"/>
                  </a:lnTo>
                  <a:lnTo>
                    <a:pt x="372" y="486"/>
                  </a:lnTo>
                  <a:lnTo>
                    <a:pt x="372" y="480"/>
                  </a:lnTo>
                  <a:lnTo>
                    <a:pt x="366" y="474"/>
                  </a:lnTo>
                  <a:lnTo>
                    <a:pt x="366" y="468"/>
                  </a:lnTo>
                  <a:lnTo>
                    <a:pt x="366" y="462"/>
                  </a:lnTo>
                  <a:lnTo>
                    <a:pt x="366" y="456"/>
                  </a:lnTo>
                  <a:lnTo>
                    <a:pt x="366" y="450"/>
                  </a:lnTo>
                  <a:lnTo>
                    <a:pt x="366" y="444"/>
                  </a:lnTo>
                  <a:lnTo>
                    <a:pt x="366" y="438"/>
                  </a:lnTo>
                  <a:lnTo>
                    <a:pt x="366" y="432"/>
                  </a:lnTo>
                  <a:lnTo>
                    <a:pt x="366" y="426"/>
                  </a:lnTo>
                  <a:lnTo>
                    <a:pt x="366" y="420"/>
                  </a:lnTo>
                  <a:lnTo>
                    <a:pt x="360" y="414"/>
                  </a:lnTo>
                  <a:lnTo>
                    <a:pt x="360" y="408"/>
                  </a:lnTo>
                  <a:lnTo>
                    <a:pt x="360" y="402"/>
                  </a:lnTo>
                  <a:lnTo>
                    <a:pt x="360" y="396"/>
                  </a:lnTo>
                  <a:lnTo>
                    <a:pt x="360" y="390"/>
                  </a:lnTo>
                  <a:lnTo>
                    <a:pt x="360" y="384"/>
                  </a:lnTo>
                  <a:lnTo>
                    <a:pt x="360" y="378"/>
                  </a:lnTo>
                  <a:lnTo>
                    <a:pt x="360" y="372"/>
                  </a:lnTo>
                  <a:lnTo>
                    <a:pt x="360" y="366"/>
                  </a:lnTo>
                  <a:lnTo>
                    <a:pt x="360" y="360"/>
                  </a:lnTo>
                  <a:lnTo>
                    <a:pt x="354" y="360"/>
                  </a:lnTo>
                  <a:lnTo>
                    <a:pt x="354" y="354"/>
                  </a:lnTo>
                  <a:lnTo>
                    <a:pt x="354" y="348"/>
                  </a:lnTo>
                  <a:lnTo>
                    <a:pt x="354" y="342"/>
                  </a:lnTo>
                  <a:lnTo>
                    <a:pt x="354" y="336"/>
                  </a:lnTo>
                  <a:lnTo>
                    <a:pt x="354" y="330"/>
                  </a:lnTo>
                  <a:lnTo>
                    <a:pt x="354" y="324"/>
                  </a:lnTo>
                  <a:lnTo>
                    <a:pt x="354" y="318"/>
                  </a:lnTo>
                  <a:lnTo>
                    <a:pt x="354" y="312"/>
                  </a:lnTo>
                  <a:lnTo>
                    <a:pt x="354" y="306"/>
                  </a:lnTo>
                  <a:lnTo>
                    <a:pt x="348" y="306"/>
                  </a:lnTo>
                  <a:lnTo>
                    <a:pt x="348" y="300"/>
                  </a:lnTo>
                  <a:lnTo>
                    <a:pt x="348" y="294"/>
                  </a:lnTo>
                  <a:lnTo>
                    <a:pt x="348" y="282"/>
                  </a:lnTo>
                  <a:lnTo>
                    <a:pt x="348" y="270"/>
                  </a:lnTo>
                  <a:lnTo>
                    <a:pt x="348" y="264"/>
                  </a:lnTo>
                  <a:lnTo>
                    <a:pt x="348" y="258"/>
                  </a:lnTo>
                  <a:lnTo>
                    <a:pt x="348" y="252"/>
                  </a:lnTo>
                  <a:lnTo>
                    <a:pt x="342" y="246"/>
                  </a:lnTo>
                  <a:lnTo>
                    <a:pt x="342" y="240"/>
                  </a:lnTo>
                  <a:lnTo>
                    <a:pt x="342" y="234"/>
                  </a:lnTo>
                  <a:lnTo>
                    <a:pt x="342" y="228"/>
                  </a:lnTo>
                  <a:lnTo>
                    <a:pt x="342" y="222"/>
                  </a:lnTo>
                  <a:lnTo>
                    <a:pt x="342" y="216"/>
                  </a:lnTo>
                  <a:lnTo>
                    <a:pt x="342" y="210"/>
                  </a:lnTo>
                  <a:lnTo>
                    <a:pt x="342" y="204"/>
                  </a:lnTo>
                  <a:lnTo>
                    <a:pt x="342" y="198"/>
                  </a:lnTo>
                  <a:lnTo>
                    <a:pt x="342" y="192"/>
                  </a:lnTo>
                  <a:lnTo>
                    <a:pt x="336" y="192"/>
                  </a:lnTo>
                  <a:lnTo>
                    <a:pt x="336" y="186"/>
                  </a:lnTo>
                  <a:lnTo>
                    <a:pt x="336" y="180"/>
                  </a:lnTo>
                  <a:lnTo>
                    <a:pt x="336" y="174"/>
                  </a:lnTo>
                  <a:lnTo>
                    <a:pt x="336" y="168"/>
                  </a:lnTo>
                  <a:lnTo>
                    <a:pt x="336" y="162"/>
                  </a:lnTo>
                  <a:lnTo>
                    <a:pt x="336" y="156"/>
                  </a:lnTo>
                  <a:lnTo>
                    <a:pt x="336" y="150"/>
                  </a:lnTo>
                  <a:lnTo>
                    <a:pt x="336" y="144"/>
                  </a:lnTo>
                  <a:lnTo>
                    <a:pt x="336" y="138"/>
                  </a:lnTo>
                  <a:lnTo>
                    <a:pt x="330" y="138"/>
                  </a:lnTo>
                  <a:lnTo>
                    <a:pt x="330" y="132"/>
                  </a:lnTo>
                  <a:lnTo>
                    <a:pt x="330" y="126"/>
                  </a:lnTo>
                  <a:lnTo>
                    <a:pt x="330" y="120"/>
                  </a:lnTo>
                  <a:lnTo>
                    <a:pt x="330" y="114"/>
                  </a:lnTo>
                  <a:lnTo>
                    <a:pt x="330" y="108"/>
                  </a:lnTo>
                  <a:lnTo>
                    <a:pt x="330" y="102"/>
                  </a:lnTo>
                  <a:lnTo>
                    <a:pt x="330" y="96"/>
                  </a:lnTo>
                  <a:lnTo>
                    <a:pt x="330" y="90"/>
                  </a:lnTo>
                  <a:lnTo>
                    <a:pt x="330" y="84"/>
                  </a:lnTo>
                  <a:lnTo>
                    <a:pt x="324" y="78"/>
                  </a:lnTo>
                  <a:lnTo>
                    <a:pt x="324" y="72"/>
                  </a:lnTo>
                  <a:lnTo>
                    <a:pt x="324" y="66"/>
                  </a:lnTo>
                  <a:lnTo>
                    <a:pt x="324" y="60"/>
                  </a:lnTo>
                  <a:lnTo>
                    <a:pt x="324" y="54"/>
                  </a:lnTo>
                  <a:lnTo>
                    <a:pt x="324" y="42"/>
                  </a:lnTo>
                  <a:lnTo>
                    <a:pt x="324" y="36"/>
                  </a:lnTo>
                  <a:lnTo>
                    <a:pt x="318" y="6"/>
                  </a:lnTo>
                  <a:lnTo>
                    <a:pt x="318" y="0"/>
                  </a:lnTo>
                  <a:lnTo>
                    <a:pt x="324" y="0"/>
                  </a:lnTo>
                  <a:lnTo>
                    <a:pt x="330" y="0"/>
                  </a:lnTo>
                  <a:lnTo>
                    <a:pt x="336" y="0"/>
                  </a:lnTo>
                  <a:lnTo>
                    <a:pt x="342" y="0"/>
                  </a:lnTo>
                  <a:lnTo>
                    <a:pt x="348" y="0"/>
                  </a:lnTo>
                  <a:lnTo>
                    <a:pt x="354" y="0"/>
                  </a:lnTo>
                  <a:lnTo>
                    <a:pt x="360" y="0"/>
                  </a:lnTo>
                  <a:lnTo>
                    <a:pt x="366" y="0"/>
                  </a:lnTo>
                  <a:lnTo>
                    <a:pt x="372" y="0"/>
                  </a:lnTo>
                  <a:lnTo>
                    <a:pt x="378" y="0"/>
                  </a:lnTo>
                  <a:lnTo>
                    <a:pt x="384" y="0"/>
                  </a:lnTo>
                  <a:lnTo>
                    <a:pt x="390" y="0"/>
                  </a:lnTo>
                  <a:lnTo>
                    <a:pt x="396" y="0"/>
                  </a:lnTo>
                  <a:lnTo>
                    <a:pt x="402" y="0"/>
                  </a:lnTo>
                  <a:lnTo>
                    <a:pt x="408" y="0"/>
                  </a:lnTo>
                  <a:lnTo>
                    <a:pt x="414" y="0"/>
                  </a:lnTo>
                  <a:lnTo>
                    <a:pt x="420" y="6"/>
                  </a:lnTo>
                  <a:lnTo>
                    <a:pt x="426" y="6"/>
                  </a:lnTo>
                  <a:lnTo>
                    <a:pt x="426" y="12"/>
                  </a:lnTo>
                  <a:lnTo>
                    <a:pt x="432" y="12"/>
                  </a:lnTo>
                  <a:lnTo>
                    <a:pt x="438" y="18"/>
                  </a:lnTo>
                  <a:lnTo>
                    <a:pt x="444" y="24"/>
                  </a:lnTo>
                  <a:lnTo>
                    <a:pt x="450" y="24"/>
                  </a:lnTo>
                  <a:lnTo>
                    <a:pt x="456" y="30"/>
                  </a:lnTo>
                  <a:lnTo>
                    <a:pt x="462" y="36"/>
                  </a:lnTo>
                  <a:lnTo>
                    <a:pt x="468" y="36"/>
                  </a:lnTo>
                  <a:lnTo>
                    <a:pt x="474" y="42"/>
                  </a:lnTo>
                  <a:lnTo>
                    <a:pt x="480" y="42"/>
                  </a:lnTo>
                  <a:lnTo>
                    <a:pt x="480" y="48"/>
                  </a:lnTo>
                  <a:lnTo>
                    <a:pt x="486" y="48"/>
                  </a:lnTo>
                  <a:lnTo>
                    <a:pt x="486" y="54"/>
                  </a:lnTo>
                  <a:lnTo>
                    <a:pt x="492" y="54"/>
                  </a:lnTo>
                  <a:lnTo>
                    <a:pt x="498" y="60"/>
                  </a:lnTo>
                  <a:lnTo>
                    <a:pt x="504" y="60"/>
                  </a:lnTo>
                  <a:lnTo>
                    <a:pt x="504" y="66"/>
                  </a:lnTo>
                  <a:lnTo>
                    <a:pt x="510" y="66"/>
                  </a:lnTo>
                  <a:lnTo>
                    <a:pt x="516" y="72"/>
                  </a:lnTo>
                  <a:lnTo>
                    <a:pt x="522" y="72"/>
                  </a:lnTo>
                  <a:lnTo>
                    <a:pt x="522" y="78"/>
                  </a:lnTo>
                  <a:lnTo>
                    <a:pt x="528" y="78"/>
                  </a:lnTo>
                  <a:lnTo>
                    <a:pt x="534" y="84"/>
                  </a:lnTo>
                  <a:lnTo>
                    <a:pt x="540" y="84"/>
                  </a:lnTo>
                  <a:lnTo>
                    <a:pt x="540" y="90"/>
                  </a:lnTo>
                  <a:lnTo>
                    <a:pt x="546" y="90"/>
                  </a:lnTo>
                  <a:lnTo>
                    <a:pt x="546" y="96"/>
                  </a:lnTo>
                  <a:lnTo>
                    <a:pt x="552" y="96"/>
                  </a:lnTo>
                  <a:lnTo>
                    <a:pt x="558" y="96"/>
                  </a:lnTo>
                  <a:lnTo>
                    <a:pt x="558" y="102"/>
                  </a:lnTo>
                  <a:lnTo>
                    <a:pt x="564" y="102"/>
                  </a:lnTo>
                  <a:lnTo>
                    <a:pt x="564" y="108"/>
                  </a:lnTo>
                  <a:lnTo>
                    <a:pt x="570" y="108"/>
                  </a:lnTo>
                  <a:lnTo>
                    <a:pt x="576" y="114"/>
                  </a:lnTo>
                  <a:lnTo>
                    <a:pt x="582" y="114"/>
                  </a:lnTo>
                  <a:lnTo>
                    <a:pt x="582" y="120"/>
                  </a:lnTo>
                  <a:lnTo>
                    <a:pt x="588" y="120"/>
                  </a:lnTo>
                  <a:lnTo>
                    <a:pt x="588" y="126"/>
                  </a:lnTo>
                  <a:lnTo>
                    <a:pt x="594" y="126"/>
                  </a:lnTo>
                  <a:lnTo>
                    <a:pt x="600" y="132"/>
                  </a:lnTo>
                  <a:lnTo>
                    <a:pt x="606" y="132"/>
                  </a:lnTo>
                  <a:lnTo>
                    <a:pt x="606" y="138"/>
                  </a:lnTo>
                  <a:lnTo>
                    <a:pt x="612" y="138"/>
                  </a:lnTo>
                  <a:lnTo>
                    <a:pt x="618" y="144"/>
                  </a:lnTo>
                  <a:lnTo>
                    <a:pt x="624" y="144"/>
                  </a:lnTo>
                  <a:lnTo>
                    <a:pt x="624" y="150"/>
                  </a:lnTo>
                  <a:lnTo>
                    <a:pt x="630" y="150"/>
                  </a:lnTo>
                  <a:lnTo>
                    <a:pt x="636" y="156"/>
                  </a:lnTo>
                  <a:lnTo>
                    <a:pt x="642" y="156"/>
                  </a:lnTo>
                  <a:lnTo>
                    <a:pt x="642" y="162"/>
                  </a:lnTo>
                  <a:lnTo>
                    <a:pt x="648" y="162"/>
                  </a:lnTo>
                  <a:lnTo>
                    <a:pt x="648" y="168"/>
                  </a:lnTo>
                  <a:lnTo>
                    <a:pt x="654" y="168"/>
                  </a:lnTo>
                  <a:lnTo>
                    <a:pt x="660" y="168"/>
                  </a:lnTo>
                  <a:lnTo>
                    <a:pt x="660" y="174"/>
                  </a:lnTo>
                  <a:lnTo>
                    <a:pt x="666" y="174"/>
                  </a:lnTo>
                  <a:lnTo>
                    <a:pt x="666" y="180"/>
                  </a:lnTo>
                  <a:lnTo>
                    <a:pt x="672" y="180"/>
                  </a:lnTo>
                  <a:lnTo>
                    <a:pt x="678" y="180"/>
                  </a:lnTo>
                  <a:lnTo>
                    <a:pt x="678" y="186"/>
                  </a:lnTo>
                  <a:lnTo>
                    <a:pt x="684" y="186"/>
                  </a:lnTo>
                  <a:lnTo>
                    <a:pt x="684" y="192"/>
                  </a:lnTo>
                  <a:lnTo>
                    <a:pt x="690" y="198"/>
                  </a:lnTo>
                  <a:lnTo>
                    <a:pt x="696" y="198"/>
                  </a:lnTo>
                  <a:lnTo>
                    <a:pt x="696" y="204"/>
                  </a:lnTo>
                  <a:lnTo>
                    <a:pt x="702" y="204"/>
                  </a:lnTo>
                  <a:lnTo>
                    <a:pt x="708" y="210"/>
                  </a:lnTo>
                  <a:lnTo>
                    <a:pt x="714" y="210"/>
                  </a:lnTo>
                  <a:lnTo>
                    <a:pt x="714" y="216"/>
                  </a:lnTo>
                  <a:lnTo>
                    <a:pt x="720" y="216"/>
                  </a:lnTo>
                  <a:lnTo>
                    <a:pt x="726" y="222"/>
                  </a:lnTo>
                  <a:lnTo>
                    <a:pt x="732" y="222"/>
                  </a:lnTo>
                  <a:lnTo>
                    <a:pt x="738" y="228"/>
                  </a:lnTo>
                  <a:lnTo>
                    <a:pt x="744" y="234"/>
                  </a:lnTo>
                  <a:lnTo>
                    <a:pt x="750" y="234"/>
                  </a:lnTo>
                  <a:lnTo>
                    <a:pt x="750" y="240"/>
                  </a:lnTo>
                  <a:lnTo>
                    <a:pt x="750" y="246"/>
                  </a:lnTo>
                  <a:lnTo>
                    <a:pt x="750" y="252"/>
                  </a:lnTo>
                  <a:lnTo>
                    <a:pt x="750" y="258"/>
                  </a:lnTo>
                  <a:lnTo>
                    <a:pt x="756" y="258"/>
                  </a:lnTo>
                  <a:lnTo>
                    <a:pt x="762" y="258"/>
                  </a:lnTo>
                  <a:lnTo>
                    <a:pt x="762" y="264"/>
                  </a:lnTo>
                  <a:lnTo>
                    <a:pt x="768" y="264"/>
                  </a:lnTo>
                  <a:lnTo>
                    <a:pt x="774" y="264"/>
                  </a:lnTo>
                  <a:lnTo>
                    <a:pt x="774" y="270"/>
                  </a:lnTo>
                  <a:lnTo>
                    <a:pt x="774" y="276"/>
                  </a:lnTo>
                  <a:lnTo>
                    <a:pt x="780" y="276"/>
                  </a:lnTo>
                  <a:lnTo>
                    <a:pt x="780" y="282"/>
                  </a:lnTo>
                  <a:lnTo>
                    <a:pt x="786" y="282"/>
                  </a:lnTo>
                  <a:lnTo>
                    <a:pt x="786" y="288"/>
                  </a:lnTo>
                  <a:lnTo>
                    <a:pt x="786" y="282"/>
                  </a:lnTo>
                  <a:lnTo>
                    <a:pt x="786" y="288"/>
                  </a:lnTo>
                  <a:lnTo>
                    <a:pt x="792" y="288"/>
                  </a:lnTo>
                  <a:lnTo>
                    <a:pt x="798" y="288"/>
                  </a:lnTo>
                  <a:lnTo>
                    <a:pt x="804" y="288"/>
                  </a:lnTo>
                  <a:lnTo>
                    <a:pt x="810" y="288"/>
                  </a:lnTo>
                  <a:lnTo>
                    <a:pt x="816" y="288"/>
                  </a:lnTo>
                  <a:lnTo>
                    <a:pt x="816" y="294"/>
                  </a:lnTo>
                  <a:lnTo>
                    <a:pt x="816" y="300"/>
                  </a:lnTo>
                  <a:lnTo>
                    <a:pt x="822" y="300"/>
                  </a:lnTo>
                  <a:lnTo>
                    <a:pt x="828" y="300"/>
                  </a:lnTo>
                  <a:lnTo>
                    <a:pt x="834" y="300"/>
                  </a:lnTo>
                  <a:lnTo>
                    <a:pt x="840" y="300"/>
                  </a:lnTo>
                  <a:lnTo>
                    <a:pt x="840" y="306"/>
                  </a:lnTo>
                  <a:lnTo>
                    <a:pt x="846" y="306"/>
                  </a:lnTo>
                  <a:lnTo>
                    <a:pt x="852" y="306"/>
                  </a:lnTo>
                  <a:lnTo>
                    <a:pt x="858" y="306"/>
                  </a:lnTo>
                  <a:lnTo>
                    <a:pt x="858" y="312"/>
                  </a:lnTo>
                  <a:lnTo>
                    <a:pt x="864" y="312"/>
                  </a:lnTo>
                  <a:lnTo>
                    <a:pt x="864" y="318"/>
                  </a:lnTo>
                  <a:lnTo>
                    <a:pt x="864" y="324"/>
                  </a:lnTo>
                  <a:lnTo>
                    <a:pt x="864" y="330"/>
                  </a:lnTo>
                  <a:lnTo>
                    <a:pt x="864" y="336"/>
                  </a:lnTo>
                  <a:lnTo>
                    <a:pt x="864" y="342"/>
                  </a:lnTo>
                  <a:lnTo>
                    <a:pt x="864" y="348"/>
                  </a:lnTo>
                  <a:lnTo>
                    <a:pt x="858" y="348"/>
                  </a:lnTo>
                  <a:lnTo>
                    <a:pt x="858" y="354"/>
                  </a:lnTo>
                  <a:lnTo>
                    <a:pt x="864" y="360"/>
                  </a:lnTo>
                  <a:lnTo>
                    <a:pt x="870" y="360"/>
                  </a:lnTo>
                  <a:lnTo>
                    <a:pt x="870" y="366"/>
                  </a:lnTo>
                  <a:lnTo>
                    <a:pt x="876" y="366"/>
                  </a:lnTo>
                  <a:lnTo>
                    <a:pt x="876" y="360"/>
                  </a:lnTo>
                  <a:lnTo>
                    <a:pt x="882" y="360"/>
                  </a:lnTo>
                  <a:lnTo>
                    <a:pt x="888" y="360"/>
                  </a:lnTo>
                  <a:lnTo>
                    <a:pt x="894" y="360"/>
                  </a:lnTo>
                  <a:lnTo>
                    <a:pt x="900" y="360"/>
                  </a:lnTo>
                  <a:lnTo>
                    <a:pt x="906" y="360"/>
                  </a:lnTo>
                  <a:lnTo>
                    <a:pt x="906" y="354"/>
                  </a:lnTo>
                  <a:lnTo>
                    <a:pt x="912" y="354"/>
                  </a:lnTo>
                  <a:lnTo>
                    <a:pt x="918" y="354"/>
                  </a:lnTo>
                  <a:lnTo>
                    <a:pt x="918" y="360"/>
                  </a:lnTo>
                  <a:lnTo>
                    <a:pt x="918" y="366"/>
                  </a:lnTo>
                  <a:lnTo>
                    <a:pt x="918" y="372"/>
                  </a:lnTo>
                  <a:lnTo>
                    <a:pt x="918" y="378"/>
                  </a:lnTo>
                  <a:lnTo>
                    <a:pt x="918" y="384"/>
                  </a:lnTo>
                  <a:lnTo>
                    <a:pt x="918" y="390"/>
                  </a:lnTo>
                  <a:lnTo>
                    <a:pt x="918" y="396"/>
                  </a:lnTo>
                  <a:lnTo>
                    <a:pt x="918" y="402"/>
                  </a:lnTo>
                  <a:lnTo>
                    <a:pt x="918" y="408"/>
                  </a:lnTo>
                  <a:lnTo>
                    <a:pt x="918" y="414"/>
                  </a:lnTo>
                  <a:lnTo>
                    <a:pt x="918" y="420"/>
                  </a:lnTo>
                  <a:lnTo>
                    <a:pt x="918" y="426"/>
                  </a:lnTo>
                  <a:lnTo>
                    <a:pt x="918" y="432"/>
                  </a:lnTo>
                  <a:lnTo>
                    <a:pt x="918" y="438"/>
                  </a:lnTo>
                  <a:lnTo>
                    <a:pt x="918" y="444"/>
                  </a:lnTo>
                  <a:lnTo>
                    <a:pt x="918" y="450"/>
                  </a:lnTo>
                  <a:lnTo>
                    <a:pt x="918" y="456"/>
                  </a:lnTo>
                  <a:lnTo>
                    <a:pt x="918" y="462"/>
                  </a:lnTo>
                  <a:lnTo>
                    <a:pt x="918" y="468"/>
                  </a:lnTo>
                  <a:lnTo>
                    <a:pt x="918" y="474"/>
                  </a:lnTo>
                  <a:lnTo>
                    <a:pt x="918" y="480"/>
                  </a:lnTo>
                  <a:lnTo>
                    <a:pt x="912" y="480"/>
                  </a:lnTo>
                  <a:lnTo>
                    <a:pt x="912" y="486"/>
                  </a:lnTo>
                  <a:lnTo>
                    <a:pt x="912" y="492"/>
                  </a:lnTo>
                  <a:lnTo>
                    <a:pt x="912" y="498"/>
                  </a:lnTo>
                  <a:lnTo>
                    <a:pt x="912" y="504"/>
                  </a:lnTo>
                  <a:lnTo>
                    <a:pt x="912" y="510"/>
                  </a:lnTo>
                  <a:lnTo>
                    <a:pt x="912" y="516"/>
                  </a:lnTo>
                  <a:lnTo>
                    <a:pt x="912" y="522"/>
                  </a:lnTo>
                  <a:lnTo>
                    <a:pt x="906" y="528"/>
                  </a:lnTo>
                  <a:lnTo>
                    <a:pt x="906" y="534"/>
                  </a:lnTo>
                  <a:lnTo>
                    <a:pt x="906" y="540"/>
                  </a:lnTo>
                  <a:lnTo>
                    <a:pt x="900" y="546"/>
                  </a:lnTo>
                  <a:lnTo>
                    <a:pt x="900" y="552"/>
                  </a:lnTo>
                  <a:lnTo>
                    <a:pt x="900" y="558"/>
                  </a:lnTo>
                  <a:lnTo>
                    <a:pt x="894" y="558"/>
                  </a:lnTo>
                  <a:lnTo>
                    <a:pt x="888" y="558"/>
                  </a:lnTo>
                  <a:lnTo>
                    <a:pt x="888" y="564"/>
                  </a:lnTo>
                  <a:lnTo>
                    <a:pt x="882" y="564"/>
                  </a:lnTo>
                  <a:lnTo>
                    <a:pt x="882" y="570"/>
                  </a:lnTo>
                  <a:lnTo>
                    <a:pt x="882" y="576"/>
                  </a:lnTo>
                  <a:lnTo>
                    <a:pt x="876" y="576"/>
                  </a:lnTo>
                  <a:lnTo>
                    <a:pt x="870" y="576"/>
                  </a:lnTo>
                  <a:lnTo>
                    <a:pt x="864" y="576"/>
                  </a:lnTo>
                  <a:lnTo>
                    <a:pt x="858" y="576"/>
                  </a:lnTo>
                  <a:lnTo>
                    <a:pt x="852" y="576"/>
                  </a:lnTo>
                  <a:lnTo>
                    <a:pt x="846" y="576"/>
                  </a:lnTo>
                  <a:lnTo>
                    <a:pt x="840" y="576"/>
                  </a:lnTo>
                  <a:lnTo>
                    <a:pt x="834" y="576"/>
                  </a:lnTo>
                  <a:lnTo>
                    <a:pt x="828" y="576"/>
                  </a:lnTo>
                  <a:lnTo>
                    <a:pt x="822" y="576"/>
                  </a:lnTo>
                  <a:lnTo>
                    <a:pt x="816" y="576"/>
                  </a:lnTo>
                  <a:lnTo>
                    <a:pt x="810" y="576"/>
                  </a:lnTo>
                  <a:lnTo>
                    <a:pt x="804" y="576"/>
                  </a:lnTo>
                  <a:lnTo>
                    <a:pt x="798" y="576"/>
                  </a:lnTo>
                  <a:lnTo>
                    <a:pt x="792" y="576"/>
                  </a:lnTo>
                  <a:lnTo>
                    <a:pt x="786" y="576"/>
                  </a:lnTo>
                  <a:lnTo>
                    <a:pt x="780" y="576"/>
                  </a:lnTo>
                  <a:lnTo>
                    <a:pt x="774" y="576"/>
                  </a:lnTo>
                  <a:lnTo>
                    <a:pt x="768" y="576"/>
                  </a:lnTo>
                  <a:lnTo>
                    <a:pt x="762" y="576"/>
                  </a:lnTo>
                  <a:lnTo>
                    <a:pt x="762" y="582"/>
                  </a:lnTo>
                  <a:lnTo>
                    <a:pt x="756" y="582"/>
                  </a:lnTo>
                  <a:lnTo>
                    <a:pt x="750" y="582"/>
                  </a:lnTo>
                  <a:lnTo>
                    <a:pt x="750" y="588"/>
                  </a:lnTo>
                  <a:lnTo>
                    <a:pt x="744" y="588"/>
                  </a:lnTo>
                  <a:lnTo>
                    <a:pt x="744" y="594"/>
                  </a:lnTo>
                  <a:lnTo>
                    <a:pt x="738" y="594"/>
                  </a:lnTo>
                  <a:lnTo>
                    <a:pt x="732" y="594"/>
                  </a:lnTo>
                  <a:lnTo>
                    <a:pt x="726" y="594"/>
                  </a:lnTo>
                  <a:lnTo>
                    <a:pt x="726" y="600"/>
                  </a:lnTo>
                  <a:lnTo>
                    <a:pt x="720" y="600"/>
                  </a:lnTo>
                  <a:lnTo>
                    <a:pt x="720" y="594"/>
                  </a:lnTo>
                  <a:lnTo>
                    <a:pt x="714" y="594"/>
                  </a:lnTo>
                  <a:lnTo>
                    <a:pt x="708" y="594"/>
                  </a:lnTo>
                  <a:lnTo>
                    <a:pt x="702" y="594"/>
                  </a:lnTo>
                  <a:lnTo>
                    <a:pt x="696" y="59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5" name="Freeform 13"/>
            <p:cNvSpPr>
              <a:spLocks/>
            </p:cNvSpPr>
            <p:nvPr>
              <p:custDataLst>
                <p:tags r:id="rId13"/>
              </p:custDataLst>
            </p:nvPr>
          </p:nvSpPr>
          <p:spPr bwMode="gray">
            <a:xfrm>
              <a:off x="1013599" y="2869387"/>
              <a:ext cx="399118" cy="284140"/>
            </a:xfrm>
            <a:custGeom>
              <a:avLst/>
              <a:gdLst>
                <a:gd name="T0" fmla="*/ 119010 w 438"/>
                <a:gd name="T1" fmla="*/ 86927 h 324"/>
                <a:gd name="T2" fmla="*/ 108366 w 438"/>
                <a:gd name="T3" fmla="*/ 83020 h 324"/>
                <a:gd name="T4" fmla="*/ 101594 w 438"/>
                <a:gd name="T5" fmla="*/ 83996 h 324"/>
                <a:gd name="T6" fmla="*/ 95788 w 438"/>
                <a:gd name="T7" fmla="*/ 86927 h 324"/>
                <a:gd name="T8" fmla="*/ 89015 w 438"/>
                <a:gd name="T9" fmla="*/ 83996 h 324"/>
                <a:gd name="T10" fmla="*/ 76437 w 438"/>
                <a:gd name="T11" fmla="*/ 83996 h 324"/>
                <a:gd name="T12" fmla="*/ 63859 w 438"/>
                <a:gd name="T13" fmla="*/ 83996 h 324"/>
                <a:gd name="T14" fmla="*/ 53216 w 438"/>
                <a:gd name="T15" fmla="*/ 86927 h 324"/>
                <a:gd name="T16" fmla="*/ 53216 w 438"/>
                <a:gd name="T17" fmla="*/ 97670 h 324"/>
                <a:gd name="T18" fmla="*/ 53216 w 438"/>
                <a:gd name="T19" fmla="*/ 106460 h 324"/>
                <a:gd name="T20" fmla="*/ 53216 w 438"/>
                <a:gd name="T21" fmla="*/ 113297 h 324"/>
                <a:gd name="T22" fmla="*/ 51280 w 438"/>
                <a:gd name="T23" fmla="*/ 113297 h 324"/>
                <a:gd name="T24" fmla="*/ 44508 w 438"/>
                <a:gd name="T25" fmla="*/ 106460 h 324"/>
                <a:gd name="T26" fmla="*/ 36767 w 438"/>
                <a:gd name="T27" fmla="*/ 106460 h 324"/>
                <a:gd name="T28" fmla="*/ 27091 w 438"/>
                <a:gd name="T29" fmla="*/ 110368 h 324"/>
                <a:gd name="T30" fmla="*/ 23222 w 438"/>
                <a:gd name="T31" fmla="*/ 113297 h 324"/>
                <a:gd name="T32" fmla="*/ 17416 w 438"/>
                <a:gd name="T33" fmla="*/ 110368 h 324"/>
                <a:gd name="T34" fmla="*/ 14513 w 438"/>
                <a:gd name="T35" fmla="*/ 108414 h 324"/>
                <a:gd name="T36" fmla="*/ 10643 w 438"/>
                <a:gd name="T37" fmla="*/ 103531 h 324"/>
                <a:gd name="T38" fmla="*/ 8708 w 438"/>
                <a:gd name="T39" fmla="*/ 101577 h 324"/>
                <a:gd name="T40" fmla="*/ 1935 w 438"/>
                <a:gd name="T41" fmla="*/ 99624 h 324"/>
                <a:gd name="T42" fmla="*/ 0 w 438"/>
                <a:gd name="T43" fmla="*/ 88880 h 324"/>
                <a:gd name="T44" fmla="*/ 1935 w 438"/>
                <a:gd name="T45" fmla="*/ 83020 h 324"/>
                <a:gd name="T46" fmla="*/ 6773 w 438"/>
                <a:gd name="T47" fmla="*/ 73253 h 324"/>
                <a:gd name="T48" fmla="*/ 1935 w 438"/>
                <a:gd name="T49" fmla="*/ 69346 h 324"/>
                <a:gd name="T50" fmla="*/ 6773 w 438"/>
                <a:gd name="T51" fmla="*/ 64463 h 324"/>
                <a:gd name="T52" fmla="*/ 17416 w 438"/>
                <a:gd name="T53" fmla="*/ 62509 h 324"/>
                <a:gd name="T54" fmla="*/ 21286 w 438"/>
                <a:gd name="T55" fmla="*/ 58602 h 324"/>
                <a:gd name="T56" fmla="*/ 21286 w 438"/>
                <a:gd name="T57" fmla="*/ 49812 h 324"/>
                <a:gd name="T58" fmla="*/ 23222 w 438"/>
                <a:gd name="T59" fmla="*/ 42975 h 324"/>
                <a:gd name="T60" fmla="*/ 29994 w 438"/>
                <a:gd name="T61" fmla="*/ 34185 h 324"/>
                <a:gd name="T62" fmla="*/ 31929 w 438"/>
                <a:gd name="T63" fmla="*/ 37115 h 324"/>
                <a:gd name="T64" fmla="*/ 40638 w 438"/>
                <a:gd name="T65" fmla="*/ 39068 h 324"/>
                <a:gd name="T66" fmla="*/ 44508 w 438"/>
                <a:gd name="T67" fmla="*/ 30278 h 324"/>
                <a:gd name="T68" fmla="*/ 51280 w 438"/>
                <a:gd name="T69" fmla="*/ 28324 h 324"/>
                <a:gd name="T70" fmla="*/ 55151 w 438"/>
                <a:gd name="T71" fmla="*/ 19534 h 324"/>
                <a:gd name="T72" fmla="*/ 63859 w 438"/>
                <a:gd name="T73" fmla="*/ 19534 h 324"/>
                <a:gd name="T74" fmla="*/ 70632 w 438"/>
                <a:gd name="T75" fmla="*/ 12697 h 324"/>
                <a:gd name="T76" fmla="*/ 87080 w 438"/>
                <a:gd name="T77" fmla="*/ 6837 h 324"/>
                <a:gd name="T78" fmla="*/ 93853 w 438"/>
                <a:gd name="T79" fmla="*/ 0 h 324"/>
                <a:gd name="T80" fmla="*/ 104497 w 438"/>
                <a:gd name="T81" fmla="*/ 0 h 324"/>
                <a:gd name="T82" fmla="*/ 112237 w 438"/>
                <a:gd name="T83" fmla="*/ 3906 h 324"/>
                <a:gd name="T84" fmla="*/ 115139 w 438"/>
                <a:gd name="T85" fmla="*/ 15627 h 324"/>
                <a:gd name="T86" fmla="*/ 117075 w 438"/>
                <a:gd name="T87" fmla="*/ 21487 h 324"/>
                <a:gd name="T88" fmla="*/ 119010 w 438"/>
                <a:gd name="T89" fmla="*/ 28324 h 324"/>
                <a:gd name="T90" fmla="*/ 127717 w 438"/>
                <a:gd name="T91" fmla="*/ 32231 h 324"/>
                <a:gd name="T92" fmla="*/ 131588 w 438"/>
                <a:gd name="T93" fmla="*/ 37115 h 324"/>
                <a:gd name="T94" fmla="*/ 127717 w 438"/>
                <a:gd name="T95" fmla="*/ 39068 h 324"/>
                <a:gd name="T96" fmla="*/ 134491 w 438"/>
                <a:gd name="T97" fmla="*/ 47859 h 324"/>
                <a:gd name="T98" fmla="*/ 142231 w 438"/>
                <a:gd name="T99" fmla="*/ 52742 h 324"/>
                <a:gd name="T100" fmla="*/ 152875 w 438"/>
                <a:gd name="T101" fmla="*/ 52742 h 324"/>
                <a:gd name="T102" fmla="*/ 150939 w 438"/>
                <a:gd name="T103" fmla="*/ 58602 h 324"/>
                <a:gd name="T104" fmla="*/ 152875 w 438"/>
                <a:gd name="T105" fmla="*/ 69346 h 324"/>
                <a:gd name="T106" fmla="*/ 144166 w 438"/>
                <a:gd name="T107" fmla="*/ 76183 h 324"/>
                <a:gd name="T108" fmla="*/ 135459 w 438"/>
                <a:gd name="T109" fmla="*/ 76183 h 324"/>
                <a:gd name="T110" fmla="*/ 134491 w 438"/>
                <a:gd name="T111" fmla="*/ 78136 h 324"/>
                <a:gd name="T112" fmla="*/ 129653 w 438"/>
                <a:gd name="T113" fmla="*/ 83020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38" h="324">
                  <a:moveTo>
                    <a:pt x="360" y="234"/>
                  </a:moveTo>
                  <a:lnTo>
                    <a:pt x="354" y="234"/>
                  </a:lnTo>
                  <a:lnTo>
                    <a:pt x="348" y="234"/>
                  </a:lnTo>
                  <a:lnTo>
                    <a:pt x="342" y="234"/>
                  </a:lnTo>
                  <a:lnTo>
                    <a:pt x="342" y="240"/>
                  </a:lnTo>
                  <a:lnTo>
                    <a:pt x="336" y="240"/>
                  </a:lnTo>
                  <a:lnTo>
                    <a:pt x="336" y="234"/>
                  </a:lnTo>
                  <a:lnTo>
                    <a:pt x="330" y="234"/>
                  </a:lnTo>
                  <a:lnTo>
                    <a:pt x="324" y="234"/>
                  </a:lnTo>
                  <a:lnTo>
                    <a:pt x="318" y="234"/>
                  </a:lnTo>
                  <a:lnTo>
                    <a:pt x="312" y="228"/>
                  </a:lnTo>
                  <a:lnTo>
                    <a:pt x="306" y="228"/>
                  </a:lnTo>
                  <a:lnTo>
                    <a:pt x="300" y="228"/>
                  </a:lnTo>
                  <a:lnTo>
                    <a:pt x="294" y="228"/>
                  </a:lnTo>
                  <a:lnTo>
                    <a:pt x="288" y="228"/>
                  </a:lnTo>
                  <a:lnTo>
                    <a:pt x="294" y="228"/>
                  </a:lnTo>
                  <a:lnTo>
                    <a:pt x="288" y="228"/>
                  </a:lnTo>
                  <a:lnTo>
                    <a:pt x="288" y="234"/>
                  </a:lnTo>
                  <a:lnTo>
                    <a:pt x="288" y="228"/>
                  </a:lnTo>
                  <a:lnTo>
                    <a:pt x="282" y="228"/>
                  </a:lnTo>
                  <a:lnTo>
                    <a:pt x="282" y="234"/>
                  </a:lnTo>
                  <a:lnTo>
                    <a:pt x="276" y="234"/>
                  </a:lnTo>
                  <a:lnTo>
                    <a:pt x="276" y="240"/>
                  </a:lnTo>
                  <a:lnTo>
                    <a:pt x="270" y="240"/>
                  </a:lnTo>
                  <a:lnTo>
                    <a:pt x="270" y="234"/>
                  </a:lnTo>
                  <a:lnTo>
                    <a:pt x="264" y="234"/>
                  </a:lnTo>
                  <a:lnTo>
                    <a:pt x="258" y="234"/>
                  </a:lnTo>
                  <a:lnTo>
                    <a:pt x="258" y="240"/>
                  </a:lnTo>
                  <a:lnTo>
                    <a:pt x="258" y="234"/>
                  </a:lnTo>
                  <a:lnTo>
                    <a:pt x="252" y="234"/>
                  </a:lnTo>
                  <a:lnTo>
                    <a:pt x="246" y="234"/>
                  </a:lnTo>
                  <a:lnTo>
                    <a:pt x="240" y="234"/>
                  </a:lnTo>
                  <a:lnTo>
                    <a:pt x="234" y="234"/>
                  </a:lnTo>
                  <a:lnTo>
                    <a:pt x="228" y="234"/>
                  </a:lnTo>
                  <a:lnTo>
                    <a:pt x="222" y="234"/>
                  </a:lnTo>
                  <a:lnTo>
                    <a:pt x="216" y="234"/>
                  </a:lnTo>
                  <a:lnTo>
                    <a:pt x="210" y="234"/>
                  </a:lnTo>
                  <a:lnTo>
                    <a:pt x="204" y="234"/>
                  </a:lnTo>
                  <a:lnTo>
                    <a:pt x="198" y="234"/>
                  </a:lnTo>
                  <a:lnTo>
                    <a:pt x="192" y="234"/>
                  </a:lnTo>
                  <a:lnTo>
                    <a:pt x="186" y="234"/>
                  </a:lnTo>
                  <a:lnTo>
                    <a:pt x="180" y="234"/>
                  </a:lnTo>
                  <a:lnTo>
                    <a:pt x="174" y="234"/>
                  </a:lnTo>
                  <a:lnTo>
                    <a:pt x="168" y="234"/>
                  </a:lnTo>
                  <a:lnTo>
                    <a:pt x="162" y="234"/>
                  </a:lnTo>
                  <a:lnTo>
                    <a:pt x="156" y="234"/>
                  </a:lnTo>
                  <a:lnTo>
                    <a:pt x="150" y="234"/>
                  </a:lnTo>
                  <a:lnTo>
                    <a:pt x="150" y="240"/>
                  </a:lnTo>
                  <a:lnTo>
                    <a:pt x="144" y="240"/>
                  </a:lnTo>
                  <a:lnTo>
                    <a:pt x="144" y="246"/>
                  </a:lnTo>
                  <a:lnTo>
                    <a:pt x="144" y="252"/>
                  </a:lnTo>
                  <a:lnTo>
                    <a:pt x="144" y="258"/>
                  </a:lnTo>
                  <a:lnTo>
                    <a:pt x="144" y="264"/>
                  </a:lnTo>
                  <a:lnTo>
                    <a:pt x="150" y="270"/>
                  </a:lnTo>
                  <a:lnTo>
                    <a:pt x="150" y="276"/>
                  </a:lnTo>
                  <a:lnTo>
                    <a:pt x="150" y="282"/>
                  </a:lnTo>
                  <a:lnTo>
                    <a:pt x="150" y="288"/>
                  </a:lnTo>
                  <a:lnTo>
                    <a:pt x="150" y="294"/>
                  </a:lnTo>
                  <a:lnTo>
                    <a:pt x="156" y="294"/>
                  </a:lnTo>
                  <a:lnTo>
                    <a:pt x="150" y="294"/>
                  </a:lnTo>
                  <a:lnTo>
                    <a:pt x="150" y="300"/>
                  </a:lnTo>
                  <a:lnTo>
                    <a:pt x="156" y="300"/>
                  </a:lnTo>
                  <a:lnTo>
                    <a:pt x="150" y="306"/>
                  </a:lnTo>
                  <a:lnTo>
                    <a:pt x="150" y="312"/>
                  </a:lnTo>
                  <a:lnTo>
                    <a:pt x="156" y="312"/>
                  </a:lnTo>
                  <a:lnTo>
                    <a:pt x="150" y="312"/>
                  </a:lnTo>
                  <a:lnTo>
                    <a:pt x="150" y="318"/>
                  </a:lnTo>
                  <a:lnTo>
                    <a:pt x="156" y="318"/>
                  </a:lnTo>
                  <a:lnTo>
                    <a:pt x="156" y="324"/>
                  </a:lnTo>
                  <a:lnTo>
                    <a:pt x="150" y="324"/>
                  </a:lnTo>
                  <a:lnTo>
                    <a:pt x="144" y="318"/>
                  </a:lnTo>
                  <a:lnTo>
                    <a:pt x="144" y="312"/>
                  </a:lnTo>
                  <a:lnTo>
                    <a:pt x="138" y="312"/>
                  </a:lnTo>
                  <a:lnTo>
                    <a:pt x="138" y="306"/>
                  </a:lnTo>
                  <a:lnTo>
                    <a:pt x="132" y="306"/>
                  </a:lnTo>
                  <a:lnTo>
                    <a:pt x="132" y="300"/>
                  </a:lnTo>
                  <a:lnTo>
                    <a:pt x="126" y="300"/>
                  </a:lnTo>
                  <a:lnTo>
                    <a:pt x="126" y="294"/>
                  </a:lnTo>
                  <a:lnTo>
                    <a:pt x="126" y="300"/>
                  </a:lnTo>
                  <a:lnTo>
                    <a:pt x="120" y="300"/>
                  </a:lnTo>
                  <a:lnTo>
                    <a:pt x="120" y="294"/>
                  </a:lnTo>
                  <a:lnTo>
                    <a:pt x="114" y="294"/>
                  </a:lnTo>
                  <a:lnTo>
                    <a:pt x="108" y="294"/>
                  </a:lnTo>
                  <a:lnTo>
                    <a:pt x="102" y="294"/>
                  </a:lnTo>
                  <a:lnTo>
                    <a:pt x="96" y="294"/>
                  </a:lnTo>
                  <a:lnTo>
                    <a:pt x="96" y="300"/>
                  </a:lnTo>
                  <a:lnTo>
                    <a:pt x="90" y="300"/>
                  </a:lnTo>
                  <a:lnTo>
                    <a:pt x="84" y="300"/>
                  </a:lnTo>
                  <a:lnTo>
                    <a:pt x="84" y="306"/>
                  </a:lnTo>
                  <a:lnTo>
                    <a:pt x="78" y="306"/>
                  </a:lnTo>
                  <a:lnTo>
                    <a:pt x="78" y="300"/>
                  </a:lnTo>
                  <a:lnTo>
                    <a:pt x="72" y="306"/>
                  </a:lnTo>
                  <a:lnTo>
                    <a:pt x="66" y="306"/>
                  </a:lnTo>
                  <a:lnTo>
                    <a:pt x="66" y="312"/>
                  </a:lnTo>
                  <a:lnTo>
                    <a:pt x="60" y="312"/>
                  </a:lnTo>
                  <a:lnTo>
                    <a:pt x="66" y="312"/>
                  </a:lnTo>
                  <a:lnTo>
                    <a:pt x="60" y="312"/>
                  </a:lnTo>
                  <a:lnTo>
                    <a:pt x="54" y="312"/>
                  </a:lnTo>
                  <a:lnTo>
                    <a:pt x="54" y="306"/>
                  </a:lnTo>
                  <a:lnTo>
                    <a:pt x="54" y="312"/>
                  </a:lnTo>
                  <a:lnTo>
                    <a:pt x="48" y="312"/>
                  </a:lnTo>
                  <a:lnTo>
                    <a:pt x="48" y="306"/>
                  </a:lnTo>
                  <a:lnTo>
                    <a:pt x="48" y="312"/>
                  </a:lnTo>
                  <a:lnTo>
                    <a:pt x="42" y="312"/>
                  </a:lnTo>
                  <a:lnTo>
                    <a:pt x="42" y="306"/>
                  </a:lnTo>
                  <a:lnTo>
                    <a:pt x="36" y="306"/>
                  </a:lnTo>
                  <a:lnTo>
                    <a:pt x="42" y="306"/>
                  </a:lnTo>
                  <a:lnTo>
                    <a:pt x="42" y="300"/>
                  </a:lnTo>
                  <a:lnTo>
                    <a:pt x="36" y="300"/>
                  </a:lnTo>
                  <a:lnTo>
                    <a:pt x="30" y="300"/>
                  </a:lnTo>
                  <a:lnTo>
                    <a:pt x="30" y="294"/>
                  </a:lnTo>
                  <a:lnTo>
                    <a:pt x="30" y="288"/>
                  </a:lnTo>
                  <a:lnTo>
                    <a:pt x="24" y="288"/>
                  </a:lnTo>
                  <a:lnTo>
                    <a:pt x="30" y="288"/>
                  </a:lnTo>
                  <a:lnTo>
                    <a:pt x="24" y="288"/>
                  </a:lnTo>
                  <a:lnTo>
                    <a:pt x="24" y="282"/>
                  </a:lnTo>
                  <a:lnTo>
                    <a:pt x="24" y="288"/>
                  </a:lnTo>
                  <a:lnTo>
                    <a:pt x="24" y="282"/>
                  </a:lnTo>
                  <a:lnTo>
                    <a:pt x="24" y="288"/>
                  </a:lnTo>
                  <a:lnTo>
                    <a:pt x="24" y="282"/>
                  </a:lnTo>
                  <a:lnTo>
                    <a:pt x="18" y="282"/>
                  </a:lnTo>
                  <a:lnTo>
                    <a:pt x="24" y="282"/>
                  </a:lnTo>
                  <a:lnTo>
                    <a:pt x="18" y="282"/>
                  </a:lnTo>
                  <a:lnTo>
                    <a:pt x="18" y="276"/>
                  </a:lnTo>
                  <a:lnTo>
                    <a:pt x="12" y="276"/>
                  </a:lnTo>
                  <a:lnTo>
                    <a:pt x="6" y="276"/>
                  </a:lnTo>
                  <a:lnTo>
                    <a:pt x="6" y="270"/>
                  </a:lnTo>
                  <a:lnTo>
                    <a:pt x="0" y="270"/>
                  </a:lnTo>
                  <a:lnTo>
                    <a:pt x="0" y="264"/>
                  </a:lnTo>
                  <a:lnTo>
                    <a:pt x="0" y="258"/>
                  </a:lnTo>
                  <a:lnTo>
                    <a:pt x="0" y="252"/>
                  </a:lnTo>
                  <a:lnTo>
                    <a:pt x="0" y="246"/>
                  </a:lnTo>
                  <a:lnTo>
                    <a:pt x="6" y="246"/>
                  </a:lnTo>
                  <a:lnTo>
                    <a:pt x="6" y="240"/>
                  </a:lnTo>
                  <a:lnTo>
                    <a:pt x="0" y="240"/>
                  </a:lnTo>
                  <a:lnTo>
                    <a:pt x="0" y="234"/>
                  </a:lnTo>
                  <a:lnTo>
                    <a:pt x="0" y="228"/>
                  </a:lnTo>
                  <a:lnTo>
                    <a:pt x="6" y="228"/>
                  </a:lnTo>
                  <a:lnTo>
                    <a:pt x="12" y="228"/>
                  </a:lnTo>
                  <a:lnTo>
                    <a:pt x="12" y="222"/>
                  </a:lnTo>
                  <a:lnTo>
                    <a:pt x="12" y="216"/>
                  </a:lnTo>
                  <a:lnTo>
                    <a:pt x="18" y="216"/>
                  </a:lnTo>
                  <a:lnTo>
                    <a:pt x="18" y="210"/>
                  </a:lnTo>
                  <a:lnTo>
                    <a:pt x="18" y="204"/>
                  </a:lnTo>
                  <a:lnTo>
                    <a:pt x="12" y="204"/>
                  </a:lnTo>
                  <a:lnTo>
                    <a:pt x="12" y="198"/>
                  </a:lnTo>
                  <a:lnTo>
                    <a:pt x="12" y="204"/>
                  </a:lnTo>
                  <a:lnTo>
                    <a:pt x="12" y="198"/>
                  </a:lnTo>
                  <a:lnTo>
                    <a:pt x="12" y="192"/>
                  </a:lnTo>
                  <a:lnTo>
                    <a:pt x="6" y="192"/>
                  </a:lnTo>
                  <a:lnTo>
                    <a:pt x="6" y="186"/>
                  </a:lnTo>
                  <a:lnTo>
                    <a:pt x="6" y="192"/>
                  </a:lnTo>
                  <a:lnTo>
                    <a:pt x="6" y="186"/>
                  </a:lnTo>
                  <a:lnTo>
                    <a:pt x="12" y="186"/>
                  </a:lnTo>
                  <a:lnTo>
                    <a:pt x="18" y="186"/>
                  </a:lnTo>
                  <a:lnTo>
                    <a:pt x="18" y="180"/>
                  </a:lnTo>
                  <a:lnTo>
                    <a:pt x="24" y="180"/>
                  </a:lnTo>
                  <a:lnTo>
                    <a:pt x="30" y="180"/>
                  </a:lnTo>
                  <a:lnTo>
                    <a:pt x="36" y="180"/>
                  </a:lnTo>
                  <a:lnTo>
                    <a:pt x="42" y="180"/>
                  </a:lnTo>
                  <a:lnTo>
                    <a:pt x="42" y="174"/>
                  </a:lnTo>
                  <a:lnTo>
                    <a:pt x="48" y="174"/>
                  </a:lnTo>
                  <a:lnTo>
                    <a:pt x="54" y="174"/>
                  </a:lnTo>
                  <a:lnTo>
                    <a:pt x="54" y="168"/>
                  </a:lnTo>
                  <a:lnTo>
                    <a:pt x="48" y="168"/>
                  </a:lnTo>
                  <a:lnTo>
                    <a:pt x="54" y="168"/>
                  </a:lnTo>
                  <a:lnTo>
                    <a:pt x="54" y="162"/>
                  </a:lnTo>
                  <a:lnTo>
                    <a:pt x="60" y="162"/>
                  </a:lnTo>
                  <a:lnTo>
                    <a:pt x="60" y="156"/>
                  </a:lnTo>
                  <a:lnTo>
                    <a:pt x="60" y="150"/>
                  </a:lnTo>
                  <a:lnTo>
                    <a:pt x="60" y="144"/>
                  </a:lnTo>
                  <a:lnTo>
                    <a:pt x="54" y="144"/>
                  </a:lnTo>
                  <a:lnTo>
                    <a:pt x="54" y="138"/>
                  </a:lnTo>
                  <a:lnTo>
                    <a:pt x="60" y="138"/>
                  </a:lnTo>
                  <a:lnTo>
                    <a:pt x="66" y="138"/>
                  </a:lnTo>
                  <a:lnTo>
                    <a:pt x="72" y="138"/>
                  </a:lnTo>
                  <a:lnTo>
                    <a:pt x="72" y="132"/>
                  </a:lnTo>
                  <a:lnTo>
                    <a:pt x="72" y="126"/>
                  </a:lnTo>
                  <a:lnTo>
                    <a:pt x="72" y="120"/>
                  </a:lnTo>
                  <a:lnTo>
                    <a:pt x="66" y="120"/>
                  </a:lnTo>
                  <a:lnTo>
                    <a:pt x="66" y="114"/>
                  </a:lnTo>
                  <a:lnTo>
                    <a:pt x="72" y="114"/>
                  </a:lnTo>
                  <a:lnTo>
                    <a:pt x="72" y="108"/>
                  </a:lnTo>
                  <a:lnTo>
                    <a:pt x="78" y="102"/>
                  </a:lnTo>
                  <a:lnTo>
                    <a:pt x="78" y="96"/>
                  </a:lnTo>
                  <a:lnTo>
                    <a:pt x="84" y="96"/>
                  </a:lnTo>
                  <a:lnTo>
                    <a:pt x="84" y="90"/>
                  </a:lnTo>
                  <a:lnTo>
                    <a:pt x="84" y="96"/>
                  </a:lnTo>
                  <a:lnTo>
                    <a:pt x="90" y="96"/>
                  </a:lnTo>
                  <a:lnTo>
                    <a:pt x="84" y="96"/>
                  </a:lnTo>
                  <a:lnTo>
                    <a:pt x="84" y="102"/>
                  </a:lnTo>
                  <a:lnTo>
                    <a:pt x="90" y="102"/>
                  </a:lnTo>
                  <a:lnTo>
                    <a:pt x="96" y="102"/>
                  </a:lnTo>
                  <a:lnTo>
                    <a:pt x="102" y="108"/>
                  </a:lnTo>
                  <a:lnTo>
                    <a:pt x="108" y="108"/>
                  </a:lnTo>
                  <a:lnTo>
                    <a:pt x="108" y="114"/>
                  </a:lnTo>
                  <a:lnTo>
                    <a:pt x="114" y="114"/>
                  </a:lnTo>
                  <a:lnTo>
                    <a:pt x="114" y="108"/>
                  </a:lnTo>
                  <a:lnTo>
                    <a:pt x="120" y="108"/>
                  </a:lnTo>
                  <a:lnTo>
                    <a:pt x="126" y="108"/>
                  </a:lnTo>
                  <a:lnTo>
                    <a:pt x="126" y="102"/>
                  </a:lnTo>
                  <a:lnTo>
                    <a:pt x="126" y="96"/>
                  </a:lnTo>
                  <a:lnTo>
                    <a:pt x="126" y="90"/>
                  </a:lnTo>
                  <a:lnTo>
                    <a:pt x="126" y="84"/>
                  </a:lnTo>
                  <a:lnTo>
                    <a:pt x="126" y="78"/>
                  </a:lnTo>
                  <a:lnTo>
                    <a:pt x="126" y="84"/>
                  </a:lnTo>
                  <a:lnTo>
                    <a:pt x="132" y="84"/>
                  </a:lnTo>
                  <a:lnTo>
                    <a:pt x="138" y="84"/>
                  </a:lnTo>
                  <a:lnTo>
                    <a:pt x="144" y="84"/>
                  </a:lnTo>
                  <a:lnTo>
                    <a:pt x="144" y="78"/>
                  </a:lnTo>
                  <a:lnTo>
                    <a:pt x="144" y="72"/>
                  </a:lnTo>
                  <a:lnTo>
                    <a:pt x="144" y="66"/>
                  </a:lnTo>
                  <a:lnTo>
                    <a:pt x="150" y="66"/>
                  </a:lnTo>
                  <a:lnTo>
                    <a:pt x="150" y="60"/>
                  </a:lnTo>
                  <a:lnTo>
                    <a:pt x="156" y="60"/>
                  </a:lnTo>
                  <a:lnTo>
                    <a:pt x="156" y="54"/>
                  </a:lnTo>
                  <a:lnTo>
                    <a:pt x="162" y="54"/>
                  </a:lnTo>
                  <a:lnTo>
                    <a:pt x="162" y="48"/>
                  </a:lnTo>
                  <a:lnTo>
                    <a:pt x="168" y="48"/>
                  </a:lnTo>
                  <a:lnTo>
                    <a:pt x="174" y="48"/>
                  </a:lnTo>
                  <a:lnTo>
                    <a:pt x="180" y="48"/>
                  </a:lnTo>
                  <a:lnTo>
                    <a:pt x="180" y="54"/>
                  </a:lnTo>
                  <a:lnTo>
                    <a:pt x="186" y="54"/>
                  </a:lnTo>
                  <a:lnTo>
                    <a:pt x="192" y="54"/>
                  </a:lnTo>
                  <a:lnTo>
                    <a:pt x="192" y="48"/>
                  </a:lnTo>
                  <a:lnTo>
                    <a:pt x="198" y="48"/>
                  </a:lnTo>
                  <a:lnTo>
                    <a:pt x="198" y="42"/>
                  </a:lnTo>
                  <a:lnTo>
                    <a:pt x="198" y="36"/>
                  </a:lnTo>
                  <a:lnTo>
                    <a:pt x="210" y="36"/>
                  </a:lnTo>
                  <a:lnTo>
                    <a:pt x="216" y="36"/>
                  </a:lnTo>
                  <a:lnTo>
                    <a:pt x="216" y="30"/>
                  </a:lnTo>
                  <a:lnTo>
                    <a:pt x="234" y="24"/>
                  </a:lnTo>
                  <a:lnTo>
                    <a:pt x="240" y="18"/>
                  </a:lnTo>
                  <a:lnTo>
                    <a:pt x="246" y="18"/>
                  </a:lnTo>
                  <a:lnTo>
                    <a:pt x="252" y="18"/>
                  </a:lnTo>
                  <a:lnTo>
                    <a:pt x="252" y="12"/>
                  </a:lnTo>
                  <a:lnTo>
                    <a:pt x="258" y="12"/>
                  </a:lnTo>
                  <a:lnTo>
                    <a:pt x="258" y="6"/>
                  </a:lnTo>
                  <a:lnTo>
                    <a:pt x="264" y="6"/>
                  </a:lnTo>
                  <a:lnTo>
                    <a:pt x="264" y="0"/>
                  </a:lnTo>
                  <a:lnTo>
                    <a:pt x="270" y="0"/>
                  </a:lnTo>
                  <a:lnTo>
                    <a:pt x="276" y="0"/>
                  </a:lnTo>
                  <a:lnTo>
                    <a:pt x="282" y="0"/>
                  </a:lnTo>
                  <a:lnTo>
                    <a:pt x="282" y="6"/>
                  </a:lnTo>
                  <a:lnTo>
                    <a:pt x="288" y="6"/>
                  </a:lnTo>
                  <a:lnTo>
                    <a:pt x="294" y="0"/>
                  </a:lnTo>
                  <a:lnTo>
                    <a:pt x="294" y="6"/>
                  </a:lnTo>
                  <a:lnTo>
                    <a:pt x="300" y="6"/>
                  </a:lnTo>
                  <a:lnTo>
                    <a:pt x="306" y="6"/>
                  </a:lnTo>
                  <a:lnTo>
                    <a:pt x="312" y="6"/>
                  </a:lnTo>
                  <a:lnTo>
                    <a:pt x="318" y="6"/>
                  </a:lnTo>
                  <a:lnTo>
                    <a:pt x="318" y="12"/>
                  </a:lnTo>
                  <a:lnTo>
                    <a:pt x="318" y="18"/>
                  </a:lnTo>
                  <a:lnTo>
                    <a:pt x="318" y="24"/>
                  </a:lnTo>
                  <a:lnTo>
                    <a:pt x="318" y="30"/>
                  </a:lnTo>
                  <a:lnTo>
                    <a:pt x="318" y="36"/>
                  </a:lnTo>
                  <a:lnTo>
                    <a:pt x="318" y="42"/>
                  </a:lnTo>
                  <a:lnTo>
                    <a:pt x="324" y="42"/>
                  </a:lnTo>
                  <a:lnTo>
                    <a:pt x="324" y="48"/>
                  </a:lnTo>
                  <a:lnTo>
                    <a:pt x="330" y="48"/>
                  </a:lnTo>
                  <a:lnTo>
                    <a:pt x="330" y="54"/>
                  </a:lnTo>
                  <a:lnTo>
                    <a:pt x="324" y="54"/>
                  </a:lnTo>
                  <a:lnTo>
                    <a:pt x="324" y="60"/>
                  </a:lnTo>
                  <a:lnTo>
                    <a:pt x="330" y="60"/>
                  </a:lnTo>
                  <a:lnTo>
                    <a:pt x="330" y="66"/>
                  </a:lnTo>
                  <a:lnTo>
                    <a:pt x="336" y="66"/>
                  </a:lnTo>
                  <a:lnTo>
                    <a:pt x="330" y="66"/>
                  </a:lnTo>
                  <a:lnTo>
                    <a:pt x="330" y="72"/>
                  </a:lnTo>
                  <a:lnTo>
                    <a:pt x="336" y="72"/>
                  </a:lnTo>
                  <a:lnTo>
                    <a:pt x="336" y="78"/>
                  </a:lnTo>
                  <a:lnTo>
                    <a:pt x="342" y="78"/>
                  </a:lnTo>
                  <a:lnTo>
                    <a:pt x="342" y="84"/>
                  </a:lnTo>
                  <a:lnTo>
                    <a:pt x="348" y="84"/>
                  </a:lnTo>
                  <a:lnTo>
                    <a:pt x="354" y="84"/>
                  </a:lnTo>
                  <a:lnTo>
                    <a:pt x="360" y="84"/>
                  </a:lnTo>
                  <a:lnTo>
                    <a:pt x="360" y="90"/>
                  </a:lnTo>
                  <a:lnTo>
                    <a:pt x="366" y="90"/>
                  </a:lnTo>
                  <a:lnTo>
                    <a:pt x="366" y="96"/>
                  </a:lnTo>
                  <a:lnTo>
                    <a:pt x="372" y="96"/>
                  </a:lnTo>
                  <a:lnTo>
                    <a:pt x="372" y="102"/>
                  </a:lnTo>
                  <a:lnTo>
                    <a:pt x="372" y="96"/>
                  </a:lnTo>
                  <a:lnTo>
                    <a:pt x="372" y="102"/>
                  </a:lnTo>
                  <a:lnTo>
                    <a:pt x="378" y="96"/>
                  </a:lnTo>
                  <a:lnTo>
                    <a:pt x="378" y="102"/>
                  </a:lnTo>
                  <a:lnTo>
                    <a:pt x="372" y="102"/>
                  </a:lnTo>
                  <a:lnTo>
                    <a:pt x="366" y="102"/>
                  </a:lnTo>
                  <a:lnTo>
                    <a:pt x="360" y="102"/>
                  </a:lnTo>
                  <a:lnTo>
                    <a:pt x="360" y="108"/>
                  </a:lnTo>
                  <a:lnTo>
                    <a:pt x="360" y="114"/>
                  </a:lnTo>
                  <a:lnTo>
                    <a:pt x="360" y="120"/>
                  </a:lnTo>
                  <a:lnTo>
                    <a:pt x="366" y="120"/>
                  </a:lnTo>
                  <a:lnTo>
                    <a:pt x="372" y="126"/>
                  </a:lnTo>
                  <a:lnTo>
                    <a:pt x="378" y="126"/>
                  </a:lnTo>
                  <a:lnTo>
                    <a:pt x="378" y="132"/>
                  </a:lnTo>
                  <a:lnTo>
                    <a:pt x="384" y="132"/>
                  </a:lnTo>
                  <a:lnTo>
                    <a:pt x="384" y="138"/>
                  </a:lnTo>
                  <a:lnTo>
                    <a:pt x="390" y="138"/>
                  </a:lnTo>
                  <a:lnTo>
                    <a:pt x="390" y="144"/>
                  </a:lnTo>
                  <a:lnTo>
                    <a:pt x="396" y="144"/>
                  </a:lnTo>
                  <a:lnTo>
                    <a:pt x="402" y="144"/>
                  </a:lnTo>
                  <a:lnTo>
                    <a:pt x="408" y="144"/>
                  </a:lnTo>
                  <a:lnTo>
                    <a:pt x="414" y="138"/>
                  </a:lnTo>
                  <a:lnTo>
                    <a:pt x="420" y="138"/>
                  </a:lnTo>
                  <a:lnTo>
                    <a:pt x="426" y="138"/>
                  </a:lnTo>
                  <a:lnTo>
                    <a:pt x="426" y="144"/>
                  </a:lnTo>
                  <a:lnTo>
                    <a:pt x="432" y="144"/>
                  </a:lnTo>
                  <a:lnTo>
                    <a:pt x="432" y="150"/>
                  </a:lnTo>
                  <a:lnTo>
                    <a:pt x="432" y="156"/>
                  </a:lnTo>
                  <a:lnTo>
                    <a:pt x="426" y="156"/>
                  </a:lnTo>
                  <a:lnTo>
                    <a:pt x="420" y="156"/>
                  </a:lnTo>
                  <a:lnTo>
                    <a:pt x="420" y="162"/>
                  </a:lnTo>
                  <a:lnTo>
                    <a:pt x="426" y="162"/>
                  </a:lnTo>
                  <a:lnTo>
                    <a:pt x="426" y="168"/>
                  </a:lnTo>
                  <a:lnTo>
                    <a:pt x="432" y="174"/>
                  </a:lnTo>
                  <a:lnTo>
                    <a:pt x="438" y="180"/>
                  </a:lnTo>
                  <a:lnTo>
                    <a:pt x="438" y="186"/>
                  </a:lnTo>
                  <a:lnTo>
                    <a:pt x="438" y="192"/>
                  </a:lnTo>
                  <a:lnTo>
                    <a:pt x="432" y="192"/>
                  </a:lnTo>
                  <a:lnTo>
                    <a:pt x="432" y="198"/>
                  </a:lnTo>
                  <a:lnTo>
                    <a:pt x="432" y="204"/>
                  </a:lnTo>
                  <a:lnTo>
                    <a:pt x="426" y="204"/>
                  </a:lnTo>
                  <a:lnTo>
                    <a:pt x="420" y="210"/>
                  </a:lnTo>
                  <a:lnTo>
                    <a:pt x="414" y="210"/>
                  </a:lnTo>
                  <a:lnTo>
                    <a:pt x="408" y="210"/>
                  </a:lnTo>
                  <a:lnTo>
                    <a:pt x="402" y="210"/>
                  </a:lnTo>
                  <a:lnTo>
                    <a:pt x="396" y="210"/>
                  </a:lnTo>
                  <a:lnTo>
                    <a:pt x="396" y="216"/>
                  </a:lnTo>
                  <a:lnTo>
                    <a:pt x="396" y="210"/>
                  </a:lnTo>
                  <a:lnTo>
                    <a:pt x="390" y="210"/>
                  </a:lnTo>
                  <a:lnTo>
                    <a:pt x="384" y="210"/>
                  </a:lnTo>
                  <a:lnTo>
                    <a:pt x="384" y="216"/>
                  </a:lnTo>
                  <a:lnTo>
                    <a:pt x="378" y="216"/>
                  </a:lnTo>
                  <a:lnTo>
                    <a:pt x="384" y="216"/>
                  </a:lnTo>
                  <a:lnTo>
                    <a:pt x="378" y="216"/>
                  </a:lnTo>
                  <a:lnTo>
                    <a:pt x="378" y="222"/>
                  </a:lnTo>
                  <a:lnTo>
                    <a:pt x="378" y="216"/>
                  </a:lnTo>
                  <a:lnTo>
                    <a:pt x="378" y="222"/>
                  </a:lnTo>
                  <a:lnTo>
                    <a:pt x="372" y="222"/>
                  </a:lnTo>
                  <a:lnTo>
                    <a:pt x="372" y="228"/>
                  </a:lnTo>
                  <a:lnTo>
                    <a:pt x="366" y="228"/>
                  </a:lnTo>
                  <a:lnTo>
                    <a:pt x="366" y="234"/>
                  </a:lnTo>
                  <a:lnTo>
                    <a:pt x="366" y="228"/>
                  </a:lnTo>
                  <a:lnTo>
                    <a:pt x="360" y="228"/>
                  </a:lnTo>
                  <a:lnTo>
                    <a:pt x="360" y="23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6" name="Freeform 14"/>
            <p:cNvSpPr>
              <a:spLocks/>
            </p:cNvSpPr>
            <p:nvPr>
              <p:custDataLst>
                <p:tags r:id="rId14"/>
              </p:custDataLst>
            </p:nvPr>
          </p:nvSpPr>
          <p:spPr bwMode="gray">
            <a:xfrm>
              <a:off x="1127966" y="3070746"/>
              <a:ext cx="224066" cy="314344"/>
            </a:xfrm>
            <a:custGeom>
              <a:avLst/>
              <a:gdLst>
                <a:gd name="T0" fmla="*/ 6778 w 246"/>
                <a:gd name="T1" fmla="*/ 121066 h 360"/>
                <a:gd name="T2" fmla="*/ 8714 w 246"/>
                <a:gd name="T3" fmla="*/ 121066 h 360"/>
                <a:gd name="T4" fmla="*/ 10651 w 246"/>
                <a:gd name="T5" fmla="*/ 117192 h 360"/>
                <a:gd name="T6" fmla="*/ 10651 w 246"/>
                <a:gd name="T7" fmla="*/ 115254 h 360"/>
                <a:gd name="T8" fmla="*/ 6778 w 246"/>
                <a:gd name="T9" fmla="*/ 108475 h 360"/>
                <a:gd name="T10" fmla="*/ 3873 w 246"/>
                <a:gd name="T11" fmla="*/ 104601 h 360"/>
                <a:gd name="T12" fmla="*/ 1936 w 246"/>
                <a:gd name="T13" fmla="*/ 95884 h 360"/>
                <a:gd name="T14" fmla="*/ 0 w 246"/>
                <a:gd name="T15" fmla="*/ 87168 h 360"/>
                <a:gd name="T16" fmla="*/ 3873 w 246"/>
                <a:gd name="T17" fmla="*/ 78451 h 360"/>
                <a:gd name="T18" fmla="*/ 6778 w 246"/>
                <a:gd name="T19" fmla="*/ 72639 h 360"/>
                <a:gd name="T20" fmla="*/ 8714 w 246"/>
                <a:gd name="T21" fmla="*/ 63923 h 360"/>
                <a:gd name="T22" fmla="*/ 14523 w 246"/>
                <a:gd name="T23" fmla="*/ 60049 h 360"/>
                <a:gd name="T24" fmla="*/ 12587 w 246"/>
                <a:gd name="T25" fmla="*/ 51332 h 360"/>
                <a:gd name="T26" fmla="*/ 10651 w 246"/>
                <a:gd name="T27" fmla="*/ 42615 h 360"/>
                <a:gd name="T28" fmla="*/ 10651 w 246"/>
                <a:gd name="T29" fmla="*/ 36804 h 360"/>
                <a:gd name="T30" fmla="*/ 10651 w 246"/>
                <a:gd name="T31" fmla="*/ 30024 h 360"/>
                <a:gd name="T32" fmla="*/ 8714 w 246"/>
                <a:gd name="T33" fmla="*/ 23245 h 360"/>
                <a:gd name="T34" fmla="*/ 8714 w 246"/>
                <a:gd name="T35" fmla="*/ 17434 h 360"/>
                <a:gd name="T36" fmla="*/ 6778 w 246"/>
                <a:gd name="T37" fmla="*/ 6780 h 360"/>
                <a:gd name="T38" fmla="*/ 12587 w 246"/>
                <a:gd name="T39" fmla="*/ 1937 h 360"/>
                <a:gd name="T40" fmla="*/ 23237 w 246"/>
                <a:gd name="T41" fmla="*/ 1937 h 360"/>
                <a:gd name="T42" fmla="*/ 33887 w 246"/>
                <a:gd name="T43" fmla="*/ 1937 h 360"/>
                <a:gd name="T44" fmla="*/ 44538 w 246"/>
                <a:gd name="T45" fmla="*/ 1937 h 360"/>
                <a:gd name="T46" fmla="*/ 51316 w 246"/>
                <a:gd name="T47" fmla="*/ 1937 h 360"/>
                <a:gd name="T48" fmla="*/ 55188 w 246"/>
                <a:gd name="T49" fmla="*/ 0 h 360"/>
                <a:gd name="T50" fmla="*/ 57125 w 246"/>
                <a:gd name="T51" fmla="*/ 0 h 360"/>
                <a:gd name="T52" fmla="*/ 63902 w 246"/>
                <a:gd name="T53" fmla="*/ 3874 h 360"/>
                <a:gd name="T54" fmla="*/ 63902 w 246"/>
                <a:gd name="T55" fmla="*/ 10654 h 360"/>
                <a:gd name="T56" fmla="*/ 70679 w 246"/>
                <a:gd name="T57" fmla="*/ 14528 h 360"/>
                <a:gd name="T58" fmla="*/ 70679 w 246"/>
                <a:gd name="T59" fmla="*/ 17434 h 360"/>
                <a:gd name="T60" fmla="*/ 70679 w 246"/>
                <a:gd name="T61" fmla="*/ 23245 h 360"/>
                <a:gd name="T62" fmla="*/ 70679 w 246"/>
                <a:gd name="T63" fmla="*/ 30024 h 360"/>
                <a:gd name="T64" fmla="*/ 70679 w 246"/>
                <a:gd name="T65" fmla="*/ 31961 h 360"/>
                <a:gd name="T66" fmla="*/ 72616 w 246"/>
                <a:gd name="T67" fmla="*/ 31961 h 360"/>
                <a:gd name="T68" fmla="*/ 74552 w 246"/>
                <a:gd name="T69" fmla="*/ 36804 h 360"/>
                <a:gd name="T70" fmla="*/ 74552 w 246"/>
                <a:gd name="T71" fmla="*/ 42615 h 360"/>
                <a:gd name="T72" fmla="*/ 72616 w 246"/>
                <a:gd name="T73" fmla="*/ 51332 h 360"/>
                <a:gd name="T74" fmla="*/ 78425 w 246"/>
                <a:gd name="T75" fmla="*/ 55206 h 360"/>
                <a:gd name="T76" fmla="*/ 76489 w 246"/>
                <a:gd name="T77" fmla="*/ 63923 h 360"/>
                <a:gd name="T78" fmla="*/ 74552 w 246"/>
                <a:gd name="T79" fmla="*/ 72639 h 360"/>
                <a:gd name="T80" fmla="*/ 76489 w 246"/>
                <a:gd name="T81" fmla="*/ 81357 h 360"/>
                <a:gd name="T82" fmla="*/ 76489 w 246"/>
                <a:gd name="T83" fmla="*/ 87168 h 360"/>
                <a:gd name="T84" fmla="*/ 78425 w 246"/>
                <a:gd name="T85" fmla="*/ 91042 h 360"/>
                <a:gd name="T86" fmla="*/ 83266 w 246"/>
                <a:gd name="T87" fmla="*/ 97821 h 360"/>
                <a:gd name="T88" fmla="*/ 83266 w 246"/>
                <a:gd name="T89" fmla="*/ 104601 h 360"/>
                <a:gd name="T90" fmla="*/ 74552 w 246"/>
                <a:gd name="T91" fmla="*/ 106538 h 360"/>
                <a:gd name="T92" fmla="*/ 65839 w 246"/>
                <a:gd name="T93" fmla="*/ 108475 h 360"/>
                <a:gd name="T94" fmla="*/ 60030 w 246"/>
                <a:gd name="T95" fmla="*/ 113318 h 360"/>
                <a:gd name="T96" fmla="*/ 51316 w 246"/>
                <a:gd name="T97" fmla="*/ 115254 h 360"/>
                <a:gd name="T98" fmla="*/ 44538 w 246"/>
                <a:gd name="T99" fmla="*/ 119128 h 360"/>
                <a:gd name="T100" fmla="*/ 36792 w 246"/>
                <a:gd name="T101" fmla="*/ 121066 h 360"/>
                <a:gd name="T102" fmla="*/ 30014 w 246"/>
                <a:gd name="T103" fmla="*/ 125908 h 360"/>
                <a:gd name="T104" fmla="*/ 21301 w 246"/>
                <a:gd name="T105" fmla="*/ 127846 h 360"/>
                <a:gd name="T106" fmla="*/ 19364 w 246"/>
                <a:gd name="T107" fmla="*/ 123972 h 360"/>
                <a:gd name="T108" fmla="*/ 8714 w 246"/>
                <a:gd name="T109" fmla="*/ 121066 h 3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6" h="360">
                  <a:moveTo>
                    <a:pt x="6" y="342"/>
                  </a:moveTo>
                  <a:lnTo>
                    <a:pt x="6" y="336"/>
                  </a:lnTo>
                  <a:lnTo>
                    <a:pt x="12" y="336"/>
                  </a:lnTo>
                  <a:lnTo>
                    <a:pt x="12" y="342"/>
                  </a:lnTo>
                  <a:lnTo>
                    <a:pt x="18" y="342"/>
                  </a:lnTo>
                  <a:lnTo>
                    <a:pt x="18" y="336"/>
                  </a:lnTo>
                  <a:lnTo>
                    <a:pt x="24" y="336"/>
                  </a:lnTo>
                  <a:lnTo>
                    <a:pt x="24" y="342"/>
                  </a:lnTo>
                  <a:lnTo>
                    <a:pt x="24" y="336"/>
                  </a:lnTo>
                  <a:lnTo>
                    <a:pt x="24" y="342"/>
                  </a:lnTo>
                  <a:lnTo>
                    <a:pt x="24" y="336"/>
                  </a:lnTo>
                  <a:lnTo>
                    <a:pt x="30" y="336"/>
                  </a:lnTo>
                  <a:lnTo>
                    <a:pt x="24" y="336"/>
                  </a:lnTo>
                  <a:lnTo>
                    <a:pt x="24" y="330"/>
                  </a:lnTo>
                  <a:lnTo>
                    <a:pt x="30" y="330"/>
                  </a:lnTo>
                  <a:lnTo>
                    <a:pt x="24" y="330"/>
                  </a:lnTo>
                  <a:lnTo>
                    <a:pt x="30" y="330"/>
                  </a:lnTo>
                  <a:lnTo>
                    <a:pt x="24" y="330"/>
                  </a:lnTo>
                  <a:lnTo>
                    <a:pt x="24" y="324"/>
                  </a:lnTo>
                  <a:lnTo>
                    <a:pt x="30" y="324"/>
                  </a:lnTo>
                  <a:lnTo>
                    <a:pt x="30" y="318"/>
                  </a:lnTo>
                  <a:lnTo>
                    <a:pt x="24" y="318"/>
                  </a:lnTo>
                  <a:lnTo>
                    <a:pt x="24" y="312"/>
                  </a:lnTo>
                  <a:lnTo>
                    <a:pt x="24" y="306"/>
                  </a:lnTo>
                  <a:lnTo>
                    <a:pt x="18" y="306"/>
                  </a:lnTo>
                  <a:lnTo>
                    <a:pt x="18" y="312"/>
                  </a:lnTo>
                  <a:lnTo>
                    <a:pt x="18" y="306"/>
                  </a:lnTo>
                  <a:lnTo>
                    <a:pt x="12" y="306"/>
                  </a:lnTo>
                  <a:lnTo>
                    <a:pt x="12" y="300"/>
                  </a:lnTo>
                  <a:lnTo>
                    <a:pt x="12" y="294"/>
                  </a:lnTo>
                  <a:lnTo>
                    <a:pt x="12" y="288"/>
                  </a:lnTo>
                  <a:lnTo>
                    <a:pt x="6" y="288"/>
                  </a:lnTo>
                  <a:lnTo>
                    <a:pt x="6" y="282"/>
                  </a:lnTo>
                  <a:lnTo>
                    <a:pt x="6" y="276"/>
                  </a:lnTo>
                  <a:lnTo>
                    <a:pt x="6" y="270"/>
                  </a:lnTo>
                  <a:lnTo>
                    <a:pt x="0" y="270"/>
                  </a:lnTo>
                  <a:lnTo>
                    <a:pt x="0" y="264"/>
                  </a:lnTo>
                  <a:lnTo>
                    <a:pt x="0" y="258"/>
                  </a:lnTo>
                  <a:lnTo>
                    <a:pt x="0" y="252"/>
                  </a:lnTo>
                  <a:lnTo>
                    <a:pt x="0" y="246"/>
                  </a:lnTo>
                  <a:lnTo>
                    <a:pt x="0" y="240"/>
                  </a:lnTo>
                  <a:lnTo>
                    <a:pt x="6" y="234"/>
                  </a:lnTo>
                  <a:lnTo>
                    <a:pt x="6" y="228"/>
                  </a:lnTo>
                  <a:lnTo>
                    <a:pt x="12" y="228"/>
                  </a:lnTo>
                  <a:lnTo>
                    <a:pt x="12" y="222"/>
                  </a:lnTo>
                  <a:lnTo>
                    <a:pt x="18" y="222"/>
                  </a:lnTo>
                  <a:lnTo>
                    <a:pt x="12" y="216"/>
                  </a:lnTo>
                  <a:lnTo>
                    <a:pt x="18" y="216"/>
                  </a:lnTo>
                  <a:lnTo>
                    <a:pt x="18" y="210"/>
                  </a:lnTo>
                  <a:lnTo>
                    <a:pt x="18" y="204"/>
                  </a:lnTo>
                  <a:lnTo>
                    <a:pt x="18" y="198"/>
                  </a:lnTo>
                  <a:lnTo>
                    <a:pt x="18" y="192"/>
                  </a:lnTo>
                  <a:lnTo>
                    <a:pt x="24" y="192"/>
                  </a:lnTo>
                  <a:lnTo>
                    <a:pt x="24" y="186"/>
                  </a:lnTo>
                  <a:lnTo>
                    <a:pt x="24" y="180"/>
                  </a:lnTo>
                  <a:lnTo>
                    <a:pt x="30" y="180"/>
                  </a:lnTo>
                  <a:lnTo>
                    <a:pt x="30" y="174"/>
                  </a:lnTo>
                  <a:lnTo>
                    <a:pt x="36" y="174"/>
                  </a:lnTo>
                  <a:lnTo>
                    <a:pt x="36" y="168"/>
                  </a:lnTo>
                  <a:lnTo>
                    <a:pt x="42" y="168"/>
                  </a:lnTo>
                  <a:lnTo>
                    <a:pt x="42" y="162"/>
                  </a:lnTo>
                  <a:lnTo>
                    <a:pt x="42" y="156"/>
                  </a:lnTo>
                  <a:lnTo>
                    <a:pt x="42" y="150"/>
                  </a:lnTo>
                  <a:lnTo>
                    <a:pt x="36" y="150"/>
                  </a:lnTo>
                  <a:lnTo>
                    <a:pt x="36" y="144"/>
                  </a:lnTo>
                  <a:lnTo>
                    <a:pt x="36" y="138"/>
                  </a:lnTo>
                  <a:lnTo>
                    <a:pt x="36" y="132"/>
                  </a:lnTo>
                  <a:lnTo>
                    <a:pt x="36" y="126"/>
                  </a:lnTo>
                  <a:lnTo>
                    <a:pt x="30" y="126"/>
                  </a:lnTo>
                  <a:lnTo>
                    <a:pt x="30" y="120"/>
                  </a:lnTo>
                  <a:lnTo>
                    <a:pt x="24" y="120"/>
                  </a:lnTo>
                  <a:lnTo>
                    <a:pt x="24" y="114"/>
                  </a:lnTo>
                  <a:lnTo>
                    <a:pt x="30" y="114"/>
                  </a:lnTo>
                  <a:lnTo>
                    <a:pt x="30" y="108"/>
                  </a:lnTo>
                  <a:lnTo>
                    <a:pt x="30" y="102"/>
                  </a:lnTo>
                  <a:lnTo>
                    <a:pt x="30" y="96"/>
                  </a:lnTo>
                  <a:lnTo>
                    <a:pt x="30" y="90"/>
                  </a:lnTo>
                  <a:lnTo>
                    <a:pt x="24" y="90"/>
                  </a:lnTo>
                  <a:lnTo>
                    <a:pt x="24" y="84"/>
                  </a:lnTo>
                  <a:lnTo>
                    <a:pt x="30" y="84"/>
                  </a:lnTo>
                  <a:lnTo>
                    <a:pt x="24" y="84"/>
                  </a:lnTo>
                  <a:lnTo>
                    <a:pt x="24" y="78"/>
                  </a:lnTo>
                  <a:lnTo>
                    <a:pt x="30" y="72"/>
                  </a:lnTo>
                  <a:lnTo>
                    <a:pt x="24" y="72"/>
                  </a:lnTo>
                  <a:lnTo>
                    <a:pt x="24" y="66"/>
                  </a:lnTo>
                  <a:lnTo>
                    <a:pt x="30" y="66"/>
                  </a:lnTo>
                  <a:lnTo>
                    <a:pt x="24" y="66"/>
                  </a:lnTo>
                  <a:lnTo>
                    <a:pt x="24" y="60"/>
                  </a:lnTo>
                  <a:lnTo>
                    <a:pt x="24" y="54"/>
                  </a:lnTo>
                  <a:lnTo>
                    <a:pt x="24" y="48"/>
                  </a:lnTo>
                  <a:lnTo>
                    <a:pt x="24" y="42"/>
                  </a:lnTo>
                  <a:lnTo>
                    <a:pt x="18" y="36"/>
                  </a:lnTo>
                  <a:lnTo>
                    <a:pt x="18" y="30"/>
                  </a:lnTo>
                  <a:lnTo>
                    <a:pt x="18" y="24"/>
                  </a:lnTo>
                  <a:lnTo>
                    <a:pt x="18" y="18"/>
                  </a:lnTo>
                  <a:lnTo>
                    <a:pt x="18" y="12"/>
                  </a:lnTo>
                  <a:lnTo>
                    <a:pt x="24" y="12"/>
                  </a:lnTo>
                  <a:lnTo>
                    <a:pt x="24" y="6"/>
                  </a:lnTo>
                  <a:lnTo>
                    <a:pt x="30" y="6"/>
                  </a:lnTo>
                  <a:lnTo>
                    <a:pt x="36" y="6"/>
                  </a:lnTo>
                  <a:lnTo>
                    <a:pt x="42" y="6"/>
                  </a:lnTo>
                  <a:lnTo>
                    <a:pt x="48" y="6"/>
                  </a:lnTo>
                  <a:lnTo>
                    <a:pt x="54" y="6"/>
                  </a:lnTo>
                  <a:lnTo>
                    <a:pt x="60" y="6"/>
                  </a:lnTo>
                  <a:lnTo>
                    <a:pt x="66" y="6"/>
                  </a:lnTo>
                  <a:lnTo>
                    <a:pt x="72" y="6"/>
                  </a:lnTo>
                  <a:lnTo>
                    <a:pt x="78" y="6"/>
                  </a:lnTo>
                  <a:lnTo>
                    <a:pt x="84" y="6"/>
                  </a:lnTo>
                  <a:lnTo>
                    <a:pt x="90" y="6"/>
                  </a:lnTo>
                  <a:lnTo>
                    <a:pt x="96" y="6"/>
                  </a:lnTo>
                  <a:lnTo>
                    <a:pt x="102" y="6"/>
                  </a:lnTo>
                  <a:lnTo>
                    <a:pt x="108" y="6"/>
                  </a:lnTo>
                  <a:lnTo>
                    <a:pt x="114" y="6"/>
                  </a:lnTo>
                  <a:lnTo>
                    <a:pt x="120" y="6"/>
                  </a:lnTo>
                  <a:lnTo>
                    <a:pt x="126" y="6"/>
                  </a:lnTo>
                  <a:lnTo>
                    <a:pt x="132" y="6"/>
                  </a:lnTo>
                  <a:lnTo>
                    <a:pt x="132" y="12"/>
                  </a:lnTo>
                  <a:lnTo>
                    <a:pt x="132" y="6"/>
                  </a:lnTo>
                  <a:lnTo>
                    <a:pt x="138" y="6"/>
                  </a:lnTo>
                  <a:lnTo>
                    <a:pt x="144" y="6"/>
                  </a:lnTo>
                  <a:lnTo>
                    <a:pt x="144" y="12"/>
                  </a:lnTo>
                  <a:lnTo>
                    <a:pt x="150" y="12"/>
                  </a:lnTo>
                  <a:lnTo>
                    <a:pt x="150" y="6"/>
                  </a:lnTo>
                  <a:lnTo>
                    <a:pt x="156" y="6"/>
                  </a:lnTo>
                  <a:lnTo>
                    <a:pt x="156" y="0"/>
                  </a:lnTo>
                  <a:lnTo>
                    <a:pt x="162" y="0"/>
                  </a:lnTo>
                  <a:lnTo>
                    <a:pt x="162" y="6"/>
                  </a:lnTo>
                  <a:lnTo>
                    <a:pt x="162" y="0"/>
                  </a:lnTo>
                  <a:lnTo>
                    <a:pt x="168" y="0"/>
                  </a:lnTo>
                  <a:lnTo>
                    <a:pt x="162" y="0"/>
                  </a:lnTo>
                  <a:lnTo>
                    <a:pt x="168" y="0"/>
                  </a:lnTo>
                  <a:lnTo>
                    <a:pt x="174" y="0"/>
                  </a:lnTo>
                  <a:lnTo>
                    <a:pt x="180" y="0"/>
                  </a:lnTo>
                  <a:lnTo>
                    <a:pt x="180" y="6"/>
                  </a:lnTo>
                  <a:lnTo>
                    <a:pt x="180" y="12"/>
                  </a:lnTo>
                  <a:lnTo>
                    <a:pt x="180" y="18"/>
                  </a:lnTo>
                  <a:lnTo>
                    <a:pt x="174" y="18"/>
                  </a:lnTo>
                  <a:lnTo>
                    <a:pt x="174" y="24"/>
                  </a:lnTo>
                  <a:lnTo>
                    <a:pt x="174" y="30"/>
                  </a:lnTo>
                  <a:lnTo>
                    <a:pt x="180" y="30"/>
                  </a:lnTo>
                  <a:lnTo>
                    <a:pt x="186" y="30"/>
                  </a:lnTo>
                  <a:lnTo>
                    <a:pt x="186" y="36"/>
                  </a:lnTo>
                  <a:lnTo>
                    <a:pt x="192" y="36"/>
                  </a:lnTo>
                  <a:lnTo>
                    <a:pt x="192" y="42"/>
                  </a:lnTo>
                  <a:lnTo>
                    <a:pt x="198" y="42"/>
                  </a:lnTo>
                  <a:lnTo>
                    <a:pt x="198" y="48"/>
                  </a:lnTo>
                  <a:lnTo>
                    <a:pt x="198" y="42"/>
                  </a:lnTo>
                  <a:lnTo>
                    <a:pt x="198" y="48"/>
                  </a:lnTo>
                  <a:lnTo>
                    <a:pt x="204" y="48"/>
                  </a:lnTo>
                  <a:lnTo>
                    <a:pt x="198" y="48"/>
                  </a:lnTo>
                  <a:lnTo>
                    <a:pt x="198" y="54"/>
                  </a:lnTo>
                  <a:lnTo>
                    <a:pt x="198" y="60"/>
                  </a:lnTo>
                  <a:lnTo>
                    <a:pt x="204" y="60"/>
                  </a:lnTo>
                  <a:lnTo>
                    <a:pt x="198" y="60"/>
                  </a:lnTo>
                  <a:lnTo>
                    <a:pt x="198" y="66"/>
                  </a:lnTo>
                  <a:lnTo>
                    <a:pt x="204" y="66"/>
                  </a:lnTo>
                  <a:lnTo>
                    <a:pt x="198" y="66"/>
                  </a:lnTo>
                  <a:lnTo>
                    <a:pt x="198" y="72"/>
                  </a:lnTo>
                  <a:lnTo>
                    <a:pt x="198" y="78"/>
                  </a:lnTo>
                  <a:lnTo>
                    <a:pt x="198" y="84"/>
                  </a:lnTo>
                  <a:lnTo>
                    <a:pt x="204" y="84"/>
                  </a:lnTo>
                  <a:lnTo>
                    <a:pt x="204" y="90"/>
                  </a:lnTo>
                  <a:lnTo>
                    <a:pt x="198" y="90"/>
                  </a:lnTo>
                  <a:lnTo>
                    <a:pt x="192" y="90"/>
                  </a:lnTo>
                  <a:lnTo>
                    <a:pt x="198" y="90"/>
                  </a:lnTo>
                  <a:lnTo>
                    <a:pt x="198" y="96"/>
                  </a:lnTo>
                  <a:lnTo>
                    <a:pt x="192" y="96"/>
                  </a:lnTo>
                  <a:lnTo>
                    <a:pt x="198" y="96"/>
                  </a:lnTo>
                  <a:lnTo>
                    <a:pt x="198" y="90"/>
                  </a:lnTo>
                  <a:lnTo>
                    <a:pt x="204" y="90"/>
                  </a:lnTo>
                  <a:lnTo>
                    <a:pt x="204" y="96"/>
                  </a:lnTo>
                  <a:lnTo>
                    <a:pt x="204" y="90"/>
                  </a:lnTo>
                  <a:lnTo>
                    <a:pt x="204" y="96"/>
                  </a:lnTo>
                  <a:lnTo>
                    <a:pt x="210" y="96"/>
                  </a:lnTo>
                  <a:lnTo>
                    <a:pt x="210" y="102"/>
                  </a:lnTo>
                  <a:lnTo>
                    <a:pt x="210" y="108"/>
                  </a:lnTo>
                  <a:lnTo>
                    <a:pt x="210" y="114"/>
                  </a:lnTo>
                  <a:lnTo>
                    <a:pt x="204" y="114"/>
                  </a:lnTo>
                  <a:lnTo>
                    <a:pt x="204" y="120"/>
                  </a:lnTo>
                  <a:lnTo>
                    <a:pt x="210" y="120"/>
                  </a:lnTo>
                  <a:lnTo>
                    <a:pt x="210" y="126"/>
                  </a:lnTo>
                  <a:lnTo>
                    <a:pt x="210" y="132"/>
                  </a:lnTo>
                  <a:lnTo>
                    <a:pt x="204" y="132"/>
                  </a:lnTo>
                  <a:lnTo>
                    <a:pt x="204" y="138"/>
                  </a:lnTo>
                  <a:lnTo>
                    <a:pt x="204" y="144"/>
                  </a:lnTo>
                  <a:lnTo>
                    <a:pt x="210" y="144"/>
                  </a:lnTo>
                  <a:lnTo>
                    <a:pt x="210" y="150"/>
                  </a:lnTo>
                  <a:lnTo>
                    <a:pt x="216" y="150"/>
                  </a:lnTo>
                  <a:lnTo>
                    <a:pt x="216" y="156"/>
                  </a:lnTo>
                  <a:lnTo>
                    <a:pt x="222" y="156"/>
                  </a:lnTo>
                  <a:lnTo>
                    <a:pt x="222" y="162"/>
                  </a:lnTo>
                  <a:lnTo>
                    <a:pt x="216" y="162"/>
                  </a:lnTo>
                  <a:lnTo>
                    <a:pt x="216" y="168"/>
                  </a:lnTo>
                  <a:lnTo>
                    <a:pt x="216" y="174"/>
                  </a:lnTo>
                  <a:lnTo>
                    <a:pt x="216" y="180"/>
                  </a:lnTo>
                  <a:lnTo>
                    <a:pt x="216" y="186"/>
                  </a:lnTo>
                  <a:lnTo>
                    <a:pt x="216" y="192"/>
                  </a:lnTo>
                  <a:lnTo>
                    <a:pt x="210" y="192"/>
                  </a:lnTo>
                  <a:lnTo>
                    <a:pt x="210" y="198"/>
                  </a:lnTo>
                  <a:lnTo>
                    <a:pt x="210" y="204"/>
                  </a:lnTo>
                  <a:lnTo>
                    <a:pt x="210" y="210"/>
                  </a:lnTo>
                  <a:lnTo>
                    <a:pt x="216" y="210"/>
                  </a:lnTo>
                  <a:lnTo>
                    <a:pt x="216" y="216"/>
                  </a:lnTo>
                  <a:lnTo>
                    <a:pt x="216" y="222"/>
                  </a:lnTo>
                  <a:lnTo>
                    <a:pt x="216" y="228"/>
                  </a:lnTo>
                  <a:lnTo>
                    <a:pt x="216" y="234"/>
                  </a:lnTo>
                  <a:lnTo>
                    <a:pt x="210" y="234"/>
                  </a:lnTo>
                  <a:lnTo>
                    <a:pt x="210" y="240"/>
                  </a:lnTo>
                  <a:lnTo>
                    <a:pt x="210" y="246"/>
                  </a:lnTo>
                  <a:lnTo>
                    <a:pt x="216" y="246"/>
                  </a:lnTo>
                  <a:lnTo>
                    <a:pt x="210" y="246"/>
                  </a:lnTo>
                  <a:lnTo>
                    <a:pt x="216" y="246"/>
                  </a:lnTo>
                  <a:lnTo>
                    <a:pt x="216" y="252"/>
                  </a:lnTo>
                  <a:lnTo>
                    <a:pt x="216" y="258"/>
                  </a:lnTo>
                  <a:lnTo>
                    <a:pt x="222" y="258"/>
                  </a:lnTo>
                  <a:lnTo>
                    <a:pt x="222" y="264"/>
                  </a:lnTo>
                  <a:lnTo>
                    <a:pt x="228" y="264"/>
                  </a:lnTo>
                  <a:lnTo>
                    <a:pt x="228" y="270"/>
                  </a:lnTo>
                  <a:lnTo>
                    <a:pt x="234" y="270"/>
                  </a:lnTo>
                  <a:lnTo>
                    <a:pt x="234" y="276"/>
                  </a:lnTo>
                  <a:lnTo>
                    <a:pt x="240" y="276"/>
                  </a:lnTo>
                  <a:lnTo>
                    <a:pt x="240" y="282"/>
                  </a:lnTo>
                  <a:lnTo>
                    <a:pt x="246" y="282"/>
                  </a:lnTo>
                  <a:lnTo>
                    <a:pt x="240" y="288"/>
                  </a:lnTo>
                  <a:lnTo>
                    <a:pt x="234" y="294"/>
                  </a:lnTo>
                  <a:lnTo>
                    <a:pt x="234" y="300"/>
                  </a:lnTo>
                  <a:lnTo>
                    <a:pt x="228" y="300"/>
                  </a:lnTo>
                  <a:lnTo>
                    <a:pt x="222" y="300"/>
                  </a:lnTo>
                  <a:lnTo>
                    <a:pt x="216" y="300"/>
                  </a:lnTo>
                  <a:lnTo>
                    <a:pt x="210" y="300"/>
                  </a:lnTo>
                  <a:lnTo>
                    <a:pt x="204" y="300"/>
                  </a:lnTo>
                  <a:lnTo>
                    <a:pt x="198" y="300"/>
                  </a:lnTo>
                  <a:lnTo>
                    <a:pt x="192" y="300"/>
                  </a:lnTo>
                  <a:lnTo>
                    <a:pt x="192" y="306"/>
                  </a:lnTo>
                  <a:lnTo>
                    <a:pt x="186" y="306"/>
                  </a:lnTo>
                  <a:lnTo>
                    <a:pt x="180" y="306"/>
                  </a:lnTo>
                  <a:lnTo>
                    <a:pt x="180" y="312"/>
                  </a:lnTo>
                  <a:lnTo>
                    <a:pt x="174" y="312"/>
                  </a:lnTo>
                  <a:lnTo>
                    <a:pt x="168" y="312"/>
                  </a:lnTo>
                  <a:lnTo>
                    <a:pt x="168" y="318"/>
                  </a:lnTo>
                  <a:lnTo>
                    <a:pt x="162" y="318"/>
                  </a:lnTo>
                  <a:lnTo>
                    <a:pt x="156" y="318"/>
                  </a:lnTo>
                  <a:lnTo>
                    <a:pt x="156" y="324"/>
                  </a:lnTo>
                  <a:lnTo>
                    <a:pt x="150" y="324"/>
                  </a:lnTo>
                  <a:lnTo>
                    <a:pt x="144" y="324"/>
                  </a:lnTo>
                  <a:lnTo>
                    <a:pt x="144" y="330"/>
                  </a:lnTo>
                  <a:lnTo>
                    <a:pt x="138" y="330"/>
                  </a:lnTo>
                  <a:lnTo>
                    <a:pt x="132" y="330"/>
                  </a:lnTo>
                  <a:lnTo>
                    <a:pt x="132" y="336"/>
                  </a:lnTo>
                  <a:lnTo>
                    <a:pt x="126" y="336"/>
                  </a:lnTo>
                  <a:lnTo>
                    <a:pt x="120" y="336"/>
                  </a:lnTo>
                  <a:lnTo>
                    <a:pt x="114" y="336"/>
                  </a:lnTo>
                  <a:lnTo>
                    <a:pt x="114" y="342"/>
                  </a:lnTo>
                  <a:lnTo>
                    <a:pt x="108" y="342"/>
                  </a:lnTo>
                  <a:lnTo>
                    <a:pt x="102" y="342"/>
                  </a:lnTo>
                  <a:lnTo>
                    <a:pt x="96" y="342"/>
                  </a:lnTo>
                  <a:lnTo>
                    <a:pt x="90" y="342"/>
                  </a:lnTo>
                  <a:lnTo>
                    <a:pt x="90" y="348"/>
                  </a:lnTo>
                  <a:lnTo>
                    <a:pt x="84" y="348"/>
                  </a:lnTo>
                  <a:lnTo>
                    <a:pt x="84" y="354"/>
                  </a:lnTo>
                  <a:lnTo>
                    <a:pt x="78" y="354"/>
                  </a:lnTo>
                  <a:lnTo>
                    <a:pt x="72" y="354"/>
                  </a:lnTo>
                  <a:lnTo>
                    <a:pt x="72" y="360"/>
                  </a:lnTo>
                  <a:lnTo>
                    <a:pt x="66" y="360"/>
                  </a:lnTo>
                  <a:lnTo>
                    <a:pt x="60" y="360"/>
                  </a:lnTo>
                  <a:lnTo>
                    <a:pt x="66" y="360"/>
                  </a:lnTo>
                  <a:lnTo>
                    <a:pt x="60" y="360"/>
                  </a:lnTo>
                  <a:lnTo>
                    <a:pt x="60" y="354"/>
                  </a:lnTo>
                  <a:lnTo>
                    <a:pt x="54" y="354"/>
                  </a:lnTo>
                  <a:lnTo>
                    <a:pt x="54" y="348"/>
                  </a:lnTo>
                  <a:lnTo>
                    <a:pt x="48" y="348"/>
                  </a:lnTo>
                  <a:lnTo>
                    <a:pt x="42" y="348"/>
                  </a:lnTo>
                  <a:lnTo>
                    <a:pt x="36" y="348"/>
                  </a:lnTo>
                  <a:lnTo>
                    <a:pt x="30" y="342"/>
                  </a:lnTo>
                  <a:lnTo>
                    <a:pt x="24" y="342"/>
                  </a:lnTo>
                  <a:lnTo>
                    <a:pt x="18" y="342"/>
                  </a:lnTo>
                  <a:lnTo>
                    <a:pt x="12" y="342"/>
                  </a:lnTo>
                  <a:lnTo>
                    <a:pt x="6" y="34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7" name="Freeform 15"/>
            <p:cNvSpPr>
              <a:spLocks noEditPoints="1"/>
            </p:cNvSpPr>
            <p:nvPr>
              <p:custDataLst>
                <p:tags r:id="rId15"/>
              </p:custDataLst>
            </p:nvPr>
          </p:nvSpPr>
          <p:spPr bwMode="gray">
            <a:xfrm>
              <a:off x="853718" y="3090882"/>
              <a:ext cx="313926" cy="309869"/>
            </a:xfrm>
            <a:custGeom>
              <a:avLst/>
              <a:gdLst>
                <a:gd name="T0" fmla="*/ 99935 w 342"/>
                <a:gd name="T1" fmla="*/ 111985 h 354"/>
                <a:gd name="T2" fmla="*/ 87198 w 342"/>
                <a:gd name="T3" fmla="*/ 111985 h 354"/>
                <a:gd name="T4" fmla="*/ 71523 w 342"/>
                <a:gd name="T5" fmla="*/ 111985 h 354"/>
                <a:gd name="T6" fmla="*/ 58785 w 342"/>
                <a:gd name="T7" fmla="*/ 113933 h 354"/>
                <a:gd name="T8" fmla="*/ 49968 w 342"/>
                <a:gd name="T9" fmla="*/ 113933 h 354"/>
                <a:gd name="T10" fmla="*/ 43109 w 342"/>
                <a:gd name="T11" fmla="*/ 117828 h 354"/>
                <a:gd name="T12" fmla="*/ 34291 w 342"/>
                <a:gd name="T13" fmla="*/ 120750 h 354"/>
                <a:gd name="T14" fmla="*/ 23514 w 342"/>
                <a:gd name="T15" fmla="*/ 127566 h 354"/>
                <a:gd name="T16" fmla="*/ 21555 w 342"/>
                <a:gd name="T17" fmla="*/ 113933 h 354"/>
                <a:gd name="T18" fmla="*/ 23514 w 342"/>
                <a:gd name="T19" fmla="*/ 108090 h 354"/>
                <a:gd name="T20" fmla="*/ 23514 w 342"/>
                <a:gd name="T21" fmla="*/ 103222 h 354"/>
                <a:gd name="T22" fmla="*/ 21555 w 342"/>
                <a:gd name="T23" fmla="*/ 99326 h 354"/>
                <a:gd name="T24" fmla="*/ 17635 w 342"/>
                <a:gd name="T25" fmla="*/ 92510 h 354"/>
                <a:gd name="T26" fmla="*/ 12737 w 342"/>
                <a:gd name="T27" fmla="*/ 90563 h 354"/>
                <a:gd name="T28" fmla="*/ 8818 w 342"/>
                <a:gd name="T29" fmla="*/ 87641 h 354"/>
                <a:gd name="T30" fmla="*/ 0 w 342"/>
                <a:gd name="T31" fmla="*/ 83746 h 354"/>
                <a:gd name="T32" fmla="*/ 6858 w 342"/>
                <a:gd name="T33" fmla="*/ 79850 h 354"/>
                <a:gd name="T34" fmla="*/ 3919 w 342"/>
                <a:gd name="T35" fmla="*/ 69139 h 354"/>
                <a:gd name="T36" fmla="*/ 8818 w 342"/>
                <a:gd name="T37" fmla="*/ 62323 h 354"/>
                <a:gd name="T38" fmla="*/ 12737 w 342"/>
                <a:gd name="T39" fmla="*/ 51610 h 354"/>
                <a:gd name="T40" fmla="*/ 12737 w 342"/>
                <a:gd name="T41" fmla="*/ 45768 h 354"/>
                <a:gd name="T42" fmla="*/ 17635 w 342"/>
                <a:gd name="T43" fmla="*/ 47716 h 354"/>
                <a:gd name="T44" fmla="*/ 12737 w 342"/>
                <a:gd name="T45" fmla="*/ 38951 h 354"/>
                <a:gd name="T46" fmla="*/ 15676 w 342"/>
                <a:gd name="T47" fmla="*/ 32135 h 354"/>
                <a:gd name="T48" fmla="*/ 8818 w 342"/>
                <a:gd name="T49" fmla="*/ 23371 h 354"/>
                <a:gd name="T50" fmla="*/ 10777 w 342"/>
                <a:gd name="T51" fmla="*/ 19476 h 354"/>
                <a:gd name="T52" fmla="*/ 8818 w 342"/>
                <a:gd name="T53" fmla="*/ 15581 h 354"/>
                <a:gd name="T54" fmla="*/ 17635 w 342"/>
                <a:gd name="T55" fmla="*/ 8764 h 354"/>
                <a:gd name="T56" fmla="*/ 26453 w 342"/>
                <a:gd name="T57" fmla="*/ 6816 h 354"/>
                <a:gd name="T58" fmla="*/ 32332 w 342"/>
                <a:gd name="T59" fmla="*/ 6816 h 354"/>
                <a:gd name="T60" fmla="*/ 39190 w 342"/>
                <a:gd name="T61" fmla="*/ 1948 h 354"/>
                <a:gd name="T62" fmla="*/ 46049 w 342"/>
                <a:gd name="T63" fmla="*/ 0 h 354"/>
                <a:gd name="T64" fmla="*/ 49968 w 342"/>
                <a:gd name="T65" fmla="*/ 6816 h 354"/>
                <a:gd name="T66" fmla="*/ 53887 w 342"/>
                <a:gd name="T67" fmla="*/ 8764 h 354"/>
                <a:gd name="T68" fmla="*/ 62705 w 342"/>
                <a:gd name="T69" fmla="*/ 6816 h 354"/>
                <a:gd name="T70" fmla="*/ 69562 w 342"/>
                <a:gd name="T71" fmla="*/ 10711 h 354"/>
                <a:gd name="T72" fmla="*/ 73482 w 342"/>
                <a:gd name="T73" fmla="*/ 12659 h 354"/>
                <a:gd name="T74" fmla="*/ 78380 w 342"/>
                <a:gd name="T75" fmla="*/ 19476 h 354"/>
                <a:gd name="T76" fmla="*/ 83279 w 342"/>
                <a:gd name="T77" fmla="*/ 21424 h 354"/>
                <a:gd name="T78" fmla="*/ 87198 w 342"/>
                <a:gd name="T79" fmla="*/ 19476 h 354"/>
                <a:gd name="T80" fmla="*/ 97976 w 342"/>
                <a:gd name="T81" fmla="*/ 17528 h 354"/>
                <a:gd name="T82" fmla="*/ 108753 w 342"/>
                <a:gd name="T83" fmla="*/ 17528 h 354"/>
                <a:gd name="T84" fmla="*/ 114632 w 342"/>
                <a:gd name="T85" fmla="*/ 21424 h 354"/>
                <a:gd name="T86" fmla="*/ 119530 w 342"/>
                <a:gd name="T87" fmla="*/ 30188 h 354"/>
                <a:gd name="T88" fmla="*/ 121490 w 342"/>
                <a:gd name="T89" fmla="*/ 38951 h 354"/>
                <a:gd name="T90" fmla="*/ 124429 w 342"/>
                <a:gd name="T91" fmla="*/ 51610 h 354"/>
                <a:gd name="T92" fmla="*/ 117570 w 342"/>
                <a:gd name="T93" fmla="*/ 60375 h 354"/>
                <a:gd name="T94" fmla="*/ 114632 w 342"/>
                <a:gd name="T95" fmla="*/ 71086 h 354"/>
                <a:gd name="T96" fmla="*/ 108753 w 342"/>
                <a:gd name="T97" fmla="*/ 81798 h 354"/>
                <a:gd name="T98" fmla="*/ 110712 w 342"/>
                <a:gd name="T99" fmla="*/ 94458 h 354"/>
                <a:gd name="T100" fmla="*/ 114632 w 342"/>
                <a:gd name="T101" fmla="*/ 101274 h 354"/>
                <a:gd name="T102" fmla="*/ 117570 w 342"/>
                <a:gd name="T103" fmla="*/ 110038 h 354"/>
                <a:gd name="T104" fmla="*/ 117570 w 342"/>
                <a:gd name="T105" fmla="*/ 111985 h 354"/>
                <a:gd name="T106" fmla="*/ 113652 w 342"/>
                <a:gd name="T107" fmla="*/ 113933 h 3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2" h="354">
                  <a:moveTo>
                    <a:pt x="306" y="318"/>
                  </a:moveTo>
                  <a:lnTo>
                    <a:pt x="306" y="312"/>
                  </a:lnTo>
                  <a:lnTo>
                    <a:pt x="300" y="312"/>
                  </a:lnTo>
                  <a:lnTo>
                    <a:pt x="294" y="312"/>
                  </a:lnTo>
                  <a:lnTo>
                    <a:pt x="288" y="312"/>
                  </a:lnTo>
                  <a:lnTo>
                    <a:pt x="282" y="312"/>
                  </a:lnTo>
                  <a:lnTo>
                    <a:pt x="276" y="312"/>
                  </a:lnTo>
                  <a:lnTo>
                    <a:pt x="270" y="312"/>
                  </a:lnTo>
                  <a:lnTo>
                    <a:pt x="264" y="306"/>
                  </a:lnTo>
                  <a:lnTo>
                    <a:pt x="258" y="306"/>
                  </a:lnTo>
                  <a:lnTo>
                    <a:pt x="252" y="306"/>
                  </a:lnTo>
                  <a:lnTo>
                    <a:pt x="246" y="306"/>
                  </a:lnTo>
                  <a:lnTo>
                    <a:pt x="246" y="312"/>
                  </a:lnTo>
                  <a:lnTo>
                    <a:pt x="240" y="312"/>
                  </a:lnTo>
                  <a:lnTo>
                    <a:pt x="234" y="312"/>
                  </a:lnTo>
                  <a:lnTo>
                    <a:pt x="228" y="312"/>
                  </a:lnTo>
                  <a:lnTo>
                    <a:pt x="222" y="312"/>
                  </a:lnTo>
                  <a:lnTo>
                    <a:pt x="216" y="312"/>
                  </a:lnTo>
                  <a:lnTo>
                    <a:pt x="210" y="312"/>
                  </a:lnTo>
                  <a:lnTo>
                    <a:pt x="204" y="312"/>
                  </a:lnTo>
                  <a:lnTo>
                    <a:pt x="198" y="312"/>
                  </a:lnTo>
                  <a:lnTo>
                    <a:pt x="192" y="312"/>
                  </a:lnTo>
                  <a:lnTo>
                    <a:pt x="186" y="312"/>
                  </a:lnTo>
                  <a:lnTo>
                    <a:pt x="180" y="312"/>
                  </a:lnTo>
                  <a:lnTo>
                    <a:pt x="180" y="318"/>
                  </a:lnTo>
                  <a:lnTo>
                    <a:pt x="174" y="318"/>
                  </a:lnTo>
                  <a:lnTo>
                    <a:pt x="168" y="318"/>
                  </a:lnTo>
                  <a:lnTo>
                    <a:pt x="162" y="318"/>
                  </a:lnTo>
                  <a:lnTo>
                    <a:pt x="156" y="318"/>
                  </a:lnTo>
                  <a:lnTo>
                    <a:pt x="150" y="318"/>
                  </a:lnTo>
                  <a:lnTo>
                    <a:pt x="150" y="324"/>
                  </a:lnTo>
                  <a:lnTo>
                    <a:pt x="144" y="324"/>
                  </a:lnTo>
                  <a:lnTo>
                    <a:pt x="144" y="318"/>
                  </a:lnTo>
                  <a:lnTo>
                    <a:pt x="138" y="324"/>
                  </a:lnTo>
                  <a:lnTo>
                    <a:pt x="138" y="318"/>
                  </a:lnTo>
                  <a:lnTo>
                    <a:pt x="138" y="324"/>
                  </a:lnTo>
                  <a:lnTo>
                    <a:pt x="144" y="324"/>
                  </a:lnTo>
                  <a:lnTo>
                    <a:pt x="138" y="324"/>
                  </a:lnTo>
                  <a:lnTo>
                    <a:pt x="138" y="330"/>
                  </a:lnTo>
                  <a:lnTo>
                    <a:pt x="132" y="330"/>
                  </a:lnTo>
                  <a:lnTo>
                    <a:pt x="126" y="330"/>
                  </a:lnTo>
                  <a:lnTo>
                    <a:pt x="120" y="330"/>
                  </a:lnTo>
                  <a:lnTo>
                    <a:pt x="120" y="336"/>
                  </a:lnTo>
                  <a:lnTo>
                    <a:pt x="120" y="330"/>
                  </a:lnTo>
                  <a:lnTo>
                    <a:pt x="120" y="336"/>
                  </a:lnTo>
                  <a:lnTo>
                    <a:pt x="114" y="336"/>
                  </a:lnTo>
                  <a:lnTo>
                    <a:pt x="108" y="336"/>
                  </a:lnTo>
                  <a:lnTo>
                    <a:pt x="102" y="336"/>
                  </a:lnTo>
                  <a:lnTo>
                    <a:pt x="96" y="336"/>
                  </a:lnTo>
                  <a:lnTo>
                    <a:pt x="96" y="342"/>
                  </a:lnTo>
                  <a:lnTo>
                    <a:pt x="90" y="342"/>
                  </a:lnTo>
                  <a:lnTo>
                    <a:pt x="90" y="348"/>
                  </a:lnTo>
                  <a:lnTo>
                    <a:pt x="84" y="348"/>
                  </a:lnTo>
                  <a:lnTo>
                    <a:pt x="78" y="348"/>
                  </a:lnTo>
                  <a:lnTo>
                    <a:pt x="72" y="354"/>
                  </a:lnTo>
                  <a:lnTo>
                    <a:pt x="66" y="354"/>
                  </a:lnTo>
                  <a:lnTo>
                    <a:pt x="60" y="354"/>
                  </a:lnTo>
                  <a:lnTo>
                    <a:pt x="60" y="348"/>
                  </a:lnTo>
                  <a:lnTo>
                    <a:pt x="60" y="342"/>
                  </a:lnTo>
                  <a:lnTo>
                    <a:pt x="60" y="336"/>
                  </a:lnTo>
                  <a:lnTo>
                    <a:pt x="60" y="330"/>
                  </a:lnTo>
                  <a:lnTo>
                    <a:pt x="60" y="324"/>
                  </a:lnTo>
                  <a:lnTo>
                    <a:pt x="60" y="318"/>
                  </a:lnTo>
                  <a:lnTo>
                    <a:pt x="60" y="312"/>
                  </a:lnTo>
                  <a:lnTo>
                    <a:pt x="60" y="318"/>
                  </a:lnTo>
                  <a:lnTo>
                    <a:pt x="66" y="312"/>
                  </a:lnTo>
                  <a:lnTo>
                    <a:pt x="66" y="306"/>
                  </a:lnTo>
                  <a:lnTo>
                    <a:pt x="72" y="306"/>
                  </a:lnTo>
                  <a:lnTo>
                    <a:pt x="72" y="300"/>
                  </a:lnTo>
                  <a:lnTo>
                    <a:pt x="66" y="300"/>
                  </a:lnTo>
                  <a:lnTo>
                    <a:pt x="66" y="294"/>
                  </a:lnTo>
                  <a:lnTo>
                    <a:pt x="66" y="300"/>
                  </a:lnTo>
                  <a:lnTo>
                    <a:pt x="66" y="294"/>
                  </a:lnTo>
                  <a:lnTo>
                    <a:pt x="72" y="294"/>
                  </a:lnTo>
                  <a:lnTo>
                    <a:pt x="66" y="294"/>
                  </a:lnTo>
                  <a:lnTo>
                    <a:pt x="72" y="294"/>
                  </a:lnTo>
                  <a:lnTo>
                    <a:pt x="66" y="288"/>
                  </a:lnTo>
                  <a:lnTo>
                    <a:pt x="72" y="288"/>
                  </a:lnTo>
                  <a:lnTo>
                    <a:pt x="66" y="288"/>
                  </a:lnTo>
                  <a:lnTo>
                    <a:pt x="66" y="282"/>
                  </a:lnTo>
                  <a:lnTo>
                    <a:pt x="66" y="276"/>
                  </a:lnTo>
                  <a:lnTo>
                    <a:pt x="66" y="270"/>
                  </a:lnTo>
                  <a:lnTo>
                    <a:pt x="66" y="276"/>
                  </a:lnTo>
                  <a:lnTo>
                    <a:pt x="60" y="276"/>
                  </a:lnTo>
                  <a:lnTo>
                    <a:pt x="60" y="270"/>
                  </a:lnTo>
                  <a:lnTo>
                    <a:pt x="60" y="276"/>
                  </a:lnTo>
                  <a:lnTo>
                    <a:pt x="60" y="270"/>
                  </a:lnTo>
                  <a:lnTo>
                    <a:pt x="54" y="270"/>
                  </a:lnTo>
                  <a:lnTo>
                    <a:pt x="48" y="270"/>
                  </a:lnTo>
                  <a:lnTo>
                    <a:pt x="48" y="264"/>
                  </a:lnTo>
                  <a:lnTo>
                    <a:pt x="48" y="258"/>
                  </a:lnTo>
                  <a:lnTo>
                    <a:pt x="42" y="258"/>
                  </a:lnTo>
                  <a:lnTo>
                    <a:pt x="42" y="252"/>
                  </a:lnTo>
                  <a:lnTo>
                    <a:pt x="48" y="252"/>
                  </a:lnTo>
                  <a:lnTo>
                    <a:pt x="42" y="252"/>
                  </a:lnTo>
                  <a:lnTo>
                    <a:pt x="42" y="246"/>
                  </a:lnTo>
                  <a:lnTo>
                    <a:pt x="42" y="252"/>
                  </a:lnTo>
                  <a:lnTo>
                    <a:pt x="36" y="252"/>
                  </a:lnTo>
                  <a:lnTo>
                    <a:pt x="36" y="246"/>
                  </a:lnTo>
                  <a:lnTo>
                    <a:pt x="36" y="252"/>
                  </a:lnTo>
                  <a:lnTo>
                    <a:pt x="36" y="246"/>
                  </a:lnTo>
                  <a:lnTo>
                    <a:pt x="30" y="246"/>
                  </a:lnTo>
                  <a:lnTo>
                    <a:pt x="30" y="252"/>
                  </a:lnTo>
                  <a:lnTo>
                    <a:pt x="24" y="252"/>
                  </a:lnTo>
                  <a:lnTo>
                    <a:pt x="24" y="246"/>
                  </a:lnTo>
                  <a:lnTo>
                    <a:pt x="18" y="246"/>
                  </a:lnTo>
                  <a:lnTo>
                    <a:pt x="12" y="246"/>
                  </a:lnTo>
                  <a:lnTo>
                    <a:pt x="12" y="240"/>
                  </a:lnTo>
                  <a:lnTo>
                    <a:pt x="6" y="240"/>
                  </a:lnTo>
                  <a:lnTo>
                    <a:pt x="6" y="234"/>
                  </a:lnTo>
                  <a:lnTo>
                    <a:pt x="0" y="240"/>
                  </a:lnTo>
                  <a:lnTo>
                    <a:pt x="0" y="234"/>
                  </a:lnTo>
                  <a:lnTo>
                    <a:pt x="6" y="234"/>
                  </a:lnTo>
                  <a:lnTo>
                    <a:pt x="6" y="228"/>
                  </a:lnTo>
                  <a:lnTo>
                    <a:pt x="6" y="234"/>
                  </a:lnTo>
                  <a:lnTo>
                    <a:pt x="6" y="228"/>
                  </a:lnTo>
                  <a:lnTo>
                    <a:pt x="12" y="228"/>
                  </a:lnTo>
                  <a:lnTo>
                    <a:pt x="12" y="222"/>
                  </a:lnTo>
                  <a:lnTo>
                    <a:pt x="18" y="222"/>
                  </a:lnTo>
                  <a:lnTo>
                    <a:pt x="18" y="216"/>
                  </a:lnTo>
                  <a:lnTo>
                    <a:pt x="18" y="210"/>
                  </a:lnTo>
                  <a:lnTo>
                    <a:pt x="18" y="204"/>
                  </a:lnTo>
                  <a:lnTo>
                    <a:pt x="18" y="198"/>
                  </a:lnTo>
                  <a:lnTo>
                    <a:pt x="12" y="198"/>
                  </a:lnTo>
                  <a:lnTo>
                    <a:pt x="18" y="192"/>
                  </a:lnTo>
                  <a:lnTo>
                    <a:pt x="12" y="192"/>
                  </a:lnTo>
                  <a:lnTo>
                    <a:pt x="12" y="186"/>
                  </a:lnTo>
                  <a:lnTo>
                    <a:pt x="12" y="180"/>
                  </a:lnTo>
                  <a:lnTo>
                    <a:pt x="6" y="180"/>
                  </a:lnTo>
                  <a:lnTo>
                    <a:pt x="12" y="174"/>
                  </a:lnTo>
                  <a:lnTo>
                    <a:pt x="18" y="174"/>
                  </a:lnTo>
                  <a:lnTo>
                    <a:pt x="24" y="180"/>
                  </a:lnTo>
                  <a:lnTo>
                    <a:pt x="24" y="174"/>
                  </a:lnTo>
                  <a:lnTo>
                    <a:pt x="30" y="174"/>
                  </a:lnTo>
                  <a:lnTo>
                    <a:pt x="30" y="168"/>
                  </a:lnTo>
                  <a:lnTo>
                    <a:pt x="30" y="162"/>
                  </a:lnTo>
                  <a:lnTo>
                    <a:pt x="30" y="156"/>
                  </a:lnTo>
                  <a:lnTo>
                    <a:pt x="30" y="150"/>
                  </a:lnTo>
                  <a:lnTo>
                    <a:pt x="36" y="150"/>
                  </a:lnTo>
                  <a:lnTo>
                    <a:pt x="36" y="144"/>
                  </a:lnTo>
                  <a:lnTo>
                    <a:pt x="30" y="144"/>
                  </a:lnTo>
                  <a:lnTo>
                    <a:pt x="24" y="144"/>
                  </a:lnTo>
                  <a:lnTo>
                    <a:pt x="24" y="138"/>
                  </a:lnTo>
                  <a:lnTo>
                    <a:pt x="24" y="132"/>
                  </a:lnTo>
                  <a:lnTo>
                    <a:pt x="24" y="126"/>
                  </a:lnTo>
                  <a:lnTo>
                    <a:pt x="30" y="126"/>
                  </a:lnTo>
                  <a:lnTo>
                    <a:pt x="36" y="126"/>
                  </a:lnTo>
                  <a:lnTo>
                    <a:pt x="42" y="126"/>
                  </a:lnTo>
                  <a:lnTo>
                    <a:pt x="42" y="132"/>
                  </a:lnTo>
                  <a:lnTo>
                    <a:pt x="42" y="126"/>
                  </a:lnTo>
                  <a:lnTo>
                    <a:pt x="42" y="132"/>
                  </a:lnTo>
                  <a:lnTo>
                    <a:pt x="42" y="126"/>
                  </a:lnTo>
                  <a:lnTo>
                    <a:pt x="48" y="126"/>
                  </a:lnTo>
                  <a:lnTo>
                    <a:pt x="48" y="132"/>
                  </a:lnTo>
                  <a:lnTo>
                    <a:pt x="54" y="132"/>
                  </a:lnTo>
                  <a:lnTo>
                    <a:pt x="54" y="126"/>
                  </a:lnTo>
                  <a:lnTo>
                    <a:pt x="54" y="120"/>
                  </a:lnTo>
                  <a:lnTo>
                    <a:pt x="48" y="114"/>
                  </a:lnTo>
                  <a:lnTo>
                    <a:pt x="48" y="108"/>
                  </a:lnTo>
                  <a:lnTo>
                    <a:pt x="42" y="108"/>
                  </a:lnTo>
                  <a:lnTo>
                    <a:pt x="36" y="108"/>
                  </a:lnTo>
                  <a:lnTo>
                    <a:pt x="36" y="102"/>
                  </a:lnTo>
                  <a:lnTo>
                    <a:pt x="42" y="96"/>
                  </a:lnTo>
                  <a:lnTo>
                    <a:pt x="42" y="90"/>
                  </a:lnTo>
                  <a:lnTo>
                    <a:pt x="48" y="90"/>
                  </a:lnTo>
                  <a:lnTo>
                    <a:pt x="42" y="90"/>
                  </a:lnTo>
                  <a:lnTo>
                    <a:pt x="42" y="84"/>
                  </a:lnTo>
                  <a:lnTo>
                    <a:pt x="42" y="90"/>
                  </a:lnTo>
                  <a:lnTo>
                    <a:pt x="42" y="84"/>
                  </a:lnTo>
                  <a:lnTo>
                    <a:pt x="42" y="78"/>
                  </a:lnTo>
                  <a:lnTo>
                    <a:pt x="42" y="72"/>
                  </a:lnTo>
                  <a:lnTo>
                    <a:pt x="36" y="72"/>
                  </a:lnTo>
                  <a:lnTo>
                    <a:pt x="30" y="72"/>
                  </a:lnTo>
                  <a:lnTo>
                    <a:pt x="30" y="66"/>
                  </a:lnTo>
                  <a:lnTo>
                    <a:pt x="24" y="66"/>
                  </a:lnTo>
                  <a:lnTo>
                    <a:pt x="30" y="66"/>
                  </a:lnTo>
                  <a:lnTo>
                    <a:pt x="24" y="66"/>
                  </a:lnTo>
                  <a:lnTo>
                    <a:pt x="24" y="60"/>
                  </a:lnTo>
                  <a:lnTo>
                    <a:pt x="30" y="60"/>
                  </a:lnTo>
                  <a:lnTo>
                    <a:pt x="24" y="60"/>
                  </a:lnTo>
                  <a:lnTo>
                    <a:pt x="30" y="60"/>
                  </a:lnTo>
                  <a:lnTo>
                    <a:pt x="30" y="54"/>
                  </a:lnTo>
                  <a:lnTo>
                    <a:pt x="30" y="48"/>
                  </a:lnTo>
                  <a:lnTo>
                    <a:pt x="30" y="42"/>
                  </a:lnTo>
                  <a:lnTo>
                    <a:pt x="24" y="42"/>
                  </a:lnTo>
                  <a:lnTo>
                    <a:pt x="24" y="48"/>
                  </a:lnTo>
                  <a:lnTo>
                    <a:pt x="24" y="42"/>
                  </a:lnTo>
                  <a:lnTo>
                    <a:pt x="30" y="42"/>
                  </a:lnTo>
                  <a:lnTo>
                    <a:pt x="24" y="42"/>
                  </a:lnTo>
                  <a:lnTo>
                    <a:pt x="30" y="42"/>
                  </a:lnTo>
                  <a:lnTo>
                    <a:pt x="30" y="36"/>
                  </a:lnTo>
                  <a:lnTo>
                    <a:pt x="36" y="36"/>
                  </a:lnTo>
                  <a:lnTo>
                    <a:pt x="36" y="30"/>
                  </a:lnTo>
                  <a:lnTo>
                    <a:pt x="42" y="30"/>
                  </a:lnTo>
                  <a:lnTo>
                    <a:pt x="42" y="24"/>
                  </a:lnTo>
                  <a:lnTo>
                    <a:pt x="48" y="24"/>
                  </a:lnTo>
                  <a:lnTo>
                    <a:pt x="48" y="18"/>
                  </a:lnTo>
                  <a:lnTo>
                    <a:pt x="54" y="18"/>
                  </a:lnTo>
                  <a:lnTo>
                    <a:pt x="54" y="12"/>
                  </a:lnTo>
                  <a:lnTo>
                    <a:pt x="60" y="12"/>
                  </a:lnTo>
                  <a:lnTo>
                    <a:pt x="66" y="12"/>
                  </a:lnTo>
                  <a:lnTo>
                    <a:pt x="66" y="18"/>
                  </a:lnTo>
                  <a:lnTo>
                    <a:pt x="72" y="18"/>
                  </a:lnTo>
                  <a:lnTo>
                    <a:pt x="72" y="24"/>
                  </a:lnTo>
                  <a:lnTo>
                    <a:pt x="78" y="24"/>
                  </a:lnTo>
                  <a:lnTo>
                    <a:pt x="84" y="24"/>
                  </a:lnTo>
                  <a:lnTo>
                    <a:pt x="84" y="30"/>
                  </a:lnTo>
                  <a:lnTo>
                    <a:pt x="90" y="30"/>
                  </a:lnTo>
                  <a:lnTo>
                    <a:pt x="90" y="24"/>
                  </a:lnTo>
                  <a:lnTo>
                    <a:pt x="90" y="18"/>
                  </a:lnTo>
                  <a:lnTo>
                    <a:pt x="96" y="18"/>
                  </a:lnTo>
                  <a:lnTo>
                    <a:pt x="102" y="18"/>
                  </a:lnTo>
                  <a:lnTo>
                    <a:pt x="108" y="18"/>
                  </a:lnTo>
                  <a:lnTo>
                    <a:pt x="114" y="18"/>
                  </a:lnTo>
                  <a:lnTo>
                    <a:pt x="114" y="12"/>
                  </a:lnTo>
                  <a:lnTo>
                    <a:pt x="108" y="12"/>
                  </a:lnTo>
                  <a:lnTo>
                    <a:pt x="108" y="6"/>
                  </a:lnTo>
                  <a:lnTo>
                    <a:pt x="108" y="0"/>
                  </a:lnTo>
                  <a:lnTo>
                    <a:pt x="114" y="0"/>
                  </a:lnTo>
                  <a:lnTo>
                    <a:pt x="114" y="6"/>
                  </a:lnTo>
                  <a:lnTo>
                    <a:pt x="120" y="6"/>
                  </a:lnTo>
                  <a:lnTo>
                    <a:pt x="126" y="6"/>
                  </a:lnTo>
                  <a:lnTo>
                    <a:pt x="120" y="0"/>
                  </a:lnTo>
                  <a:lnTo>
                    <a:pt x="126" y="0"/>
                  </a:lnTo>
                  <a:lnTo>
                    <a:pt x="132" y="0"/>
                  </a:lnTo>
                  <a:lnTo>
                    <a:pt x="132" y="6"/>
                  </a:lnTo>
                  <a:lnTo>
                    <a:pt x="138" y="6"/>
                  </a:lnTo>
                  <a:lnTo>
                    <a:pt x="132" y="6"/>
                  </a:lnTo>
                  <a:lnTo>
                    <a:pt x="132" y="12"/>
                  </a:lnTo>
                  <a:lnTo>
                    <a:pt x="138" y="12"/>
                  </a:lnTo>
                  <a:lnTo>
                    <a:pt x="138" y="18"/>
                  </a:lnTo>
                  <a:lnTo>
                    <a:pt x="138" y="24"/>
                  </a:lnTo>
                  <a:lnTo>
                    <a:pt x="132" y="24"/>
                  </a:lnTo>
                  <a:lnTo>
                    <a:pt x="138" y="24"/>
                  </a:lnTo>
                  <a:lnTo>
                    <a:pt x="138" y="30"/>
                  </a:lnTo>
                  <a:lnTo>
                    <a:pt x="144" y="30"/>
                  </a:lnTo>
                  <a:lnTo>
                    <a:pt x="150" y="30"/>
                  </a:lnTo>
                  <a:lnTo>
                    <a:pt x="150" y="24"/>
                  </a:lnTo>
                  <a:lnTo>
                    <a:pt x="150" y="18"/>
                  </a:lnTo>
                  <a:lnTo>
                    <a:pt x="156" y="18"/>
                  </a:lnTo>
                  <a:lnTo>
                    <a:pt x="162" y="18"/>
                  </a:lnTo>
                  <a:lnTo>
                    <a:pt x="162" y="12"/>
                  </a:lnTo>
                  <a:lnTo>
                    <a:pt x="168" y="12"/>
                  </a:lnTo>
                  <a:lnTo>
                    <a:pt x="174" y="12"/>
                  </a:lnTo>
                  <a:lnTo>
                    <a:pt x="174" y="18"/>
                  </a:lnTo>
                  <a:lnTo>
                    <a:pt x="180" y="18"/>
                  </a:lnTo>
                  <a:lnTo>
                    <a:pt x="180" y="24"/>
                  </a:lnTo>
                  <a:lnTo>
                    <a:pt x="186" y="24"/>
                  </a:lnTo>
                  <a:lnTo>
                    <a:pt x="192" y="24"/>
                  </a:lnTo>
                  <a:lnTo>
                    <a:pt x="192" y="30"/>
                  </a:lnTo>
                  <a:lnTo>
                    <a:pt x="198" y="30"/>
                  </a:lnTo>
                  <a:lnTo>
                    <a:pt x="192" y="30"/>
                  </a:lnTo>
                  <a:lnTo>
                    <a:pt x="198" y="30"/>
                  </a:lnTo>
                  <a:lnTo>
                    <a:pt x="198" y="36"/>
                  </a:lnTo>
                  <a:lnTo>
                    <a:pt x="198" y="30"/>
                  </a:lnTo>
                  <a:lnTo>
                    <a:pt x="198" y="36"/>
                  </a:lnTo>
                  <a:lnTo>
                    <a:pt x="198" y="30"/>
                  </a:lnTo>
                  <a:lnTo>
                    <a:pt x="198" y="36"/>
                  </a:lnTo>
                  <a:lnTo>
                    <a:pt x="204" y="36"/>
                  </a:lnTo>
                  <a:lnTo>
                    <a:pt x="198" y="36"/>
                  </a:lnTo>
                  <a:lnTo>
                    <a:pt x="204" y="36"/>
                  </a:lnTo>
                  <a:lnTo>
                    <a:pt x="204" y="42"/>
                  </a:lnTo>
                  <a:lnTo>
                    <a:pt x="204" y="48"/>
                  </a:lnTo>
                  <a:lnTo>
                    <a:pt x="210" y="48"/>
                  </a:lnTo>
                  <a:lnTo>
                    <a:pt x="216" y="48"/>
                  </a:lnTo>
                  <a:lnTo>
                    <a:pt x="216" y="54"/>
                  </a:lnTo>
                  <a:lnTo>
                    <a:pt x="210" y="54"/>
                  </a:lnTo>
                  <a:lnTo>
                    <a:pt x="216" y="54"/>
                  </a:lnTo>
                  <a:lnTo>
                    <a:pt x="216" y="60"/>
                  </a:lnTo>
                  <a:lnTo>
                    <a:pt x="222" y="60"/>
                  </a:lnTo>
                  <a:lnTo>
                    <a:pt x="222" y="54"/>
                  </a:lnTo>
                  <a:lnTo>
                    <a:pt x="222" y="60"/>
                  </a:lnTo>
                  <a:lnTo>
                    <a:pt x="228" y="60"/>
                  </a:lnTo>
                  <a:lnTo>
                    <a:pt x="228" y="54"/>
                  </a:lnTo>
                  <a:lnTo>
                    <a:pt x="228" y="60"/>
                  </a:lnTo>
                  <a:lnTo>
                    <a:pt x="234" y="60"/>
                  </a:lnTo>
                  <a:lnTo>
                    <a:pt x="240" y="60"/>
                  </a:lnTo>
                  <a:lnTo>
                    <a:pt x="234" y="60"/>
                  </a:lnTo>
                  <a:lnTo>
                    <a:pt x="240" y="60"/>
                  </a:lnTo>
                  <a:lnTo>
                    <a:pt x="240" y="54"/>
                  </a:lnTo>
                  <a:lnTo>
                    <a:pt x="246" y="54"/>
                  </a:lnTo>
                  <a:lnTo>
                    <a:pt x="252" y="48"/>
                  </a:lnTo>
                  <a:lnTo>
                    <a:pt x="252" y="54"/>
                  </a:lnTo>
                  <a:lnTo>
                    <a:pt x="258" y="54"/>
                  </a:lnTo>
                  <a:lnTo>
                    <a:pt x="258" y="48"/>
                  </a:lnTo>
                  <a:lnTo>
                    <a:pt x="264" y="48"/>
                  </a:lnTo>
                  <a:lnTo>
                    <a:pt x="270" y="48"/>
                  </a:lnTo>
                  <a:lnTo>
                    <a:pt x="270" y="42"/>
                  </a:lnTo>
                  <a:lnTo>
                    <a:pt x="276" y="42"/>
                  </a:lnTo>
                  <a:lnTo>
                    <a:pt x="282" y="42"/>
                  </a:lnTo>
                  <a:lnTo>
                    <a:pt x="288" y="42"/>
                  </a:lnTo>
                  <a:lnTo>
                    <a:pt x="294" y="42"/>
                  </a:lnTo>
                  <a:lnTo>
                    <a:pt x="294" y="48"/>
                  </a:lnTo>
                  <a:lnTo>
                    <a:pt x="300" y="48"/>
                  </a:lnTo>
                  <a:lnTo>
                    <a:pt x="300" y="42"/>
                  </a:lnTo>
                  <a:lnTo>
                    <a:pt x="300" y="48"/>
                  </a:lnTo>
                  <a:lnTo>
                    <a:pt x="306" y="48"/>
                  </a:lnTo>
                  <a:lnTo>
                    <a:pt x="306" y="54"/>
                  </a:lnTo>
                  <a:lnTo>
                    <a:pt x="312" y="54"/>
                  </a:lnTo>
                  <a:lnTo>
                    <a:pt x="312" y="60"/>
                  </a:lnTo>
                  <a:lnTo>
                    <a:pt x="318" y="60"/>
                  </a:lnTo>
                  <a:lnTo>
                    <a:pt x="318" y="66"/>
                  </a:lnTo>
                  <a:lnTo>
                    <a:pt x="324" y="72"/>
                  </a:lnTo>
                  <a:lnTo>
                    <a:pt x="330" y="72"/>
                  </a:lnTo>
                  <a:lnTo>
                    <a:pt x="330" y="66"/>
                  </a:lnTo>
                  <a:lnTo>
                    <a:pt x="330" y="72"/>
                  </a:lnTo>
                  <a:lnTo>
                    <a:pt x="330" y="78"/>
                  </a:lnTo>
                  <a:lnTo>
                    <a:pt x="330" y="84"/>
                  </a:lnTo>
                  <a:lnTo>
                    <a:pt x="330" y="90"/>
                  </a:lnTo>
                  <a:lnTo>
                    <a:pt x="324" y="90"/>
                  </a:lnTo>
                  <a:lnTo>
                    <a:pt x="324" y="96"/>
                  </a:lnTo>
                  <a:lnTo>
                    <a:pt x="330" y="96"/>
                  </a:lnTo>
                  <a:lnTo>
                    <a:pt x="330" y="102"/>
                  </a:lnTo>
                  <a:lnTo>
                    <a:pt x="336" y="102"/>
                  </a:lnTo>
                  <a:lnTo>
                    <a:pt x="336" y="108"/>
                  </a:lnTo>
                  <a:lnTo>
                    <a:pt x="336" y="114"/>
                  </a:lnTo>
                  <a:lnTo>
                    <a:pt x="336" y="120"/>
                  </a:lnTo>
                  <a:lnTo>
                    <a:pt x="336" y="126"/>
                  </a:lnTo>
                  <a:lnTo>
                    <a:pt x="342" y="126"/>
                  </a:lnTo>
                  <a:lnTo>
                    <a:pt x="342" y="132"/>
                  </a:lnTo>
                  <a:lnTo>
                    <a:pt x="342" y="138"/>
                  </a:lnTo>
                  <a:lnTo>
                    <a:pt x="342" y="144"/>
                  </a:lnTo>
                  <a:lnTo>
                    <a:pt x="336" y="144"/>
                  </a:lnTo>
                  <a:lnTo>
                    <a:pt x="336" y="150"/>
                  </a:lnTo>
                  <a:lnTo>
                    <a:pt x="330" y="150"/>
                  </a:lnTo>
                  <a:lnTo>
                    <a:pt x="330" y="156"/>
                  </a:lnTo>
                  <a:lnTo>
                    <a:pt x="324" y="156"/>
                  </a:lnTo>
                  <a:lnTo>
                    <a:pt x="324" y="162"/>
                  </a:lnTo>
                  <a:lnTo>
                    <a:pt x="324" y="168"/>
                  </a:lnTo>
                  <a:lnTo>
                    <a:pt x="318" y="168"/>
                  </a:lnTo>
                  <a:lnTo>
                    <a:pt x="318" y="174"/>
                  </a:lnTo>
                  <a:lnTo>
                    <a:pt x="318" y="180"/>
                  </a:lnTo>
                  <a:lnTo>
                    <a:pt x="318" y="186"/>
                  </a:lnTo>
                  <a:lnTo>
                    <a:pt x="318" y="192"/>
                  </a:lnTo>
                  <a:lnTo>
                    <a:pt x="312" y="192"/>
                  </a:lnTo>
                  <a:lnTo>
                    <a:pt x="318" y="198"/>
                  </a:lnTo>
                  <a:lnTo>
                    <a:pt x="312" y="198"/>
                  </a:lnTo>
                  <a:lnTo>
                    <a:pt x="312" y="204"/>
                  </a:lnTo>
                  <a:lnTo>
                    <a:pt x="306" y="204"/>
                  </a:lnTo>
                  <a:lnTo>
                    <a:pt x="306" y="210"/>
                  </a:lnTo>
                  <a:lnTo>
                    <a:pt x="300" y="216"/>
                  </a:lnTo>
                  <a:lnTo>
                    <a:pt x="300" y="222"/>
                  </a:lnTo>
                  <a:lnTo>
                    <a:pt x="300" y="228"/>
                  </a:lnTo>
                  <a:lnTo>
                    <a:pt x="300" y="234"/>
                  </a:lnTo>
                  <a:lnTo>
                    <a:pt x="300" y="240"/>
                  </a:lnTo>
                  <a:lnTo>
                    <a:pt x="300" y="246"/>
                  </a:lnTo>
                  <a:lnTo>
                    <a:pt x="306" y="246"/>
                  </a:lnTo>
                  <a:lnTo>
                    <a:pt x="306" y="252"/>
                  </a:lnTo>
                  <a:lnTo>
                    <a:pt x="306" y="258"/>
                  </a:lnTo>
                  <a:lnTo>
                    <a:pt x="306" y="264"/>
                  </a:lnTo>
                  <a:lnTo>
                    <a:pt x="312" y="264"/>
                  </a:lnTo>
                  <a:lnTo>
                    <a:pt x="312" y="270"/>
                  </a:lnTo>
                  <a:lnTo>
                    <a:pt x="312" y="276"/>
                  </a:lnTo>
                  <a:lnTo>
                    <a:pt x="312" y="282"/>
                  </a:lnTo>
                  <a:lnTo>
                    <a:pt x="318" y="282"/>
                  </a:lnTo>
                  <a:lnTo>
                    <a:pt x="318" y="288"/>
                  </a:lnTo>
                  <a:lnTo>
                    <a:pt x="318" y="282"/>
                  </a:lnTo>
                  <a:lnTo>
                    <a:pt x="324" y="282"/>
                  </a:lnTo>
                  <a:lnTo>
                    <a:pt x="324" y="288"/>
                  </a:lnTo>
                  <a:lnTo>
                    <a:pt x="324" y="294"/>
                  </a:lnTo>
                  <a:lnTo>
                    <a:pt x="330" y="294"/>
                  </a:lnTo>
                  <a:lnTo>
                    <a:pt x="330" y="300"/>
                  </a:lnTo>
                  <a:lnTo>
                    <a:pt x="324" y="300"/>
                  </a:lnTo>
                  <a:lnTo>
                    <a:pt x="324" y="306"/>
                  </a:lnTo>
                  <a:lnTo>
                    <a:pt x="330" y="306"/>
                  </a:lnTo>
                  <a:lnTo>
                    <a:pt x="324" y="306"/>
                  </a:lnTo>
                  <a:lnTo>
                    <a:pt x="330" y="306"/>
                  </a:lnTo>
                  <a:lnTo>
                    <a:pt x="324" y="306"/>
                  </a:lnTo>
                  <a:lnTo>
                    <a:pt x="324" y="312"/>
                  </a:lnTo>
                  <a:lnTo>
                    <a:pt x="330" y="312"/>
                  </a:lnTo>
                  <a:lnTo>
                    <a:pt x="324" y="312"/>
                  </a:lnTo>
                  <a:lnTo>
                    <a:pt x="324" y="318"/>
                  </a:lnTo>
                  <a:lnTo>
                    <a:pt x="324" y="312"/>
                  </a:lnTo>
                  <a:lnTo>
                    <a:pt x="324" y="318"/>
                  </a:lnTo>
                  <a:lnTo>
                    <a:pt x="324" y="312"/>
                  </a:lnTo>
                  <a:lnTo>
                    <a:pt x="318" y="312"/>
                  </a:lnTo>
                  <a:lnTo>
                    <a:pt x="318" y="318"/>
                  </a:lnTo>
                  <a:lnTo>
                    <a:pt x="312" y="318"/>
                  </a:lnTo>
                  <a:lnTo>
                    <a:pt x="312" y="312"/>
                  </a:lnTo>
                  <a:lnTo>
                    <a:pt x="306" y="312"/>
                  </a:lnTo>
                  <a:lnTo>
                    <a:pt x="306" y="318"/>
                  </a:lnTo>
                  <a:close/>
                  <a:moveTo>
                    <a:pt x="138" y="324"/>
                  </a:moveTo>
                  <a:lnTo>
                    <a:pt x="144" y="324"/>
                  </a:lnTo>
                  <a:lnTo>
                    <a:pt x="138" y="32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8" name="Freeform 16"/>
            <p:cNvSpPr>
              <a:spLocks/>
            </p:cNvSpPr>
            <p:nvPr>
              <p:custDataLst>
                <p:tags r:id="rId16"/>
              </p:custDataLst>
            </p:nvPr>
          </p:nvSpPr>
          <p:spPr bwMode="gray">
            <a:xfrm>
              <a:off x="706675" y="3196036"/>
              <a:ext cx="213563" cy="204715"/>
            </a:xfrm>
            <a:custGeom>
              <a:avLst/>
              <a:gdLst>
                <a:gd name="T0" fmla="*/ 3888 w 234"/>
                <a:gd name="T1" fmla="*/ 28201 h 234"/>
                <a:gd name="T2" fmla="*/ 8748 w 234"/>
                <a:gd name="T3" fmla="*/ 23339 h 234"/>
                <a:gd name="T4" fmla="*/ 14580 w 234"/>
                <a:gd name="T5" fmla="*/ 21394 h 234"/>
                <a:gd name="T6" fmla="*/ 19439 w 234"/>
                <a:gd name="T7" fmla="*/ 17504 h 234"/>
                <a:gd name="T8" fmla="*/ 21384 w 234"/>
                <a:gd name="T9" fmla="*/ 8752 h 234"/>
                <a:gd name="T10" fmla="*/ 26244 w 234"/>
                <a:gd name="T11" fmla="*/ 3890 h 234"/>
                <a:gd name="T12" fmla="*/ 32076 w 234"/>
                <a:gd name="T13" fmla="*/ 1945 h 234"/>
                <a:gd name="T14" fmla="*/ 36936 w 234"/>
                <a:gd name="T15" fmla="*/ 1945 h 234"/>
                <a:gd name="T16" fmla="*/ 38880 w 234"/>
                <a:gd name="T17" fmla="*/ 1945 h 234"/>
                <a:gd name="T18" fmla="*/ 40824 w 234"/>
                <a:gd name="T19" fmla="*/ 8752 h 234"/>
                <a:gd name="T20" fmla="*/ 42767 w 234"/>
                <a:gd name="T21" fmla="*/ 14587 h 234"/>
                <a:gd name="T22" fmla="*/ 42767 w 234"/>
                <a:gd name="T23" fmla="*/ 23339 h 234"/>
                <a:gd name="T24" fmla="*/ 47628 w 234"/>
                <a:gd name="T25" fmla="*/ 23339 h 234"/>
                <a:gd name="T26" fmla="*/ 51515 w 234"/>
                <a:gd name="T27" fmla="*/ 28201 h 234"/>
                <a:gd name="T28" fmla="*/ 56376 w 234"/>
                <a:gd name="T29" fmla="*/ 23339 h 234"/>
                <a:gd name="T30" fmla="*/ 57347 w 234"/>
                <a:gd name="T31" fmla="*/ 17504 h 234"/>
                <a:gd name="T32" fmla="*/ 62207 w 234"/>
                <a:gd name="T33" fmla="*/ 21394 h 234"/>
                <a:gd name="T34" fmla="*/ 62207 w 234"/>
                <a:gd name="T35" fmla="*/ 28201 h 234"/>
                <a:gd name="T36" fmla="*/ 64152 w 234"/>
                <a:gd name="T37" fmla="*/ 34036 h 234"/>
                <a:gd name="T38" fmla="*/ 60263 w 234"/>
                <a:gd name="T39" fmla="*/ 38898 h 234"/>
                <a:gd name="T40" fmla="*/ 57347 w 234"/>
                <a:gd name="T41" fmla="*/ 40843 h 234"/>
                <a:gd name="T42" fmla="*/ 62207 w 234"/>
                <a:gd name="T43" fmla="*/ 42788 h 234"/>
                <a:gd name="T44" fmla="*/ 67067 w 234"/>
                <a:gd name="T45" fmla="*/ 47650 h 234"/>
                <a:gd name="T46" fmla="*/ 70956 w 234"/>
                <a:gd name="T47" fmla="*/ 47650 h 234"/>
                <a:gd name="T48" fmla="*/ 72899 w 234"/>
                <a:gd name="T49" fmla="*/ 44732 h 234"/>
                <a:gd name="T50" fmla="*/ 72899 w 234"/>
                <a:gd name="T51" fmla="*/ 49595 h 234"/>
                <a:gd name="T52" fmla="*/ 76787 w 234"/>
                <a:gd name="T53" fmla="*/ 53484 h 234"/>
                <a:gd name="T54" fmla="*/ 79703 w 234"/>
                <a:gd name="T55" fmla="*/ 56402 h 234"/>
                <a:gd name="T56" fmla="*/ 81647 w 234"/>
                <a:gd name="T57" fmla="*/ 57374 h 234"/>
                <a:gd name="T58" fmla="*/ 83591 w 234"/>
                <a:gd name="T59" fmla="*/ 62236 h 234"/>
                <a:gd name="T60" fmla="*/ 81647 w 234"/>
                <a:gd name="T61" fmla="*/ 64181 h 234"/>
                <a:gd name="T62" fmla="*/ 83591 w 234"/>
                <a:gd name="T63" fmla="*/ 67098 h 234"/>
                <a:gd name="T64" fmla="*/ 79703 w 234"/>
                <a:gd name="T65" fmla="*/ 69043 h 234"/>
                <a:gd name="T66" fmla="*/ 79703 w 234"/>
                <a:gd name="T67" fmla="*/ 76822 h 234"/>
                <a:gd name="T68" fmla="*/ 76787 w 234"/>
                <a:gd name="T69" fmla="*/ 83629 h 234"/>
                <a:gd name="T70" fmla="*/ 72899 w 234"/>
                <a:gd name="T71" fmla="*/ 83629 h 234"/>
                <a:gd name="T72" fmla="*/ 67067 w 234"/>
                <a:gd name="T73" fmla="*/ 81684 h 234"/>
                <a:gd name="T74" fmla="*/ 62207 w 234"/>
                <a:gd name="T75" fmla="*/ 76822 h 234"/>
                <a:gd name="T76" fmla="*/ 56376 w 234"/>
                <a:gd name="T77" fmla="*/ 74878 h 234"/>
                <a:gd name="T78" fmla="*/ 49571 w 234"/>
                <a:gd name="T79" fmla="*/ 72933 h 234"/>
                <a:gd name="T80" fmla="*/ 44711 w 234"/>
                <a:gd name="T81" fmla="*/ 69043 h 234"/>
                <a:gd name="T82" fmla="*/ 44711 w 234"/>
                <a:gd name="T83" fmla="*/ 69043 h 234"/>
                <a:gd name="T84" fmla="*/ 42767 w 234"/>
                <a:gd name="T85" fmla="*/ 67098 h 234"/>
                <a:gd name="T86" fmla="*/ 40824 w 234"/>
                <a:gd name="T87" fmla="*/ 64181 h 234"/>
                <a:gd name="T88" fmla="*/ 38880 w 234"/>
                <a:gd name="T89" fmla="*/ 62236 h 234"/>
                <a:gd name="T90" fmla="*/ 34020 w 234"/>
                <a:gd name="T91" fmla="*/ 57374 h 234"/>
                <a:gd name="T92" fmla="*/ 30132 w 234"/>
                <a:gd name="T93" fmla="*/ 53484 h 234"/>
                <a:gd name="T94" fmla="*/ 28187 w 234"/>
                <a:gd name="T95" fmla="*/ 53484 h 234"/>
                <a:gd name="T96" fmla="*/ 26244 w 234"/>
                <a:gd name="T97" fmla="*/ 51540 h 234"/>
                <a:gd name="T98" fmla="*/ 21384 w 234"/>
                <a:gd name="T99" fmla="*/ 47650 h 234"/>
                <a:gd name="T100" fmla="*/ 14580 w 234"/>
                <a:gd name="T101" fmla="*/ 44732 h 234"/>
                <a:gd name="T102" fmla="*/ 14580 w 234"/>
                <a:gd name="T103" fmla="*/ 44732 h 234"/>
                <a:gd name="T104" fmla="*/ 10692 w 234"/>
                <a:gd name="T105" fmla="*/ 40843 h 234"/>
                <a:gd name="T106" fmla="*/ 8748 w 234"/>
                <a:gd name="T107" fmla="*/ 38898 h 234"/>
                <a:gd name="T108" fmla="*/ 1944 w 234"/>
                <a:gd name="T109" fmla="*/ 36953 h 234"/>
                <a:gd name="T110" fmla="*/ 1944 w 234"/>
                <a:gd name="T111" fmla="*/ 34036 h 2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4" h="234">
                  <a:moveTo>
                    <a:pt x="6" y="90"/>
                  </a:moveTo>
                  <a:lnTo>
                    <a:pt x="12" y="90"/>
                  </a:lnTo>
                  <a:lnTo>
                    <a:pt x="12" y="84"/>
                  </a:lnTo>
                  <a:lnTo>
                    <a:pt x="12" y="78"/>
                  </a:lnTo>
                  <a:lnTo>
                    <a:pt x="18" y="78"/>
                  </a:lnTo>
                  <a:lnTo>
                    <a:pt x="18" y="72"/>
                  </a:lnTo>
                  <a:lnTo>
                    <a:pt x="24" y="72"/>
                  </a:lnTo>
                  <a:lnTo>
                    <a:pt x="24" y="66"/>
                  </a:lnTo>
                  <a:lnTo>
                    <a:pt x="30" y="66"/>
                  </a:lnTo>
                  <a:lnTo>
                    <a:pt x="30" y="60"/>
                  </a:lnTo>
                  <a:lnTo>
                    <a:pt x="36" y="60"/>
                  </a:lnTo>
                  <a:lnTo>
                    <a:pt x="42" y="60"/>
                  </a:lnTo>
                  <a:lnTo>
                    <a:pt x="42" y="54"/>
                  </a:lnTo>
                  <a:lnTo>
                    <a:pt x="42" y="48"/>
                  </a:lnTo>
                  <a:lnTo>
                    <a:pt x="48" y="48"/>
                  </a:lnTo>
                  <a:lnTo>
                    <a:pt x="54" y="48"/>
                  </a:lnTo>
                  <a:lnTo>
                    <a:pt x="54" y="36"/>
                  </a:lnTo>
                  <a:lnTo>
                    <a:pt x="54" y="30"/>
                  </a:lnTo>
                  <a:lnTo>
                    <a:pt x="54" y="24"/>
                  </a:lnTo>
                  <a:lnTo>
                    <a:pt x="60" y="24"/>
                  </a:lnTo>
                  <a:lnTo>
                    <a:pt x="66" y="24"/>
                  </a:lnTo>
                  <a:lnTo>
                    <a:pt x="66" y="18"/>
                  </a:lnTo>
                  <a:lnTo>
                    <a:pt x="66" y="12"/>
                  </a:lnTo>
                  <a:lnTo>
                    <a:pt x="72" y="12"/>
                  </a:lnTo>
                  <a:lnTo>
                    <a:pt x="72" y="6"/>
                  </a:lnTo>
                  <a:lnTo>
                    <a:pt x="78" y="6"/>
                  </a:lnTo>
                  <a:lnTo>
                    <a:pt x="84" y="6"/>
                  </a:lnTo>
                  <a:lnTo>
                    <a:pt x="90" y="6"/>
                  </a:lnTo>
                  <a:lnTo>
                    <a:pt x="96" y="6"/>
                  </a:lnTo>
                  <a:lnTo>
                    <a:pt x="96" y="0"/>
                  </a:lnTo>
                  <a:lnTo>
                    <a:pt x="102" y="0"/>
                  </a:lnTo>
                  <a:lnTo>
                    <a:pt x="102" y="6"/>
                  </a:lnTo>
                  <a:lnTo>
                    <a:pt x="108" y="6"/>
                  </a:lnTo>
                  <a:lnTo>
                    <a:pt x="102" y="12"/>
                  </a:lnTo>
                  <a:lnTo>
                    <a:pt x="108" y="12"/>
                  </a:lnTo>
                  <a:lnTo>
                    <a:pt x="108" y="6"/>
                  </a:lnTo>
                  <a:lnTo>
                    <a:pt x="108" y="12"/>
                  </a:lnTo>
                  <a:lnTo>
                    <a:pt x="114" y="12"/>
                  </a:lnTo>
                  <a:lnTo>
                    <a:pt x="114" y="18"/>
                  </a:lnTo>
                  <a:lnTo>
                    <a:pt x="114" y="24"/>
                  </a:lnTo>
                  <a:lnTo>
                    <a:pt x="114" y="30"/>
                  </a:lnTo>
                  <a:lnTo>
                    <a:pt x="120" y="30"/>
                  </a:lnTo>
                  <a:lnTo>
                    <a:pt x="120" y="36"/>
                  </a:lnTo>
                  <a:lnTo>
                    <a:pt x="120" y="42"/>
                  </a:lnTo>
                  <a:lnTo>
                    <a:pt x="120" y="48"/>
                  </a:lnTo>
                  <a:lnTo>
                    <a:pt x="120" y="54"/>
                  </a:lnTo>
                  <a:lnTo>
                    <a:pt x="120" y="60"/>
                  </a:lnTo>
                  <a:lnTo>
                    <a:pt x="120" y="66"/>
                  </a:lnTo>
                  <a:lnTo>
                    <a:pt x="114" y="66"/>
                  </a:lnTo>
                  <a:lnTo>
                    <a:pt x="120" y="66"/>
                  </a:lnTo>
                  <a:lnTo>
                    <a:pt x="126" y="66"/>
                  </a:lnTo>
                  <a:lnTo>
                    <a:pt x="132" y="66"/>
                  </a:lnTo>
                  <a:lnTo>
                    <a:pt x="132" y="72"/>
                  </a:lnTo>
                  <a:lnTo>
                    <a:pt x="138" y="72"/>
                  </a:lnTo>
                  <a:lnTo>
                    <a:pt x="138" y="78"/>
                  </a:lnTo>
                  <a:lnTo>
                    <a:pt x="144" y="78"/>
                  </a:lnTo>
                  <a:lnTo>
                    <a:pt x="144" y="72"/>
                  </a:lnTo>
                  <a:lnTo>
                    <a:pt x="150" y="72"/>
                  </a:lnTo>
                  <a:lnTo>
                    <a:pt x="150" y="66"/>
                  </a:lnTo>
                  <a:lnTo>
                    <a:pt x="156" y="66"/>
                  </a:lnTo>
                  <a:lnTo>
                    <a:pt x="156" y="60"/>
                  </a:lnTo>
                  <a:lnTo>
                    <a:pt x="156" y="54"/>
                  </a:lnTo>
                  <a:lnTo>
                    <a:pt x="162" y="54"/>
                  </a:lnTo>
                  <a:lnTo>
                    <a:pt x="162" y="48"/>
                  </a:lnTo>
                  <a:lnTo>
                    <a:pt x="168" y="48"/>
                  </a:lnTo>
                  <a:lnTo>
                    <a:pt x="168" y="54"/>
                  </a:lnTo>
                  <a:lnTo>
                    <a:pt x="168" y="60"/>
                  </a:lnTo>
                  <a:lnTo>
                    <a:pt x="174" y="60"/>
                  </a:lnTo>
                  <a:lnTo>
                    <a:pt x="174" y="66"/>
                  </a:lnTo>
                  <a:lnTo>
                    <a:pt x="174" y="72"/>
                  </a:lnTo>
                  <a:lnTo>
                    <a:pt x="180" y="72"/>
                  </a:lnTo>
                  <a:lnTo>
                    <a:pt x="174" y="78"/>
                  </a:lnTo>
                  <a:lnTo>
                    <a:pt x="180" y="78"/>
                  </a:lnTo>
                  <a:lnTo>
                    <a:pt x="180" y="84"/>
                  </a:lnTo>
                  <a:lnTo>
                    <a:pt x="180" y="90"/>
                  </a:lnTo>
                  <a:lnTo>
                    <a:pt x="180" y="96"/>
                  </a:lnTo>
                  <a:lnTo>
                    <a:pt x="180" y="102"/>
                  </a:lnTo>
                  <a:lnTo>
                    <a:pt x="174" y="102"/>
                  </a:lnTo>
                  <a:lnTo>
                    <a:pt x="174" y="108"/>
                  </a:lnTo>
                  <a:lnTo>
                    <a:pt x="168" y="108"/>
                  </a:lnTo>
                  <a:lnTo>
                    <a:pt x="168" y="114"/>
                  </a:lnTo>
                  <a:lnTo>
                    <a:pt x="168" y="108"/>
                  </a:lnTo>
                  <a:lnTo>
                    <a:pt x="168" y="114"/>
                  </a:lnTo>
                  <a:lnTo>
                    <a:pt x="162" y="114"/>
                  </a:lnTo>
                  <a:lnTo>
                    <a:pt x="162" y="120"/>
                  </a:lnTo>
                  <a:lnTo>
                    <a:pt x="168" y="114"/>
                  </a:lnTo>
                  <a:lnTo>
                    <a:pt x="168" y="120"/>
                  </a:lnTo>
                  <a:lnTo>
                    <a:pt x="174" y="120"/>
                  </a:lnTo>
                  <a:lnTo>
                    <a:pt x="174" y="126"/>
                  </a:lnTo>
                  <a:lnTo>
                    <a:pt x="180" y="126"/>
                  </a:lnTo>
                  <a:lnTo>
                    <a:pt x="186" y="126"/>
                  </a:lnTo>
                  <a:lnTo>
                    <a:pt x="186" y="132"/>
                  </a:lnTo>
                  <a:lnTo>
                    <a:pt x="192" y="132"/>
                  </a:lnTo>
                  <a:lnTo>
                    <a:pt x="192" y="126"/>
                  </a:lnTo>
                  <a:lnTo>
                    <a:pt x="198" y="126"/>
                  </a:lnTo>
                  <a:lnTo>
                    <a:pt x="198" y="132"/>
                  </a:lnTo>
                  <a:lnTo>
                    <a:pt x="198" y="126"/>
                  </a:lnTo>
                  <a:lnTo>
                    <a:pt x="198" y="132"/>
                  </a:lnTo>
                  <a:lnTo>
                    <a:pt x="204" y="132"/>
                  </a:lnTo>
                  <a:lnTo>
                    <a:pt x="204" y="126"/>
                  </a:lnTo>
                  <a:lnTo>
                    <a:pt x="204" y="132"/>
                  </a:lnTo>
                  <a:lnTo>
                    <a:pt x="210" y="132"/>
                  </a:lnTo>
                  <a:lnTo>
                    <a:pt x="204" y="132"/>
                  </a:lnTo>
                  <a:lnTo>
                    <a:pt x="204" y="138"/>
                  </a:lnTo>
                  <a:lnTo>
                    <a:pt x="210" y="138"/>
                  </a:lnTo>
                  <a:lnTo>
                    <a:pt x="210" y="144"/>
                  </a:lnTo>
                  <a:lnTo>
                    <a:pt x="210" y="150"/>
                  </a:lnTo>
                  <a:lnTo>
                    <a:pt x="216" y="150"/>
                  </a:lnTo>
                  <a:lnTo>
                    <a:pt x="222" y="150"/>
                  </a:lnTo>
                  <a:lnTo>
                    <a:pt x="222" y="156"/>
                  </a:lnTo>
                  <a:lnTo>
                    <a:pt x="222" y="150"/>
                  </a:lnTo>
                  <a:lnTo>
                    <a:pt x="222" y="156"/>
                  </a:lnTo>
                  <a:lnTo>
                    <a:pt x="228" y="156"/>
                  </a:lnTo>
                  <a:lnTo>
                    <a:pt x="228" y="150"/>
                  </a:lnTo>
                  <a:lnTo>
                    <a:pt x="228" y="156"/>
                  </a:lnTo>
                  <a:lnTo>
                    <a:pt x="228" y="162"/>
                  </a:lnTo>
                  <a:lnTo>
                    <a:pt x="228" y="168"/>
                  </a:lnTo>
                  <a:lnTo>
                    <a:pt x="234" y="168"/>
                  </a:lnTo>
                  <a:lnTo>
                    <a:pt x="228" y="168"/>
                  </a:lnTo>
                  <a:lnTo>
                    <a:pt x="234" y="174"/>
                  </a:lnTo>
                  <a:lnTo>
                    <a:pt x="228" y="174"/>
                  </a:lnTo>
                  <a:lnTo>
                    <a:pt x="234" y="174"/>
                  </a:lnTo>
                  <a:lnTo>
                    <a:pt x="228" y="174"/>
                  </a:lnTo>
                  <a:lnTo>
                    <a:pt x="228" y="180"/>
                  </a:lnTo>
                  <a:lnTo>
                    <a:pt x="228" y="174"/>
                  </a:lnTo>
                  <a:lnTo>
                    <a:pt x="228" y="180"/>
                  </a:lnTo>
                  <a:lnTo>
                    <a:pt x="234" y="180"/>
                  </a:lnTo>
                  <a:lnTo>
                    <a:pt x="234" y="186"/>
                  </a:lnTo>
                  <a:lnTo>
                    <a:pt x="228" y="186"/>
                  </a:lnTo>
                  <a:lnTo>
                    <a:pt x="228" y="192"/>
                  </a:lnTo>
                  <a:lnTo>
                    <a:pt x="222" y="198"/>
                  </a:lnTo>
                  <a:lnTo>
                    <a:pt x="222" y="192"/>
                  </a:lnTo>
                  <a:lnTo>
                    <a:pt x="222" y="198"/>
                  </a:lnTo>
                  <a:lnTo>
                    <a:pt x="222" y="204"/>
                  </a:lnTo>
                  <a:lnTo>
                    <a:pt x="222" y="210"/>
                  </a:lnTo>
                  <a:lnTo>
                    <a:pt x="222" y="216"/>
                  </a:lnTo>
                  <a:lnTo>
                    <a:pt x="222" y="222"/>
                  </a:lnTo>
                  <a:lnTo>
                    <a:pt x="222" y="228"/>
                  </a:lnTo>
                  <a:lnTo>
                    <a:pt x="222" y="234"/>
                  </a:lnTo>
                  <a:lnTo>
                    <a:pt x="216" y="234"/>
                  </a:lnTo>
                  <a:lnTo>
                    <a:pt x="210" y="234"/>
                  </a:lnTo>
                  <a:lnTo>
                    <a:pt x="204" y="234"/>
                  </a:lnTo>
                  <a:lnTo>
                    <a:pt x="210" y="234"/>
                  </a:lnTo>
                  <a:lnTo>
                    <a:pt x="204" y="234"/>
                  </a:lnTo>
                  <a:lnTo>
                    <a:pt x="204" y="228"/>
                  </a:lnTo>
                  <a:lnTo>
                    <a:pt x="198" y="228"/>
                  </a:lnTo>
                  <a:lnTo>
                    <a:pt x="192" y="228"/>
                  </a:lnTo>
                  <a:lnTo>
                    <a:pt x="186" y="228"/>
                  </a:lnTo>
                  <a:lnTo>
                    <a:pt x="186" y="222"/>
                  </a:lnTo>
                  <a:lnTo>
                    <a:pt x="180" y="222"/>
                  </a:lnTo>
                  <a:lnTo>
                    <a:pt x="174" y="222"/>
                  </a:lnTo>
                  <a:lnTo>
                    <a:pt x="174" y="216"/>
                  </a:lnTo>
                  <a:lnTo>
                    <a:pt x="168" y="216"/>
                  </a:lnTo>
                  <a:lnTo>
                    <a:pt x="162" y="216"/>
                  </a:lnTo>
                  <a:lnTo>
                    <a:pt x="162" y="210"/>
                  </a:lnTo>
                  <a:lnTo>
                    <a:pt x="156" y="210"/>
                  </a:lnTo>
                  <a:lnTo>
                    <a:pt x="150" y="210"/>
                  </a:lnTo>
                  <a:lnTo>
                    <a:pt x="150" y="204"/>
                  </a:lnTo>
                  <a:lnTo>
                    <a:pt x="144" y="204"/>
                  </a:lnTo>
                  <a:lnTo>
                    <a:pt x="138" y="204"/>
                  </a:lnTo>
                  <a:lnTo>
                    <a:pt x="138" y="198"/>
                  </a:lnTo>
                  <a:lnTo>
                    <a:pt x="132" y="198"/>
                  </a:lnTo>
                  <a:lnTo>
                    <a:pt x="132" y="192"/>
                  </a:lnTo>
                  <a:lnTo>
                    <a:pt x="126" y="192"/>
                  </a:lnTo>
                  <a:lnTo>
                    <a:pt x="120" y="192"/>
                  </a:lnTo>
                  <a:lnTo>
                    <a:pt x="120" y="186"/>
                  </a:lnTo>
                  <a:lnTo>
                    <a:pt x="126" y="186"/>
                  </a:lnTo>
                  <a:lnTo>
                    <a:pt x="126" y="192"/>
                  </a:lnTo>
                  <a:lnTo>
                    <a:pt x="126" y="186"/>
                  </a:lnTo>
                  <a:lnTo>
                    <a:pt x="120" y="186"/>
                  </a:lnTo>
                  <a:lnTo>
                    <a:pt x="126" y="186"/>
                  </a:lnTo>
                  <a:lnTo>
                    <a:pt x="120" y="186"/>
                  </a:lnTo>
                  <a:lnTo>
                    <a:pt x="126" y="186"/>
                  </a:lnTo>
                  <a:lnTo>
                    <a:pt x="120" y="186"/>
                  </a:lnTo>
                  <a:lnTo>
                    <a:pt x="114" y="186"/>
                  </a:lnTo>
                  <a:lnTo>
                    <a:pt x="114" y="180"/>
                  </a:lnTo>
                  <a:lnTo>
                    <a:pt x="108" y="180"/>
                  </a:lnTo>
                  <a:lnTo>
                    <a:pt x="108" y="174"/>
                  </a:lnTo>
                  <a:lnTo>
                    <a:pt x="114" y="174"/>
                  </a:lnTo>
                  <a:lnTo>
                    <a:pt x="108" y="174"/>
                  </a:lnTo>
                  <a:lnTo>
                    <a:pt x="102" y="174"/>
                  </a:lnTo>
                  <a:lnTo>
                    <a:pt x="102" y="168"/>
                  </a:lnTo>
                  <a:lnTo>
                    <a:pt x="96" y="168"/>
                  </a:lnTo>
                  <a:lnTo>
                    <a:pt x="96" y="162"/>
                  </a:lnTo>
                  <a:lnTo>
                    <a:pt x="90" y="162"/>
                  </a:lnTo>
                  <a:lnTo>
                    <a:pt x="90" y="156"/>
                  </a:lnTo>
                  <a:lnTo>
                    <a:pt x="84" y="156"/>
                  </a:lnTo>
                  <a:lnTo>
                    <a:pt x="84" y="150"/>
                  </a:lnTo>
                  <a:lnTo>
                    <a:pt x="78" y="144"/>
                  </a:lnTo>
                  <a:lnTo>
                    <a:pt x="84" y="144"/>
                  </a:lnTo>
                  <a:lnTo>
                    <a:pt x="78" y="144"/>
                  </a:lnTo>
                  <a:lnTo>
                    <a:pt x="78" y="150"/>
                  </a:lnTo>
                  <a:lnTo>
                    <a:pt x="84" y="150"/>
                  </a:lnTo>
                  <a:lnTo>
                    <a:pt x="78" y="150"/>
                  </a:lnTo>
                  <a:lnTo>
                    <a:pt x="78" y="144"/>
                  </a:lnTo>
                  <a:lnTo>
                    <a:pt x="72" y="144"/>
                  </a:lnTo>
                  <a:lnTo>
                    <a:pt x="72" y="138"/>
                  </a:lnTo>
                  <a:lnTo>
                    <a:pt x="66" y="138"/>
                  </a:lnTo>
                  <a:lnTo>
                    <a:pt x="60" y="138"/>
                  </a:lnTo>
                  <a:lnTo>
                    <a:pt x="60" y="132"/>
                  </a:lnTo>
                  <a:lnTo>
                    <a:pt x="54" y="132"/>
                  </a:lnTo>
                  <a:lnTo>
                    <a:pt x="48" y="132"/>
                  </a:lnTo>
                  <a:lnTo>
                    <a:pt x="42" y="132"/>
                  </a:lnTo>
                  <a:lnTo>
                    <a:pt x="42" y="126"/>
                  </a:lnTo>
                  <a:lnTo>
                    <a:pt x="42" y="120"/>
                  </a:lnTo>
                  <a:lnTo>
                    <a:pt x="48" y="120"/>
                  </a:lnTo>
                  <a:lnTo>
                    <a:pt x="42" y="120"/>
                  </a:lnTo>
                  <a:lnTo>
                    <a:pt x="42" y="126"/>
                  </a:lnTo>
                  <a:lnTo>
                    <a:pt x="42" y="120"/>
                  </a:lnTo>
                  <a:lnTo>
                    <a:pt x="36" y="120"/>
                  </a:lnTo>
                  <a:lnTo>
                    <a:pt x="36" y="114"/>
                  </a:lnTo>
                  <a:lnTo>
                    <a:pt x="30" y="114"/>
                  </a:lnTo>
                  <a:lnTo>
                    <a:pt x="24" y="114"/>
                  </a:lnTo>
                  <a:lnTo>
                    <a:pt x="24" y="108"/>
                  </a:lnTo>
                  <a:lnTo>
                    <a:pt x="24" y="114"/>
                  </a:lnTo>
                  <a:lnTo>
                    <a:pt x="24" y="108"/>
                  </a:lnTo>
                  <a:lnTo>
                    <a:pt x="18" y="108"/>
                  </a:lnTo>
                  <a:lnTo>
                    <a:pt x="12" y="108"/>
                  </a:lnTo>
                  <a:lnTo>
                    <a:pt x="12" y="102"/>
                  </a:lnTo>
                  <a:lnTo>
                    <a:pt x="6" y="102"/>
                  </a:lnTo>
                  <a:lnTo>
                    <a:pt x="12" y="102"/>
                  </a:lnTo>
                  <a:lnTo>
                    <a:pt x="6" y="96"/>
                  </a:lnTo>
                  <a:lnTo>
                    <a:pt x="12" y="102"/>
                  </a:lnTo>
                  <a:lnTo>
                    <a:pt x="6" y="96"/>
                  </a:lnTo>
                  <a:lnTo>
                    <a:pt x="0" y="90"/>
                  </a:lnTo>
                  <a:lnTo>
                    <a:pt x="6" y="9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89" name="Freeform 17"/>
            <p:cNvSpPr>
              <a:spLocks noEditPoints="1"/>
            </p:cNvSpPr>
            <p:nvPr>
              <p:custDataLst>
                <p:tags r:id="rId17"/>
              </p:custDataLst>
            </p:nvPr>
          </p:nvSpPr>
          <p:spPr bwMode="gray">
            <a:xfrm>
              <a:off x="525789" y="2991321"/>
              <a:ext cx="378112" cy="271835"/>
            </a:xfrm>
            <a:custGeom>
              <a:avLst/>
              <a:gdLst>
                <a:gd name="T0" fmla="*/ 36928 w 414"/>
                <a:gd name="T1" fmla="*/ 72506 h 312"/>
                <a:gd name="T2" fmla="*/ 34013 w 414"/>
                <a:gd name="T3" fmla="*/ 67672 h 312"/>
                <a:gd name="T4" fmla="*/ 27210 w 414"/>
                <a:gd name="T5" fmla="*/ 63805 h 312"/>
                <a:gd name="T6" fmla="*/ 27210 w 414"/>
                <a:gd name="T7" fmla="*/ 59938 h 312"/>
                <a:gd name="T8" fmla="*/ 23323 w 414"/>
                <a:gd name="T9" fmla="*/ 57038 h 312"/>
                <a:gd name="T10" fmla="*/ 19436 w 414"/>
                <a:gd name="T11" fmla="*/ 53171 h 312"/>
                <a:gd name="T12" fmla="*/ 12633 w 414"/>
                <a:gd name="T13" fmla="*/ 49304 h 312"/>
                <a:gd name="T14" fmla="*/ 8746 w 414"/>
                <a:gd name="T15" fmla="*/ 40604 h 312"/>
                <a:gd name="T16" fmla="*/ 8746 w 414"/>
                <a:gd name="T17" fmla="*/ 40604 h 312"/>
                <a:gd name="T18" fmla="*/ 6802 w 414"/>
                <a:gd name="T19" fmla="*/ 36737 h 312"/>
                <a:gd name="T20" fmla="*/ 6802 w 414"/>
                <a:gd name="T21" fmla="*/ 26102 h 312"/>
                <a:gd name="T22" fmla="*/ 17492 w 414"/>
                <a:gd name="T23" fmla="*/ 21269 h 312"/>
                <a:gd name="T24" fmla="*/ 26239 w 414"/>
                <a:gd name="T25" fmla="*/ 21269 h 312"/>
                <a:gd name="T26" fmla="*/ 26239 w 414"/>
                <a:gd name="T27" fmla="*/ 12567 h 312"/>
                <a:gd name="T28" fmla="*/ 27210 w 414"/>
                <a:gd name="T29" fmla="*/ 6767 h 312"/>
                <a:gd name="T30" fmla="*/ 34013 w 414"/>
                <a:gd name="T31" fmla="*/ 0 h 312"/>
                <a:gd name="T32" fmla="*/ 47618 w 414"/>
                <a:gd name="T33" fmla="*/ 3867 h 312"/>
                <a:gd name="T34" fmla="*/ 60251 w 414"/>
                <a:gd name="T35" fmla="*/ 6767 h 312"/>
                <a:gd name="T36" fmla="*/ 72884 w 414"/>
                <a:gd name="T37" fmla="*/ 6767 h 312"/>
                <a:gd name="T38" fmla="*/ 76772 w 414"/>
                <a:gd name="T39" fmla="*/ 14501 h 312"/>
                <a:gd name="T40" fmla="*/ 86489 w 414"/>
                <a:gd name="T41" fmla="*/ 14501 h 312"/>
                <a:gd name="T42" fmla="*/ 92320 w 414"/>
                <a:gd name="T43" fmla="*/ 12567 h 312"/>
                <a:gd name="T44" fmla="*/ 101066 w 414"/>
                <a:gd name="T45" fmla="*/ 12567 h 312"/>
                <a:gd name="T46" fmla="*/ 111756 w 414"/>
                <a:gd name="T47" fmla="*/ 8700 h 312"/>
                <a:gd name="T48" fmla="*/ 115643 w 414"/>
                <a:gd name="T49" fmla="*/ 3867 h 312"/>
                <a:gd name="T50" fmla="*/ 122445 w 414"/>
                <a:gd name="T51" fmla="*/ 12567 h 312"/>
                <a:gd name="T52" fmla="*/ 126333 w 414"/>
                <a:gd name="T53" fmla="*/ 21269 h 312"/>
                <a:gd name="T54" fmla="*/ 133135 w 414"/>
                <a:gd name="T55" fmla="*/ 27069 h 312"/>
                <a:gd name="T56" fmla="*/ 128276 w 414"/>
                <a:gd name="T57" fmla="*/ 36737 h 312"/>
                <a:gd name="T58" fmla="*/ 135078 w 414"/>
                <a:gd name="T59" fmla="*/ 42537 h 312"/>
                <a:gd name="T60" fmla="*/ 141881 w 414"/>
                <a:gd name="T61" fmla="*/ 53171 h 312"/>
                <a:gd name="T62" fmla="*/ 138965 w 414"/>
                <a:gd name="T63" fmla="*/ 56071 h 312"/>
                <a:gd name="T64" fmla="*/ 138965 w 414"/>
                <a:gd name="T65" fmla="*/ 63805 h 312"/>
                <a:gd name="T66" fmla="*/ 143825 w 414"/>
                <a:gd name="T67" fmla="*/ 72506 h 312"/>
                <a:gd name="T68" fmla="*/ 143825 w 414"/>
                <a:gd name="T69" fmla="*/ 78307 h 312"/>
                <a:gd name="T70" fmla="*/ 143825 w 414"/>
                <a:gd name="T71" fmla="*/ 85073 h 312"/>
                <a:gd name="T72" fmla="*/ 137022 w 414"/>
                <a:gd name="T73" fmla="*/ 87007 h 312"/>
                <a:gd name="T74" fmla="*/ 138965 w 414"/>
                <a:gd name="T75" fmla="*/ 97642 h 312"/>
                <a:gd name="T76" fmla="*/ 131191 w 414"/>
                <a:gd name="T77" fmla="*/ 101509 h 312"/>
                <a:gd name="T78" fmla="*/ 124389 w 414"/>
                <a:gd name="T79" fmla="*/ 108275 h 312"/>
                <a:gd name="T80" fmla="*/ 113699 w 414"/>
                <a:gd name="T81" fmla="*/ 106342 h 312"/>
                <a:gd name="T82" fmla="*/ 113699 w 414"/>
                <a:gd name="T83" fmla="*/ 93775 h 312"/>
                <a:gd name="T84" fmla="*/ 106897 w 414"/>
                <a:gd name="T85" fmla="*/ 87007 h 312"/>
                <a:gd name="T86" fmla="*/ 98151 w 414"/>
                <a:gd name="T87" fmla="*/ 85073 h 312"/>
                <a:gd name="T88" fmla="*/ 87461 w 414"/>
                <a:gd name="T89" fmla="*/ 87007 h 312"/>
                <a:gd name="T90" fmla="*/ 92320 w 414"/>
                <a:gd name="T91" fmla="*/ 81206 h 312"/>
                <a:gd name="T92" fmla="*/ 87461 w 414"/>
                <a:gd name="T93" fmla="*/ 72506 h 312"/>
                <a:gd name="T94" fmla="*/ 86489 w 414"/>
                <a:gd name="T95" fmla="*/ 63805 h 312"/>
                <a:gd name="T96" fmla="*/ 74828 w 414"/>
                <a:gd name="T97" fmla="*/ 56071 h 312"/>
                <a:gd name="T98" fmla="*/ 57335 w 414"/>
                <a:gd name="T99" fmla="*/ 57038 h 312"/>
                <a:gd name="T100" fmla="*/ 49561 w 414"/>
                <a:gd name="T101" fmla="*/ 61872 h 312"/>
                <a:gd name="T102" fmla="*/ 42759 w 414"/>
                <a:gd name="T103" fmla="*/ 70572 h 312"/>
                <a:gd name="T104" fmla="*/ 0 w 414"/>
                <a:gd name="T105" fmla="*/ 33836 h 312"/>
                <a:gd name="T106" fmla="*/ 1943 w 414"/>
                <a:gd name="T107" fmla="*/ 36737 h 312"/>
                <a:gd name="T108" fmla="*/ 26239 w 414"/>
                <a:gd name="T109" fmla="*/ 65739 h 312"/>
                <a:gd name="T110" fmla="*/ 26239 w 414"/>
                <a:gd name="T111" fmla="*/ 63805 h 312"/>
                <a:gd name="T112" fmla="*/ 3887 w 414"/>
                <a:gd name="T113" fmla="*/ 36737 h 312"/>
                <a:gd name="T114" fmla="*/ 27210 w 414"/>
                <a:gd name="T115" fmla="*/ 56071 h 312"/>
                <a:gd name="T116" fmla="*/ 34013 w 414"/>
                <a:gd name="T117" fmla="*/ 72506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4" h="312">
                  <a:moveTo>
                    <a:pt x="102" y="210"/>
                  </a:moveTo>
                  <a:lnTo>
                    <a:pt x="96" y="210"/>
                  </a:lnTo>
                  <a:lnTo>
                    <a:pt x="96" y="204"/>
                  </a:lnTo>
                  <a:lnTo>
                    <a:pt x="102" y="204"/>
                  </a:lnTo>
                  <a:lnTo>
                    <a:pt x="102" y="198"/>
                  </a:lnTo>
                  <a:lnTo>
                    <a:pt x="102" y="204"/>
                  </a:lnTo>
                  <a:lnTo>
                    <a:pt x="102" y="198"/>
                  </a:lnTo>
                  <a:lnTo>
                    <a:pt x="102" y="204"/>
                  </a:lnTo>
                  <a:lnTo>
                    <a:pt x="96" y="198"/>
                  </a:lnTo>
                  <a:lnTo>
                    <a:pt x="102" y="198"/>
                  </a:lnTo>
                  <a:lnTo>
                    <a:pt x="96" y="198"/>
                  </a:lnTo>
                  <a:lnTo>
                    <a:pt x="102" y="198"/>
                  </a:lnTo>
                  <a:lnTo>
                    <a:pt x="96" y="198"/>
                  </a:lnTo>
                  <a:lnTo>
                    <a:pt x="96" y="192"/>
                  </a:lnTo>
                  <a:lnTo>
                    <a:pt x="96" y="198"/>
                  </a:lnTo>
                  <a:lnTo>
                    <a:pt x="96" y="192"/>
                  </a:lnTo>
                  <a:lnTo>
                    <a:pt x="96" y="198"/>
                  </a:lnTo>
                  <a:lnTo>
                    <a:pt x="96" y="192"/>
                  </a:lnTo>
                  <a:lnTo>
                    <a:pt x="90" y="192"/>
                  </a:lnTo>
                  <a:lnTo>
                    <a:pt x="96" y="186"/>
                  </a:lnTo>
                  <a:lnTo>
                    <a:pt x="90" y="186"/>
                  </a:lnTo>
                  <a:lnTo>
                    <a:pt x="90" y="180"/>
                  </a:lnTo>
                  <a:lnTo>
                    <a:pt x="84" y="180"/>
                  </a:lnTo>
                  <a:lnTo>
                    <a:pt x="78" y="180"/>
                  </a:lnTo>
                  <a:lnTo>
                    <a:pt x="78" y="174"/>
                  </a:lnTo>
                  <a:lnTo>
                    <a:pt x="84" y="174"/>
                  </a:lnTo>
                  <a:lnTo>
                    <a:pt x="84" y="168"/>
                  </a:lnTo>
                  <a:lnTo>
                    <a:pt x="84" y="162"/>
                  </a:lnTo>
                  <a:lnTo>
                    <a:pt x="78" y="162"/>
                  </a:lnTo>
                  <a:lnTo>
                    <a:pt x="78" y="168"/>
                  </a:lnTo>
                  <a:lnTo>
                    <a:pt x="84" y="168"/>
                  </a:lnTo>
                  <a:lnTo>
                    <a:pt x="78" y="168"/>
                  </a:lnTo>
                  <a:lnTo>
                    <a:pt x="72" y="168"/>
                  </a:lnTo>
                  <a:lnTo>
                    <a:pt x="78" y="162"/>
                  </a:lnTo>
                  <a:lnTo>
                    <a:pt x="72" y="162"/>
                  </a:lnTo>
                  <a:lnTo>
                    <a:pt x="78" y="162"/>
                  </a:lnTo>
                  <a:lnTo>
                    <a:pt x="78" y="156"/>
                  </a:lnTo>
                  <a:lnTo>
                    <a:pt x="78" y="162"/>
                  </a:lnTo>
                  <a:lnTo>
                    <a:pt x="72" y="162"/>
                  </a:lnTo>
                  <a:lnTo>
                    <a:pt x="66" y="162"/>
                  </a:lnTo>
                  <a:lnTo>
                    <a:pt x="66" y="156"/>
                  </a:lnTo>
                  <a:lnTo>
                    <a:pt x="60" y="156"/>
                  </a:lnTo>
                  <a:lnTo>
                    <a:pt x="60" y="150"/>
                  </a:lnTo>
                  <a:lnTo>
                    <a:pt x="60" y="144"/>
                  </a:lnTo>
                  <a:lnTo>
                    <a:pt x="54" y="144"/>
                  </a:lnTo>
                  <a:lnTo>
                    <a:pt x="54" y="150"/>
                  </a:lnTo>
                  <a:lnTo>
                    <a:pt x="48" y="150"/>
                  </a:lnTo>
                  <a:lnTo>
                    <a:pt x="54" y="150"/>
                  </a:lnTo>
                  <a:lnTo>
                    <a:pt x="48" y="144"/>
                  </a:lnTo>
                  <a:lnTo>
                    <a:pt x="48" y="150"/>
                  </a:lnTo>
                  <a:lnTo>
                    <a:pt x="48" y="144"/>
                  </a:lnTo>
                  <a:lnTo>
                    <a:pt x="42" y="144"/>
                  </a:lnTo>
                  <a:lnTo>
                    <a:pt x="42" y="138"/>
                  </a:lnTo>
                  <a:lnTo>
                    <a:pt x="36" y="138"/>
                  </a:lnTo>
                  <a:lnTo>
                    <a:pt x="36" y="144"/>
                  </a:lnTo>
                  <a:lnTo>
                    <a:pt x="36" y="138"/>
                  </a:lnTo>
                  <a:lnTo>
                    <a:pt x="36" y="132"/>
                  </a:lnTo>
                  <a:lnTo>
                    <a:pt x="30" y="132"/>
                  </a:lnTo>
                  <a:lnTo>
                    <a:pt x="30" y="126"/>
                  </a:lnTo>
                  <a:lnTo>
                    <a:pt x="24" y="126"/>
                  </a:lnTo>
                  <a:lnTo>
                    <a:pt x="24" y="120"/>
                  </a:lnTo>
                  <a:lnTo>
                    <a:pt x="30" y="120"/>
                  </a:lnTo>
                  <a:lnTo>
                    <a:pt x="24" y="120"/>
                  </a:lnTo>
                  <a:lnTo>
                    <a:pt x="24" y="114"/>
                  </a:lnTo>
                  <a:lnTo>
                    <a:pt x="30" y="114"/>
                  </a:lnTo>
                  <a:lnTo>
                    <a:pt x="30" y="108"/>
                  </a:lnTo>
                  <a:lnTo>
                    <a:pt x="30" y="114"/>
                  </a:lnTo>
                  <a:lnTo>
                    <a:pt x="24" y="114"/>
                  </a:lnTo>
                  <a:lnTo>
                    <a:pt x="24" y="120"/>
                  </a:lnTo>
                  <a:lnTo>
                    <a:pt x="24" y="114"/>
                  </a:lnTo>
                  <a:lnTo>
                    <a:pt x="18" y="114"/>
                  </a:lnTo>
                  <a:lnTo>
                    <a:pt x="24" y="114"/>
                  </a:lnTo>
                  <a:lnTo>
                    <a:pt x="24" y="108"/>
                  </a:lnTo>
                  <a:lnTo>
                    <a:pt x="18" y="114"/>
                  </a:lnTo>
                  <a:lnTo>
                    <a:pt x="18" y="108"/>
                  </a:lnTo>
                  <a:lnTo>
                    <a:pt x="18" y="102"/>
                  </a:lnTo>
                  <a:lnTo>
                    <a:pt x="18" y="96"/>
                  </a:lnTo>
                  <a:lnTo>
                    <a:pt x="24" y="96"/>
                  </a:lnTo>
                  <a:lnTo>
                    <a:pt x="18" y="96"/>
                  </a:lnTo>
                  <a:lnTo>
                    <a:pt x="18" y="102"/>
                  </a:lnTo>
                  <a:lnTo>
                    <a:pt x="18" y="96"/>
                  </a:lnTo>
                  <a:lnTo>
                    <a:pt x="12" y="96"/>
                  </a:lnTo>
                  <a:lnTo>
                    <a:pt x="12" y="102"/>
                  </a:lnTo>
                  <a:lnTo>
                    <a:pt x="12" y="96"/>
                  </a:lnTo>
                  <a:lnTo>
                    <a:pt x="12" y="90"/>
                  </a:lnTo>
                  <a:lnTo>
                    <a:pt x="18" y="84"/>
                  </a:lnTo>
                  <a:lnTo>
                    <a:pt x="18" y="78"/>
                  </a:lnTo>
                  <a:lnTo>
                    <a:pt x="18" y="72"/>
                  </a:lnTo>
                  <a:lnTo>
                    <a:pt x="24" y="72"/>
                  </a:lnTo>
                  <a:lnTo>
                    <a:pt x="24" y="66"/>
                  </a:lnTo>
                  <a:lnTo>
                    <a:pt x="30" y="66"/>
                  </a:lnTo>
                  <a:lnTo>
                    <a:pt x="30" y="72"/>
                  </a:lnTo>
                  <a:lnTo>
                    <a:pt x="36" y="66"/>
                  </a:lnTo>
                  <a:lnTo>
                    <a:pt x="42" y="66"/>
                  </a:lnTo>
                  <a:lnTo>
                    <a:pt x="42" y="60"/>
                  </a:lnTo>
                  <a:lnTo>
                    <a:pt x="48" y="60"/>
                  </a:lnTo>
                  <a:lnTo>
                    <a:pt x="54" y="60"/>
                  </a:lnTo>
                  <a:lnTo>
                    <a:pt x="60" y="60"/>
                  </a:lnTo>
                  <a:lnTo>
                    <a:pt x="66" y="60"/>
                  </a:lnTo>
                  <a:lnTo>
                    <a:pt x="66" y="54"/>
                  </a:lnTo>
                  <a:lnTo>
                    <a:pt x="72" y="54"/>
                  </a:lnTo>
                  <a:lnTo>
                    <a:pt x="66" y="54"/>
                  </a:lnTo>
                  <a:lnTo>
                    <a:pt x="72" y="54"/>
                  </a:lnTo>
                  <a:lnTo>
                    <a:pt x="72" y="60"/>
                  </a:lnTo>
                  <a:lnTo>
                    <a:pt x="72" y="54"/>
                  </a:lnTo>
                  <a:lnTo>
                    <a:pt x="72" y="60"/>
                  </a:lnTo>
                  <a:lnTo>
                    <a:pt x="78" y="60"/>
                  </a:lnTo>
                  <a:lnTo>
                    <a:pt x="78" y="54"/>
                  </a:lnTo>
                  <a:lnTo>
                    <a:pt x="78" y="48"/>
                  </a:lnTo>
                  <a:lnTo>
                    <a:pt x="78" y="42"/>
                  </a:lnTo>
                  <a:lnTo>
                    <a:pt x="72" y="42"/>
                  </a:lnTo>
                  <a:lnTo>
                    <a:pt x="72" y="36"/>
                  </a:lnTo>
                  <a:lnTo>
                    <a:pt x="66" y="36"/>
                  </a:lnTo>
                  <a:lnTo>
                    <a:pt x="66" y="30"/>
                  </a:lnTo>
                  <a:lnTo>
                    <a:pt x="66" y="24"/>
                  </a:lnTo>
                  <a:lnTo>
                    <a:pt x="72" y="24"/>
                  </a:lnTo>
                  <a:lnTo>
                    <a:pt x="66" y="24"/>
                  </a:lnTo>
                  <a:lnTo>
                    <a:pt x="72" y="24"/>
                  </a:lnTo>
                  <a:lnTo>
                    <a:pt x="78" y="24"/>
                  </a:lnTo>
                  <a:lnTo>
                    <a:pt x="78" y="18"/>
                  </a:lnTo>
                  <a:lnTo>
                    <a:pt x="84" y="18"/>
                  </a:lnTo>
                  <a:lnTo>
                    <a:pt x="84" y="12"/>
                  </a:lnTo>
                  <a:lnTo>
                    <a:pt x="78" y="12"/>
                  </a:lnTo>
                  <a:lnTo>
                    <a:pt x="78" y="6"/>
                  </a:lnTo>
                  <a:lnTo>
                    <a:pt x="78" y="0"/>
                  </a:lnTo>
                  <a:lnTo>
                    <a:pt x="84" y="0"/>
                  </a:lnTo>
                  <a:lnTo>
                    <a:pt x="90" y="0"/>
                  </a:lnTo>
                  <a:lnTo>
                    <a:pt x="96" y="0"/>
                  </a:lnTo>
                  <a:lnTo>
                    <a:pt x="96" y="6"/>
                  </a:lnTo>
                  <a:lnTo>
                    <a:pt x="102" y="6"/>
                  </a:lnTo>
                  <a:lnTo>
                    <a:pt x="108" y="6"/>
                  </a:lnTo>
                  <a:lnTo>
                    <a:pt x="114" y="6"/>
                  </a:lnTo>
                  <a:lnTo>
                    <a:pt x="114" y="12"/>
                  </a:lnTo>
                  <a:lnTo>
                    <a:pt x="120" y="12"/>
                  </a:lnTo>
                  <a:lnTo>
                    <a:pt x="126" y="12"/>
                  </a:lnTo>
                  <a:lnTo>
                    <a:pt x="132" y="12"/>
                  </a:lnTo>
                  <a:lnTo>
                    <a:pt x="132" y="18"/>
                  </a:lnTo>
                  <a:lnTo>
                    <a:pt x="138" y="18"/>
                  </a:lnTo>
                  <a:lnTo>
                    <a:pt x="144" y="18"/>
                  </a:lnTo>
                  <a:lnTo>
                    <a:pt x="150" y="18"/>
                  </a:lnTo>
                  <a:lnTo>
                    <a:pt x="150" y="24"/>
                  </a:lnTo>
                  <a:lnTo>
                    <a:pt x="156" y="24"/>
                  </a:lnTo>
                  <a:lnTo>
                    <a:pt x="162" y="18"/>
                  </a:lnTo>
                  <a:lnTo>
                    <a:pt x="168" y="18"/>
                  </a:lnTo>
                  <a:lnTo>
                    <a:pt x="174" y="18"/>
                  </a:lnTo>
                  <a:lnTo>
                    <a:pt x="180" y="18"/>
                  </a:lnTo>
                  <a:lnTo>
                    <a:pt x="186" y="18"/>
                  </a:lnTo>
                  <a:lnTo>
                    <a:pt x="192" y="18"/>
                  </a:lnTo>
                  <a:lnTo>
                    <a:pt x="198" y="18"/>
                  </a:lnTo>
                  <a:lnTo>
                    <a:pt x="204" y="18"/>
                  </a:lnTo>
                  <a:lnTo>
                    <a:pt x="210" y="18"/>
                  </a:lnTo>
                  <a:lnTo>
                    <a:pt x="204" y="18"/>
                  </a:lnTo>
                  <a:lnTo>
                    <a:pt x="204" y="24"/>
                  </a:lnTo>
                  <a:lnTo>
                    <a:pt x="204" y="30"/>
                  </a:lnTo>
                  <a:lnTo>
                    <a:pt x="198" y="30"/>
                  </a:lnTo>
                  <a:lnTo>
                    <a:pt x="204" y="30"/>
                  </a:lnTo>
                  <a:lnTo>
                    <a:pt x="204" y="36"/>
                  </a:lnTo>
                  <a:lnTo>
                    <a:pt x="210" y="36"/>
                  </a:lnTo>
                  <a:lnTo>
                    <a:pt x="210" y="42"/>
                  </a:lnTo>
                  <a:lnTo>
                    <a:pt x="216" y="42"/>
                  </a:lnTo>
                  <a:lnTo>
                    <a:pt x="216" y="36"/>
                  </a:lnTo>
                  <a:lnTo>
                    <a:pt x="222" y="36"/>
                  </a:lnTo>
                  <a:lnTo>
                    <a:pt x="222" y="30"/>
                  </a:lnTo>
                  <a:lnTo>
                    <a:pt x="228" y="30"/>
                  </a:lnTo>
                  <a:lnTo>
                    <a:pt x="234" y="30"/>
                  </a:lnTo>
                  <a:lnTo>
                    <a:pt x="234" y="36"/>
                  </a:lnTo>
                  <a:lnTo>
                    <a:pt x="240" y="36"/>
                  </a:lnTo>
                  <a:lnTo>
                    <a:pt x="240" y="42"/>
                  </a:lnTo>
                  <a:lnTo>
                    <a:pt x="240" y="48"/>
                  </a:lnTo>
                  <a:lnTo>
                    <a:pt x="246" y="48"/>
                  </a:lnTo>
                  <a:lnTo>
                    <a:pt x="246" y="42"/>
                  </a:lnTo>
                  <a:lnTo>
                    <a:pt x="252" y="42"/>
                  </a:lnTo>
                  <a:lnTo>
                    <a:pt x="252" y="36"/>
                  </a:lnTo>
                  <a:lnTo>
                    <a:pt x="252" y="42"/>
                  </a:lnTo>
                  <a:lnTo>
                    <a:pt x="252" y="36"/>
                  </a:lnTo>
                  <a:lnTo>
                    <a:pt x="258" y="36"/>
                  </a:lnTo>
                  <a:lnTo>
                    <a:pt x="252" y="36"/>
                  </a:lnTo>
                  <a:lnTo>
                    <a:pt x="258" y="36"/>
                  </a:lnTo>
                  <a:lnTo>
                    <a:pt x="258" y="30"/>
                  </a:lnTo>
                  <a:lnTo>
                    <a:pt x="264" y="30"/>
                  </a:lnTo>
                  <a:lnTo>
                    <a:pt x="270" y="30"/>
                  </a:lnTo>
                  <a:lnTo>
                    <a:pt x="276" y="30"/>
                  </a:lnTo>
                  <a:lnTo>
                    <a:pt x="282" y="30"/>
                  </a:lnTo>
                  <a:lnTo>
                    <a:pt x="282" y="36"/>
                  </a:lnTo>
                  <a:lnTo>
                    <a:pt x="288" y="36"/>
                  </a:lnTo>
                  <a:lnTo>
                    <a:pt x="294" y="36"/>
                  </a:lnTo>
                  <a:lnTo>
                    <a:pt x="300" y="42"/>
                  </a:lnTo>
                  <a:lnTo>
                    <a:pt x="300" y="36"/>
                  </a:lnTo>
                  <a:lnTo>
                    <a:pt x="300" y="30"/>
                  </a:lnTo>
                  <a:lnTo>
                    <a:pt x="306" y="30"/>
                  </a:lnTo>
                  <a:lnTo>
                    <a:pt x="312" y="30"/>
                  </a:lnTo>
                  <a:lnTo>
                    <a:pt x="312" y="24"/>
                  </a:lnTo>
                  <a:lnTo>
                    <a:pt x="318" y="24"/>
                  </a:lnTo>
                  <a:lnTo>
                    <a:pt x="324" y="24"/>
                  </a:lnTo>
                  <a:lnTo>
                    <a:pt x="324" y="18"/>
                  </a:lnTo>
                  <a:lnTo>
                    <a:pt x="318" y="18"/>
                  </a:lnTo>
                  <a:lnTo>
                    <a:pt x="318" y="12"/>
                  </a:lnTo>
                  <a:lnTo>
                    <a:pt x="318" y="18"/>
                  </a:lnTo>
                  <a:lnTo>
                    <a:pt x="318" y="12"/>
                  </a:lnTo>
                  <a:lnTo>
                    <a:pt x="324" y="12"/>
                  </a:lnTo>
                  <a:lnTo>
                    <a:pt x="330" y="12"/>
                  </a:lnTo>
                  <a:lnTo>
                    <a:pt x="336" y="12"/>
                  </a:lnTo>
                  <a:lnTo>
                    <a:pt x="336" y="18"/>
                  </a:lnTo>
                  <a:lnTo>
                    <a:pt x="342" y="18"/>
                  </a:lnTo>
                  <a:lnTo>
                    <a:pt x="342" y="24"/>
                  </a:lnTo>
                  <a:lnTo>
                    <a:pt x="342" y="30"/>
                  </a:lnTo>
                  <a:lnTo>
                    <a:pt x="348" y="30"/>
                  </a:lnTo>
                  <a:lnTo>
                    <a:pt x="342" y="36"/>
                  </a:lnTo>
                  <a:lnTo>
                    <a:pt x="348" y="36"/>
                  </a:lnTo>
                  <a:lnTo>
                    <a:pt x="348" y="42"/>
                  </a:lnTo>
                  <a:lnTo>
                    <a:pt x="348" y="36"/>
                  </a:lnTo>
                  <a:lnTo>
                    <a:pt x="348" y="42"/>
                  </a:lnTo>
                  <a:lnTo>
                    <a:pt x="348" y="48"/>
                  </a:lnTo>
                  <a:lnTo>
                    <a:pt x="348" y="54"/>
                  </a:lnTo>
                  <a:lnTo>
                    <a:pt x="348" y="60"/>
                  </a:lnTo>
                  <a:lnTo>
                    <a:pt x="354" y="60"/>
                  </a:lnTo>
                  <a:lnTo>
                    <a:pt x="360" y="60"/>
                  </a:lnTo>
                  <a:lnTo>
                    <a:pt x="354" y="60"/>
                  </a:lnTo>
                  <a:lnTo>
                    <a:pt x="354" y="66"/>
                  </a:lnTo>
                  <a:lnTo>
                    <a:pt x="360" y="66"/>
                  </a:lnTo>
                  <a:lnTo>
                    <a:pt x="360" y="72"/>
                  </a:lnTo>
                  <a:lnTo>
                    <a:pt x="366" y="72"/>
                  </a:lnTo>
                  <a:lnTo>
                    <a:pt x="366" y="78"/>
                  </a:lnTo>
                  <a:lnTo>
                    <a:pt x="372" y="78"/>
                  </a:lnTo>
                  <a:lnTo>
                    <a:pt x="372" y="84"/>
                  </a:lnTo>
                  <a:lnTo>
                    <a:pt x="372" y="78"/>
                  </a:lnTo>
                  <a:lnTo>
                    <a:pt x="366" y="78"/>
                  </a:lnTo>
                  <a:lnTo>
                    <a:pt x="366" y="84"/>
                  </a:lnTo>
                  <a:lnTo>
                    <a:pt x="366" y="90"/>
                  </a:lnTo>
                  <a:lnTo>
                    <a:pt x="360" y="90"/>
                  </a:lnTo>
                  <a:lnTo>
                    <a:pt x="360" y="96"/>
                  </a:lnTo>
                  <a:lnTo>
                    <a:pt x="360" y="102"/>
                  </a:lnTo>
                  <a:lnTo>
                    <a:pt x="366" y="102"/>
                  </a:lnTo>
                  <a:lnTo>
                    <a:pt x="366" y="96"/>
                  </a:lnTo>
                  <a:lnTo>
                    <a:pt x="372" y="96"/>
                  </a:lnTo>
                  <a:lnTo>
                    <a:pt x="378" y="96"/>
                  </a:lnTo>
                  <a:lnTo>
                    <a:pt x="378" y="102"/>
                  </a:lnTo>
                  <a:lnTo>
                    <a:pt x="378" y="108"/>
                  </a:lnTo>
                  <a:lnTo>
                    <a:pt x="378" y="114"/>
                  </a:lnTo>
                  <a:lnTo>
                    <a:pt x="378" y="120"/>
                  </a:lnTo>
                  <a:lnTo>
                    <a:pt x="378" y="126"/>
                  </a:lnTo>
                  <a:lnTo>
                    <a:pt x="384" y="126"/>
                  </a:lnTo>
                  <a:lnTo>
                    <a:pt x="384" y="132"/>
                  </a:lnTo>
                  <a:lnTo>
                    <a:pt x="390" y="132"/>
                  </a:lnTo>
                  <a:lnTo>
                    <a:pt x="396" y="132"/>
                  </a:lnTo>
                  <a:lnTo>
                    <a:pt x="396" y="138"/>
                  </a:lnTo>
                  <a:lnTo>
                    <a:pt x="396" y="144"/>
                  </a:lnTo>
                  <a:lnTo>
                    <a:pt x="396" y="150"/>
                  </a:lnTo>
                  <a:lnTo>
                    <a:pt x="390" y="150"/>
                  </a:lnTo>
                  <a:lnTo>
                    <a:pt x="390" y="156"/>
                  </a:lnTo>
                  <a:lnTo>
                    <a:pt x="384" y="156"/>
                  </a:lnTo>
                  <a:lnTo>
                    <a:pt x="390" y="156"/>
                  </a:lnTo>
                  <a:lnTo>
                    <a:pt x="384" y="156"/>
                  </a:lnTo>
                  <a:lnTo>
                    <a:pt x="384" y="162"/>
                  </a:lnTo>
                  <a:lnTo>
                    <a:pt x="384" y="156"/>
                  </a:lnTo>
                  <a:lnTo>
                    <a:pt x="390" y="156"/>
                  </a:lnTo>
                  <a:lnTo>
                    <a:pt x="390" y="162"/>
                  </a:lnTo>
                  <a:lnTo>
                    <a:pt x="390" y="168"/>
                  </a:lnTo>
                  <a:lnTo>
                    <a:pt x="390" y="174"/>
                  </a:lnTo>
                  <a:lnTo>
                    <a:pt x="384" y="174"/>
                  </a:lnTo>
                  <a:lnTo>
                    <a:pt x="390" y="174"/>
                  </a:lnTo>
                  <a:lnTo>
                    <a:pt x="384" y="174"/>
                  </a:lnTo>
                  <a:lnTo>
                    <a:pt x="384" y="180"/>
                  </a:lnTo>
                  <a:lnTo>
                    <a:pt x="390" y="180"/>
                  </a:lnTo>
                  <a:lnTo>
                    <a:pt x="384" y="180"/>
                  </a:lnTo>
                  <a:lnTo>
                    <a:pt x="390" y="180"/>
                  </a:lnTo>
                  <a:lnTo>
                    <a:pt x="390" y="186"/>
                  </a:lnTo>
                  <a:lnTo>
                    <a:pt x="396" y="186"/>
                  </a:lnTo>
                  <a:lnTo>
                    <a:pt x="402" y="186"/>
                  </a:lnTo>
                  <a:lnTo>
                    <a:pt x="402" y="192"/>
                  </a:lnTo>
                  <a:lnTo>
                    <a:pt x="402" y="198"/>
                  </a:lnTo>
                  <a:lnTo>
                    <a:pt x="402" y="204"/>
                  </a:lnTo>
                  <a:lnTo>
                    <a:pt x="402" y="198"/>
                  </a:lnTo>
                  <a:lnTo>
                    <a:pt x="402" y="204"/>
                  </a:lnTo>
                  <a:lnTo>
                    <a:pt x="408" y="204"/>
                  </a:lnTo>
                  <a:lnTo>
                    <a:pt x="402" y="204"/>
                  </a:lnTo>
                  <a:lnTo>
                    <a:pt x="402" y="210"/>
                  </a:lnTo>
                  <a:lnTo>
                    <a:pt x="396" y="216"/>
                  </a:lnTo>
                  <a:lnTo>
                    <a:pt x="396" y="222"/>
                  </a:lnTo>
                  <a:lnTo>
                    <a:pt x="402" y="222"/>
                  </a:lnTo>
                  <a:lnTo>
                    <a:pt x="408" y="222"/>
                  </a:lnTo>
                  <a:lnTo>
                    <a:pt x="408" y="228"/>
                  </a:lnTo>
                  <a:lnTo>
                    <a:pt x="414" y="234"/>
                  </a:lnTo>
                  <a:lnTo>
                    <a:pt x="414" y="240"/>
                  </a:lnTo>
                  <a:lnTo>
                    <a:pt x="414" y="246"/>
                  </a:lnTo>
                  <a:lnTo>
                    <a:pt x="408" y="246"/>
                  </a:lnTo>
                  <a:lnTo>
                    <a:pt x="408" y="240"/>
                  </a:lnTo>
                  <a:lnTo>
                    <a:pt x="402" y="240"/>
                  </a:lnTo>
                  <a:lnTo>
                    <a:pt x="402" y="246"/>
                  </a:lnTo>
                  <a:lnTo>
                    <a:pt x="402" y="240"/>
                  </a:lnTo>
                  <a:lnTo>
                    <a:pt x="402" y="246"/>
                  </a:lnTo>
                  <a:lnTo>
                    <a:pt x="402" y="240"/>
                  </a:lnTo>
                  <a:lnTo>
                    <a:pt x="396" y="240"/>
                  </a:lnTo>
                  <a:lnTo>
                    <a:pt x="390" y="240"/>
                  </a:lnTo>
                  <a:lnTo>
                    <a:pt x="384" y="240"/>
                  </a:lnTo>
                  <a:lnTo>
                    <a:pt x="384" y="246"/>
                  </a:lnTo>
                  <a:lnTo>
                    <a:pt x="384" y="252"/>
                  </a:lnTo>
                  <a:lnTo>
                    <a:pt x="384" y="258"/>
                  </a:lnTo>
                  <a:lnTo>
                    <a:pt x="390" y="258"/>
                  </a:lnTo>
                  <a:lnTo>
                    <a:pt x="396" y="258"/>
                  </a:lnTo>
                  <a:lnTo>
                    <a:pt x="396" y="264"/>
                  </a:lnTo>
                  <a:lnTo>
                    <a:pt x="390" y="264"/>
                  </a:lnTo>
                  <a:lnTo>
                    <a:pt x="390" y="270"/>
                  </a:lnTo>
                  <a:lnTo>
                    <a:pt x="390" y="276"/>
                  </a:lnTo>
                  <a:lnTo>
                    <a:pt x="390" y="282"/>
                  </a:lnTo>
                  <a:lnTo>
                    <a:pt x="390" y="288"/>
                  </a:lnTo>
                  <a:lnTo>
                    <a:pt x="384" y="288"/>
                  </a:lnTo>
                  <a:lnTo>
                    <a:pt x="384" y="294"/>
                  </a:lnTo>
                  <a:lnTo>
                    <a:pt x="378" y="288"/>
                  </a:lnTo>
                  <a:lnTo>
                    <a:pt x="372" y="288"/>
                  </a:lnTo>
                  <a:lnTo>
                    <a:pt x="366" y="294"/>
                  </a:lnTo>
                  <a:lnTo>
                    <a:pt x="366" y="288"/>
                  </a:lnTo>
                  <a:lnTo>
                    <a:pt x="366" y="282"/>
                  </a:lnTo>
                  <a:lnTo>
                    <a:pt x="360" y="282"/>
                  </a:lnTo>
                  <a:lnTo>
                    <a:pt x="360" y="288"/>
                  </a:lnTo>
                  <a:lnTo>
                    <a:pt x="354" y="288"/>
                  </a:lnTo>
                  <a:lnTo>
                    <a:pt x="354" y="294"/>
                  </a:lnTo>
                  <a:lnTo>
                    <a:pt x="354" y="300"/>
                  </a:lnTo>
                  <a:lnTo>
                    <a:pt x="348" y="300"/>
                  </a:lnTo>
                  <a:lnTo>
                    <a:pt x="348" y="306"/>
                  </a:lnTo>
                  <a:lnTo>
                    <a:pt x="342" y="306"/>
                  </a:lnTo>
                  <a:lnTo>
                    <a:pt x="342" y="312"/>
                  </a:lnTo>
                  <a:lnTo>
                    <a:pt x="336" y="312"/>
                  </a:lnTo>
                  <a:lnTo>
                    <a:pt x="336" y="306"/>
                  </a:lnTo>
                  <a:lnTo>
                    <a:pt x="330" y="306"/>
                  </a:lnTo>
                  <a:lnTo>
                    <a:pt x="330" y="300"/>
                  </a:lnTo>
                  <a:lnTo>
                    <a:pt x="324" y="300"/>
                  </a:lnTo>
                  <a:lnTo>
                    <a:pt x="318" y="300"/>
                  </a:lnTo>
                  <a:lnTo>
                    <a:pt x="312" y="300"/>
                  </a:lnTo>
                  <a:lnTo>
                    <a:pt x="318" y="300"/>
                  </a:lnTo>
                  <a:lnTo>
                    <a:pt x="318" y="294"/>
                  </a:lnTo>
                  <a:lnTo>
                    <a:pt x="318" y="288"/>
                  </a:lnTo>
                  <a:lnTo>
                    <a:pt x="318" y="282"/>
                  </a:lnTo>
                  <a:lnTo>
                    <a:pt x="318" y="276"/>
                  </a:lnTo>
                  <a:lnTo>
                    <a:pt x="318" y="270"/>
                  </a:lnTo>
                  <a:lnTo>
                    <a:pt x="318" y="264"/>
                  </a:lnTo>
                  <a:lnTo>
                    <a:pt x="312" y="264"/>
                  </a:lnTo>
                  <a:lnTo>
                    <a:pt x="312" y="258"/>
                  </a:lnTo>
                  <a:lnTo>
                    <a:pt x="312" y="252"/>
                  </a:lnTo>
                  <a:lnTo>
                    <a:pt x="312" y="246"/>
                  </a:lnTo>
                  <a:lnTo>
                    <a:pt x="306" y="246"/>
                  </a:lnTo>
                  <a:lnTo>
                    <a:pt x="306" y="240"/>
                  </a:lnTo>
                  <a:lnTo>
                    <a:pt x="306" y="246"/>
                  </a:lnTo>
                  <a:lnTo>
                    <a:pt x="300" y="246"/>
                  </a:lnTo>
                  <a:lnTo>
                    <a:pt x="306" y="240"/>
                  </a:lnTo>
                  <a:lnTo>
                    <a:pt x="300" y="240"/>
                  </a:lnTo>
                  <a:lnTo>
                    <a:pt x="300" y="234"/>
                  </a:lnTo>
                  <a:lnTo>
                    <a:pt x="294" y="234"/>
                  </a:lnTo>
                  <a:lnTo>
                    <a:pt x="294" y="240"/>
                  </a:lnTo>
                  <a:lnTo>
                    <a:pt x="288" y="240"/>
                  </a:lnTo>
                  <a:lnTo>
                    <a:pt x="282" y="240"/>
                  </a:lnTo>
                  <a:lnTo>
                    <a:pt x="276" y="240"/>
                  </a:lnTo>
                  <a:lnTo>
                    <a:pt x="270" y="240"/>
                  </a:lnTo>
                  <a:lnTo>
                    <a:pt x="264" y="240"/>
                  </a:lnTo>
                  <a:lnTo>
                    <a:pt x="258" y="240"/>
                  </a:lnTo>
                  <a:lnTo>
                    <a:pt x="258" y="246"/>
                  </a:lnTo>
                  <a:lnTo>
                    <a:pt x="252" y="246"/>
                  </a:lnTo>
                  <a:lnTo>
                    <a:pt x="252" y="252"/>
                  </a:lnTo>
                  <a:lnTo>
                    <a:pt x="252" y="246"/>
                  </a:lnTo>
                  <a:lnTo>
                    <a:pt x="246" y="246"/>
                  </a:lnTo>
                  <a:lnTo>
                    <a:pt x="246" y="252"/>
                  </a:lnTo>
                  <a:lnTo>
                    <a:pt x="246" y="246"/>
                  </a:lnTo>
                  <a:lnTo>
                    <a:pt x="246" y="240"/>
                  </a:lnTo>
                  <a:lnTo>
                    <a:pt x="252" y="234"/>
                  </a:lnTo>
                  <a:lnTo>
                    <a:pt x="258" y="234"/>
                  </a:lnTo>
                  <a:lnTo>
                    <a:pt x="258" y="228"/>
                  </a:lnTo>
                  <a:lnTo>
                    <a:pt x="252" y="228"/>
                  </a:lnTo>
                  <a:lnTo>
                    <a:pt x="258" y="228"/>
                  </a:lnTo>
                  <a:lnTo>
                    <a:pt x="252" y="228"/>
                  </a:lnTo>
                  <a:lnTo>
                    <a:pt x="252" y="222"/>
                  </a:lnTo>
                  <a:lnTo>
                    <a:pt x="252" y="216"/>
                  </a:lnTo>
                  <a:lnTo>
                    <a:pt x="252" y="210"/>
                  </a:lnTo>
                  <a:lnTo>
                    <a:pt x="252" y="204"/>
                  </a:lnTo>
                  <a:lnTo>
                    <a:pt x="246" y="204"/>
                  </a:lnTo>
                  <a:lnTo>
                    <a:pt x="240" y="204"/>
                  </a:lnTo>
                  <a:lnTo>
                    <a:pt x="246" y="204"/>
                  </a:lnTo>
                  <a:lnTo>
                    <a:pt x="246" y="198"/>
                  </a:lnTo>
                  <a:lnTo>
                    <a:pt x="246" y="192"/>
                  </a:lnTo>
                  <a:lnTo>
                    <a:pt x="246" y="186"/>
                  </a:lnTo>
                  <a:lnTo>
                    <a:pt x="240" y="192"/>
                  </a:lnTo>
                  <a:lnTo>
                    <a:pt x="240" y="186"/>
                  </a:lnTo>
                  <a:lnTo>
                    <a:pt x="234" y="186"/>
                  </a:lnTo>
                  <a:lnTo>
                    <a:pt x="234" y="180"/>
                  </a:lnTo>
                  <a:lnTo>
                    <a:pt x="240" y="180"/>
                  </a:lnTo>
                  <a:lnTo>
                    <a:pt x="234" y="180"/>
                  </a:lnTo>
                  <a:lnTo>
                    <a:pt x="234" y="174"/>
                  </a:lnTo>
                  <a:lnTo>
                    <a:pt x="228" y="174"/>
                  </a:lnTo>
                  <a:lnTo>
                    <a:pt x="228" y="168"/>
                  </a:lnTo>
                  <a:lnTo>
                    <a:pt x="228" y="162"/>
                  </a:lnTo>
                  <a:lnTo>
                    <a:pt x="222" y="162"/>
                  </a:lnTo>
                  <a:lnTo>
                    <a:pt x="216" y="156"/>
                  </a:lnTo>
                  <a:lnTo>
                    <a:pt x="210" y="156"/>
                  </a:lnTo>
                  <a:lnTo>
                    <a:pt x="204" y="156"/>
                  </a:lnTo>
                  <a:lnTo>
                    <a:pt x="198" y="156"/>
                  </a:lnTo>
                  <a:lnTo>
                    <a:pt x="192" y="156"/>
                  </a:lnTo>
                  <a:lnTo>
                    <a:pt x="186" y="156"/>
                  </a:lnTo>
                  <a:lnTo>
                    <a:pt x="180" y="156"/>
                  </a:lnTo>
                  <a:lnTo>
                    <a:pt x="174" y="156"/>
                  </a:lnTo>
                  <a:lnTo>
                    <a:pt x="168" y="162"/>
                  </a:lnTo>
                  <a:lnTo>
                    <a:pt x="162" y="162"/>
                  </a:lnTo>
                  <a:lnTo>
                    <a:pt x="162" y="156"/>
                  </a:lnTo>
                  <a:lnTo>
                    <a:pt x="156" y="156"/>
                  </a:lnTo>
                  <a:lnTo>
                    <a:pt x="156" y="162"/>
                  </a:lnTo>
                  <a:lnTo>
                    <a:pt x="150" y="162"/>
                  </a:lnTo>
                  <a:lnTo>
                    <a:pt x="144" y="162"/>
                  </a:lnTo>
                  <a:lnTo>
                    <a:pt x="144" y="168"/>
                  </a:lnTo>
                  <a:lnTo>
                    <a:pt x="138" y="168"/>
                  </a:lnTo>
                  <a:lnTo>
                    <a:pt x="138" y="174"/>
                  </a:lnTo>
                  <a:lnTo>
                    <a:pt x="138" y="180"/>
                  </a:lnTo>
                  <a:lnTo>
                    <a:pt x="138" y="186"/>
                  </a:lnTo>
                  <a:lnTo>
                    <a:pt x="132" y="186"/>
                  </a:lnTo>
                  <a:lnTo>
                    <a:pt x="132" y="192"/>
                  </a:lnTo>
                  <a:lnTo>
                    <a:pt x="126" y="192"/>
                  </a:lnTo>
                  <a:lnTo>
                    <a:pt x="120" y="198"/>
                  </a:lnTo>
                  <a:lnTo>
                    <a:pt x="120" y="192"/>
                  </a:lnTo>
                  <a:lnTo>
                    <a:pt x="120" y="198"/>
                  </a:lnTo>
                  <a:lnTo>
                    <a:pt x="120" y="204"/>
                  </a:lnTo>
                  <a:lnTo>
                    <a:pt x="114" y="204"/>
                  </a:lnTo>
                  <a:lnTo>
                    <a:pt x="114" y="210"/>
                  </a:lnTo>
                  <a:lnTo>
                    <a:pt x="108" y="210"/>
                  </a:lnTo>
                  <a:lnTo>
                    <a:pt x="108" y="204"/>
                  </a:lnTo>
                  <a:lnTo>
                    <a:pt x="102" y="204"/>
                  </a:lnTo>
                  <a:lnTo>
                    <a:pt x="102" y="210"/>
                  </a:lnTo>
                  <a:close/>
                  <a:moveTo>
                    <a:pt x="0" y="96"/>
                  </a:moveTo>
                  <a:lnTo>
                    <a:pt x="12" y="96"/>
                  </a:lnTo>
                  <a:lnTo>
                    <a:pt x="12" y="108"/>
                  </a:lnTo>
                  <a:lnTo>
                    <a:pt x="0" y="108"/>
                  </a:lnTo>
                  <a:lnTo>
                    <a:pt x="0" y="96"/>
                  </a:lnTo>
                  <a:close/>
                  <a:moveTo>
                    <a:pt x="6" y="96"/>
                  </a:moveTo>
                  <a:lnTo>
                    <a:pt x="12" y="96"/>
                  </a:lnTo>
                  <a:lnTo>
                    <a:pt x="12" y="102"/>
                  </a:lnTo>
                  <a:lnTo>
                    <a:pt x="6" y="102"/>
                  </a:lnTo>
                  <a:lnTo>
                    <a:pt x="6" y="96"/>
                  </a:lnTo>
                  <a:close/>
                  <a:moveTo>
                    <a:pt x="6" y="102"/>
                  </a:moveTo>
                  <a:lnTo>
                    <a:pt x="12" y="102"/>
                  </a:lnTo>
                  <a:lnTo>
                    <a:pt x="12" y="108"/>
                  </a:lnTo>
                  <a:lnTo>
                    <a:pt x="6" y="108"/>
                  </a:lnTo>
                  <a:lnTo>
                    <a:pt x="6" y="102"/>
                  </a:lnTo>
                  <a:close/>
                  <a:moveTo>
                    <a:pt x="72" y="180"/>
                  </a:moveTo>
                  <a:lnTo>
                    <a:pt x="72" y="186"/>
                  </a:lnTo>
                  <a:lnTo>
                    <a:pt x="73" y="186"/>
                  </a:lnTo>
                  <a:lnTo>
                    <a:pt x="72" y="180"/>
                  </a:lnTo>
                  <a:close/>
                  <a:moveTo>
                    <a:pt x="72" y="162"/>
                  </a:moveTo>
                  <a:lnTo>
                    <a:pt x="78" y="162"/>
                  </a:lnTo>
                  <a:lnTo>
                    <a:pt x="78" y="168"/>
                  </a:lnTo>
                  <a:lnTo>
                    <a:pt x="72" y="168"/>
                  </a:lnTo>
                  <a:lnTo>
                    <a:pt x="72" y="162"/>
                  </a:lnTo>
                  <a:close/>
                  <a:moveTo>
                    <a:pt x="72" y="180"/>
                  </a:moveTo>
                  <a:lnTo>
                    <a:pt x="78" y="180"/>
                  </a:lnTo>
                  <a:lnTo>
                    <a:pt x="78" y="186"/>
                  </a:lnTo>
                  <a:lnTo>
                    <a:pt x="72" y="186"/>
                  </a:lnTo>
                  <a:lnTo>
                    <a:pt x="72" y="180"/>
                  </a:lnTo>
                  <a:close/>
                  <a:moveTo>
                    <a:pt x="12" y="102"/>
                  </a:moveTo>
                  <a:lnTo>
                    <a:pt x="12" y="108"/>
                  </a:lnTo>
                  <a:lnTo>
                    <a:pt x="13" y="108"/>
                  </a:lnTo>
                  <a:lnTo>
                    <a:pt x="12" y="102"/>
                  </a:lnTo>
                  <a:close/>
                  <a:moveTo>
                    <a:pt x="60" y="144"/>
                  </a:moveTo>
                  <a:lnTo>
                    <a:pt x="60" y="150"/>
                  </a:lnTo>
                  <a:lnTo>
                    <a:pt x="61" y="150"/>
                  </a:lnTo>
                  <a:lnTo>
                    <a:pt x="60" y="144"/>
                  </a:lnTo>
                  <a:close/>
                  <a:moveTo>
                    <a:pt x="78" y="156"/>
                  </a:moveTo>
                  <a:lnTo>
                    <a:pt x="78" y="162"/>
                  </a:lnTo>
                  <a:lnTo>
                    <a:pt x="79" y="162"/>
                  </a:lnTo>
                  <a:lnTo>
                    <a:pt x="78" y="156"/>
                  </a:lnTo>
                  <a:close/>
                  <a:moveTo>
                    <a:pt x="90" y="192"/>
                  </a:moveTo>
                  <a:lnTo>
                    <a:pt x="96" y="192"/>
                  </a:lnTo>
                  <a:lnTo>
                    <a:pt x="96" y="198"/>
                  </a:lnTo>
                  <a:lnTo>
                    <a:pt x="90" y="198"/>
                  </a:lnTo>
                  <a:lnTo>
                    <a:pt x="90" y="192"/>
                  </a:lnTo>
                  <a:close/>
                  <a:moveTo>
                    <a:pt x="96" y="204"/>
                  </a:moveTo>
                  <a:lnTo>
                    <a:pt x="102" y="204"/>
                  </a:lnTo>
                  <a:lnTo>
                    <a:pt x="96" y="20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0" name="Freeform 18"/>
            <p:cNvSpPr>
              <a:spLocks noEditPoints="1"/>
            </p:cNvSpPr>
            <p:nvPr>
              <p:custDataLst>
                <p:tags r:id="rId18"/>
              </p:custDataLst>
            </p:nvPr>
          </p:nvSpPr>
          <p:spPr bwMode="gray">
            <a:xfrm>
              <a:off x="619149" y="3127798"/>
              <a:ext cx="154045" cy="146545"/>
            </a:xfrm>
            <a:custGeom>
              <a:avLst/>
              <a:gdLst>
                <a:gd name="T0" fmla="*/ 58622 w 168"/>
                <a:gd name="T1" fmla="*/ 33619 h 168"/>
                <a:gd name="T2" fmla="*/ 53737 w 168"/>
                <a:gd name="T3" fmla="*/ 37462 h 168"/>
                <a:gd name="T4" fmla="*/ 49829 w 168"/>
                <a:gd name="T5" fmla="*/ 44186 h 168"/>
                <a:gd name="T6" fmla="*/ 45921 w 168"/>
                <a:gd name="T7" fmla="*/ 48028 h 168"/>
                <a:gd name="T8" fmla="*/ 41036 w 168"/>
                <a:gd name="T9" fmla="*/ 51871 h 168"/>
                <a:gd name="T10" fmla="*/ 39081 w 168"/>
                <a:gd name="T11" fmla="*/ 58594 h 168"/>
                <a:gd name="T12" fmla="*/ 32243 w 168"/>
                <a:gd name="T13" fmla="*/ 55712 h 168"/>
                <a:gd name="T14" fmla="*/ 23449 w 168"/>
                <a:gd name="T15" fmla="*/ 54753 h 168"/>
                <a:gd name="T16" fmla="*/ 17587 w 168"/>
                <a:gd name="T17" fmla="*/ 51871 h 168"/>
                <a:gd name="T18" fmla="*/ 19541 w 168"/>
                <a:gd name="T19" fmla="*/ 49949 h 168"/>
                <a:gd name="T20" fmla="*/ 17587 w 168"/>
                <a:gd name="T21" fmla="*/ 48028 h 168"/>
                <a:gd name="T22" fmla="*/ 15633 w 168"/>
                <a:gd name="T23" fmla="*/ 45147 h 168"/>
                <a:gd name="T24" fmla="*/ 15633 w 168"/>
                <a:gd name="T25" fmla="*/ 45147 h 168"/>
                <a:gd name="T26" fmla="*/ 12702 w 168"/>
                <a:gd name="T27" fmla="*/ 44186 h 168"/>
                <a:gd name="T28" fmla="*/ 10748 w 168"/>
                <a:gd name="T29" fmla="*/ 41304 h 168"/>
                <a:gd name="T30" fmla="*/ 8794 w 168"/>
                <a:gd name="T31" fmla="*/ 39383 h 168"/>
                <a:gd name="T32" fmla="*/ 3908 w 168"/>
                <a:gd name="T33" fmla="*/ 35541 h 168"/>
                <a:gd name="T34" fmla="*/ 1954 w 168"/>
                <a:gd name="T35" fmla="*/ 35541 h 168"/>
                <a:gd name="T36" fmla="*/ 0 w 168"/>
                <a:gd name="T37" fmla="*/ 29778 h 168"/>
                <a:gd name="T38" fmla="*/ 1954 w 168"/>
                <a:gd name="T39" fmla="*/ 29778 h 168"/>
                <a:gd name="T40" fmla="*/ 3908 w 168"/>
                <a:gd name="T41" fmla="*/ 26896 h 168"/>
                <a:gd name="T42" fmla="*/ 0 w 168"/>
                <a:gd name="T43" fmla="*/ 26896 h 168"/>
                <a:gd name="T44" fmla="*/ 1954 w 168"/>
                <a:gd name="T45" fmla="*/ 23054 h 168"/>
                <a:gd name="T46" fmla="*/ 0 w 168"/>
                <a:gd name="T47" fmla="*/ 21132 h 168"/>
                <a:gd name="T48" fmla="*/ 1954 w 168"/>
                <a:gd name="T49" fmla="*/ 18251 h 168"/>
                <a:gd name="T50" fmla="*/ 6840 w 168"/>
                <a:gd name="T51" fmla="*/ 14408 h 168"/>
                <a:gd name="T52" fmla="*/ 10748 w 168"/>
                <a:gd name="T53" fmla="*/ 12487 h 168"/>
                <a:gd name="T54" fmla="*/ 12702 w 168"/>
                <a:gd name="T55" fmla="*/ 6724 h 168"/>
                <a:gd name="T56" fmla="*/ 17587 w 168"/>
                <a:gd name="T57" fmla="*/ 1921 h 168"/>
                <a:gd name="T58" fmla="*/ 21495 w 168"/>
                <a:gd name="T59" fmla="*/ 1921 h 168"/>
                <a:gd name="T60" fmla="*/ 30289 w 168"/>
                <a:gd name="T61" fmla="*/ 0 h 168"/>
                <a:gd name="T62" fmla="*/ 39081 w 168"/>
                <a:gd name="T63" fmla="*/ 0 h 168"/>
                <a:gd name="T64" fmla="*/ 45921 w 168"/>
                <a:gd name="T65" fmla="*/ 3842 h 168"/>
                <a:gd name="T66" fmla="*/ 49829 w 168"/>
                <a:gd name="T67" fmla="*/ 7685 h 168"/>
                <a:gd name="T68" fmla="*/ 49829 w 168"/>
                <a:gd name="T69" fmla="*/ 12487 h 168"/>
                <a:gd name="T70" fmla="*/ 51783 w 168"/>
                <a:gd name="T71" fmla="*/ 16330 h 168"/>
                <a:gd name="T72" fmla="*/ 53737 w 168"/>
                <a:gd name="T73" fmla="*/ 18251 h 168"/>
                <a:gd name="T74" fmla="*/ 56668 w 168"/>
                <a:gd name="T75" fmla="*/ 24975 h 168"/>
                <a:gd name="T76" fmla="*/ 53737 w 168"/>
                <a:gd name="T77" fmla="*/ 26896 h 168"/>
                <a:gd name="T78" fmla="*/ 51783 w 168"/>
                <a:gd name="T79" fmla="*/ 30738 h 168"/>
                <a:gd name="T80" fmla="*/ 56668 w 168"/>
                <a:gd name="T81" fmla="*/ 30738 h 168"/>
                <a:gd name="T82" fmla="*/ 6840 w 168"/>
                <a:gd name="T83" fmla="*/ 45147 h 168"/>
                <a:gd name="T84" fmla="*/ 15633 w 168"/>
                <a:gd name="T85" fmla="*/ 45147 h 168"/>
                <a:gd name="T86" fmla="*/ 15633 w 168"/>
                <a:gd name="T87" fmla="*/ 49949 h 168"/>
                <a:gd name="T88" fmla="*/ 8794 w 168"/>
                <a:gd name="T89" fmla="*/ 48028 h 168"/>
                <a:gd name="T90" fmla="*/ 1954 w 168"/>
                <a:gd name="T91" fmla="*/ 21132 h 168"/>
                <a:gd name="T92" fmla="*/ 3908 w 168"/>
                <a:gd name="T93" fmla="*/ 45147 h 168"/>
                <a:gd name="T94" fmla="*/ 0 w 168"/>
                <a:gd name="T95" fmla="*/ 37462 h 168"/>
                <a:gd name="T96" fmla="*/ 3908 w 168"/>
                <a:gd name="T97" fmla="*/ 26896 h 168"/>
                <a:gd name="T98" fmla="*/ 3908 w 168"/>
                <a:gd name="T99" fmla="*/ 45147 h 168"/>
                <a:gd name="T100" fmla="*/ 3908 w 168"/>
                <a:gd name="T101" fmla="*/ 45147 h 1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8" h="168">
                  <a:moveTo>
                    <a:pt x="168" y="84"/>
                  </a:moveTo>
                  <a:lnTo>
                    <a:pt x="168" y="90"/>
                  </a:lnTo>
                  <a:lnTo>
                    <a:pt x="162" y="90"/>
                  </a:lnTo>
                  <a:lnTo>
                    <a:pt x="162" y="96"/>
                  </a:lnTo>
                  <a:lnTo>
                    <a:pt x="162" y="102"/>
                  </a:lnTo>
                  <a:lnTo>
                    <a:pt x="156" y="102"/>
                  </a:lnTo>
                  <a:lnTo>
                    <a:pt x="150" y="102"/>
                  </a:lnTo>
                  <a:lnTo>
                    <a:pt x="150" y="108"/>
                  </a:lnTo>
                  <a:lnTo>
                    <a:pt x="150" y="114"/>
                  </a:lnTo>
                  <a:lnTo>
                    <a:pt x="150" y="126"/>
                  </a:lnTo>
                  <a:lnTo>
                    <a:pt x="144" y="126"/>
                  </a:lnTo>
                  <a:lnTo>
                    <a:pt x="138" y="126"/>
                  </a:lnTo>
                  <a:lnTo>
                    <a:pt x="138" y="132"/>
                  </a:lnTo>
                  <a:lnTo>
                    <a:pt x="138" y="138"/>
                  </a:lnTo>
                  <a:lnTo>
                    <a:pt x="132" y="138"/>
                  </a:lnTo>
                  <a:lnTo>
                    <a:pt x="126" y="138"/>
                  </a:lnTo>
                  <a:lnTo>
                    <a:pt x="126" y="144"/>
                  </a:lnTo>
                  <a:lnTo>
                    <a:pt x="120" y="144"/>
                  </a:lnTo>
                  <a:lnTo>
                    <a:pt x="120" y="150"/>
                  </a:lnTo>
                  <a:lnTo>
                    <a:pt x="114" y="150"/>
                  </a:lnTo>
                  <a:lnTo>
                    <a:pt x="114" y="156"/>
                  </a:lnTo>
                  <a:lnTo>
                    <a:pt x="108" y="156"/>
                  </a:lnTo>
                  <a:lnTo>
                    <a:pt x="108" y="162"/>
                  </a:lnTo>
                  <a:lnTo>
                    <a:pt x="108" y="168"/>
                  </a:lnTo>
                  <a:lnTo>
                    <a:pt x="102" y="168"/>
                  </a:lnTo>
                  <a:lnTo>
                    <a:pt x="96" y="168"/>
                  </a:lnTo>
                  <a:lnTo>
                    <a:pt x="90" y="168"/>
                  </a:lnTo>
                  <a:lnTo>
                    <a:pt x="90" y="162"/>
                  </a:lnTo>
                  <a:lnTo>
                    <a:pt x="84" y="162"/>
                  </a:lnTo>
                  <a:lnTo>
                    <a:pt x="78" y="156"/>
                  </a:lnTo>
                  <a:lnTo>
                    <a:pt x="72" y="156"/>
                  </a:lnTo>
                  <a:lnTo>
                    <a:pt x="66" y="156"/>
                  </a:lnTo>
                  <a:lnTo>
                    <a:pt x="66" y="150"/>
                  </a:lnTo>
                  <a:lnTo>
                    <a:pt x="60" y="150"/>
                  </a:lnTo>
                  <a:lnTo>
                    <a:pt x="54" y="150"/>
                  </a:lnTo>
                  <a:lnTo>
                    <a:pt x="48" y="150"/>
                  </a:lnTo>
                  <a:lnTo>
                    <a:pt x="48" y="144"/>
                  </a:lnTo>
                  <a:lnTo>
                    <a:pt x="42" y="144"/>
                  </a:lnTo>
                  <a:lnTo>
                    <a:pt x="48" y="144"/>
                  </a:lnTo>
                  <a:lnTo>
                    <a:pt x="54" y="144"/>
                  </a:lnTo>
                  <a:lnTo>
                    <a:pt x="48" y="144"/>
                  </a:lnTo>
                  <a:lnTo>
                    <a:pt x="42" y="144"/>
                  </a:lnTo>
                  <a:lnTo>
                    <a:pt x="42" y="138"/>
                  </a:lnTo>
                  <a:lnTo>
                    <a:pt x="48" y="138"/>
                  </a:lnTo>
                  <a:lnTo>
                    <a:pt x="54" y="138"/>
                  </a:lnTo>
                  <a:lnTo>
                    <a:pt x="48" y="138"/>
                  </a:lnTo>
                  <a:lnTo>
                    <a:pt x="42" y="138"/>
                  </a:lnTo>
                  <a:lnTo>
                    <a:pt x="42" y="132"/>
                  </a:lnTo>
                  <a:lnTo>
                    <a:pt x="48" y="132"/>
                  </a:lnTo>
                  <a:lnTo>
                    <a:pt x="48" y="126"/>
                  </a:lnTo>
                  <a:lnTo>
                    <a:pt x="48" y="132"/>
                  </a:lnTo>
                  <a:lnTo>
                    <a:pt x="42" y="132"/>
                  </a:lnTo>
                  <a:lnTo>
                    <a:pt x="42" y="126"/>
                  </a:lnTo>
                  <a:lnTo>
                    <a:pt x="42" y="120"/>
                  </a:lnTo>
                  <a:lnTo>
                    <a:pt x="42" y="126"/>
                  </a:lnTo>
                  <a:lnTo>
                    <a:pt x="36" y="126"/>
                  </a:lnTo>
                  <a:lnTo>
                    <a:pt x="30" y="126"/>
                  </a:lnTo>
                  <a:lnTo>
                    <a:pt x="24" y="126"/>
                  </a:lnTo>
                  <a:lnTo>
                    <a:pt x="24" y="120"/>
                  </a:lnTo>
                  <a:lnTo>
                    <a:pt x="30" y="120"/>
                  </a:lnTo>
                  <a:lnTo>
                    <a:pt x="24" y="120"/>
                  </a:lnTo>
                  <a:lnTo>
                    <a:pt x="18" y="120"/>
                  </a:lnTo>
                  <a:lnTo>
                    <a:pt x="18" y="114"/>
                  </a:lnTo>
                  <a:lnTo>
                    <a:pt x="24" y="114"/>
                  </a:lnTo>
                  <a:lnTo>
                    <a:pt x="24" y="108"/>
                  </a:lnTo>
                  <a:lnTo>
                    <a:pt x="18" y="108"/>
                  </a:lnTo>
                  <a:lnTo>
                    <a:pt x="18" y="102"/>
                  </a:lnTo>
                  <a:lnTo>
                    <a:pt x="12" y="102"/>
                  </a:lnTo>
                  <a:lnTo>
                    <a:pt x="12" y="96"/>
                  </a:lnTo>
                  <a:lnTo>
                    <a:pt x="18" y="96"/>
                  </a:lnTo>
                  <a:lnTo>
                    <a:pt x="12" y="96"/>
                  </a:lnTo>
                  <a:lnTo>
                    <a:pt x="6" y="102"/>
                  </a:lnTo>
                  <a:lnTo>
                    <a:pt x="6" y="96"/>
                  </a:lnTo>
                  <a:lnTo>
                    <a:pt x="6" y="90"/>
                  </a:lnTo>
                  <a:lnTo>
                    <a:pt x="0" y="90"/>
                  </a:lnTo>
                  <a:lnTo>
                    <a:pt x="0" y="84"/>
                  </a:lnTo>
                  <a:lnTo>
                    <a:pt x="6" y="84"/>
                  </a:lnTo>
                  <a:lnTo>
                    <a:pt x="6" y="90"/>
                  </a:lnTo>
                  <a:lnTo>
                    <a:pt x="12" y="90"/>
                  </a:lnTo>
                  <a:lnTo>
                    <a:pt x="6" y="84"/>
                  </a:lnTo>
                  <a:lnTo>
                    <a:pt x="12" y="84"/>
                  </a:lnTo>
                  <a:lnTo>
                    <a:pt x="12" y="78"/>
                  </a:lnTo>
                  <a:lnTo>
                    <a:pt x="18" y="78"/>
                  </a:lnTo>
                  <a:lnTo>
                    <a:pt x="12" y="78"/>
                  </a:lnTo>
                  <a:lnTo>
                    <a:pt x="6" y="78"/>
                  </a:lnTo>
                  <a:lnTo>
                    <a:pt x="6" y="84"/>
                  </a:lnTo>
                  <a:lnTo>
                    <a:pt x="6" y="78"/>
                  </a:lnTo>
                  <a:lnTo>
                    <a:pt x="0" y="78"/>
                  </a:lnTo>
                  <a:lnTo>
                    <a:pt x="0" y="72"/>
                  </a:lnTo>
                  <a:lnTo>
                    <a:pt x="0" y="66"/>
                  </a:lnTo>
                  <a:lnTo>
                    <a:pt x="6" y="60"/>
                  </a:lnTo>
                  <a:lnTo>
                    <a:pt x="6" y="66"/>
                  </a:lnTo>
                  <a:lnTo>
                    <a:pt x="6" y="60"/>
                  </a:lnTo>
                  <a:lnTo>
                    <a:pt x="0" y="60"/>
                  </a:lnTo>
                  <a:lnTo>
                    <a:pt x="0" y="54"/>
                  </a:lnTo>
                  <a:lnTo>
                    <a:pt x="0" y="60"/>
                  </a:lnTo>
                  <a:lnTo>
                    <a:pt x="0" y="54"/>
                  </a:lnTo>
                  <a:lnTo>
                    <a:pt x="0" y="48"/>
                  </a:lnTo>
                  <a:lnTo>
                    <a:pt x="6" y="48"/>
                  </a:lnTo>
                  <a:lnTo>
                    <a:pt x="6" y="54"/>
                  </a:lnTo>
                  <a:lnTo>
                    <a:pt x="12" y="54"/>
                  </a:lnTo>
                  <a:lnTo>
                    <a:pt x="12" y="48"/>
                  </a:lnTo>
                  <a:lnTo>
                    <a:pt x="18" y="48"/>
                  </a:lnTo>
                  <a:lnTo>
                    <a:pt x="18" y="42"/>
                  </a:lnTo>
                  <a:lnTo>
                    <a:pt x="18" y="36"/>
                  </a:lnTo>
                  <a:lnTo>
                    <a:pt x="18" y="42"/>
                  </a:lnTo>
                  <a:lnTo>
                    <a:pt x="24" y="36"/>
                  </a:lnTo>
                  <a:lnTo>
                    <a:pt x="30" y="36"/>
                  </a:lnTo>
                  <a:lnTo>
                    <a:pt x="30" y="30"/>
                  </a:lnTo>
                  <a:lnTo>
                    <a:pt x="36" y="30"/>
                  </a:lnTo>
                  <a:lnTo>
                    <a:pt x="36" y="24"/>
                  </a:lnTo>
                  <a:lnTo>
                    <a:pt x="36" y="18"/>
                  </a:lnTo>
                  <a:lnTo>
                    <a:pt x="36" y="12"/>
                  </a:lnTo>
                  <a:lnTo>
                    <a:pt x="42" y="12"/>
                  </a:lnTo>
                  <a:lnTo>
                    <a:pt x="42" y="6"/>
                  </a:lnTo>
                  <a:lnTo>
                    <a:pt x="48" y="6"/>
                  </a:lnTo>
                  <a:lnTo>
                    <a:pt x="54" y="6"/>
                  </a:lnTo>
                  <a:lnTo>
                    <a:pt x="54" y="0"/>
                  </a:lnTo>
                  <a:lnTo>
                    <a:pt x="60" y="0"/>
                  </a:lnTo>
                  <a:lnTo>
                    <a:pt x="60" y="6"/>
                  </a:lnTo>
                  <a:lnTo>
                    <a:pt x="66" y="6"/>
                  </a:lnTo>
                  <a:lnTo>
                    <a:pt x="72" y="0"/>
                  </a:lnTo>
                  <a:lnTo>
                    <a:pt x="78" y="0"/>
                  </a:lnTo>
                  <a:lnTo>
                    <a:pt x="84" y="0"/>
                  </a:lnTo>
                  <a:lnTo>
                    <a:pt x="90" y="0"/>
                  </a:lnTo>
                  <a:lnTo>
                    <a:pt x="96" y="0"/>
                  </a:lnTo>
                  <a:lnTo>
                    <a:pt x="102" y="0"/>
                  </a:lnTo>
                  <a:lnTo>
                    <a:pt x="108" y="0"/>
                  </a:lnTo>
                  <a:lnTo>
                    <a:pt x="114" y="0"/>
                  </a:lnTo>
                  <a:lnTo>
                    <a:pt x="120" y="6"/>
                  </a:lnTo>
                  <a:lnTo>
                    <a:pt x="126" y="6"/>
                  </a:lnTo>
                  <a:lnTo>
                    <a:pt x="126" y="12"/>
                  </a:lnTo>
                  <a:lnTo>
                    <a:pt x="126" y="18"/>
                  </a:lnTo>
                  <a:lnTo>
                    <a:pt x="132" y="18"/>
                  </a:lnTo>
                  <a:lnTo>
                    <a:pt x="132" y="24"/>
                  </a:lnTo>
                  <a:lnTo>
                    <a:pt x="138" y="24"/>
                  </a:lnTo>
                  <a:lnTo>
                    <a:pt x="132" y="24"/>
                  </a:lnTo>
                  <a:lnTo>
                    <a:pt x="132" y="30"/>
                  </a:lnTo>
                  <a:lnTo>
                    <a:pt x="138" y="30"/>
                  </a:lnTo>
                  <a:lnTo>
                    <a:pt x="138" y="36"/>
                  </a:lnTo>
                  <a:lnTo>
                    <a:pt x="144" y="30"/>
                  </a:lnTo>
                  <a:lnTo>
                    <a:pt x="144" y="36"/>
                  </a:lnTo>
                  <a:lnTo>
                    <a:pt x="144" y="42"/>
                  </a:lnTo>
                  <a:lnTo>
                    <a:pt x="144" y="48"/>
                  </a:lnTo>
                  <a:lnTo>
                    <a:pt x="138" y="48"/>
                  </a:lnTo>
                  <a:lnTo>
                    <a:pt x="144" y="48"/>
                  </a:lnTo>
                  <a:lnTo>
                    <a:pt x="150" y="48"/>
                  </a:lnTo>
                  <a:lnTo>
                    <a:pt x="150" y="54"/>
                  </a:lnTo>
                  <a:lnTo>
                    <a:pt x="150" y="60"/>
                  </a:lnTo>
                  <a:lnTo>
                    <a:pt x="150" y="66"/>
                  </a:lnTo>
                  <a:lnTo>
                    <a:pt x="150" y="72"/>
                  </a:lnTo>
                  <a:lnTo>
                    <a:pt x="156" y="72"/>
                  </a:lnTo>
                  <a:lnTo>
                    <a:pt x="150" y="72"/>
                  </a:lnTo>
                  <a:lnTo>
                    <a:pt x="156" y="72"/>
                  </a:lnTo>
                  <a:lnTo>
                    <a:pt x="156" y="78"/>
                  </a:lnTo>
                  <a:lnTo>
                    <a:pt x="150" y="78"/>
                  </a:lnTo>
                  <a:lnTo>
                    <a:pt x="144" y="84"/>
                  </a:lnTo>
                  <a:lnTo>
                    <a:pt x="144" y="90"/>
                  </a:lnTo>
                  <a:lnTo>
                    <a:pt x="144" y="96"/>
                  </a:lnTo>
                  <a:lnTo>
                    <a:pt x="144" y="90"/>
                  </a:lnTo>
                  <a:lnTo>
                    <a:pt x="150" y="90"/>
                  </a:lnTo>
                  <a:lnTo>
                    <a:pt x="150" y="96"/>
                  </a:lnTo>
                  <a:lnTo>
                    <a:pt x="150" y="90"/>
                  </a:lnTo>
                  <a:lnTo>
                    <a:pt x="156" y="90"/>
                  </a:lnTo>
                  <a:lnTo>
                    <a:pt x="156" y="84"/>
                  </a:lnTo>
                  <a:lnTo>
                    <a:pt x="162" y="84"/>
                  </a:lnTo>
                  <a:lnTo>
                    <a:pt x="168" y="84"/>
                  </a:lnTo>
                  <a:close/>
                  <a:moveTo>
                    <a:pt x="18" y="132"/>
                  </a:moveTo>
                  <a:lnTo>
                    <a:pt x="24" y="132"/>
                  </a:lnTo>
                  <a:lnTo>
                    <a:pt x="30" y="132"/>
                  </a:lnTo>
                  <a:lnTo>
                    <a:pt x="36" y="132"/>
                  </a:lnTo>
                  <a:lnTo>
                    <a:pt x="42" y="132"/>
                  </a:lnTo>
                  <a:lnTo>
                    <a:pt x="42" y="138"/>
                  </a:lnTo>
                  <a:lnTo>
                    <a:pt x="42" y="144"/>
                  </a:lnTo>
                  <a:lnTo>
                    <a:pt x="36" y="144"/>
                  </a:lnTo>
                  <a:lnTo>
                    <a:pt x="42" y="144"/>
                  </a:lnTo>
                  <a:lnTo>
                    <a:pt x="36" y="144"/>
                  </a:lnTo>
                  <a:lnTo>
                    <a:pt x="36" y="138"/>
                  </a:lnTo>
                  <a:lnTo>
                    <a:pt x="30" y="138"/>
                  </a:lnTo>
                  <a:lnTo>
                    <a:pt x="24" y="138"/>
                  </a:lnTo>
                  <a:lnTo>
                    <a:pt x="18" y="138"/>
                  </a:lnTo>
                  <a:lnTo>
                    <a:pt x="18" y="132"/>
                  </a:lnTo>
                  <a:close/>
                  <a:moveTo>
                    <a:pt x="0" y="60"/>
                  </a:moveTo>
                  <a:lnTo>
                    <a:pt x="6" y="60"/>
                  </a:lnTo>
                  <a:lnTo>
                    <a:pt x="0" y="60"/>
                  </a:lnTo>
                  <a:close/>
                  <a:moveTo>
                    <a:pt x="12" y="132"/>
                  </a:moveTo>
                  <a:lnTo>
                    <a:pt x="18" y="132"/>
                  </a:lnTo>
                  <a:lnTo>
                    <a:pt x="12" y="132"/>
                  </a:lnTo>
                  <a:close/>
                  <a:moveTo>
                    <a:pt x="0" y="102"/>
                  </a:moveTo>
                  <a:lnTo>
                    <a:pt x="6" y="102"/>
                  </a:lnTo>
                  <a:lnTo>
                    <a:pt x="6" y="108"/>
                  </a:lnTo>
                  <a:lnTo>
                    <a:pt x="0" y="108"/>
                  </a:lnTo>
                  <a:lnTo>
                    <a:pt x="0" y="102"/>
                  </a:lnTo>
                  <a:close/>
                  <a:moveTo>
                    <a:pt x="12" y="78"/>
                  </a:moveTo>
                  <a:lnTo>
                    <a:pt x="18" y="78"/>
                  </a:lnTo>
                  <a:lnTo>
                    <a:pt x="12" y="78"/>
                  </a:lnTo>
                  <a:close/>
                  <a:moveTo>
                    <a:pt x="42" y="138"/>
                  </a:moveTo>
                  <a:lnTo>
                    <a:pt x="48" y="138"/>
                  </a:lnTo>
                  <a:lnTo>
                    <a:pt x="42" y="138"/>
                  </a:lnTo>
                  <a:close/>
                  <a:moveTo>
                    <a:pt x="12" y="132"/>
                  </a:moveTo>
                  <a:lnTo>
                    <a:pt x="18" y="132"/>
                  </a:lnTo>
                  <a:lnTo>
                    <a:pt x="12" y="132"/>
                  </a:lnTo>
                  <a:close/>
                  <a:moveTo>
                    <a:pt x="12" y="126"/>
                  </a:moveTo>
                  <a:lnTo>
                    <a:pt x="12" y="132"/>
                  </a:lnTo>
                  <a:lnTo>
                    <a:pt x="13" y="132"/>
                  </a:lnTo>
                  <a:lnTo>
                    <a:pt x="12" y="12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1" name="Freeform 19"/>
            <p:cNvSpPr>
              <a:spLocks noEditPoints="1"/>
            </p:cNvSpPr>
            <p:nvPr>
              <p:custDataLst>
                <p:tags r:id="rId19"/>
              </p:custDataLst>
            </p:nvPr>
          </p:nvSpPr>
          <p:spPr bwMode="gray">
            <a:xfrm>
              <a:off x="1724309" y="3379496"/>
              <a:ext cx="11670" cy="15661"/>
            </a:xfrm>
            <a:custGeom>
              <a:avLst/>
              <a:gdLst>
                <a:gd name="T0" fmla="*/ 3413 w 12"/>
                <a:gd name="T1" fmla="*/ 0 h 18"/>
                <a:gd name="T2" fmla="*/ 3413 w 12"/>
                <a:gd name="T3" fmla="*/ 1948 h 18"/>
                <a:gd name="T4" fmla="*/ 3413 w 12"/>
                <a:gd name="T5" fmla="*/ 3896 h 18"/>
                <a:gd name="T6" fmla="*/ 3413 w 12"/>
                <a:gd name="T7" fmla="*/ 6818 h 18"/>
                <a:gd name="T8" fmla="*/ 5689 w 12"/>
                <a:gd name="T9" fmla="*/ 6818 h 18"/>
                <a:gd name="T10" fmla="*/ 3413 w 12"/>
                <a:gd name="T11" fmla="*/ 6818 h 18"/>
                <a:gd name="T12" fmla="*/ 3413 w 12"/>
                <a:gd name="T13" fmla="*/ 3896 h 18"/>
                <a:gd name="T14" fmla="*/ 3413 w 12"/>
                <a:gd name="T15" fmla="*/ 6818 h 18"/>
                <a:gd name="T16" fmla="*/ 5689 w 12"/>
                <a:gd name="T17" fmla="*/ 6818 h 18"/>
                <a:gd name="T18" fmla="*/ 3413 w 12"/>
                <a:gd name="T19" fmla="*/ 6818 h 18"/>
                <a:gd name="T20" fmla="*/ 0 w 12"/>
                <a:gd name="T21" fmla="*/ 6818 h 18"/>
                <a:gd name="T22" fmla="*/ 3413 w 12"/>
                <a:gd name="T23" fmla="*/ 6818 h 18"/>
                <a:gd name="T24" fmla="*/ 0 w 12"/>
                <a:gd name="T25" fmla="*/ 6818 h 18"/>
                <a:gd name="T26" fmla="*/ 3413 w 12"/>
                <a:gd name="T27" fmla="*/ 6818 h 18"/>
                <a:gd name="T28" fmla="*/ 0 w 12"/>
                <a:gd name="T29" fmla="*/ 6818 h 18"/>
                <a:gd name="T30" fmla="*/ 0 w 12"/>
                <a:gd name="T31" fmla="*/ 3896 h 18"/>
                <a:gd name="T32" fmla="*/ 3413 w 12"/>
                <a:gd name="T33" fmla="*/ 3896 h 18"/>
                <a:gd name="T34" fmla="*/ 3413 w 12"/>
                <a:gd name="T35" fmla="*/ 1948 h 18"/>
                <a:gd name="T36" fmla="*/ 0 w 12"/>
                <a:gd name="T37" fmla="*/ 1948 h 18"/>
                <a:gd name="T38" fmla="*/ 3413 w 12"/>
                <a:gd name="T39" fmla="*/ 1948 h 18"/>
                <a:gd name="T40" fmla="*/ 0 w 12"/>
                <a:gd name="T41" fmla="*/ 1948 h 18"/>
                <a:gd name="T42" fmla="*/ 3413 w 12"/>
                <a:gd name="T43" fmla="*/ 1948 h 18"/>
                <a:gd name="T44" fmla="*/ 0 w 12"/>
                <a:gd name="T45" fmla="*/ 1948 h 18"/>
                <a:gd name="T46" fmla="*/ 0 w 12"/>
                <a:gd name="T47" fmla="*/ 0 h 18"/>
                <a:gd name="T48" fmla="*/ 3413 w 12"/>
                <a:gd name="T49" fmla="*/ 0 h 18"/>
                <a:gd name="T50" fmla="*/ 0 w 12"/>
                <a:gd name="T51" fmla="*/ 1948 h 18"/>
                <a:gd name="T52" fmla="*/ 3413 w 12"/>
                <a:gd name="T53" fmla="*/ 1948 h 18"/>
                <a:gd name="T54" fmla="*/ 3413 w 12"/>
                <a:gd name="T55" fmla="*/ 3896 h 18"/>
                <a:gd name="T56" fmla="*/ 0 w 12"/>
                <a:gd name="T57" fmla="*/ 3896 h 18"/>
                <a:gd name="T58" fmla="*/ 0 w 12"/>
                <a:gd name="T59" fmla="*/ 1948 h 18"/>
                <a:gd name="T60" fmla="*/ 0 w 12"/>
                <a:gd name="T61" fmla="*/ 1948 h 18"/>
                <a:gd name="T62" fmla="*/ 3413 w 12"/>
                <a:gd name="T63" fmla="*/ 1948 h 18"/>
                <a:gd name="T64" fmla="*/ 0 w 12"/>
                <a:gd name="T65" fmla="*/ 1948 h 18"/>
                <a:gd name="T66" fmla="*/ 0 w 12"/>
                <a:gd name="T67" fmla="*/ 1948 h 18"/>
                <a:gd name="T68" fmla="*/ 0 w 12"/>
                <a:gd name="T69" fmla="*/ 3896 h 18"/>
                <a:gd name="T70" fmla="*/ 1138 w 12"/>
                <a:gd name="T71" fmla="*/ 3896 h 18"/>
                <a:gd name="T72" fmla="*/ 0 w 12"/>
                <a:gd name="T73" fmla="*/ 1948 h 18"/>
                <a:gd name="T74" fmla="*/ 0 w 12"/>
                <a:gd name="T75" fmla="*/ 0 h 18"/>
                <a:gd name="T76" fmla="*/ 3413 w 12"/>
                <a:gd name="T77" fmla="*/ 0 h 18"/>
                <a:gd name="T78" fmla="*/ 3413 w 12"/>
                <a:gd name="T79" fmla="*/ 1948 h 18"/>
                <a:gd name="T80" fmla="*/ 0 w 12"/>
                <a:gd name="T81" fmla="*/ 1948 h 18"/>
                <a:gd name="T82" fmla="*/ 0 w 12"/>
                <a:gd name="T83" fmla="*/ 0 h 18"/>
                <a:gd name="T84" fmla="*/ 0 w 12"/>
                <a:gd name="T85" fmla="*/ 0 h 18"/>
                <a:gd name="T86" fmla="*/ 3413 w 12"/>
                <a:gd name="T87" fmla="*/ 0 h 18"/>
                <a:gd name="T88" fmla="*/ 0 w 12"/>
                <a:gd name="T89" fmla="*/ 0 h 18"/>
                <a:gd name="T90" fmla="*/ 0 w 12"/>
                <a:gd name="T91" fmla="*/ 1948 h 18"/>
                <a:gd name="T92" fmla="*/ 3413 w 12"/>
                <a:gd name="T93" fmla="*/ 1948 h 18"/>
                <a:gd name="T94" fmla="*/ 0 w 12"/>
                <a:gd name="T95" fmla="*/ 1948 h 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 h="18">
                  <a:moveTo>
                    <a:pt x="6" y="0"/>
                  </a:moveTo>
                  <a:lnTo>
                    <a:pt x="6" y="6"/>
                  </a:lnTo>
                  <a:lnTo>
                    <a:pt x="6" y="12"/>
                  </a:lnTo>
                  <a:lnTo>
                    <a:pt x="6" y="18"/>
                  </a:lnTo>
                  <a:lnTo>
                    <a:pt x="12" y="18"/>
                  </a:lnTo>
                  <a:lnTo>
                    <a:pt x="6" y="18"/>
                  </a:lnTo>
                  <a:lnTo>
                    <a:pt x="6" y="12"/>
                  </a:lnTo>
                  <a:lnTo>
                    <a:pt x="6" y="18"/>
                  </a:lnTo>
                  <a:lnTo>
                    <a:pt x="12" y="18"/>
                  </a:lnTo>
                  <a:lnTo>
                    <a:pt x="6" y="18"/>
                  </a:lnTo>
                  <a:lnTo>
                    <a:pt x="0" y="18"/>
                  </a:lnTo>
                  <a:lnTo>
                    <a:pt x="6" y="18"/>
                  </a:lnTo>
                  <a:lnTo>
                    <a:pt x="0" y="18"/>
                  </a:lnTo>
                  <a:lnTo>
                    <a:pt x="6" y="18"/>
                  </a:lnTo>
                  <a:lnTo>
                    <a:pt x="0" y="18"/>
                  </a:lnTo>
                  <a:lnTo>
                    <a:pt x="0" y="12"/>
                  </a:lnTo>
                  <a:lnTo>
                    <a:pt x="6" y="12"/>
                  </a:lnTo>
                  <a:lnTo>
                    <a:pt x="6" y="6"/>
                  </a:lnTo>
                  <a:lnTo>
                    <a:pt x="0" y="6"/>
                  </a:lnTo>
                  <a:lnTo>
                    <a:pt x="6" y="6"/>
                  </a:lnTo>
                  <a:lnTo>
                    <a:pt x="0" y="6"/>
                  </a:lnTo>
                  <a:lnTo>
                    <a:pt x="6" y="6"/>
                  </a:lnTo>
                  <a:lnTo>
                    <a:pt x="0" y="6"/>
                  </a:lnTo>
                  <a:lnTo>
                    <a:pt x="0" y="0"/>
                  </a:lnTo>
                  <a:lnTo>
                    <a:pt x="6" y="0"/>
                  </a:lnTo>
                  <a:close/>
                  <a:moveTo>
                    <a:pt x="0" y="6"/>
                  </a:moveTo>
                  <a:lnTo>
                    <a:pt x="6" y="6"/>
                  </a:lnTo>
                  <a:lnTo>
                    <a:pt x="6" y="12"/>
                  </a:lnTo>
                  <a:lnTo>
                    <a:pt x="0" y="12"/>
                  </a:lnTo>
                  <a:lnTo>
                    <a:pt x="0" y="6"/>
                  </a:lnTo>
                  <a:close/>
                  <a:moveTo>
                    <a:pt x="0" y="6"/>
                  </a:moveTo>
                  <a:lnTo>
                    <a:pt x="6" y="6"/>
                  </a:lnTo>
                  <a:lnTo>
                    <a:pt x="0" y="6"/>
                  </a:lnTo>
                  <a:close/>
                  <a:moveTo>
                    <a:pt x="0" y="6"/>
                  </a:moveTo>
                  <a:lnTo>
                    <a:pt x="0" y="12"/>
                  </a:lnTo>
                  <a:lnTo>
                    <a:pt x="1" y="12"/>
                  </a:lnTo>
                  <a:lnTo>
                    <a:pt x="0" y="6"/>
                  </a:lnTo>
                  <a:close/>
                  <a:moveTo>
                    <a:pt x="0" y="0"/>
                  </a:moveTo>
                  <a:lnTo>
                    <a:pt x="6" y="0"/>
                  </a:lnTo>
                  <a:lnTo>
                    <a:pt x="6" y="6"/>
                  </a:lnTo>
                  <a:lnTo>
                    <a:pt x="0" y="6"/>
                  </a:lnTo>
                  <a:lnTo>
                    <a:pt x="0" y="0"/>
                  </a:lnTo>
                  <a:close/>
                  <a:moveTo>
                    <a:pt x="0" y="0"/>
                  </a:moveTo>
                  <a:lnTo>
                    <a:pt x="6" y="0"/>
                  </a:lnTo>
                  <a:lnTo>
                    <a:pt x="0" y="0"/>
                  </a:lnTo>
                  <a:close/>
                  <a:moveTo>
                    <a:pt x="0" y="6"/>
                  </a:moveTo>
                  <a:lnTo>
                    <a:pt x="6" y="6"/>
                  </a:lnTo>
                  <a:lnTo>
                    <a:pt x="0" y="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2" name="Freeform 20"/>
            <p:cNvSpPr>
              <a:spLocks noEditPoints="1"/>
            </p:cNvSpPr>
            <p:nvPr>
              <p:custDataLst>
                <p:tags r:id="rId20"/>
              </p:custDataLst>
            </p:nvPr>
          </p:nvSpPr>
          <p:spPr bwMode="gray">
            <a:xfrm>
              <a:off x="1719641" y="3430955"/>
              <a:ext cx="148211" cy="143189"/>
            </a:xfrm>
            <a:custGeom>
              <a:avLst/>
              <a:gdLst>
                <a:gd name="T0" fmla="*/ 23312 w 162"/>
                <a:gd name="T1" fmla="*/ 55406 h 162"/>
                <a:gd name="T2" fmla="*/ 21369 w 162"/>
                <a:gd name="T3" fmla="*/ 53427 h 162"/>
                <a:gd name="T4" fmla="*/ 19426 w 162"/>
                <a:gd name="T5" fmla="*/ 55406 h 162"/>
                <a:gd name="T6" fmla="*/ 19426 w 162"/>
                <a:gd name="T7" fmla="*/ 50459 h 162"/>
                <a:gd name="T8" fmla="*/ 21369 w 162"/>
                <a:gd name="T9" fmla="*/ 49470 h 162"/>
                <a:gd name="T10" fmla="*/ 23312 w 162"/>
                <a:gd name="T11" fmla="*/ 46501 h 162"/>
                <a:gd name="T12" fmla="*/ 23312 w 162"/>
                <a:gd name="T13" fmla="*/ 46501 h 162"/>
                <a:gd name="T14" fmla="*/ 23312 w 162"/>
                <a:gd name="T15" fmla="*/ 42543 h 162"/>
                <a:gd name="T16" fmla="*/ 26226 w 162"/>
                <a:gd name="T17" fmla="*/ 39576 h 162"/>
                <a:gd name="T18" fmla="*/ 27196 w 162"/>
                <a:gd name="T19" fmla="*/ 37597 h 162"/>
                <a:gd name="T20" fmla="*/ 27196 w 162"/>
                <a:gd name="T21" fmla="*/ 33640 h 162"/>
                <a:gd name="T22" fmla="*/ 27196 w 162"/>
                <a:gd name="T23" fmla="*/ 28693 h 162"/>
                <a:gd name="T24" fmla="*/ 30110 w 162"/>
                <a:gd name="T25" fmla="*/ 30671 h 162"/>
                <a:gd name="T26" fmla="*/ 30110 w 162"/>
                <a:gd name="T27" fmla="*/ 30671 h 162"/>
                <a:gd name="T28" fmla="*/ 32053 w 162"/>
                <a:gd name="T29" fmla="*/ 33640 h 162"/>
                <a:gd name="T30" fmla="*/ 36909 w 162"/>
                <a:gd name="T31" fmla="*/ 33640 h 162"/>
                <a:gd name="T32" fmla="*/ 40794 w 162"/>
                <a:gd name="T33" fmla="*/ 33640 h 162"/>
                <a:gd name="T34" fmla="*/ 44680 w 162"/>
                <a:gd name="T35" fmla="*/ 33640 h 162"/>
                <a:gd name="T36" fmla="*/ 48565 w 162"/>
                <a:gd name="T37" fmla="*/ 33640 h 162"/>
                <a:gd name="T38" fmla="*/ 53422 w 162"/>
                <a:gd name="T39" fmla="*/ 33640 h 162"/>
                <a:gd name="T40" fmla="*/ 57307 w 162"/>
                <a:gd name="T41" fmla="*/ 33640 h 162"/>
                <a:gd name="T42" fmla="*/ 57307 w 162"/>
                <a:gd name="T43" fmla="*/ 37597 h 162"/>
                <a:gd name="T44" fmla="*/ 57307 w 162"/>
                <a:gd name="T45" fmla="*/ 42543 h 162"/>
                <a:gd name="T46" fmla="*/ 57307 w 162"/>
                <a:gd name="T47" fmla="*/ 46501 h 162"/>
                <a:gd name="T48" fmla="*/ 57307 w 162"/>
                <a:gd name="T49" fmla="*/ 50459 h 162"/>
                <a:gd name="T50" fmla="*/ 57307 w 162"/>
                <a:gd name="T51" fmla="*/ 55406 h 162"/>
                <a:gd name="T52" fmla="*/ 55364 w 162"/>
                <a:gd name="T53" fmla="*/ 57384 h 162"/>
                <a:gd name="T54" fmla="*/ 51479 w 162"/>
                <a:gd name="T55" fmla="*/ 57384 h 162"/>
                <a:gd name="T56" fmla="*/ 46622 w 162"/>
                <a:gd name="T57" fmla="*/ 57384 h 162"/>
                <a:gd name="T58" fmla="*/ 42737 w 162"/>
                <a:gd name="T59" fmla="*/ 57384 h 162"/>
                <a:gd name="T60" fmla="*/ 37880 w 162"/>
                <a:gd name="T61" fmla="*/ 57384 h 162"/>
                <a:gd name="T62" fmla="*/ 33995 w 162"/>
                <a:gd name="T63" fmla="*/ 57384 h 162"/>
                <a:gd name="T64" fmla="*/ 30110 w 162"/>
                <a:gd name="T65" fmla="*/ 57384 h 162"/>
                <a:gd name="T66" fmla="*/ 27196 w 162"/>
                <a:gd name="T67" fmla="*/ 55406 h 162"/>
                <a:gd name="T68" fmla="*/ 3885 w 162"/>
                <a:gd name="T69" fmla="*/ 1978 h 162"/>
                <a:gd name="T70" fmla="*/ 8742 w 162"/>
                <a:gd name="T71" fmla="*/ 0 h 162"/>
                <a:gd name="T72" fmla="*/ 10684 w 162"/>
                <a:gd name="T73" fmla="*/ 1978 h 162"/>
                <a:gd name="T74" fmla="*/ 8742 w 162"/>
                <a:gd name="T75" fmla="*/ 3958 h 162"/>
                <a:gd name="T76" fmla="*/ 6799 w 162"/>
                <a:gd name="T77" fmla="*/ 6925 h 162"/>
                <a:gd name="T78" fmla="*/ 6799 w 162"/>
                <a:gd name="T79" fmla="*/ 10883 h 162"/>
                <a:gd name="T80" fmla="*/ 1943 w 162"/>
                <a:gd name="T81" fmla="*/ 10883 h 162"/>
                <a:gd name="T82" fmla="*/ 0 w 162"/>
                <a:gd name="T83" fmla="*/ 6925 h 162"/>
                <a:gd name="T84" fmla="*/ 3885 w 162"/>
                <a:gd name="T85" fmla="*/ 6925 h 162"/>
                <a:gd name="T86" fmla="*/ 3885 w 162"/>
                <a:gd name="T87" fmla="*/ 1978 h 162"/>
                <a:gd name="T88" fmla="*/ 19426 w 162"/>
                <a:gd name="T89" fmla="*/ 57384 h 162"/>
                <a:gd name="T90" fmla="*/ 17484 w 162"/>
                <a:gd name="T91" fmla="*/ 60353 h 1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2" h="162">
                  <a:moveTo>
                    <a:pt x="72" y="150"/>
                  </a:moveTo>
                  <a:lnTo>
                    <a:pt x="66" y="150"/>
                  </a:lnTo>
                  <a:lnTo>
                    <a:pt x="66" y="144"/>
                  </a:lnTo>
                  <a:lnTo>
                    <a:pt x="60" y="144"/>
                  </a:lnTo>
                  <a:lnTo>
                    <a:pt x="60" y="150"/>
                  </a:lnTo>
                  <a:lnTo>
                    <a:pt x="54" y="150"/>
                  </a:lnTo>
                  <a:lnTo>
                    <a:pt x="54" y="144"/>
                  </a:lnTo>
                  <a:lnTo>
                    <a:pt x="54" y="138"/>
                  </a:lnTo>
                  <a:lnTo>
                    <a:pt x="60" y="138"/>
                  </a:lnTo>
                  <a:lnTo>
                    <a:pt x="60" y="132"/>
                  </a:lnTo>
                  <a:lnTo>
                    <a:pt x="60" y="126"/>
                  </a:lnTo>
                  <a:lnTo>
                    <a:pt x="66" y="126"/>
                  </a:lnTo>
                  <a:lnTo>
                    <a:pt x="66" y="132"/>
                  </a:lnTo>
                  <a:lnTo>
                    <a:pt x="66" y="126"/>
                  </a:lnTo>
                  <a:lnTo>
                    <a:pt x="66" y="120"/>
                  </a:lnTo>
                  <a:lnTo>
                    <a:pt x="66" y="114"/>
                  </a:lnTo>
                  <a:lnTo>
                    <a:pt x="72" y="114"/>
                  </a:lnTo>
                  <a:lnTo>
                    <a:pt x="72" y="108"/>
                  </a:lnTo>
                  <a:lnTo>
                    <a:pt x="78" y="108"/>
                  </a:lnTo>
                  <a:lnTo>
                    <a:pt x="78" y="102"/>
                  </a:lnTo>
                  <a:lnTo>
                    <a:pt x="78" y="96"/>
                  </a:lnTo>
                  <a:lnTo>
                    <a:pt x="78" y="90"/>
                  </a:lnTo>
                  <a:lnTo>
                    <a:pt x="78" y="84"/>
                  </a:lnTo>
                  <a:lnTo>
                    <a:pt x="78" y="78"/>
                  </a:lnTo>
                  <a:lnTo>
                    <a:pt x="78" y="84"/>
                  </a:lnTo>
                  <a:lnTo>
                    <a:pt x="84" y="84"/>
                  </a:lnTo>
                  <a:lnTo>
                    <a:pt x="84" y="90"/>
                  </a:lnTo>
                  <a:lnTo>
                    <a:pt x="84" y="84"/>
                  </a:lnTo>
                  <a:lnTo>
                    <a:pt x="84" y="90"/>
                  </a:lnTo>
                  <a:lnTo>
                    <a:pt x="90" y="90"/>
                  </a:lnTo>
                  <a:lnTo>
                    <a:pt x="96" y="90"/>
                  </a:lnTo>
                  <a:lnTo>
                    <a:pt x="102" y="90"/>
                  </a:lnTo>
                  <a:lnTo>
                    <a:pt x="108" y="90"/>
                  </a:lnTo>
                  <a:lnTo>
                    <a:pt x="114" y="90"/>
                  </a:lnTo>
                  <a:lnTo>
                    <a:pt x="120" y="90"/>
                  </a:lnTo>
                  <a:lnTo>
                    <a:pt x="126" y="90"/>
                  </a:lnTo>
                  <a:lnTo>
                    <a:pt x="132" y="90"/>
                  </a:lnTo>
                  <a:lnTo>
                    <a:pt x="138" y="90"/>
                  </a:lnTo>
                  <a:lnTo>
                    <a:pt x="144" y="90"/>
                  </a:lnTo>
                  <a:lnTo>
                    <a:pt x="150" y="90"/>
                  </a:lnTo>
                  <a:lnTo>
                    <a:pt x="156" y="90"/>
                  </a:lnTo>
                  <a:lnTo>
                    <a:pt x="162" y="90"/>
                  </a:lnTo>
                  <a:lnTo>
                    <a:pt x="162" y="96"/>
                  </a:lnTo>
                  <a:lnTo>
                    <a:pt x="162" y="102"/>
                  </a:lnTo>
                  <a:lnTo>
                    <a:pt x="162" y="108"/>
                  </a:lnTo>
                  <a:lnTo>
                    <a:pt x="162" y="114"/>
                  </a:lnTo>
                  <a:lnTo>
                    <a:pt x="162" y="120"/>
                  </a:lnTo>
                  <a:lnTo>
                    <a:pt x="162" y="126"/>
                  </a:lnTo>
                  <a:lnTo>
                    <a:pt x="162" y="132"/>
                  </a:lnTo>
                  <a:lnTo>
                    <a:pt x="162" y="138"/>
                  </a:lnTo>
                  <a:lnTo>
                    <a:pt x="162" y="144"/>
                  </a:lnTo>
                  <a:lnTo>
                    <a:pt x="162" y="150"/>
                  </a:lnTo>
                  <a:lnTo>
                    <a:pt x="162" y="156"/>
                  </a:lnTo>
                  <a:lnTo>
                    <a:pt x="156" y="156"/>
                  </a:lnTo>
                  <a:lnTo>
                    <a:pt x="150" y="156"/>
                  </a:lnTo>
                  <a:lnTo>
                    <a:pt x="144" y="156"/>
                  </a:lnTo>
                  <a:lnTo>
                    <a:pt x="138" y="156"/>
                  </a:lnTo>
                  <a:lnTo>
                    <a:pt x="132" y="156"/>
                  </a:lnTo>
                  <a:lnTo>
                    <a:pt x="126" y="156"/>
                  </a:lnTo>
                  <a:lnTo>
                    <a:pt x="120" y="156"/>
                  </a:lnTo>
                  <a:lnTo>
                    <a:pt x="114" y="156"/>
                  </a:lnTo>
                  <a:lnTo>
                    <a:pt x="108" y="156"/>
                  </a:lnTo>
                  <a:lnTo>
                    <a:pt x="102" y="156"/>
                  </a:lnTo>
                  <a:lnTo>
                    <a:pt x="96" y="156"/>
                  </a:lnTo>
                  <a:lnTo>
                    <a:pt x="90" y="156"/>
                  </a:lnTo>
                  <a:lnTo>
                    <a:pt x="84" y="156"/>
                  </a:lnTo>
                  <a:lnTo>
                    <a:pt x="78" y="156"/>
                  </a:lnTo>
                  <a:lnTo>
                    <a:pt x="78" y="150"/>
                  </a:lnTo>
                  <a:lnTo>
                    <a:pt x="72" y="150"/>
                  </a:lnTo>
                  <a:close/>
                  <a:moveTo>
                    <a:pt x="12" y="6"/>
                  </a:moveTo>
                  <a:lnTo>
                    <a:pt x="18" y="0"/>
                  </a:lnTo>
                  <a:lnTo>
                    <a:pt x="24" y="0"/>
                  </a:lnTo>
                  <a:lnTo>
                    <a:pt x="30" y="0"/>
                  </a:lnTo>
                  <a:lnTo>
                    <a:pt x="30" y="6"/>
                  </a:lnTo>
                  <a:lnTo>
                    <a:pt x="30" y="12"/>
                  </a:lnTo>
                  <a:lnTo>
                    <a:pt x="24" y="12"/>
                  </a:lnTo>
                  <a:lnTo>
                    <a:pt x="24" y="18"/>
                  </a:lnTo>
                  <a:lnTo>
                    <a:pt x="18" y="18"/>
                  </a:lnTo>
                  <a:lnTo>
                    <a:pt x="18" y="24"/>
                  </a:lnTo>
                  <a:lnTo>
                    <a:pt x="18" y="30"/>
                  </a:lnTo>
                  <a:lnTo>
                    <a:pt x="12" y="30"/>
                  </a:lnTo>
                  <a:lnTo>
                    <a:pt x="6" y="30"/>
                  </a:lnTo>
                  <a:lnTo>
                    <a:pt x="0" y="24"/>
                  </a:lnTo>
                  <a:lnTo>
                    <a:pt x="0" y="18"/>
                  </a:lnTo>
                  <a:lnTo>
                    <a:pt x="6" y="18"/>
                  </a:lnTo>
                  <a:lnTo>
                    <a:pt x="12" y="18"/>
                  </a:lnTo>
                  <a:lnTo>
                    <a:pt x="12" y="12"/>
                  </a:lnTo>
                  <a:lnTo>
                    <a:pt x="12" y="6"/>
                  </a:lnTo>
                  <a:close/>
                  <a:moveTo>
                    <a:pt x="48" y="156"/>
                  </a:moveTo>
                  <a:lnTo>
                    <a:pt x="54" y="156"/>
                  </a:lnTo>
                  <a:lnTo>
                    <a:pt x="54" y="162"/>
                  </a:lnTo>
                  <a:lnTo>
                    <a:pt x="48" y="162"/>
                  </a:lnTo>
                  <a:lnTo>
                    <a:pt x="48" y="15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3" name="Freeform 22"/>
            <p:cNvSpPr>
              <a:spLocks noEditPoints="1"/>
            </p:cNvSpPr>
            <p:nvPr>
              <p:custDataLst>
                <p:tags r:id="rId21"/>
              </p:custDataLst>
            </p:nvPr>
          </p:nvSpPr>
          <p:spPr bwMode="gray">
            <a:xfrm>
              <a:off x="1730144" y="2974541"/>
              <a:ext cx="382780" cy="561568"/>
            </a:xfrm>
            <a:custGeom>
              <a:avLst/>
              <a:gdLst>
                <a:gd name="T0" fmla="*/ 146063 w 420"/>
                <a:gd name="T1" fmla="*/ 226200 h 642"/>
                <a:gd name="T2" fmla="*/ 135423 w 420"/>
                <a:gd name="T3" fmla="*/ 222316 h 642"/>
                <a:gd name="T4" fmla="*/ 127684 w 420"/>
                <a:gd name="T5" fmla="*/ 220375 h 642"/>
                <a:gd name="T6" fmla="*/ 120913 w 420"/>
                <a:gd name="T7" fmla="*/ 220375 h 642"/>
                <a:gd name="T8" fmla="*/ 105436 w 420"/>
                <a:gd name="T9" fmla="*/ 218433 h 642"/>
                <a:gd name="T10" fmla="*/ 93828 w 420"/>
                <a:gd name="T11" fmla="*/ 215521 h 642"/>
                <a:gd name="T12" fmla="*/ 78351 w 420"/>
                <a:gd name="T13" fmla="*/ 215521 h 642"/>
                <a:gd name="T14" fmla="*/ 61908 w 420"/>
                <a:gd name="T15" fmla="*/ 214550 h 642"/>
                <a:gd name="T16" fmla="*/ 53202 w 420"/>
                <a:gd name="T17" fmla="*/ 215521 h 642"/>
                <a:gd name="T18" fmla="*/ 35790 w 420"/>
                <a:gd name="T19" fmla="*/ 218433 h 642"/>
                <a:gd name="T20" fmla="*/ 23215 w 420"/>
                <a:gd name="T21" fmla="*/ 215521 h 642"/>
                <a:gd name="T22" fmla="*/ 27084 w 420"/>
                <a:gd name="T23" fmla="*/ 200959 h 642"/>
                <a:gd name="T24" fmla="*/ 19346 w 420"/>
                <a:gd name="T25" fmla="*/ 190280 h 642"/>
                <a:gd name="T26" fmla="*/ 19346 w 420"/>
                <a:gd name="T27" fmla="*/ 184455 h 642"/>
                <a:gd name="T28" fmla="*/ 17411 w 420"/>
                <a:gd name="T29" fmla="*/ 181543 h 642"/>
                <a:gd name="T30" fmla="*/ 8706 w 420"/>
                <a:gd name="T31" fmla="*/ 179601 h 642"/>
                <a:gd name="T32" fmla="*/ 3869 w 420"/>
                <a:gd name="T33" fmla="*/ 172805 h 642"/>
                <a:gd name="T34" fmla="*/ 0 w 420"/>
                <a:gd name="T35" fmla="*/ 162126 h 642"/>
                <a:gd name="T36" fmla="*/ 3869 w 420"/>
                <a:gd name="T37" fmla="*/ 151447 h 642"/>
                <a:gd name="T38" fmla="*/ 10640 w 420"/>
                <a:gd name="T39" fmla="*/ 138826 h 642"/>
                <a:gd name="T40" fmla="*/ 21281 w 420"/>
                <a:gd name="T41" fmla="*/ 131060 h 642"/>
                <a:gd name="T42" fmla="*/ 29986 w 420"/>
                <a:gd name="T43" fmla="*/ 120381 h 642"/>
                <a:gd name="T44" fmla="*/ 37725 w 420"/>
                <a:gd name="T45" fmla="*/ 124265 h 642"/>
                <a:gd name="T46" fmla="*/ 42561 w 420"/>
                <a:gd name="T47" fmla="*/ 121352 h 642"/>
                <a:gd name="T48" fmla="*/ 46431 w 420"/>
                <a:gd name="T49" fmla="*/ 126206 h 642"/>
                <a:gd name="T50" fmla="*/ 57071 w 420"/>
                <a:gd name="T51" fmla="*/ 128148 h 642"/>
                <a:gd name="T52" fmla="*/ 61908 w 420"/>
                <a:gd name="T53" fmla="*/ 121352 h 642"/>
                <a:gd name="T54" fmla="*/ 67712 w 420"/>
                <a:gd name="T55" fmla="*/ 108731 h 642"/>
                <a:gd name="T56" fmla="*/ 71581 w 420"/>
                <a:gd name="T57" fmla="*/ 94169 h 642"/>
                <a:gd name="T58" fmla="*/ 80287 w 420"/>
                <a:gd name="T59" fmla="*/ 87373 h 642"/>
                <a:gd name="T60" fmla="*/ 83188 w 420"/>
                <a:gd name="T61" fmla="*/ 74753 h 642"/>
                <a:gd name="T62" fmla="*/ 90926 w 420"/>
                <a:gd name="T63" fmla="*/ 64074 h 642"/>
                <a:gd name="T64" fmla="*/ 97698 w 420"/>
                <a:gd name="T65" fmla="*/ 51453 h 642"/>
                <a:gd name="T66" fmla="*/ 104469 w 420"/>
                <a:gd name="T67" fmla="*/ 37862 h 642"/>
                <a:gd name="T68" fmla="*/ 117044 w 420"/>
                <a:gd name="T69" fmla="*/ 32037 h 642"/>
                <a:gd name="T70" fmla="*/ 118978 w 420"/>
                <a:gd name="T71" fmla="*/ 19416 h 642"/>
                <a:gd name="T72" fmla="*/ 110273 w 420"/>
                <a:gd name="T73" fmla="*/ 12620 h 642"/>
                <a:gd name="T74" fmla="*/ 115109 w 420"/>
                <a:gd name="T75" fmla="*/ 0 h 642"/>
                <a:gd name="T76" fmla="*/ 120913 w 420"/>
                <a:gd name="T77" fmla="*/ 8737 h 642"/>
                <a:gd name="T78" fmla="*/ 122848 w 420"/>
                <a:gd name="T79" fmla="*/ 17475 h 642"/>
                <a:gd name="T80" fmla="*/ 127684 w 420"/>
                <a:gd name="T81" fmla="*/ 30095 h 642"/>
                <a:gd name="T82" fmla="*/ 124782 w 420"/>
                <a:gd name="T83" fmla="*/ 37862 h 642"/>
                <a:gd name="T84" fmla="*/ 131554 w 420"/>
                <a:gd name="T85" fmla="*/ 51453 h 642"/>
                <a:gd name="T86" fmla="*/ 138325 w 420"/>
                <a:gd name="T87" fmla="*/ 62132 h 642"/>
                <a:gd name="T88" fmla="*/ 118978 w 420"/>
                <a:gd name="T89" fmla="*/ 62132 h 642"/>
                <a:gd name="T90" fmla="*/ 105436 w 420"/>
                <a:gd name="T91" fmla="*/ 67957 h 642"/>
                <a:gd name="T92" fmla="*/ 117044 w 420"/>
                <a:gd name="T93" fmla="*/ 79607 h 642"/>
                <a:gd name="T94" fmla="*/ 124782 w 420"/>
                <a:gd name="T95" fmla="*/ 85431 h 642"/>
                <a:gd name="T96" fmla="*/ 133488 w 420"/>
                <a:gd name="T97" fmla="*/ 98053 h 642"/>
                <a:gd name="T98" fmla="*/ 133488 w 420"/>
                <a:gd name="T99" fmla="*/ 113586 h 642"/>
                <a:gd name="T100" fmla="*/ 124782 w 420"/>
                <a:gd name="T101" fmla="*/ 126206 h 642"/>
                <a:gd name="T102" fmla="*/ 118978 w 420"/>
                <a:gd name="T103" fmla="*/ 136885 h 642"/>
                <a:gd name="T104" fmla="*/ 118978 w 420"/>
                <a:gd name="T105" fmla="*/ 147564 h 642"/>
                <a:gd name="T106" fmla="*/ 118978 w 420"/>
                <a:gd name="T107" fmla="*/ 158243 h 642"/>
                <a:gd name="T108" fmla="*/ 122848 w 420"/>
                <a:gd name="T109" fmla="*/ 170864 h 642"/>
                <a:gd name="T110" fmla="*/ 127684 w 420"/>
                <a:gd name="T111" fmla="*/ 184455 h 642"/>
                <a:gd name="T112" fmla="*/ 138325 w 420"/>
                <a:gd name="T113" fmla="*/ 196105 h 642"/>
                <a:gd name="T114" fmla="*/ 146063 w 420"/>
                <a:gd name="T115" fmla="*/ 207754 h 6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20" h="642">
                  <a:moveTo>
                    <a:pt x="420" y="606"/>
                  </a:moveTo>
                  <a:lnTo>
                    <a:pt x="420" y="612"/>
                  </a:lnTo>
                  <a:lnTo>
                    <a:pt x="414" y="612"/>
                  </a:lnTo>
                  <a:lnTo>
                    <a:pt x="414" y="618"/>
                  </a:lnTo>
                  <a:lnTo>
                    <a:pt x="414" y="624"/>
                  </a:lnTo>
                  <a:lnTo>
                    <a:pt x="420" y="624"/>
                  </a:lnTo>
                  <a:lnTo>
                    <a:pt x="420" y="630"/>
                  </a:lnTo>
                  <a:lnTo>
                    <a:pt x="420" y="636"/>
                  </a:lnTo>
                  <a:lnTo>
                    <a:pt x="414" y="636"/>
                  </a:lnTo>
                  <a:lnTo>
                    <a:pt x="414" y="642"/>
                  </a:lnTo>
                  <a:lnTo>
                    <a:pt x="414" y="636"/>
                  </a:lnTo>
                  <a:lnTo>
                    <a:pt x="408" y="636"/>
                  </a:lnTo>
                  <a:lnTo>
                    <a:pt x="408" y="630"/>
                  </a:lnTo>
                  <a:lnTo>
                    <a:pt x="402" y="630"/>
                  </a:lnTo>
                  <a:lnTo>
                    <a:pt x="402" y="624"/>
                  </a:lnTo>
                  <a:lnTo>
                    <a:pt x="396" y="624"/>
                  </a:lnTo>
                  <a:lnTo>
                    <a:pt x="390" y="624"/>
                  </a:lnTo>
                  <a:lnTo>
                    <a:pt x="384" y="624"/>
                  </a:lnTo>
                  <a:lnTo>
                    <a:pt x="378" y="624"/>
                  </a:lnTo>
                  <a:lnTo>
                    <a:pt x="372" y="624"/>
                  </a:lnTo>
                  <a:lnTo>
                    <a:pt x="372" y="618"/>
                  </a:lnTo>
                  <a:lnTo>
                    <a:pt x="366" y="618"/>
                  </a:lnTo>
                  <a:lnTo>
                    <a:pt x="372" y="618"/>
                  </a:lnTo>
                  <a:lnTo>
                    <a:pt x="366" y="618"/>
                  </a:lnTo>
                  <a:lnTo>
                    <a:pt x="360" y="618"/>
                  </a:lnTo>
                  <a:lnTo>
                    <a:pt x="360" y="624"/>
                  </a:lnTo>
                  <a:lnTo>
                    <a:pt x="360" y="618"/>
                  </a:lnTo>
                  <a:lnTo>
                    <a:pt x="360" y="624"/>
                  </a:lnTo>
                  <a:lnTo>
                    <a:pt x="360" y="618"/>
                  </a:lnTo>
                  <a:lnTo>
                    <a:pt x="354" y="618"/>
                  </a:lnTo>
                  <a:lnTo>
                    <a:pt x="348" y="618"/>
                  </a:lnTo>
                  <a:lnTo>
                    <a:pt x="348" y="612"/>
                  </a:lnTo>
                  <a:lnTo>
                    <a:pt x="348" y="618"/>
                  </a:lnTo>
                  <a:lnTo>
                    <a:pt x="342" y="618"/>
                  </a:lnTo>
                  <a:lnTo>
                    <a:pt x="342" y="612"/>
                  </a:lnTo>
                  <a:lnTo>
                    <a:pt x="342" y="618"/>
                  </a:lnTo>
                  <a:lnTo>
                    <a:pt x="342" y="612"/>
                  </a:lnTo>
                  <a:lnTo>
                    <a:pt x="336" y="612"/>
                  </a:lnTo>
                  <a:lnTo>
                    <a:pt x="330" y="606"/>
                  </a:lnTo>
                  <a:lnTo>
                    <a:pt x="330" y="612"/>
                  </a:lnTo>
                  <a:lnTo>
                    <a:pt x="324" y="612"/>
                  </a:lnTo>
                  <a:lnTo>
                    <a:pt x="318" y="612"/>
                  </a:lnTo>
                  <a:lnTo>
                    <a:pt x="312" y="612"/>
                  </a:lnTo>
                  <a:lnTo>
                    <a:pt x="306" y="612"/>
                  </a:lnTo>
                  <a:lnTo>
                    <a:pt x="300" y="612"/>
                  </a:lnTo>
                  <a:lnTo>
                    <a:pt x="294" y="612"/>
                  </a:lnTo>
                  <a:lnTo>
                    <a:pt x="288" y="612"/>
                  </a:lnTo>
                  <a:lnTo>
                    <a:pt x="282" y="612"/>
                  </a:lnTo>
                  <a:lnTo>
                    <a:pt x="276" y="612"/>
                  </a:lnTo>
                  <a:lnTo>
                    <a:pt x="270" y="612"/>
                  </a:lnTo>
                  <a:lnTo>
                    <a:pt x="264" y="612"/>
                  </a:lnTo>
                  <a:lnTo>
                    <a:pt x="258" y="612"/>
                  </a:lnTo>
                  <a:lnTo>
                    <a:pt x="258" y="606"/>
                  </a:lnTo>
                  <a:lnTo>
                    <a:pt x="264" y="606"/>
                  </a:lnTo>
                  <a:lnTo>
                    <a:pt x="258" y="606"/>
                  </a:lnTo>
                  <a:lnTo>
                    <a:pt x="252" y="606"/>
                  </a:lnTo>
                  <a:lnTo>
                    <a:pt x="258" y="606"/>
                  </a:lnTo>
                  <a:lnTo>
                    <a:pt x="252" y="606"/>
                  </a:lnTo>
                  <a:lnTo>
                    <a:pt x="246" y="606"/>
                  </a:lnTo>
                  <a:lnTo>
                    <a:pt x="240" y="606"/>
                  </a:lnTo>
                  <a:lnTo>
                    <a:pt x="234" y="606"/>
                  </a:lnTo>
                  <a:lnTo>
                    <a:pt x="228" y="606"/>
                  </a:lnTo>
                  <a:lnTo>
                    <a:pt x="222" y="606"/>
                  </a:lnTo>
                  <a:lnTo>
                    <a:pt x="216" y="606"/>
                  </a:lnTo>
                  <a:lnTo>
                    <a:pt x="210" y="606"/>
                  </a:lnTo>
                  <a:lnTo>
                    <a:pt x="204" y="606"/>
                  </a:lnTo>
                  <a:lnTo>
                    <a:pt x="198" y="606"/>
                  </a:lnTo>
                  <a:lnTo>
                    <a:pt x="192" y="606"/>
                  </a:lnTo>
                  <a:lnTo>
                    <a:pt x="186" y="606"/>
                  </a:lnTo>
                  <a:lnTo>
                    <a:pt x="180" y="606"/>
                  </a:lnTo>
                  <a:lnTo>
                    <a:pt x="174" y="606"/>
                  </a:lnTo>
                  <a:lnTo>
                    <a:pt x="174" y="600"/>
                  </a:lnTo>
                  <a:lnTo>
                    <a:pt x="168" y="600"/>
                  </a:lnTo>
                  <a:lnTo>
                    <a:pt x="168" y="606"/>
                  </a:lnTo>
                  <a:lnTo>
                    <a:pt x="168" y="600"/>
                  </a:lnTo>
                  <a:lnTo>
                    <a:pt x="168" y="606"/>
                  </a:lnTo>
                  <a:lnTo>
                    <a:pt x="168" y="600"/>
                  </a:lnTo>
                  <a:lnTo>
                    <a:pt x="162" y="600"/>
                  </a:lnTo>
                  <a:lnTo>
                    <a:pt x="162" y="606"/>
                  </a:lnTo>
                  <a:lnTo>
                    <a:pt x="156" y="606"/>
                  </a:lnTo>
                  <a:lnTo>
                    <a:pt x="150" y="606"/>
                  </a:lnTo>
                  <a:lnTo>
                    <a:pt x="150" y="612"/>
                  </a:lnTo>
                  <a:lnTo>
                    <a:pt x="144" y="612"/>
                  </a:lnTo>
                  <a:lnTo>
                    <a:pt x="138" y="612"/>
                  </a:lnTo>
                  <a:lnTo>
                    <a:pt x="132" y="612"/>
                  </a:lnTo>
                  <a:lnTo>
                    <a:pt x="126" y="612"/>
                  </a:lnTo>
                  <a:lnTo>
                    <a:pt x="120" y="612"/>
                  </a:lnTo>
                  <a:lnTo>
                    <a:pt x="114" y="612"/>
                  </a:lnTo>
                  <a:lnTo>
                    <a:pt x="108" y="612"/>
                  </a:lnTo>
                  <a:lnTo>
                    <a:pt x="102" y="612"/>
                  </a:lnTo>
                  <a:lnTo>
                    <a:pt x="96" y="612"/>
                  </a:lnTo>
                  <a:lnTo>
                    <a:pt x="90" y="612"/>
                  </a:lnTo>
                  <a:lnTo>
                    <a:pt x="84" y="612"/>
                  </a:lnTo>
                  <a:lnTo>
                    <a:pt x="78" y="612"/>
                  </a:lnTo>
                  <a:lnTo>
                    <a:pt x="72" y="612"/>
                  </a:lnTo>
                  <a:lnTo>
                    <a:pt x="72" y="606"/>
                  </a:lnTo>
                  <a:lnTo>
                    <a:pt x="72" y="612"/>
                  </a:lnTo>
                  <a:lnTo>
                    <a:pt x="72" y="606"/>
                  </a:lnTo>
                  <a:lnTo>
                    <a:pt x="66" y="606"/>
                  </a:lnTo>
                  <a:lnTo>
                    <a:pt x="66" y="600"/>
                  </a:lnTo>
                  <a:lnTo>
                    <a:pt x="66" y="594"/>
                  </a:lnTo>
                  <a:lnTo>
                    <a:pt x="66" y="588"/>
                  </a:lnTo>
                  <a:lnTo>
                    <a:pt x="66" y="582"/>
                  </a:lnTo>
                  <a:lnTo>
                    <a:pt x="72" y="582"/>
                  </a:lnTo>
                  <a:lnTo>
                    <a:pt x="72" y="576"/>
                  </a:lnTo>
                  <a:lnTo>
                    <a:pt x="72" y="570"/>
                  </a:lnTo>
                  <a:lnTo>
                    <a:pt x="72" y="564"/>
                  </a:lnTo>
                  <a:lnTo>
                    <a:pt x="78" y="564"/>
                  </a:lnTo>
                  <a:lnTo>
                    <a:pt x="78" y="558"/>
                  </a:lnTo>
                  <a:lnTo>
                    <a:pt x="72" y="558"/>
                  </a:lnTo>
                  <a:lnTo>
                    <a:pt x="72" y="552"/>
                  </a:lnTo>
                  <a:lnTo>
                    <a:pt x="72" y="546"/>
                  </a:lnTo>
                  <a:lnTo>
                    <a:pt x="66" y="546"/>
                  </a:lnTo>
                  <a:lnTo>
                    <a:pt x="66" y="540"/>
                  </a:lnTo>
                  <a:lnTo>
                    <a:pt x="60" y="540"/>
                  </a:lnTo>
                  <a:lnTo>
                    <a:pt x="60" y="534"/>
                  </a:lnTo>
                  <a:lnTo>
                    <a:pt x="54" y="534"/>
                  </a:lnTo>
                  <a:lnTo>
                    <a:pt x="60" y="534"/>
                  </a:lnTo>
                  <a:lnTo>
                    <a:pt x="54" y="534"/>
                  </a:lnTo>
                  <a:lnTo>
                    <a:pt x="54" y="528"/>
                  </a:lnTo>
                  <a:lnTo>
                    <a:pt x="60" y="528"/>
                  </a:lnTo>
                  <a:lnTo>
                    <a:pt x="54" y="528"/>
                  </a:lnTo>
                  <a:lnTo>
                    <a:pt x="54" y="522"/>
                  </a:lnTo>
                  <a:lnTo>
                    <a:pt x="54" y="516"/>
                  </a:lnTo>
                  <a:lnTo>
                    <a:pt x="54" y="522"/>
                  </a:lnTo>
                  <a:lnTo>
                    <a:pt x="54" y="516"/>
                  </a:lnTo>
                  <a:lnTo>
                    <a:pt x="60" y="516"/>
                  </a:lnTo>
                  <a:lnTo>
                    <a:pt x="60" y="510"/>
                  </a:lnTo>
                  <a:lnTo>
                    <a:pt x="54" y="510"/>
                  </a:lnTo>
                  <a:lnTo>
                    <a:pt x="60" y="510"/>
                  </a:lnTo>
                  <a:lnTo>
                    <a:pt x="60" y="504"/>
                  </a:lnTo>
                  <a:lnTo>
                    <a:pt x="54" y="510"/>
                  </a:lnTo>
                  <a:lnTo>
                    <a:pt x="54" y="504"/>
                  </a:lnTo>
                  <a:lnTo>
                    <a:pt x="54" y="510"/>
                  </a:lnTo>
                  <a:lnTo>
                    <a:pt x="48" y="510"/>
                  </a:lnTo>
                  <a:lnTo>
                    <a:pt x="54" y="510"/>
                  </a:lnTo>
                  <a:lnTo>
                    <a:pt x="48" y="510"/>
                  </a:lnTo>
                  <a:lnTo>
                    <a:pt x="48" y="516"/>
                  </a:lnTo>
                  <a:lnTo>
                    <a:pt x="42" y="516"/>
                  </a:lnTo>
                  <a:lnTo>
                    <a:pt x="36" y="510"/>
                  </a:lnTo>
                  <a:lnTo>
                    <a:pt x="30" y="510"/>
                  </a:lnTo>
                  <a:lnTo>
                    <a:pt x="24" y="504"/>
                  </a:lnTo>
                  <a:lnTo>
                    <a:pt x="18" y="504"/>
                  </a:lnTo>
                  <a:lnTo>
                    <a:pt x="24" y="504"/>
                  </a:lnTo>
                  <a:lnTo>
                    <a:pt x="18" y="504"/>
                  </a:lnTo>
                  <a:lnTo>
                    <a:pt x="18" y="498"/>
                  </a:lnTo>
                  <a:lnTo>
                    <a:pt x="24" y="498"/>
                  </a:lnTo>
                  <a:lnTo>
                    <a:pt x="18" y="498"/>
                  </a:lnTo>
                  <a:lnTo>
                    <a:pt x="18" y="492"/>
                  </a:lnTo>
                  <a:lnTo>
                    <a:pt x="18" y="486"/>
                  </a:lnTo>
                  <a:lnTo>
                    <a:pt x="12" y="486"/>
                  </a:lnTo>
                  <a:lnTo>
                    <a:pt x="18" y="486"/>
                  </a:lnTo>
                  <a:lnTo>
                    <a:pt x="12" y="486"/>
                  </a:lnTo>
                  <a:lnTo>
                    <a:pt x="18" y="486"/>
                  </a:lnTo>
                  <a:lnTo>
                    <a:pt x="18" y="480"/>
                  </a:lnTo>
                  <a:lnTo>
                    <a:pt x="12" y="480"/>
                  </a:lnTo>
                  <a:lnTo>
                    <a:pt x="6" y="480"/>
                  </a:lnTo>
                  <a:lnTo>
                    <a:pt x="6" y="474"/>
                  </a:lnTo>
                  <a:lnTo>
                    <a:pt x="0" y="474"/>
                  </a:lnTo>
                  <a:lnTo>
                    <a:pt x="0" y="468"/>
                  </a:lnTo>
                  <a:lnTo>
                    <a:pt x="0" y="462"/>
                  </a:lnTo>
                  <a:lnTo>
                    <a:pt x="0" y="456"/>
                  </a:lnTo>
                  <a:lnTo>
                    <a:pt x="6" y="456"/>
                  </a:lnTo>
                  <a:lnTo>
                    <a:pt x="0" y="456"/>
                  </a:lnTo>
                  <a:lnTo>
                    <a:pt x="6" y="456"/>
                  </a:lnTo>
                  <a:lnTo>
                    <a:pt x="6" y="450"/>
                  </a:lnTo>
                  <a:lnTo>
                    <a:pt x="6" y="444"/>
                  </a:lnTo>
                  <a:lnTo>
                    <a:pt x="12" y="444"/>
                  </a:lnTo>
                  <a:lnTo>
                    <a:pt x="12" y="438"/>
                  </a:lnTo>
                  <a:lnTo>
                    <a:pt x="12" y="432"/>
                  </a:lnTo>
                  <a:lnTo>
                    <a:pt x="12" y="426"/>
                  </a:lnTo>
                  <a:lnTo>
                    <a:pt x="18" y="420"/>
                  </a:lnTo>
                  <a:lnTo>
                    <a:pt x="12" y="420"/>
                  </a:lnTo>
                  <a:lnTo>
                    <a:pt x="12" y="414"/>
                  </a:lnTo>
                  <a:lnTo>
                    <a:pt x="12" y="408"/>
                  </a:lnTo>
                  <a:lnTo>
                    <a:pt x="18" y="402"/>
                  </a:lnTo>
                  <a:lnTo>
                    <a:pt x="24" y="402"/>
                  </a:lnTo>
                  <a:lnTo>
                    <a:pt x="24" y="396"/>
                  </a:lnTo>
                  <a:lnTo>
                    <a:pt x="30" y="396"/>
                  </a:lnTo>
                  <a:lnTo>
                    <a:pt x="30" y="390"/>
                  </a:lnTo>
                  <a:lnTo>
                    <a:pt x="36" y="390"/>
                  </a:lnTo>
                  <a:lnTo>
                    <a:pt x="36" y="384"/>
                  </a:lnTo>
                  <a:lnTo>
                    <a:pt x="42" y="384"/>
                  </a:lnTo>
                  <a:lnTo>
                    <a:pt x="42" y="378"/>
                  </a:lnTo>
                  <a:lnTo>
                    <a:pt x="48" y="378"/>
                  </a:lnTo>
                  <a:lnTo>
                    <a:pt x="48" y="372"/>
                  </a:lnTo>
                  <a:lnTo>
                    <a:pt x="54" y="372"/>
                  </a:lnTo>
                  <a:lnTo>
                    <a:pt x="54" y="366"/>
                  </a:lnTo>
                  <a:lnTo>
                    <a:pt x="60" y="366"/>
                  </a:lnTo>
                  <a:lnTo>
                    <a:pt x="60" y="360"/>
                  </a:lnTo>
                  <a:lnTo>
                    <a:pt x="66" y="360"/>
                  </a:lnTo>
                  <a:lnTo>
                    <a:pt x="66" y="354"/>
                  </a:lnTo>
                  <a:lnTo>
                    <a:pt x="72" y="354"/>
                  </a:lnTo>
                  <a:lnTo>
                    <a:pt x="72" y="348"/>
                  </a:lnTo>
                  <a:lnTo>
                    <a:pt x="78" y="348"/>
                  </a:lnTo>
                  <a:lnTo>
                    <a:pt x="78" y="342"/>
                  </a:lnTo>
                  <a:lnTo>
                    <a:pt x="84" y="342"/>
                  </a:lnTo>
                  <a:lnTo>
                    <a:pt x="84" y="336"/>
                  </a:lnTo>
                  <a:lnTo>
                    <a:pt x="84" y="342"/>
                  </a:lnTo>
                  <a:lnTo>
                    <a:pt x="90" y="342"/>
                  </a:lnTo>
                  <a:lnTo>
                    <a:pt x="84" y="342"/>
                  </a:lnTo>
                  <a:lnTo>
                    <a:pt x="90" y="342"/>
                  </a:lnTo>
                  <a:lnTo>
                    <a:pt x="84" y="342"/>
                  </a:lnTo>
                  <a:lnTo>
                    <a:pt x="90" y="348"/>
                  </a:lnTo>
                  <a:lnTo>
                    <a:pt x="96" y="348"/>
                  </a:lnTo>
                  <a:lnTo>
                    <a:pt x="102" y="348"/>
                  </a:lnTo>
                  <a:lnTo>
                    <a:pt x="108" y="348"/>
                  </a:lnTo>
                  <a:lnTo>
                    <a:pt x="108" y="342"/>
                  </a:lnTo>
                  <a:lnTo>
                    <a:pt x="108" y="336"/>
                  </a:lnTo>
                  <a:lnTo>
                    <a:pt x="108" y="330"/>
                  </a:lnTo>
                  <a:lnTo>
                    <a:pt x="108" y="336"/>
                  </a:lnTo>
                  <a:lnTo>
                    <a:pt x="114" y="336"/>
                  </a:lnTo>
                  <a:lnTo>
                    <a:pt x="108" y="336"/>
                  </a:lnTo>
                  <a:lnTo>
                    <a:pt x="114" y="336"/>
                  </a:lnTo>
                  <a:lnTo>
                    <a:pt x="114" y="342"/>
                  </a:lnTo>
                  <a:lnTo>
                    <a:pt x="120" y="342"/>
                  </a:lnTo>
                  <a:lnTo>
                    <a:pt x="126" y="342"/>
                  </a:lnTo>
                  <a:lnTo>
                    <a:pt x="120" y="348"/>
                  </a:lnTo>
                  <a:lnTo>
                    <a:pt x="126" y="348"/>
                  </a:lnTo>
                  <a:lnTo>
                    <a:pt x="120" y="348"/>
                  </a:lnTo>
                  <a:lnTo>
                    <a:pt x="126" y="348"/>
                  </a:lnTo>
                  <a:lnTo>
                    <a:pt x="126" y="354"/>
                  </a:lnTo>
                  <a:lnTo>
                    <a:pt x="126" y="360"/>
                  </a:lnTo>
                  <a:lnTo>
                    <a:pt x="132" y="360"/>
                  </a:lnTo>
                  <a:lnTo>
                    <a:pt x="132" y="354"/>
                  </a:lnTo>
                  <a:lnTo>
                    <a:pt x="138" y="354"/>
                  </a:lnTo>
                  <a:lnTo>
                    <a:pt x="138" y="360"/>
                  </a:lnTo>
                  <a:lnTo>
                    <a:pt x="138" y="366"/>
                  </a:lnTo>
                  <a:lnTo>
                    <a:pt x="144" y="366"/>
                  </a:lnTo>
                  <a:lnTo>
                    <a:pt x="150" y="366"/>
                  </a:lnTo>
                  <a:lnTo>
                    <a:pt x="156" y="366"/>
                  </a:lnTo>
                  <a:lnTo>
                    <a:pt x="156" y="360"/>
                  </a:lnTo>
                  <a:lnTo>
                    <a:pt x="162" y="366"/>
                  </a:lnTo>
                  <a:lnTo>
                    <a:pt x="162" y="360"/>
                  </a:lnTo>
                  <a:lnTo>
                    <a:pt x="162" y="354"/>
                  </a:lnTo>
                  <a:lnTo>
                    <a:pt x="168" y="354"/>
                  </a:lnTo>
                  <a:lnTo>
                    <a:pt x="162" y="354"/>
                  </a:lnTo>
                  <a:lnTo>
                    <a:pt x="168" y="354"/>
                  </a:lnTo>
                  <a:lnTo>
                    <a:pt x="168" y="348"/>
                  </a:lnTo>
                  <a:lnTo>
                    <a:pt x="162" y="348"/>
                  </a:lnTo>
                  <a:lnTo>
                    <a:pt x="168" y="348"/>
                  </a:lnTo>
                  <a:lnTo>
                    <a:pt x="168" y="342"/>
                  </a:lnTo>
                  <a:lnTo>
                    <a:pt x="174" y="342"/>
                  </a:lnTo>
                  <a:lnTo>
                    <a:pt x="174" y="336"/>
                  </a:lnTo>
                  <a:lnTo>
                    <a:pt x="180" y="336"/>
                  </a:lnTo>
                  <a:lnTo>
                    <a:pt x="180" y="330"/>
                  </a:lnTo>
                  <a:lnTo>
                    <a:pt x="180" y="324"/>
                  </a:lnTo>
                  <a:lnTo>
                    <a:pt x="180" y="318"/>
                  </a:lnTo>
                  <a:lnTo>
                    <a:pt x="186" y="318"/>
                  </a:lnTo>
                  <a:lnTo>
                    <a:pt x="186" y="312"/>
                  </a:lnTo>
                  <a:lnTo>
                    <a:pt x="192" y="312"/>
                  </a:lnTo>
                  <a:lnTo>
                    <a:pt x="192" y="306"/>
                  </a:lnTo>
                  <a:lnTo>
                    <a:pt x="192" y="300"/>
                  </a:lnTo>
                  <a:lnTo>
                    <a:pt x="192" y="294"/>
                  </a:lnTo>
                  <a:lnTo>
                    <a:pt x="198" y="294"/>
                  </a:lnTo>
                  <a:lnTo>
                    <a:pt x="198" y="288"/>
                  </a:lnTo>
                  <a:lnTo>
                    <a:pt x="198" y="282"/>
                  </a:lnTo>
                  <a:lnTo>
                    <a:pt x="198" y="276"/>
                  </a:lnTo>
                  <a:lnTo>
                    <a:pt x="204" y="276"/>
                  </a:lnTo>
                  <a:lnTo>
                    <a:pt x="204" y="270"/>
                  </a:lnTo>
                  <a:lnTo>
                    <a:pt x="204" y="264"/>
                  </a:lnTo>
                  <a:lnTo>
                    <a:pt x="198" y="264"/>
                  </a:lnTo>
                  <a:lnTo>
                    <a:pt x="204" y="264"/>
                  </a:lnTo>
                  <a:lnTo>
                    <a:pt x="204" y="258"/>
                  </a:lnTo>
                  <a:lnTo>
                    <a:pt x="210" y="258"/>
                  </a:lnTo>
                  <a:lnTo>
                    <a:pt x="210" y="252"/>
                  </a:lnTo>
                  <a:lnTo>
                    <a:pt x="216" y="252"/>
                  </a:lnTo>
                  <a:lnTo>
                    <a:pt x="222" y="252"/>
                  </a:lnTo>
                  <a:lnTo>
                    <a:pt x="222" y="246"/>
                  </a:lnTo>
                  <a:lnTo>
                    <a:pt x="228" y="246"/>
                  </a:lnTo>
                  <a:lnTo>
                    <a:pt x="228" y="240"/>
                  </a:lnTo>
                  <a:lnTo>
                    <a:pt x="234" y="240"/>
                  </a:lnTo>
                  <a:lnTo>
                    <a:pt x="234" y="234"/>
                  </a:lnTo>
                  <a:lnTo>
                    <a:pt x="234" y="228"/>
                  </a:lnTo>
                  <a:lnTo>
                    <a:pt x="240" y="228"/>
                  </a:lnTo>
                  <a:lnTo>
                    <a:pt x="240" y="222"/>
                  </a:lnTo>
                  <a:lnTo>
                    <a:pt x="240" y="216"/>
                  </a:lnTo>
                  <a:lnTo>
                    <a:pt x="240" y="210"/>
                  </a:lnTo>
                  <a:lnTo>
                    <a:pt x="234" y="210"/>
                  </a:lnTo>
                  <a:lnTo>
                    <a:pt x="234" y="204"/>
                  </a:lnTo>
                  <a:lnTo>
                    <a:pt x="240" y="204"/>
                  </a:lnTo>
                  <a:lnTo>
                    <a:pt x="246" y="204"/>
                  </a:lnTo>
                  <a:lnTo>
                    <a:pt x="246" y="198"/>
                  </a:lnTo>
                  <a:lnTo>
                    <a:pt x="252" y="198"/>
                  </a:lnTo>
                  <a:lnTo>
                    <a:pt x="258" y="198"/>
                  </a:lnTo>
                  <a:lnTo>
                    <a:pt x="258" y="192"/>
                  </a:lnTo>
                  <a:lnTo>
                    <a:pt x="258" y="186"/>
                  </a:lnTo>
                  <a:lnTo>
                    <a:pt x="258" y="180"/>
                  </a:lnTo>
                  <a:lnTo>
                    <a:pt x="258" y="174"/>
                  </a:lnTo>
                  <a:lnTo>
                    <a:pt x="258" y="168"/>
                  </a:lnTo>
                  <a:lnTo>
                    <a:pt x="264" y="168"/>
                  </a:lnTo>
                  <a:lnTo>
                    <a:pt x="264" y="162"/>
                  </a:lnTo>
                  <a:lnTo>
                    <a:pt x="270" y="162"/>
                  </a:lnTo>
                  <a:lnTo>
                    <a:pt x="270" y="156"/>
                  </a:lnTo>
                  <a:lnTo>
                    <a:pt x="270" y="150"/>
                  </a:lnTo>
                  <a:lnTo>
                    <a:pt x="276" y="150"/>
                  </a:lnTo>
                  <a:lnTo>
                    <a:pt x="276" y="144"/>
                  </a:lnTo>
                  <a:lnTo>
                    <a:pt x="276" y="138"/>
                  </a:lnTo>
                  <a:lnTo>
                    <a:pt x="276" y="132"/>
                  </a:lnTo>
                  <a:lnTo>
                    <a:pt x="276" y="126"/>
                  </a:lnTo>
                  <a:lnTo>
                    <a:pt x="282" y="126"/>
                  </a:lnTo>
                  <a:lnTo>
                    <a:pt x="282" y="120"/>
                  </a:lnTo>
                  <a:lnTo>
                    <a:pt x="282" y="114"/>
                  </a:lnTo>
                  <a:lnTo>
                    <a:pt x="288" y="114"/>
                  </a:lnTo>
                  <a:lnTo>
                    <a:pt x="288" y="108"/>
                  </a:lnTo>
                  <a:lnTo>
                    <a:pt x="294" y="108"/>
                  </a:lnTo>
                  <a:lnTo>
                    <a:pt x="294" y="102"/>
                  </a:lnTo>
                  <a:lnTo>
                    <a:pt x="300" y="102"/>
                  </a:lnTo>
                  <a:lnTo>
                    <a:pt x="300" y="96"/>
                  </a:lnTo>
                  <a:lnTo>
                    <a:pt x="306" y="102"/>
                  </a:lnTo>
                  <a:lnTo>
                    <a:pt x="312" y="102"/>
                  </a:lnTo>
                  <a:lnTo>
                    <a:pt x="312" y="96"/>
                  </a:lnTo>
                  <a:lnTo>
                    <a:pt x="318" y="96"/>
                  </a:lnTo>
                  <a:lnTo>
                    <a:pt x="324" y="90"/>
                  </a:lnTo>
                  <a:lnTo>
                    <a:pt x="330" y="90"/>
                  </a:lnTo>
                  <a:lnTo>
                    <a:pt x="330" y="84"/>
                  </a:lnTo>
                  <a:lnTo>
                    <a:pt x="336" y="84"/>
                  </a:lnTo>
                  <a:lnTo>
                    <a:pt x="336" y="78"/>
                  </a:lnTo>
                  <a:lnTo>
                    <a:pt x="330" y="78"/>
                  </a:lnTo>
                  <a:lnTo>
                    <a:pt x="330" y="72"/>
                  </a:lnTo>
                  <a:lnTo>
                    <a:pt x="336" y="72"/>
                  </a:lnTo>
                  <a:lnTo>
                    <a:pt x="336" y="66"/>
                  </a:lnTo>
                  <a:lnTo>
                    <a:pt x="336" y="60"/>
                  </a:lnTo>
                  <a:lnTo>
                    <a:pt x="336" y="54"/>
                  </a:lnTo>
                  <a:lnTo>
                    <a:pt x="336" y="48"/>
                  </a:lnTo>
                  <a:lnTo>
                    <a:pt x="330" y="48"/>
                  </a:lnTo>
                  <a:lnTo>
                    <a:pt x="336" y="48"/>
                  </a:lnTo>
                  <a:lnTo>
                    <a:pt x="330" y="48"/>
                  </a:lnTo>
                  <a:lnTo>
                    <a:pt x="330" y="42"/>
                  </a:lnTo>
                  <a:lnTo>
                    <a:pt x="324" y="42"/>
                  </a:lnTo>
                  <a:lnTo>
                    <a:pt x="324" y="36"/>
                  </a:lnTo>
                  <a:lnTo>
                    <a:pt x="318" y="36"/>
                  </a:lnTo>
                  <a:lnTo>
                    <a:pt x="312" y="36"/>
                  </a:lnTo>
                  <a:lnTo>
                    <a:pt x="312" y="30"/>
                  </a:lnTo>
                  <a:lnTo>
                    <a:pt x="312" y="24"/>
                  </a:lnTo>
                  <a:lnTo>
                    <a:pt x="306" y="18"/>
                  </a:lnTo>
                  <a:lnTo>
                    <a:pt x="306" y="12"/>
                  </a:lnTo>
                  <a:lnTo>
                    <a:pt x="306" y="6"/>
                  </a:lnTo>
                  <a:lnTo>
                    <a:pt x="306" y="0"/>
                  </a:lnTo>
                  <a:lnTo>
                    <a:pt x="312" y="0"/>
                  </a:lnTo>
                  <a:lnTo>
                    <a:pt x="318" y="0"/>
                  </a:lnTo>
                  <a:lnTo>
                    <a:pt x="324" y="0"/>
                  </a:lnTo>
                  <a:lnTo>
                    <a:pt x="330" y="0"/>
                  </a:lnTo>
                  <a:lnTo>
                    <a:pt x="330" y="6"/>
                  </a:lnTo>
                  <a:lnTo>
                    <a:pt x="330" y="12"/>
                  </a:lnTo>
                  <a:lnTo>
                    <a:pt x="330" y="18"/>
                  </a:lnTo>
                  <a:lnTo>
                    <a:pt x="336" y="18"/>
                  </a:lnTo>
                  <a:lnTo>
                    <a:pt x="336" y="12"/>
                  </a:lnTo>
                  <a:lnTo>
                    <a:pt x="336" y="18"/>
                  </a:lnTo>
                  <a:lnTo>
                    <a:pt x="342" y="18"/>
                  </a:lnTo>
                  <a:lnTo>
                    <a:pt x="342" y="24"/>
                  </a:lnTo>
                  <a:lnTo>
                    <a:pt x="342" y="18"/>
                  </a:lnTo>
                  <a:lnTo>
                    <a:pt x="342" y="24"/>
                  </a:lnTo>
                  <a:lnTo>
                    <a:pt x="348" y="24"/>
                  </a:lnTo>
                  <a:lnTo>
                    <a:pt x="348" y="30"/>
                  </a:lnTo>
                  <a:lnTo>
                    <a:pt x="348" y="36"/>
                  </a:lnTo>
                  <a:lnTo>
                    <a:pt x="348" y="30"/>
                  </a:lnTo>
                  <a:lnTo>
                    <a:pt x="348" y="36"/>
                  </a:lnTo>
                  <a:lnTo>
                    <a:pt x="348" y="42"/>
                  </a:lnTo>
                  <a:lnTo>
                    <a:pt x="348" y="48"/>
                  </a:lnTo>
                  <a:lnTo>
                    <a:pt x="354" y="54"/>
                  </a:lnTo>
                  <a:lnTo>
                    <a:pt x="360" y="54"/>
                  </a:lnTo>
                  <a:lnTo>
                    <a:pt x="360" y="60"/>
                  </a:lnTo>
                  <a:lnTo>
                    <a:pt x="360" y="66"/>
                  </a:lnTo>
                  <a:lnTo>
                    <a:pt x="360" y="72"/>
                  </a:lnTo>
                  <a:lnTo>
                    <a:pt x="360" y="78"/>
                  </a:lnTo>
                  <a:lnTo>
                    <a:pt x="360" y="84"/>
                  </a:lnTo>
                  <a:lnTo>
                    <a:pt x="366" y="84"/>
                  </a:lnTo>
                  <a:lnTo>
                    <a:pt x="360" y="84"/>
                  </a:lnTo>
                  <a:lnTo>
                    <a:pt x="360" y="90"/>
                  </a:lnTo>
                  <a:lnTo>
                    <a:pt x="360" y="96"/>
                  </a:lnTo>
                  <a:lnTo>
                    <a:pt x="360" y="102"/>
                  </a:lnTo>
                  <a:lnTo>
                    <a:pt x="354" y="102"/>
                  </a:lnTo>
                  <a:lnTo>
                    <a:pt x="360" y="102"/>
                  </a:lnTo>
                  <a:lnTo>
                    <a:pt x="354" y="102"/>
                  </a:lnTo>
                  <a:lnTo>
                    <a:pt x="360" y="102"/>
                  </a:lnTo>
                  <a:lnTo>
                    <a:pt x="360" y="108"/>
                  </a:lnTo>
                  <a:lnTo>
                    <a:pt x="354" y="108"/>
                  </a:lnTo>
                  <a:lnTo>
                    <a:pt x="360" y="108"/>
                  </a:lnTo>
                  <a:lnTo>
                    <a:pt x="360" y="114"/>
                  </a:lnTo>
                  <a:lnTo>
                    <a:pt x="360" y="120"/>
                  </a:lnTo>
                  <a:lnTo>
                    <a:pt x="360" y="126"/>
                  </a:lnTo>
                  <a:lnTo>
                    <a:pt x="360" y="132"/>
                  </a:lnTo>
                  <a:lnTo>
                    <a:pt x="366" y="132"/>
                  </a:lnTo>
                  <a:lnTo>
                    <a:pt x="366" y="138"/>
                  </a:lnTo>
                  <a:lnTo>
                    <a:pt x="366" y="144"/>
                  </a:lnTo>
                  <a:lnTo>
                    <a:pt x="372" y="144"/>
                  </a:lnTo>
                  <a:lnTo>
                    <a:pt x="372" y="150"/>
                  </a:lnTo>
                  <a:lnTo>
                    <a:pt x="372" y="156"/>
                  </a:lnTo>
                  <a:lnTo>
                    <a:pt x="378" y="156"/>
                  </a:lnTo>
                  <a:lnTo>
                    <a:pt x="378" y="162"/>
                  </a:lnTo>
                  <a:lnTo>
                    <a:pt x="384" y="162"/>
                  </a:lnTo>
                  <a:lnTo>
                    <a:pt x="384" y="168"/>
                  </a:lnTo>
                  <a:lnTo>
                    <a:pt x="390" y="168"/>
                  </a:lnTo>
                  <a:lnTo>
                    <a:pt x="396" y="174"/>
                  </a:lnTo>
                  <a:lnTo>
                    <a:pt x="390" y="174"/>
                  </a:lnTo>
                  <a:lnTo>
                    <a:pt x="384" y="174"/>
                  </a:lnTo>
                  <a:lnTo>
                    <a:pt x="378" y="174"/>
                  </a:lnTo>
                  <a:lnTo>
                    <a:pt x="372" y="174"/>
                  </a:lnTo>
                  <a:lnTo>
                    <a:pt x="366" y="174"/>
                  </a:lnTo>
                  <a:lnTo>
                    <a:pt x="360" y="174"/>
                  </a:lnTo>
                  <a:lnTo>
                    <a:pt x="354" y="174"/>
                  </a:lnTo>
                  <a:lnTo>
                    <a:pt x="348" y="174"/>
                  </a:lnTo>
                  <a:lnTo>
                    <a:pt x="342" y="174"/>
                  </a:lnTo>
                  <a:lnTo>
                    <a:pt x="336" y="174"/>
                  </a:lnTo>
                  <a:lnTo>
                    <a:pt x="330" y="174"/>
                  </a:lnTo>
                  <a:lnTo>
                    <a:pt x="324" y="174"/>
                  </a:lnTo>
                  <a:lnTo>
                    <a:pt x="318" y="174"/>
                  </a:lnTo>
                  <a:lnTo>
                    <a:pt x="312" y="174"/>
                  </a:lnTo>
                  <a:lnTo>
                    <a:pt x="312" y="180"/>
                  </a:lnTo>
                  <a:lnTo>
                    <a:pt x="306" y="180"/>
                  </a:lnTo>
                  <a:lnTo>
                    <a:pt x="306" y="186"/>
                  </a:lnTo>
                  <a:lnTo>
                    <a:pt x="300" y="186"/>
                  </a:lnTo>
                  <a:lnTo>
                    <a:pt x="300" y="192"/>
                  </a:lnTo>
                  <a:lnTo>
                    <a:pt x="306" y="198"/>
                  </a:lnTo>
                  <a:lnTo>
                    <a:pt x="312" y="204"/>
                  </a:lnTo>
                  <a:lnTo>
                    <a:pt x="318" y="210"/>
                  </a:lnTo>
                  <a:lnTo>
                    <a:pt x="324" y="210"/>
                  </a:lnTo>
                  <a:lnTo>
                    <a:pt x="324" y="216"/>
                  </a:lnTo>
                  <a:lnTo>
                    <a:pt x="318" y="216"/>
                  </a:lnTo>
                  <a:lnTo>
                    <a:pt x="324" y="216"/>
                  </a:lnTo>
                  <a:lnTo>
                    <a:pt x="324" y="222"/>
                  </a:lnTo>
                  <a:lnTo>
                    <a:pt x="330" y="222"/>
                  </a:lnTo>
                  <a:lnTo>
                    <a:pt x="324" y="222"/>
                  </a:lnTo>
                  <a:lnTo>
                    <a:pt x="330" y="228"/>
                  </a:lnTo>
                  <a:lnTo>
                    <a:pt x="336" y="234"/>
                  </a:lnTo>
                  <a:lnTo>
                    <a:pt x="342" y="234"/>
                  </a:lnTo>
                  <a:lnTo>
                    <a:pt x="342" y="240"/>
                  </a:lnTo>
                  <a:lnTo>
                    <a:pt x="348" y="240"/>
                  </a:lnTo>
                  <a:lnTo>
                    <a:pt x="354" y="240"/>
                  </a:lnTo>
                  <a:lnTo>
                    <a:pt x="348" y="240"/>
                  </a:lnTo>
                  <a:lnTo>
                    <a:pt x="354" y="240"/>
                  </a:lnTo>
                  <a:lnTo>
                    <a:pt x="354" y="246"/>
                  </a:lnTo>
                  <a:lnTo>
                    <a:pt x="360" y="246"/>
                  </a:lnTo>
                  <a:lnTo>
                    <a:pt x="366" y="246"/>
                  </a:lnTo>
                  <a:lnTo>
                    <a:pt x="366" y="252"/>
                  </a:lnTo>
                  <a:lnTo>
                    <a:pt x="366" y="258"/>
                  </a:lnTo>
                  <a:lnTo>
                    <a:pt x="372" y="258"/>
                  </a:lnTo>
                  <a:lnTo>
                    <a:pt x="372" y="264"/>
                  </a:lnTo>
                  <a:lnTo>
                    <a:pt x="372" y="270"/>
                  </a:lnTo>
                  <a:lnTo>
                    <a:pt x="378" y="276"/>
                  </a:lnTo>
                  <a:lnTo>
                    <a:pt x="378" y="282"/>
                  </a:lnTo>
                  <a:lnTo>
                    <a:pt x="378" y="288"/>
                  </a:lnTo>
                  <a:lnTo>
                    <a:pt x="384" y="294"/>
                  </a:lnTo>
                  <a:lnTo>
                    <a:pt x="390" y="300"/>
                  </a:lnTo>
                  <a:lnTo>
                    <a:pt x="390" y="306"/>
                  </a:lnTo>
                  <a:lnTo>
                    <a:pt x="384" y="306"/>
                  </a:lnTo>
                  <a:lnTo>
                    <a:pt x="384" y="312"/>
                  </a:lnTo>
                  <a:lnTo>
                    <a:pt x="384" y="318"/>
                  </a:lnTo>
                  <a:lnTo>
                    <a:pt x="378" y="318"/>
                  </a:lnTo>
                  <a:lnTo>
                    <a:pt x="372" y="324"/>
                  </a:lnTo>
                  <a:lnTo>
                    <a:pt x="366" y="324"/>
                  </a:lnTo>
                  <a:lnTo>
                    <a:pt x="366" y="330"/>
                  </a:lnTo>
                  <a:lnTo>
                    <a:pt x="366" y="336"/>
                  </a:lnTo>
                  <a:lnTo>
                    <a:pt x="366" y="342"/>
                  </a:lnTo>
                  <a:lnTo>
                    <a:pt x="360" y="342"/>
                  </a:lnTo>
                  <a:lnTo>
                    <a:pt x="360" y="348"/>
                  </a:lnTo>
                  <a:lnTo>
                    <a:pt x="360" y="354"/>
                  </a:lnTo>
                  <a:lnTo>
                    <a:pt x="354" y="354"/>
                  </a:lnTo>
                  <a:lnTo>
                    <a:pt x="354" y="360"/>
                  </a:lnTo>
                  <a:lnTo>
                    <a:pt x="348" y="366"/>
                  </a:lnTo>
                  <a:lnTo>
                    <a:pt x="348" y="372"/>
                  </a:lnTo>
                  <a:lnTo>
                    <a:pt x="342" y="372"/>
                  </a:lnTo>
                  <a:lnTo>
                    <a:pt x="342" y="378"/>
                  </a:lnTo>
                  <a:lnTo>
                    <a:pt x="348" y="378"/>
                  </a:lnTo>
                  <a:lnTo>
                    <a:pt x="342" y="378"/>
                  </a:lnTo>
                  <a:lnTo>
                    <a:pt x="342" y="384"/>
                  </a:lnTo>
                  <a:lnTo>
                    <a:pt x="336" y="384"/>
                  </a:lnTo>
                  <a:lnTo>
                    <a:pt x="330" y="384"/>
                  </a:lnTo>
                  <a:lnTo>
                    <a:pt x="330" y="390"/>
                  </a:lnTo>
                  <a:lnTo>
                    <a:pt x="324" y="390"/>
                  </a:lnTo>
                  <a:lnTo>
                    <a:pt x="324" y="396"/>
                  </a:lnTo>
                  <a:lnTo>
                    <a:pt x="324" y="402"/>
                  </a:lnTo>
                  <a:lnTo>
                    <a:pt x="330" y="402"/>
                  </a:lnTo>
                  <a:lnTo>
                    <a:pt x="336" y="402"/>
                  </a:lnTo>
                  <a:lnTo>
                    <a:pt x="336" y="408"/>
                  </a:lnTo>
                  <a:lnTo>
                    <a:pt x="336" y="414"/>
                  </a:lnTo>
                  <a:lnTo>
                    <a:pt x="336" y="420"/>
                  </a:lnTo>
                  <a:lnTo>
                    <a:pt x="330" y="420"/>
                  </a:lnTo>
                  <a:lnTo>
                    <a:pt x="336" y="420"/>
                  </a:lnTo>
                  <a:lnTo>
                    <a:pt x="336" y="426"/>
                  </a:lnTo>
                  <a:lnTo>
                    <a:pt x="336" y="432"/>
                  </a:lnTo>
                  <a:lnTo>
                    <a:pt x="330" y="432"/>
                  </a:lnTo>
                  <a:lnTo>
                    <a:pt x="330" y="438"/>
                  </a:lnTo>
                  <a:lnTo>
                    <a:pt x="336" y="438"/>
                  </a:lnTo>
                  <a:lnTo>
                    <a:pt x="336" y="444"/>
                  </a:lnTo>
                  <a:lnTo>
                    <a:pt x="336" y="450"/>
                  </a:lnTo>
                  <a:lnTo>
                    <a:pt x="336" y="456"/>
                  </a:lnTo>
                  <a:lnTo>
                    <a:pt x="342" y="462"/>
                  </a:lnTo>
                  <a:lnTo>
                    <a:pt x="342" y="468"/>
                  </a:lnTo>
                  <a:lnTo>
                    <a:pt x="336" y="468"/>
                  </a:lnTo>
                  <a:lnTo>
                    <a:pt x="342" y="468"/>
                  </a:lnTo>
                  <a:lnTo>
                    <a:pt x="342" y="474"/>
                  </a:lnTo>
                  <a:lnTo>
                    <a:pt x="342" y="480"/>
                  </a:lnTo>
                  <a:lnTo>
                    <a:pt x="348" y="480"/>
                  </a:lnTo>
                  <a:lnTo>
                    <a:pt x="348" y="486"/>
                  </a:lnTo>
                  <a:lnTo>
                    <a:pt x="354" y="486"/>
                  </a:lnTo>
                  <a:lnTo>
                    <a:pt x="360" y="486"/>
                  </a:lnTo>
                  <a:lnTo>
                    <a:pt x="360" y="492"/>
                  </a:lnTo>
                  <a:lnTo>
                    <a:pt x="360" y="498"/>
                  </a:lnTo>
                  <a:lnTo>
                    <a:pt x="360" y="504"/>
                  </a:lnTo>
                  <a:lnTo>
                    <a:pt x="366" y="504"/>
                  </a:lnTo>
                  <a:lnTo>
                    <a:pt x="360" y="510"/>
                  </a:lnTo>
                  <a:lnTo>
                    <a:pt x="360" y="516"/>
                  </a:lnTo>
                  <a:lnTo>
                    <a:pt x="366" y="516"/>
                  </a:lnTo>
                  <a:lnTo>
                    <a:pt x="366" y="522"/>
                  </a:lnTo>
                  <a:lnTo>
                    <a:pt x="372" y="522"/>
                  </a:lnTo>
                  <a:lnTo>
                    <a:pt x="372" y="528"/>
                  </a:lnTo>
                  <a:lnTo>
                    <a:pt x="378" y="534"/>
                  </a:lnTo>
                  <a:lnTo>
                    <a:pt x="384" y="540"/>
                  </a:lnTo>
                  <a:lnTo>
                    <a:pt x="384" y="546"/>
                  </a:lnTo>
                  <a:lnTo>
                    <a:pt x="390" y="546"/>
                  </a:lnTo>
                  <a:lnTo>
                    <a:pt x="390" y="552"/>
                  </a:lnTo>
                  <a:lnTo>
                    <a:pt x="396" y="552"/>
                  </a:lnTo>
                  <a:lnTo>
                    <a:pt x="396" y="558"/>
                  </a:lnTo>
                  <a:lnTo>
                    <a:pt x="402" y="558"/>
                  </a:lnTo>
                  <a:lnTo>
                    <a:pt x="408" y="558"/>
                  </a:lnTo>
                  <a:lnTo>
                    <a:pt x="408" y="564"/>
                  </a:lnTo>
                  <a:lnTo>
                    <a:pt x="414" y="564"/>
                  </a:lnTo>
                  <a:lnTo>
                    <a:pt x="414" y="570"/>
                  </a:lnTo>
                  <a:lnTo>
                    <a:pt x="414" y="576"/>
                  </a:lnTo>
                  <a:lnTo>
                    <a:pt x="414" y="582"/>
                  </a:lnTo>
                  <a:lnTo>
                    <a:pt x="414" y="588"/>
                  </a:lnTo>
                  <a:lnTo>
                    <a:pt x="414" y="594"/>
                  </a:lnTo>
                  <a:lnTo>
                    <a:pt x="420" y="594"/>
                  </a:lnTo>
                  <a:lnTo>
                    <a:pt x="420" y="600"/>
                  </a:lnTo>
                  <a:lnTo>
                    <a:pt x="420" y="606"/>
                  </a:lnTo>
                  <a:close/>
                  <a:moveTo>
                    <a:pt x="54" y="528"/>
                  </a:moveTo>
                  <a:lnTo>
                    <a:pt x="60" y="528"/>
                  </a:lnTo>
                  <a:lnTo>
                    <a:pt x="54" y="528"/>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4" name="Freeform 23"/>
            <p:cNvSpPr>
              <a:spLocks/>
            </p:cNvSpPr>
            <p:nvPr>
              <p:custDataLst>
                <p:tags r:id="rId22"/>
              </p:custDataLst>
            </p:nvPr>
          </p:nvSpPr>
          <p:spPr bwMode="gray">
            <a:xfrm>
              <a:off x="2025398" y="3074102"/>
              <a:ext cx="662862" cy="430685"/>
            </a:xfrm>
            <a:custGeom>
              <a:avLst/>
              <a:gdLst>
                <a:gd name="T0" fmla="*/ 76720 w 726"/>
                <a:gd name="T1" fmla="*/ 147619 h 492"/>
                <a:gd name="T2" fmla="*/ 67980 w 726"/>
                <a:gd name="T3" fmla="*/ 149562 h 492"/>
                <a:gd name="T4" fmla="*/ 53412 w 726"/>
                <a:gd name="T5" fmla="*/ 149562 h 492"/>
                <a:gd name="T6" fmla="*/ 40788 w 726"/>
                <a:gd name="T7" fmla="*/ 156360 h 492"/>
                <a:gd name="T8" fmla="*/ 37874 w 726"/>
                <a:gd name="T9" fmla="*/ 170927 h 492"/>
                <a:gd name="T10" fmla="*/ 32047 w 726"/>
                <a:gd name="T11" fmla="*/ 166072 h 492"/>
                <a:gd name="T12" fmla="*/ 23308 w 726"/>
                <a:gd name="T13" fmla="*/ 156360 h 492"/>
                <a:gd name="T14" fmla="*/ 12625 w 726"/>
                <a:gd name="T15" fmla="*/ 142764 h 492"/>
                <a:gd name="T16" fmla="*/ 8741 w 726"/>
                <a:gd name="T17" fmla="*/ 130139 h 492"/>
                <a:gd name="T18" fmla="*/ 3884 w 726"/>
                <a:gd name="T19" fmla="*/ 117513 h 492"/>
                <a:gd name="T20" fmla="*/ 3884 w 726"/>
                <a:gd name="T21" fmla="*/ 106830 h 492"/>
                <a:gd name="T22" fmla="*/ 3884 w 726"/>
                <a:gd name="T23" fmla="*/ 96147 h 492"/>
                <a:gd name="T24" fmla="*/ 10682 w 726"/>
                <a:gd name="T25" fmla="*/ 85464 h 492"/>
                <a:gd name="T26" fmla="*/ 19423 w 726"/>
                <a:gd name="T27" fmla="*/ 72839 h 492"/>
                <a:gd name="T28" fmla="*/ 27192 w 726"/>
                <a:gd name="T29" fmla="*/ 70896 h 492"/>
                <a:gd name="T30" fmla="*/ 37874 w 726"/>
                <a:gd name="T31" fmla="*/ 66040 h 492"/>
                <a:gd name="T32" fmla="*/ 49528 w 726"/>
                <a:gd name="T33" fmla="*/ 67983 h 492"/>
                <a:gd name="T34" fmla="*/ 60210 w 726"/>
                <a:gd name="T35" fmla="*/ 64098 h 492"/>
                <a:gd name="T36" fmla="*/ 67980 w 726"/>
                <a:gd name="T37" fmla="*/ 62156 h 492"/>
                <a:gd name="T38" fmla="*/ 83518 w 726"/>
                <a:gd name="T39" fmla="*/ 57300 h 492"/>
                <a:gd name="T40" fmla="*/ 90316 w 726"/>
                <a:gd name="T41" fmla="*/ 49530 h 492"/>
                <a:gd name="T42" fmla="*/ 87402 w 726"/>
                <a:gd name="T43" fmla="*/ 42732 h 492"/>
                <a:gd name="T44" fmla="*/ 104883 w 726"/>
                <a:gd name="T45" fmla="*/ 40790 h 492"/>
                <a:gd name="T46" fmla="*/ 117508 w 726"/>
                <a:gd name="T47" fmla="*/ 37876 h 492"/>
                <a:gd name="T48" fmla="*/ 124306 w 726"/>
                <a:gd name="T49" fmla="*/ 33991 h 492"/>
                <a:gd name="T50" fmla="*/ 132075 w 726"/>
                <a:gd name="T51" fmla="*/ 26222 h 492"/>
                <a:gd name="T52" fmla="*/ 143729 w 726"/>
                <a:gd name="T53" fmla="*/ 17482 h 492"/>
                <a:gd name="T54" fmla="*/ 145671 w 726"/>
                <a:gd name="T55" fmla="*/ 8741 h 492"/>
                <a:gd name="T56" fmla="*/ 150527 w 726"/>
                <a:gd name="T57" fmla="*/ 3884 h 492"/>
                <a:gd name="T58" fmla="*/ 160238 w 726"/>
                <a:gd name="T59" fmla="*/ 0 h 492"/>
                <a:gd name="T60" fmla="*/ 170920 w 726"/>
                <a:gd name="T61" fmla="*/ 8741 h 492"/>
                <a:gd name="T62" fmla="*/ 181604 w 726"/>
                <a:gd name="T63" fmla="*/ 21366 h 492"/>
                <a:gd name="T64" fmla="*/ 184516 w 726"/>
                <a:gd name="T65" fmla="*/ 32049 h 492"/>
                <a:gd name="T66" fmla="*/ 179661 w 726"/>
                <a:gd name="T67" fmla="*/ 40790 h 492"/>
                <a:gd name="T68" fmla="*/ 186459 w 726"/>
                <a:gd name="T69" fmla="*/ 46616 h 492"/>
                <a:gd name="T70" fmla="*/ 195199 w 726"/>
                <a:gd name="T71" fmla="*/ 55357 h 492"/>
                <a:gd name="T72" fmla="*/ 205882 w 726"/>
                <a:gd name="T73" fmla="*/ 57300 h 492"/>
                <a:gd name="T74" fmla="*/ 214622 w 726"/>
                <a:gd name="T75" fmla="*/ 64098 h 492"/>
                <a:gd name="T76" fmla="*/ 218506 w 726"/>
                <a:gd name="T77" fmla="*/ 74781 h 492"/>
                <a:gd name="T78" fmla="*/ 231131 w 726"/>
                <a:gd name="T79" fmla="*/ 81579 h 492"/>
                <a:gd name="T80" fmla="*/ 235016 w 726"/>
                <a:gd name="T81" fmla="*/ 91291 h 492"/>
                <a:gd name="T82" fmla="*/ 241814 w 726"/>
                <a:gd name="T83" fmla="*/ 101003 h 492"/>
                <a:gd name="T84" fmla="*/ 252496 w 726"/>
                <a:gd name="T85" fmla="*/ 104887 h 492"/>
                <a:gd name="T86" fmla="*/ 256381 w 726"/>
                <a:gd name="T87" fmla="*/ 120427 h 492"/>
                <a:gd name="T88" fmla="*/ 244727 w 726"/>
                <a:gd name="T89" fmla="*/ 117513 h 492"/>
                <a:gd name="T90" fmla="*/ 233073 w 726"/>
                <a:gd name="T91" fmla="*/ 117513 h 492"/>
                <a:gd name="T92" fmla="*/ 231131 w 726"/>
                <a:gd name="T93" fmla="*/ 117513 h 492"/>
                <a:gd name="T94" fmla="*/ 226275 w 726"/>
                <a:gd name="T95" fmla="*/ 115570 h 492"/>
                <a:gd name="T96" fmla="*/ 215593 w 726"/>
                <a:gd name="T97" fmla="*/ 115570 h 492"/>
                <a:gd name="T98" fmla="*/ 207824 w 726"/>
                <a:gd name="T99" fmla="*/ 121398 h 492"/>
                <a:gd name="T100" fmla="*/ 197141 w 726"/>
                <a:gd name="T101" fmla="*/ 117513 h 492"/>
                <a:gd name="T102" fmla="*/ 188402 w 726"/>
                <a:gd name="T103" fmla="*/ 124311 h 492"/>
                <a:gd name="T104" fmla="*/ 175776 w 726"/>
                <a:gd name="T105" fmla="*/ 128196 h 492"/>
                <a:gd name="T106" fmla="*/ 167036 w 726"/>
                <a:gd name="T107" fmla="*/ 126253 h 492"/>
                <a:gd name="T108" fmla="*/ 158296 w 726"/>
                <a:gd name="T109" fmla="*/ 138879 h 492"/>
                <a:gd name="T110" fmla="*/ 143729 w 726"/>
                <a:gd name="T111" fmla="*/ 134994 h 492"/>
                <a:gd name="T112" fmla="*/ 126249 w 726"/>
                <a:gd name="T113" fmla="*/ 132081 h 492"/>
                <a:gd name="T114" fmla="*/ 113623 w 726"/>
                <a:gd name="T115" fmla="*/ 124311 h 492"/>
                <a:gd name="T116" fmla="*/ 98085 w 726"/>
                <a:gd name="T117" fmla="*/ 117513 h 492"/>
                <a:gd name="T118" fmla="*/ 87402 w 726"/>
                <a:gd name="T119" fmla="*/ 128196 h 492"/>
                <a:gd name="T120" fmla="*/ 83518 w 726"/>
                <a:gd name="T121" fmla="*/ 138879 h 4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492">
                  <a:moveTo>
                    <a:pt x="234" y="426"/>
                  </a:moveTo>
                  <a:lnTo>
                    <a:pt x="234" y="420"/>
                  </a:lnTo>
                  <a:lnTo>
                    <a:pt x="228" y="420"/>
                  </a:lnTo>
                  <a:lnTo>
                    <a:pt x="228" y="414"/>
                  </a:lnTo>
                  <a:lnTo>
                    <a:pt x="222" y="414"/>
                  </a:lnTo>
                  <a:lnTo>
                    <a:pt x="222" y="420"/>
                  </a:lnTo>
                  <a:lnTo>
                    <a:pt x="222" y="414"/>
                  </a:lnTo>
                  <a:lnTo>
                    <a:pt x="222" y="420"/>
                  </a:lnTo>
                  <a:lnTo>
                    <a:pt x="216" y="414"/>
                  </a:lnTo>
                  <a:lnTo>
                    <a:pt x="216" y="420"/>
                  </a:lnTo>
                  <a:lnTo>
                    <a:pt x="210" y="420"/>
                  </a:lnTo>
                  <a:lnTo>
                    <a:pt x="210" y="426"/>
                  </a:lnTo>
                  <a:lnTo>
                    <a:pt x="210" y="420"/>
                  </a:lnTo>
                  <a:lnTo>
                    <a:pt x="204" y="420"/>
                  </a:lnTo>
                  <a:lnTo>
                    <a:pt x="198" y="420"/>
                  </a:lnTo>
                  <a:lnTo>
                    <a:pt x="198" y="414"/>
                  </a:lnTo>
                  <a:lnTo>
                    <a:pt x="192" y="414"/>
                  </a:lnTo>
                  <a:lnTo>
                    <a:pt x="192" y="420"/>
                  </a:lnTo>
                  <a:lnTo>
                    <a:pt x="192" y="414"/>
                  </a:lnTo>
                  <a:lnTo>
                    <a:pt x="186" y="414"/>
                  </a:lnTo>
                  <a:lnTo>
                    <a:pt x="180" y="414"/>
                  </a:lnTo>
                  <a:lnTo>
                    <a:pt x="174" y="414"/>
                  </a:lnTo>
                  <a:lnTo>
                    <a:pt x="168" y="414"/>
                  </a:lnTo>
                  <a:lnTo>
                    <a:pt x="162" y="414"/>
                  </a:lnTo>
                  <a:lnTo>
                    <a:pt x="156" y="414"/>
                  </a:lnTo>
                  <a:lnTo>
                    <a:pt x="156" y="420"/>
                  </a:lnTo>
                  <a:lnTo>
                    <a:pt x="150" y="420"/>
                  </a:lnTo>
                  <a:lnTo>
                    <a:pt x="144" y="420"/>
                  </a:lnTo>
                  <a:lnTo>
                    <a:pt x="138" y="420"/>
                  </a:lnTo>
                  <a:lnTo>
                    <a:pt x="132" y="420"/>
                  </a:lnTo>
                  <a:lnTo>
                    <a:pt x="126" y="420"/>
                  </a:lnTo>
                  <a:lnTo>
                    <a:pt x="120" y="420"/>
                  </a:lnTo>
                  <a:lnTo>
                    <a:pt x="120" y="426"/>
                  </a:lnTo>
                  <a:lnTo>
                    <a:pt x="120" y="432"/>
                  </a:lnTo>
                  <a:lnTo>
                    <a:pt x="120" y="438"/>
                  </a:lnTo>
                  <a:lnTo>
                    <a:pt x="114" y="438"/>
                  </a:lnTo>
                  <a:lnTo>
                    <a:pt x="114" y="444"/>
                  </a:lnTo>
                  <a:lnTo>
                    <a:pt x="120" y="444"/>
                  </a:lnTo>
                  <a:lnTo>
                    <a:pt x="114" y="450"/>
                  </a:lnTo>
                  <a:lnTo>
                    <a:pt x="114" y="456"/>
                  </a:lnTo>
                  <a:lnTo>
                    <a:pt x="114" y="462"/>
                  </a:lnTo>
                  <a:lnTo>
                    <a:pt x="114" y="468"/>
                  </a:lnTo>
                  <a:lnTo>
                    <a:pt x="108" y="468"/>
                  </a:lnTo>
                  <a:lnTo>
                    <a:pt x="108" y="474"/>
                  </a:lnTo>
                  <a:lnTo>
                    <a:pt x="108" y="480"/>
                  </a:lnTo>
                  <a:lnTo>
                    <a:pt x="102" y="480"/>
                  </a:lnTo>
                  <a:lnTo>
                    <a:pt x="102" y="486"/>
                  </a:lnTo>
                  <a:lnTo>
                    <a:pt x="102" y="492"/>
                  </a:lnTo>
                  <a:lnTo>
                    <a:pt x="96" y="492"/>
                  </a:lnTo>
                  <a:lnTo>
                    <a:pt x="96" y="486"/>
                  </a:lnTo>
                  <a:lnTo>
                    <a:pt x="96" y="480"/>
                  </a:lnTo>
                  <a:lnTo>
                    <a:pt x="90" y="480"/>
                  </a:lnTo>
                  <a:lnTo>
                    <a:pt x="90" y="474"/>
                  </a:lnTo>
                  <a:lnTo>
                    <a:pt x="90" y="468"/>
                  </a:lnTo>
                  <a:lnTo>
                    <a:pt x="90" y="462"/>
                  </a:lnTo>
                  <a:lnTo>
                    <a:pt x="90" y="456"/>
                  </a:lnTo>
                  <a:lnTo>
                    <a:pt x="90" y="450"/>
                  </a:lnTo>
                  <a:lnTo>
                    <a:pt x="84" y="450"/>
                  </a:lnTo>
                  <a:lnTo>
                    <a:pt x="84" y="444"/>
                  </a:lnTo>
                  <a:lnTo>
                    <a:pt x="78" y="444"/>
                  </a:lnTo>
                  <a:lnTo>
                    <a:pt x="72" y="444"/>
                  </a:lnTo>
                  <a:lnTo>
                    <a:pt x="72" y="438"/>
                  </a:lnTo>
                  <a:lnTo>
                    <a:pt x="66" y="438"/>
                  </a:lnTo>
                  <a:lnTo>
                    <a:pt x="66" y="432"/>
                  </a:lnTo>
                  <a:lnTo>
                    <a:pt x="60" y="432"/>
                  </a:lnTo>
                  <a:lnTo>
                    <a:pt x="60" y="426"/>
                  </a:lnTo>
                  <a:lnTo>
                    <a:pt x="54" y="420"/>
                  </a:lnTo>
                  <a:lnTo>
                    <a:pt x="48" y="414"/>
                  </a:lnTo>
                  <a:lnTo>
                    <a:pt x="48" y="408"/>
                  </a:lnTo>
                  <a:lnTo>
                    <a:pt x="42" y="408"/>
                  </a:lnTo>
                  <a:lnTo>
                    <a:pt x="42" y="402"/>
                  </a:lnTo>
                  <a:lnTo>
                    <a:pt x="36" y="402"/>
                  </a:lnTo>
                  <a:lnTo>
                    <a:pt x="36" y="396"/>
                  </a:lnTo>
                  <a:lnTo>
                    <a:pt x="42" y="390"/>
                  </a:lnTo>
                  <a:lnTo>
                    <a:pt x="36" y="390"/>
                  </a:lnTo>
                  <a:lnTo>
                    <a:pt x="36" y="384"/>
                  </a:lnTo>
                  <a:lnTo>
                    <a:pt x="36" y="378"/>
                  </a:lnTo>
                  <a:lnTo>
                    <a:pt x="36" y="372"/>
                  </a:lnTo>
                  <a:lnTo>
                    <a:pt x="30" y="372"/>
                  </a:lnTo>
                  <a:lnTo>
                    <a:pt x="24" y="372"/>
                  </a:lnTo>
                  <a:lnTo>
                    <a:pt x="24" y="366"/>
                  </a:lnTo>
                  <a:lnTo>
                    <a:pt x="18" y="366"/>
                  </a:lnTo>
                  <a:lnTo>
                    <a:pt x="18" y="360"/>
                  </a:lnTo>
                  <a:lnTo>
                    <a:pt x="18" y="354"/>
                  </a:lnTo>
                  <a:lnTo>
                    <a:pt x="12" y="354"/>
                  </a:lnTo>
                  <a:lnTo>
                    <a:pt x="18" y="354"/>
                  </a:lnTo>
                  <a:lnTo>
                    <a:pt x="18" y="348"/>
                  </a:lnTo>
                  <a:lnTo>
                    <a:pt x="12" y="342"/>
                  </a:lnTo>
                  <a:lnTo>
                    <a:pt x="12" y="336"/>
                  </a:lnTo>
                  <a:lnTo>
                    <a:pt x="12" y="330"/>
                  </a:lnTo>
                  <a:lnTo>
                    <a:pt x="12" y="324"/>
                  </a:lnTo>
                  <a:lnTo>
                    <a:pt x="6" y="324"/>
                  </a:lnTo>
                  <a:lnTo>
                    <a:pt x="6" y="318"/>
                  </a:lnTo>
                  <a:lnTo>
                    <a:pt x="12" y="318"/>
                  </a:lnTo>
                  <a:lnTo>
                    <a:pt x="12" y="312"/>
                  </a:lnTo>
                  <a:lnTo>
                    <a:pt x="12" y="306"/>
                  </a:lnTo>
                  <a:lnTo>
                    <a:pt x="6" y="306"/>
                  </a:lnTo>
                  <a:lnTo>
                    <a:pt x="12" y="306"/>
                  </a:lnTo>
                  <a:lnTo>
                    <a:pt x="12" y="300"/>
                  </a:lnTo>
                  <a:lnTo>
                    <a:pt x="12" y="294"/>
                  </a:lnTo>
                  <a:lnTo>
                    <a:pt x="12" y="288"/>
                  </a:lnTo>
                  <a:lnTo>
                    <a:pt x="6" y="288"/>
                  </a:lnTo>
                  <a:lnTo>
                    <a:pt x="0" y="288"/>
                  </a:lnTo>
                  <a:lnTo>
                    <a:pt x="0" y="282"/>
                  </a:lnTo>
                  <a:lnTo>
                    <a:pt x="0" y="276"/>
                  </a:lnTo>
                  <a:lnTo>
                    <a:pt x="6" y="276"/>
                  </a:lnTo>
                  <a:lnTo>
                    <a:pt x="6" y="270"/>
                  </a:lnTo>
                  <a:lnTo>
                    <a:pt x="12" y="270"/>
                  </a:lnTo>
                  <a:lnTo>
                    <a:pt x="18" y="270"/>
                  </a:lnTo>
                  <a:lnTo>
                    <a:pt x="18" y="264"/>
                  </a:lnTo>
                  <a:lnTo>
                    <a:pt x="24" y="264"/>
                  </a:lnTo>
                  <a:lnTo>
                    <a:pt x="18" y="264"/>
                  </a:lnTo>
                  <a:lnTo>
                    <a:pt x="18" y="258"/>
                  </a:lnTo>
                  <a:lnTo>
                    <a:pt x="24" y="258"/>
                  </a:lnTo>
                  <a:lnTo>
                    <a:pt x="24" y="252"/>
                  </a:lnTo>
                  <a:lnTo>
                    <a:pt x="30" y="246"/>
                  </a:lnTo>
                  <a:lnTo>
                    <a:pt x="30" y="240"/>
                  </a:lnTo>
                  <a:lnTo>
                    <a:pt x="36" y="240"/>
                  </a:lnTo>
                  <a:lnTo>
                    <a:pt x="36" y="234"/>
                  </a:lnTo>
                  <a:lnTo>
                    <a:pt x="36" y="228"/>
                  </a:lnTo>
                  <a:lnTo>
                    <a:pt x="42" y="228"/>
                  </a:lnTo>
                  <a:lnTo>
                    <a:pt x="42" y="222"/>
                  </a:lnTo>
                  <a:lnTo>
                    <a:pt x="42" y="216"/>
                  </a:lnTo>
                  <a:lnTo>
                    <a:pt x="42" y="210"/>
                  </a:lnTo>
                  <a:lnTo>
                    <a:pt x="48" y="210"/>
                  </a:lnTo>
                  <a:lnTo>
                    <a:pt x="54" y="204"/>
                  </a:lnTo>
                  <a:lnTo>
                    <a:pt x="60" y="204"/>
                  </a:lnTo>
                  <a:lnTo>
                    <a:pt x="60" y="198"/>
                  </a:lnTo>
                  <a:lnTo>
                    <a:pt x="66" y="198"/>
                  </a:lnTo>
                  <a:lnTo>
                    <a:pt x="72" y="198"/>
                  </a:lnTo>
                  <a:lnTo>
                    <a:pt x="72" y="204"/>
                  </a:lnTo>
                  <a:lnTo>
                    <a:pt x="72" y="198"/>
                  </a:lnTo>
                  <a:lnTo>
                    <a:pt x="78" y="198"/>
                  </a:lnTo>
                  <a:lnTo>
                    <a:pt x="78" y="204"/>
                  </a:lnTo>
                  <a:lnTo>
                    <a:pt x="78" y="198"/>
                  </a:lnTo>
                  <a:lnTo>
                    <a:pt x="84" y="198"/>
                  </a:lnTo>
                  <a:lnTo>
                    <a:pt x="90" y="198"/>
                  </a:lnTo>
                  <a:lnTo>
                    <a:pt x="90" y="192"/>
                  </a:lnTo>
                  <a:lnTo>
                    <a:pt x="96" y="192"/>
                  </a:lnTo>
                  <a:lnTo>
                    <a:pt x="102" y="192"/>
                  </a:lnTo>
                  <a:lnTo>
                    <a:pt x="108" y="192"/>
                  </a:lnTo>
                  <a:lnTo>
                    <a:pt x="108" y="186"/>
                  </a:lnTo>
                  <a:lnTo>
                    <a:pt x="114" y="186"/>
                  </a:lnTo>
                  <a:lnTo>
                    <a:pt x="108" y="186"/>
                  </a:lnTo>
                  <a:lnTo>
                    <a:pt x="114" y="180"/>
                  </a:lnTo>
                  <a:lnTo>
                    <a:pt x="120" y="180"/>
                  </a:lnTo>
                  <a:lnTo>
                    <a:pt x="120" y="186"/>
                  </a:lnTo>
                  <a:lnTo>
                    <a:pt x="126" y="186"/>
                  </a:lnTo>
                  <a:lnTo>
                    <a:pt x="126" y="192"/>
                  </a:lnTo>
                  <a:lnTo>
                    <a:pt x="132" y="192"/>
                  </a:lnTo>
                  <a:lnTo>
                    <a:pt x="132" y="198"/>
                  </a:lnTo>
                  <a:lnTo>
                    <a:pt x="138" y="198"/>
                  </a:lnTo>
                  <a:lnTo>
                    <a:pt x="138" y="192"/>
                  </a:lnTo>
                  <a:lnTo>
                    <a:pt x="144" y="192"/>
                  </a:lnTo>
                  <a:lnTo>
                    <a:pt x="150" y="192"/>
                  </a:lnTo>
                  <a:lnTo>
                    <a:pt x="150" y="186"/>
                  </a:lnTo>
                  <a:lnTo>
                    <a:pt x="150" y="192"/>
                  </a:lnTo>
                  <a:lnTo>
                    <a:pt x="150" y="186"/>
                  </a:lnTo>
                  <a:lnTo>
                    <a:pt x="156" y="186"/>
                  </a:lnTo>
                  <a:lnTo>
                    <a:pt x="156" y="180"/>
                  </a:lnTo>
                  <a:lnTo>
                    <a:pt x="162" y="180"/>
                  </a:lnTo>
                  <a:lnTo>
                    <a:pt x="168" y="180"/>
                  </a:lnTo>
                  <a:lnTo>
                    <a:pt x="168" y="174"/>
                  </a:lnTo>
                  <a:lnTo>
                    <a:pt x="168" y="180"/>
                  </a:lnTo>
                  <a:lnTo>
                    <a:pt x="174" y="180"/>
                  </a:lnTo>
                  <a:lnTo>
                    <a:pt x="174" y="174"/>
                  </a:lnTo>
                  <a:lnTo>
                    <a:pt x="174" y="180"/>
                  </a:lnTo>
                  <a:lnTo>
                    <a:pt x="174" y="174"/>
                  </a:lnTo>
                  <a:lnTo>
                    <a:pt x="180" y="174"/>
                  </a:lnTo>
                  <a:lnTo>
                    <a:pt x="186" y="174"/>
                  </a:lnTo>
                  <a:lnTo>
                    <a:pt x="192" y="174"/>
                  </a:lnTo>
                  <a:lnTo>
                    <a:pt x="198" y="174"/>
                  </a:lnTo>
                  <a:lnTo>
                    <a:pt x="198" y="168"/>
                  </a:lnTo>
                  <a:lnTo>
                    <a:pt x="204" y="168"/>
                  </a:lnTo>
                  <a:lnTo>
                    <a:pt x="210" y="168"/>
                  </a:lnTo>
                  <a:lnTo>
                    <a:pt x="216" y="168"/>
                  </a:lnTo>
                  <a:lnTo>
                    <a:pt x="222" y="168"/>
                  </a:lnTo>
                  <a:lnTo>
                    <a:pt x="228" y="168"/>
                  </a:lnTo>
                  <a:lnTo>
                    <a:pt x="234" y="168"/>
                  </a:lnTo>
                  <a:lnTo>
                    <a:pt x="234" y="162"/>
                  </a:lnTo>
                  <a:lnTo>
                    <a:pt x="234" y="156"/>
                  </a:lnTo>
                  <a:lnTo>
                    <a:pt x="240" y="156"/>
                  </a:lnTo>
                  <a:lnTo>
                    <a:pt x="246" y="156"/>
                  </a:lnTo>
                  <a:lnTo>
                    <a:pt x="246" y="150"/>
                  </a:lnTo>
                  <a:lnTo>
                    <a:pt x="252" y="150"/>
                  </a:lnTo>
                  <a:lnTo>
                    <a:pt x="246" y="150"/>
                  </a:lnTo>
                  <a:lnTo>
                    <a:pt x="252" y="150"/>
                  </a:lnTo>
                  <a:lnTo>
                    <a:pt x="252" y="144"/>
                  </a:lnTo>
                  <a:lnTo>
                    <a:pt x="252" y="138"/>
                  </a:lnTo>
                  <a:lnTo>
                    <a:pt x="258" y="144"/>
                  </a:lnTo>
                  <a:lnTo>
                    <a:pt x="258" y="138"/>
                  </a:lnTo>
                  <a:lnTo>
                    <a:pt x="258" y="132"/>
                  </a:lnTo>
                  <a:lnTo>
                    <a:pt x="258" y="126"/>
                  </a:lnTo>
                  <a:lnTo>
                    <a:pt x="252" y="126"/>
                  </a:lnTo>
                  <a:lnTo>
                    <a:pt x="246" y="126"/>
                  </a:lnTo>
                  <a:lnTo>
                    <a:pt x="246" y="120"/>
                  </a:lnTo>
                  <a:lnTo>
                    <a:pt x="246" y="126"/>
                  </a:lnTo>
                  <a:lnTo>
                    <a:pt x="246" y="120"/>
                  </a:lnTo>
                  <a:lnTo>
                    <a:pt x="252" y="120"/>
                  </a:lnTo>
                  <a:lnTo>
                    <a:pt x="252" y="114"/>
                  </a:lnTo>
                  <a:lnTo>
                    <a:pt x="258" y="114"/>
                  </a:lnTo>
                  <a:lnTo>
                    <a:pt x="264" y="114"/>
                  </a:lnTo>
                  <a:lnTo>
                    <a:pt x="270" y="114"/>
                  </a:lnTo>
                  <a:lnTo>
                    <a:pt x="276" y="114"/>
                  </a:lnTo>
                  <a:lnTo>
                    <a:pt x="282" y="114"/>
                  </a:lnTo>
                  <a:lnTo>
                    <a:pt x="288" y="114"/>
                  </a:lnTo>
                  <a:lnTo>
                    <a:pt x="294" y="114"/>
                  </a:lnTo>
                  <a:lnTo>
                    <a:pt x="300" y="114"/>
                  </a:lnTo>
                  <a:lnTo>
                    <a:pt x="300" y="108"/>
                  </a:lnTo>
                  <a:lnTo>
                    <a:pt x="300" y="114"/>
                  </a:lnTo>
                  <a:lnTo>
                    <a:pt x="300" y="108"/>
                  </a:lnTo>
                  <a:lnTo>
                    <a:pt x="306" y="108"/>
                  </a:lnTo>
                  <a:lnTo>
                    <a:pt x="312" y="108"/>
                  </a:lnTo>
                  <a:lnTo>
                    <a:pt x="318" y="108"/>
                  </a:lnTo>
                  <a:lnTo>
                    <a:pt x="324" y="108"/>
                  </a:lnTo>
                  <a:lnTo>
                    <a:pt x="330" y="108"/>
                  </a:lnTo>
                  <a:lnTo>
                    <a:pt x="336" y="108"/>
                  </a:lnTo>
                  <a:lnTo>
                    <a:pt x="336" y="102"/>
                  </a:lnTo>
                  <a:lnTo>
                    <a:pt x="336" y="96"/>
                  </a:lnTo>
                  <a:lnTo>
                    <a:pt x="342" y="96"/>
                  </a:lnTo>
                  <a:lnTo>
                    <a:pt x="336" y="96"/>
                  </a:lnTo>
                  <a:lnTo>
                    <a:pt x="342" y="96"/>
                  </a:lnTo>
                  <a:lnTo>
                    <a:pt x="348" y="96"/>
                  </a:lnTo>
                  <a:lnTo>
                    <a:pt x="342" y="96"/>
                  </a:lnTo>
                  <a:lnTo>
                    <a:pt x="348" y="96"/>
                  </a:lnTo>
                  <a:lnTo>
                    <a:pt x="348" y="90"/>
                  </a:lnTo>
                  <a:lnTo>
                    <a:pt x="354" y="90"/>
                  </a:lnTo>
                  <a:lnTo>
                    <a:pt x="360" y="84"/>
                  </a:lnTo>
                  <a:lnTo>
                    <a:pt x="360" y="90"/>
                  </a:lnTo>
                  <a:lnTo>
                    <a:pt x="360" y="84"/>
                  </a:lnTo>
                  <a:lnTo>
                    <a:pt x="360" y="78"/>
                  </a:lnTo>
                  <a:lnTo>
                    <a:pt x="366" y="78"/>
                  </a:lnTo>
                  <a:lnTo>
                    <a:pt x="366" y="72"/>
                  </a:lnTo>
                  <a:lnTo>
                    <a:pt x="372" y="72"/>
                  </a:lnTo>
                  <a:lnTo>
                    <a:pt x="372" y="66"/>
                  </a:lnTo>
                  <a:lnTo>
                    <a:pt x="378" y="66"/>
                  </a:lnTo>
                  <a:lnTo>
                    <a:pt x="378" y="60"/>
                  </a:lnTo>
                  <a:lnTo>
                    <a:pt x="384" y="60"/>
                  </a:lnTo>
                  <a:lnTo>
                    <a:pt x="390" y="60"/>
                  </a:lnTo>
                  <a:lnTo>
                    <a:pt x="390" y="54"/>
                  </a:lnTo>
                  <a:lnTo>
                    <a:pt x="390" y="48"/>
                  </a:lnTo>
                  <a:lnTo>
                    <a:pt x="396" y="48"/>
                  </a:lnTo>
                  <a:lnTo>
                    <a:pt x="402" y="48"/>
                  </a:lnTo>
                  <a:lnTo>
                    <a:pt x="402" y="42"/>
                  </a:lnTo>
                  <a:lnTo>
                    <a:pt x="402" y="48"/>
                  </a:lnTo>
                  <a:lnTo>
                    <a:pt x="402" y="42"/>
                  </a:lnTo>
                  <a:lnTo>
                    <a:pt x="408" y="42"/>
                  </a:lnTo>
                  <a:lnTo>
                    <a:pt x="408" y="36"/>
                  </a:lnTo>
                  <a:lnTo>
                    <a:pt x="408" y="30"/>
                  </a:lnTo>
                  <a:lnTo>
                    <a:pt x="408" y="24"/>
                  </a:lnTo>
                  <a:lnTo>
                    <a:pt x="408" y="18"/>
                  </a:lnTo>
                  <a:lnTo>
                    <a:pt x="408" y="24"/>
                  </a:lnTo>
                  <a:lnTo>
                    <a:pt x="408" y="18"/>
                  </a:lnTo>
                  <a:lnTo>
                    <a:pt x="408" y="12"/>
                  </a:lnTo>
                  <a:lnTo>
                    <a:pt x="414" y="12"/>
                  </a:lnTo>
                  <a:lnTo>
                    <a:pt x="414" y="6"/>
                  </a:lnTo>
                  <a:lnTo>
                    <a:pt x="414" y="12"/>
                  </a:lnTo>
                  <a:lnTo>
                    <a:pt x="414" y="6"/>
                  </a:lnTo>
                  <a:lnTo>
                    <a:pt x="420" y="12"/>
                  </a:lnTo>
                  <a:lnTo>
                    <a:pt x="420" y="6"/>
                  </a:lnTo>
                  <a:lnTo>
                    <a:pt x="420" y="12"/>
                  </a:lnTo>
                  <a:lnTo>
                    <a:pt x="420" y="6"/>
                  </a:lnTo>
                  <a:lnTo>
                    <a:pt x="420" y="12"/>
                  </a:lnTo>
                  <a:lnTo>
                    <a:pt x="420" y="6"/>
                  </a:lnTo>
                  <a:lnTo>
                    <a:pt x="426" y="6"/>
                  </a:lnTo>
                  <a:lnTo>
                    <a:pt x="432" y="6"/>
                  </a:lnTo>
                  <a:lnTo>
                    <a:pt x="438" y="6"/>
                  </a:lnTo>
                  <a:lnTo>
                    <a:pt x="444" y="6"/>
                  </a:lnTo>
                  <a:lnTo>
                    <a:pt x="444" y="0"/>
                  </a:lnTo>
                  <a:lnTo>
                    <a:pt x="450" y="0"/>
                  </a:lnTo>
                  <a:lnTo>
                    <a:pt x="456" y="0"/>
                  </a:lnTo>
                  <a:lnTo>
                    <a:pt x="462" y="0"/>
                  </a:lnTo>
                  <a:lnTo>
                    <a:pt x="462" y="6"/>
                  </a:lnTo>
                  <a:lnTo>
                    <a:pt x="468" y="6"/>
                  </a:lnTo>
                  <a:lnTo>
                    <a:pt x="474" y="6"/>
                  </a:lnTo>
                  <a:lnTo>
                    <a:pt x="474" y="12"/>
                  </a:lnTo>
                  <a:lnTo>
                    <a:pt x="474" y="18"/>
                  </a:lnTo>
                  <a:lnTo>
                    <a:pt x="480" y="18"/>
                  </a:lnTo>
                  <a:lnTo>
                    <a:pt x="480" y="24"/>
                  </a:lnTo>
                  <a:lnTo>
                    <a:pt x="486" y="24"/>
                  </a:lnTo>
                  <a:lnTo>
                    <a:pt x="486" y="30"/>
                  </a:lnTo>
                  <a:lnTo>
                    <a:pt x="492" y="30"/>
                  </a:lnTo>
                  <a:lnTo>
                    <a:pt x="492" y="36"/>
                  </a:lnTo>
                  <a:lnTo>
                    <a:pt x="498" y="36"/>
                  </a:lnTo>
                  <a:lnTo>
                    <a:pt x="498" y="42"/>
                  </a:lnTo>
                  <a:lnTo>
                    <a:pt x="504" y="48"/>
                  </a:lnTo>
                  <a:lnTo>
                    <a:pt x="510" y="54"/>
                  </a:lnTo>
                  <a:lnTo>
                    <a:pt x="510" y="60"/>
                  </a:lnTo>
                  <a:lnTo>
                    <a:pt x="516" y="66"/>
                  </a:lnTo>
                  <a:lnTo>
                    <a:pt x="516" y="72"/>
                  </a:lnTo>
                  <a:lnTo>
                    <a:pt x="516" y="78"/>
                  </a:lnTo>
                  <a:lnTo>
                    <a:pt x="516" y="84"/>
                  </a:lnTo>
                  <a:lnTo>
                    <a:pt x="510" y="84"/>
                  </a:lnTo>
                  <a:lnTo>
                    <a:pt x="516" y="84"/>
                  </a:lnTo>
                  <a:lnTo>
                    <a:pt x="510" y="84"/>
                  </a:lnTo>
                  <a:lnTo>
                    <a:pt x="510" y="90"/>
                  </a:lnTo>
                  <a:lnTo>
                    <a:pt x="516" y="90"/>
                  </a:lnTo>
                  <a:lnTo>
                    <a:pt x="510" y="90"/>
                  </a:lnTo>
                  <a:lnTo>
                    <a:pt x="510" y="96"/>
                  </a:lnTo>
                  <a:lnTo>
                    <a:pt x="516" y="96"/>
                  </a:lnTo>
                  <a:lnTo>
                    <a:pt x="510" y="102"/>
                  </a:lnTo>
                  <a:lnTo>
                    <a:pt x="510" y="96"/>
                  </a:lnTo>
                  <a:lnTo>
                    <a:pt x="510" y="102"/>
                  </a:lnTo>
                  <a:lnTo>
                    <a:pt x="504" y="102"/>
                  </a:lnTo>
                  <a:lnTo>
                    <a:pt x="504" y="108"/>
                  </a:lnTo>
                  <a:lnTo>
                    <a:pt x="504" y="114"/>
                  </a:lnTo>
                  <a:lnTo>
                    <a:pt x="510" y="114"/>
                  </a:lnTo>
                  <a:lnTo>
                    <a:pt x="510" y="120"/>
                  </a:lnTo>
                  <a:lnTo>
                    <a:pt x="510" y="126"/>
                  </a:lnTo>
                  <a:lnTo>
                    <a:pt x="504" y="126"/>
                  </a:lnTo>
                  <a:lnTo>
                    <a:pt x="504" y="132"/>
                  </a:lnTo>
                  <a:lnTo>
                    <a:pt x="510" y="132"/>
                  </a:lnTo>
                  <a:lnTo>
                    <a:pt x="510" y="126"/>
                  </a:lnTo>
                  <a:lnTo>
                    <a:pt x="516" y="132"/>
                  </a:lnTo>
                  <a:lnTo>
                    <a:pt x="522" y="132"/>
                  </a:lnTo>
                  <a:lnTo>
                    <a:pt x="528" y="132"/>
                  </a:lnTo>
                  <a:lnTo>
                    <a:pt x="534" y="132"/>
                  </a:lnTo>
                  <a:lnTo>
                    <a:pt x="540" y="132"/>
                  </a:lnTo>
                  <a:lnTo>
                    <a:pt x="546" y="132"/>
                  </a:lnTo>
                  <a:lnTo>
                    <a:pt x="546" y="138"/>
                  </a:lnTo>
                  <a:lnTo>
                    <a:pt x="546" y="144"/>
                  </a:lnTo>
                  <a:lnTo>
                    <a:pt x="540" y="144"/>
                  </a:lnTo>
                  <a:lnTo>
                    <a:pt x="540" y="150"/>
                  </a:lnTo>
                  <a:lnTo>
                    <a:pt x="546" y="156"/>
                  </a:lnTo>
                  <a:lnTo>
                    <a:pt x="552" y="156"/>
                  </a:lnTo>
                  <a:lnTo>
                    <a:pt x="558" y="156"/>
                  </a:lnTo>
                  <a:lnTo>
                    <a:pt x="564" y="156"/>
                  </a:lnTo>
                  <a:lnTo>
                    <a:pt x="564" y="162"/>
                  </a:lnTo>
                  <a:lnTo>
                    <a:pt x="564" y="156"/>
                  </a:lnTo>
                  <a:lnTo>
                    <a:pt x="570" y="156"/>
                  </a:lnTo>
                  <a:lnTo>
                    <a:pt x="570" y="162"/>
                  </a:lnTo>
                  <a:lnTo>
                    <a:pt x="576" y="156"/>
                  </a:lnTo>
                  <a:lnTo>
                    <a:pt x="576" y="162"/>
                  </a:lnTo>
                  <a:lnTo>
                    <a:pt x="582" y="162"/>
                  </a:lnTo>
                  <a:lnTo>
                    <a:pt x="582" y="168"/>
                  </a:lnTo>
                  <a:lnTo>
                    <a:pt x="588" y="168"/>
                  </a:lnTo>
                  <a:lnTo>
                    <a:pt x="588" y="174"/>
                  </a:lnTo>
                  <a:lnTo>
                    <a:pt x="594" y="174"/>
                  </a:lnTo>
                  <a:lnTo>
                    <a:pt x="594" y="180"/>
                  </a:lnTo>
                  <a:lnTo>
                    <a:pt x="594" y="174"/>
                  </a:lnTo>
                  <a:lnTo>
                    <a:pt x="600" y="174"/>
                  </a:lnTo>
                  <a:lnTo>
                    <a:pt x="600" y="180"/>
                  </a:lnTo>
                  <a:lnTo>
                    <a:pt x="606" y="180"/>
                  </a:lnTo>
                  <a:lnTo>
                    <a:pt x="606" y="186"/>
                  </a:lnTo>
                  <a:lnTo>
                    <a:pt x="606" y="192"/>
                  </a:lnTo>
                  <a:lnTo>
                    <a:pt x="600" y="192"/>
                  </a:lnTo>
                  <a:lnTo>
                    <a:pt x="600" y="198"/>
                  </a:lnTo>
                  <a:lnTo>
                    <a:pt x="606" y="198"/>
                  </a:lnTo>
                  <a:lnTo>
                    <a:pt x="606" y="204"/>
                  </a:lnTo>
                  <a:lnTo>
                    <a:pt x="606" y="210"/>
                  </a:lnTo>
                  <a:lnTo>
                    <a:pt x="612" y="210"/>
                  </a:lnTo>
                  <a:lnTo>
                    <a:pt x="618" y="210"/>
                  </a:lnTo>
                  <a:lnTo>
                    <a:pt x="618" y="216"/>
                  </a:lnTo>
                  <a:lnTo>
                    <a:pt x="624" y="216"/>
                  </a:lnTo>
                  <a:lnTo>
                    <a:pt x="630" y="216"/>
                  </a:lnTo>
                  <a:lnTo>
                    <a:pt x="636" y="216"/>
                  </a:lnTo>
                  <a:lnTo>
                    <a:pt x="636" y="222"/>
                  </a:lnTo>
                  <a:lnTo>
                    <a:pt x="642" y="222"/>
                  </a:lnTo>
                  <a:lnTo>
                    <a:pt x="642" y="228"/>
                  </a:lnTo>
                  <a:lnTo>
                    <a:pt x="648" y="228"/>
                  </a:lnTo>
                  <a:lnTo>
                    <a:pt x="648" y="234"/>
                  </a:lnTo>
                  <a:lnTo>
                    <a:pt x="648" y="240"/>
                  </a:lnTo>
                  <a:lnTo>
                    <a:pt x="654" y="240"/>
                  </a:lnTo>
                  <a:lnTo>
                    <a:pt x="660" y="240"/>
                  </a:lnTo>
                  <a:lnTo>
                    <a:pt x="660" y="246"/>
                  </a:lnTo>
                  <a:lnTo>
                    <a:pt x="666" y="246"/>
                  </a:lnTo>
                  <a:lnTo>
                    <a:pt x="666" y="252"/>
                  </a:lnTo>
                  <a:lnTo>
                    <a:pt x="660" y="252"/>
                  </a:lnTo>
                  <a:lnTo>
                    <a:pt x="660" y="258"/>
                  </a:lnTo>
                  <a:lnTo>
                    <a:pt x="660" y="264"/>
                  </a:lnTo>
                  <a:lnTo>
                    <a:pt x="666" y="264"/>
                  </a:lnTo>
                  <a:lnTo>
                    <a:pt x="672" y="264"/>
                  </a:lnTo>
                  <a:lnTo>
                    <a:pt x="672" y="270"/>
                  </a:lnTo>
                  <a:lnTo>
                    <a:pt x="672" y="276"/>
                  </a:lnTo>
                  <a:lnTo>
                    <a:pt x="666" y="276"/>
                  </a:lnTo>
                  <a:lnTo>
                    <a:pt x="672" y="276"/>
                  </a:lnTo>
                  <a:lnTo>
                    <a:pt x="672" y="282"/>
                  </a:lnTo>
                  <a:lnTo>
                    <a:pt x="678" y="282"/>
                  </a:lnTo>
                  <a:lnTo>
                    <a:pt x="684" y="282"/>
                  </a:lnTo>
                  <a:lnTo>
                    <a:pt x="690" y="282"/>
                  </a:lnTo>
                  <a:lnTo>
                    <a:pt x="690" y="288"/>
                  </a:lnTo>
                  <a:lnTo>
                    <a:pt x="696" y="288"/>
                  </a:lnTo>
                  <a:lnTo>
                    <a:pt x="696" y="294"/>
                  </a:lnTo>
                  <a:lnTo>
                    <a:pt x="696" y="288"/>
                  </a:lnTo>
                  <a:lnTo>
                    <a:pt x="702" y="288"/>
                  </a:lnTo>
                  <a:lnTo>
                    <a:pt x="702" y="294"/>
                  </a:lnTo>
                  <a:lnTo>
                    <a:pt x="708" y="294"/>
                  </a:lnTo>
                  <a:lnTo>
                    <a:pt x="708" y="300"/>
                  </a:lnTo>
                  <a:lnTo>
                    <a:pt x="714" y="300"/>
                  </a:lnTo>
                  <a:lnTo>
                    <a:pt x="714" y="306"/>
                  </a:lnTo>
                  <a:lnTo>
                    <a:pt x="714" y="312"/>
                  </a:lnTo>
                  <a:lnTo>
                    <a:pt x="714" y="318"/>
                  </a:lnTo>
                  <a:lnTo>
                    <a:pt x="714" y="324"/>
                  </a:lnTo>
                  <a:lnTo>
                    <a:pt x="720" y="330"/>
                  </a:lnTo>
                  <a:lnTo>
                    <a:pt x="726" y="336"/>
                  </a:lnTo>
                  <a:lnTo>
                    <a:pt x="720" y="336"/>
                  </a:lnTo>
                  <a:lnTo>
                    <a:pt x="720" y="330"/>
                  </a:lnTo>
                  <a:lnTo>
                    <a:pt x="714" y="330"/>
                  </a:lnTo>
                  <a:lnTo>
                    <a:pt x="708" y="330"/>
                  </a:lnTo>
                  <a:lnTo>
                    <a:pt x="702" y="330"/>
                  </a:lnTo>
                  <a:lnTo>
                    <a:pt x="696" y="330"/>
                  </a:lnTo>
                  <a:lnTo>
                    <a:pt x="696" y="336"/>
                  </a:lnTo>
                  <a:lnTo>
                    <a:pt x="690" y="336"/>
                  </a:lnTo>
                  <a:lnTo>
                    <a:pt x="684" y="336"/>
                  </a:lnTo>
                  <a:lnTo>
                    <a:pt x="684" y="330"/>
                  </a:lnTo>
                  <a:lnTo>
                    <a:pt x="684" y="336"/>
                  </a:lnTo>
                  <a:lnTo>
                    <a:pt x="678" y="336"/>
                  </a:lnTo>
                  <a:lnTo>
                    <a:pt x="672" y="336"/>
                  </a:lnTo>
                  <a:lnTo>
                    <a:pt x="666" y="336"/>
                  </a:lnTo>
                  <a:lnTo>
                    <a:pt x="672" y="336"/>
                  </a:lnTo>
                  <a:lnTo>
                    <a:pt x="666" y="336"/>
                  </a:lnTo>
                  <a:lnTo>
                    <a:pt x="666" y="330"/>
                  </a:lnTo>
                  <a:lnTo>
                    <a:pt x="660" y="330"/>
                  </a:lnTo>
                  <a:lnTo>
                    <a:pt x="654" y="330"/>
                  </a:lnTo>
                  <a:lnTo>
                    <a:pt x="660" y="330"/>
                  </a:lnTo>
                  <a:lnTo>
                    <a:pt x="654" y="330"/>
                  </a:lnTo>
                  <a:lnTo>
                    <a:pt x="654" y="324"/>
                  </a:lnTo>
                  <a:lnTo>
                    <a:pt x="648" y="324"/>
                  </a:lnTo>
                  <a:lnTo>
                    <a:pt x="648" y="330"/>
                  </a:lnTo>
                  <a:lnTo>
                    <a:pt x="648" y="324"/>
                  </a:lnTo>
                  <a:lnTo>
                    <a:pt x="648" y="330"/>
                  </a:lnTo>
                  <a:lnTo>
                    <a:pt x="648" y="324"/>
                  </a:lnTo>
                  <a:lnTo>
                    <a:pt x="648" y="330"/>
                  </a:lnTo>
                  <a:lnTo>
                    <a:pt x="642" y="330"/>
                  </a:lnTo>
                  <a:lnTo>
                    <a:pt x="642" y="324"/>
                  </a:lnTo>
                  <a:lnTo>
                    <a:pt x="642" y="330"/>
                  </a:lnTo>
                  <a:lnTo>
                    <a:pt x="636" y="330"/>
                  </a:lnTo>
                  <a:lnTo>
                    <a:pt x="642" y="330"/>
                  </a:lnTo>
                  <a:lnTo>
                    <a:pt x="636" y="330"/>
                  </a:lnTo>
                  <a:lnTo>
                    <a:pt x="636" y="324"/>
                  </a:lnTo>
                  <a:lnTo>
                    <a:pt x="636" y="330"/>
                  </a:lnTo>
                  <a:lnTo>
                    <a:pt x="636" y="324"/>
                  </a:lnTo>
                  <a:lnTo>
                    <a:pt x="630" y="324"/>
                  </a:lnTo>
                  <a:lnTo>
                    <a:pt x="624" y="324"/>
                  </a:lnTo>
                  <a:lnTo>
                    <a:pt x="624" y="318"/>
                  </a:lnTo>
                  <a:lnTo>
                    <a:pt x="624" y="324"/>
                  </a:lnTo>
                  <a:lnTo>
                    <a:pt x="624" y="318"/>
                  </a:lnTo>
                  <a:lnTo>
                    <a:pt x="618" y="318"/>
                  </a:lnTo>
                  <a:lnTo>
                    <a:pt x="612" y="318"/>
                  </a:lnTo>
                  <a:lnTo>
                    <a:pt x="606" y="318"/>
                  </a:lnTo>
                  <a:lnTo>
                    <a:pt x="606" y="324"/>
                  </a:lnTo>
                  <a:lnTo>
                    <a:pt x="612" y="324"/>
                  </a:lnTo>
                  <a:lnTo>
                    <a:pt x="606" y="324"/>
                  </a:lnTo>
                  <a:lnTo>
                    <a:pt x="606" y="330"/>
                  </a:lnTo>
                  <a:lnTo>
                    <a:pt x="606" y="336"/>
                  </a:lnTo>
                  <a:lnTo>
                    <a:pt x="600" y="336"/>
                  </a:lnTo>
                  <a:lnTo>
                    <a:pt x="594" y="336"/>
                  </a:lnTo>
                  <a:lnTo>
                    <a:pt x="594" y="342"/>
                  </a:lnTo>
                  <a:lnTo>
                    <a:pt x="588" y="342"/>
                  </a:lnTo>
                  <a:lnTo>
                    <a:pt x="582" y="342"/>
                  </a:lnTo>
                  <a:lnTo>
                    <a:pt x="576" y="342"/>
                  </a:lnTo>
                  <a:lnTo>
                    <a:pt x="570" y="342"/>
                  </a:lnTo>
                  <a:lnTo>
                    <a:pt x="570" y="336"/>
                  </a:lnTo>
                  <a:lnTo>
                    <a:pt x="564" y="336"/>
                  </a:lnTo>
                  <a:lnTo>
                    <a:pt x="558" y="336"/>
                  </a:lnTo>
                  <a:lnTo>
                    <a:pt x="558" y="330"/>
                  </a:lnTo>
                  <a:lnTo>
                    <a:pt x="558" y="336"/>
                  </a:lnTo>
                  <a:lnTo>
                    <a:pt x="558" y="330"/>
                  </a:lnTo>
                  <a:lnTo>
                    <a:pt x="552" y="330"/>
                  </a:lnTo>
                  <a:lnTo>
                    <a:pt x="552" y="336"/>
                  </a:lnTo>
                  <a:lnTo>
                    <a:pt x="558" y="336"/>
                  </a:lnTo>
                  <a:lnTo>
                    <a:pt x="552" y="336"/>
                  </a:lnTo>
                  <a:lnTo>
                    <a:pt x="546" y="336"/>
                  </a:lnTo>
                  <a:lnTo>
                    <a:pt x="546" y="342"/>
                  </a:lnTo>
                  <a:lnTo>
                    <a:pt x="540" y="342"/>
                  </a:lnTo>
                  <a:lnTo>
                    <a:pt x="534" y="342"/>
                  </a:lnTo>
                  <a:lnTo>
                    <a:pt x="534" y="348"/>
                  </a:lnTo>
                  <a:lnTo>
                    <a:pt x="528" y="348"/>
                  </a:lnTo>
                  <a:lnTo>
                    <a:pt x="522" y="348"/>
                  </a:lnTo>
                  <a:lnTo>
                    <a:pt x="522" y="354"/>
                  </a:lnTo>
                  <a:lnTo>
                    <a:pt x="516" y="348"/>
                  </a:lnTo>
                  <a:lnTo>
                    <a:pt x="516" y="354"/>
                  </a:lnTo>
                  <a:lnTo>
                    <a:pt x="510" y="354"/>
                  </a:lnTo>
                  <a:lnTo>
                    <a:pt x="504" y="354"/>
                  </a:lnTo>
                  <a:lnTo>
                    <a:pt x="504" y="360"/>
                  </a:lnTo>
                  <a:lnTo>
                    <a:pt x="498" y="360"/>
                  </a:lnTo>
                  <a:lnTo>
                    <a:pt x="492" y="360"/>
                  </a:lnTo>
                  <a:lnTo>
                    <a:pt x="492" y="354"/>
                  </a:lnTo>
                  <a:lnTo>
                    <a:pt x="486" y="354"/>
                  </a:lnTo>
                  <a:lnTo>
                    <a:pt x="480" y="354"/>
                  </a:lnTo>
                  <a:lnTo>
                    <a:pt x="474" y="354"/>
                  </a:lnTo>
                  <a:lnTo>
                    <a:pt x="474" y="348"/>
                  </a:lnTo>
                  <a:lnTo>
                    <a:pt x="468" y="348"/>
                  </a:lnTo>
                  <a:lnTo>
                    <a:pt x="468" y="354"/>
                  </a:lnTo>
                  <a:lnTo>
                    <a:pt x="474" y="354"/>
                  </a:lnTo>
                  <a:lnTo>
                    <a:pt x="468" y="354"/>
                  </a:lnTo>
                  <a:lnTo>
                    <a:pt x="462" y="354"/>
                  </a:lnTo>
                  <a:lnTo>
                    <a:pt x="462" y="360"/>
                  </a:lnTo>
                  <a:lnTo>
                    <a:pt x="462" y="366"/>
                  </a:lnTo>
                  <a:lnTo>
                    <a:pt x="456" y="366"/>
                  </a:lnTo>
                  <a:lnTo>
                    <a:pt x="456" y="372"/>
                  </a:lnTo>
                  <a:lnTo>
                    <a:pt x="456" y="378"/>
                  </a:lnTo>
                  <a:lnTo>
                    <a:pt x="450" y="378"/>
                  </a:lnTo>
                  <a:lnTo>
                    <a:pt x="450" y="384"/>
                  </a:lnTo>
                  <a:lnTo>
                    <a:pt x="444" y="390"/>
                  </a:lnTo>
                  <a:lnTo>
                    <a:pt x="438" y="390"/>
                  </a:lnTo>
                  <a:lnTo>
                    <a:pt x="432" y="390"/>
                  </a:lnTo>
                  <a:lnTo>
                    <a:pt x="432" y="384"/>
                  </a:lnTo>
                  <a:lnTo>
                    <a:pt x="426" y="384"/>
                  </a:lnTo>
                  <a:lnTo>
                    <a:pt x="420" y="384"/>
                  </a:lnTo>
                  <a:lnTo>
                    <a:pt x="414" y="384"/>
                  </a:lnTo>
                  <a:lnTo>
                    <a:pt x="414" y="378"/>
                  </a:lnTo>
                  <a:lnTo>
                    <a:pt x="408" y="378"/>
                  </a:lnTo>
                  <a:lnTo>
                    <a:pt x="402" y="378"/>
                  </a:lnTo>
                  <a:lnTo>
                    <a:pt x="396" y="378"/>
                  </a:lnTo>
                  <a:lnTo>
                    <a:pt x="390" y="378"/>
                  </a:lnTo>
                  <a:lnTo>
                    <a:pt x="384" y="378"/>
                  </a:lnTo>
                  <a:lnTo>
                    <a:pt x="378" y="378"/>
                  </a:lnTo>
                  <a:lnTo>
                    <a:pt x="372" y="378"/>
                  </a:lnTo>
                  <a:lnTo>
                    <a:pt x="372" y="372"/>
                  </a:lnTo>
                  <a:lnTo>
                    <a:pt x="366" y="372"/>
                  </a:lnTo>
                  <a:lnTo>
                    <a:pt x="360" y="372"/>
                  </a:lnTo>
                  <a:lnTo>
                    <a:pt x="354" y="372"/>
                  </a:lnTo>
                  <a:lnTo>
                    <a:pt x="348" y="372"/>
                  </a:lnTo>
                  <a:lnTo>
                    <a:pt x="342" y="372"/>
                  </a:lnTo>
                  <a:lnTo>
                    <a:pt x="336" y="372"/>
                  </a:lnTo>
                  <a:lnTo>
                    <a:pt x="336" y="366"/>
                  </a:lnTo>
                  <a:lnTo>
                    <a:pt x="336" y="360"/>
                  </a:lnTo>
                  <a:lnTo>
                    <a:pt x="330" y="354"/>
                  </a:lnTo>
                  <a:lnTo>
                    <a:pt x="324" y="354"/>
                  </a:lnTo>
                  <a:lnTo>
                    <a:pt x="324" y="348"/>
                  </a:lnTo>
                  <a:lnTo>
                    <a:pt x="318" y="348"/>
                  </a:lnTo>
                  <a:lnTo>
                    <a:pt x="318" y="342"/>
                  </a:lnTo>
                  <a:lnTo>
                    <a:pt x="312" y="342"/>
                  </a:lnTo>
                  <a:lnTo>
                    <a:pt x="306" y="342"/>
                  </a:lnTo>
                  <a:lnTo>
                    <a:pt x="306" y="336"/>
                  </a:lnTo>
                  <a:lnTo>
                    <a:pt x="300" y="336"/>
                  </a:lnTo>
                  <a:lnTo>
                    <a:pt x="294" y="330"/>
                  </a:lnTo>
                  <a:lnTo>
                    <a:pt x="288" y="330"/>
                  </a:lnTo>
                  <a:lnTo>
                    <a:pt x="282" y="330"/>
                  </a:lnTo>
                  <a:lnTo>
                    <a:pt x="276" y="330"/>
                  </a:lnTo>
                  <a:lnTo>
                    <a:pt x="276" y="336"/>
                  </a:lnTo>
                  <a:lnTo>
                    <a:pt x="270" y="336"/>
                  </a:lnTo>
                  <a:lnTo>
                    <a:pt x="264" y="336"/>
                  </a:lnTo>
                  <a:lnTo>
                    <a:pt x="264" y="342"/>
                  </a:lnTo>
                  <a:lnTo>
                    <a:pt x="258" y="342"/>
                  </a:lnTo>
                  <a:lnTo>
                    <a:pt x="258" y="348"/>
                  </a:lnTo>
                  <a:lnTo>
                    <a:pt x="252" y="354"/>
                  </a:lnTo>
                  <a:lnTo>
                    <a:pt x="252" y="360"/>
                  </a:lnTo>
                  <a:lnTo>
                    <a:pt x="246" y="360"/>
                  </a:lnTo>
                  <a:lnTo>
                    <a:pt x="246" y="366"/>
                  </a:lnTo>
                  <a:lnTo>
                    <a:pt x="240" y="372"/>
                  </a:lnTo>
                  <a:lnTo>
                    <a:pt x="234" y="372"/>
                  </a:lnTo>
                  <a:lnTo>
                    <a:pt x="234" y="378"/>
                  </a:lnTo>
                  <a:lnTo>
                    <a:pt x="234" y="372"/>
                  </a:lnTo>
                  <a:lnTo>
                    <a:pt x="228" y="378"/>
                  </a:lnTo>
                  <a:lnTo>
                    <a:pt x="228" y="384"/>
                  </a:lnTo>
                  <a:lnTo>
                    <a:pt x="234" y="384"/>
                  </a:lnTo>
                  <a:lnTo>
                    <a:pt x="234" y="390"/>
                  </a:lnTo>
                  <a:lnTo>
                    <a:pt x="234" y="396"/>
                  </a:lnTo>
                  <a:lnTo>
                    <a:pt x="234" y="402"/>
                  </a:lnTo>
                  <a:lnTo>
                    <a:pt x="234" y="408"/>
                  </a:lnTo>
                  <a:lnTo>
                    <a:pt x="234" y="414"/>
                  </a:lnTo>
                  <a:lnTo>
                    <a:pt x="234" y="420"/>
                  </a:lnTo>
                  <a:lnTo>
                    <a:pt x="234" y="42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5" name="Freeform 24"/>
            <p:cNvSpPr>
              <a:spLocks noEditPoints="1"/>
            </p:cNvSpPr>
            <p:nvPr>
              <p:custDataLst>
                <p:tags r:id="rId23"/>
              </p:custDataLst>
            </p:nvPr>
          </p:nvSpPr>
          <p:spPr bwMode="gray">
            <a:xfrm>
              <a:off x="1429055" y="2933151"/>
              <a:ext cx="606846" cy="472075"/>
            </a:xfrm>
            <a:custGeom>
              <a:avLst/>
              <a:gdLst>
                <a:gd name="T0" fmla="*/ 233201 w 666"/>
                <a:gd name="T1" fmla="*/ 33939 h 540"/>
                <a:gd name="T2" fmla="*/ 233201 w 666"/>
                <a:gd name="T3" fmla="*/ 46544 h 540"/>
                <a:gd name="T4" fmla="*/ 218687 w 666"/>
                <a:gd name="T5" fmla="*/ 57211 h 540"/>
                <a:gd name="T6" fmla="*/ 209978 w 666"/>
                <a:gd name="T7" fmla="*/ 74665 h 540"/>
                <a:gd name="T8" fmla="*/ 199334 w 666"/>
                <a:gd name="T9" fmla="*/ 90180 h 540"/>
                <a:gd name="T10" fmla="*/ 195464 w 666"/>
                <a:gd name="T11" fmla="*/ 106664 h 540"/>
                <a:gd name="T12" fmla="*/ 186755 w 666"/>
                <a:gd name="T13" fmla="*/ 119270 h 540"/>
                <a:gd name="T14" fmla="*/ 179014 w 666"/>
                <a:gd name="T15" fmla="*/ 136724 h 540"/>
                <a:gd name="T16" fmla="*/ 172240 w 666"/>
                <a:gd name="T17" fmla="*/ 145451 h 540"/>
                <a:gd name="T18" fmla="*/ 159661 w 666"/>
                <a:gd name="T19" fmla="*/ 140603 h 540"/>
                <a:gd name="T20" fmla="*/ 154823 w 666"/>
                <a:gd name="T21" fmla="*/ 138664 h 540"/>
                <a:gd name="T22" fmla="*/ 144178 w 666"/>
                <a:gd name="T23" fmla="*/ 138664 h 540"/>
                <a:gd name="T24" fmla="*/ 131599 w 666"/>
                <a:gd name="T25" fmla="*/ 151269 h 540"/>
                <a:gd name="T26" fmla="*/ 123858 w 666"/>
                <a:gd name="T27" fmla="*/ 165814 h 540"/>
                <a:gd name="T28" fmla="*/ 115150 w 666"/>
                <a:gd name="T29" fmla="*/ 181329 h 540"/>
                <a:gd name="T30" fmla="*/ 108375 w 666"/>
                <a:gd name="T31" fmla="*/ 179390 h 540"/>
                <a:gd name="T32" fmla="*/ 110311 w 666"/>
                <a:gd name="T33" fmla="*/ 185208 h 540"/>
                <a:gd name="T34" fmla="*/ 95796 w 666"/>
                <a:gd name="T35" fmla="*/ 188117 h 540"/>
                <a:gd name="T36" fmla="*/ 90958 w 666"/>
                <a:gd name="T37" fmla="*/ 188117 h 540"/>
                <a:gd name="T38" fmla="*/ 87088 w 666"/>
                <a:gd name="T39" fmla="*/ 188117 h 540"/>
                <a:gd name="T40" fmla="*/ 83217 w 666"/>
                <a:gd name="T41" fmla="*/ 185208 h 540"/>
                <a:gd name="T42" fmla="*/ 81282 w 666"/>
                <a:gd name="T43" fmla="*/ 188117 h 540"/>
                <a:gd name="T44" fmla="*/ 78379 w 666"/>
                <a:gd name="T45" fmla="*/ 188117 h 540"/>
                <a:gd name="T46" fmla="*/ 74508 w 666"/>
                <a:gd name="T47" fmla="*/ 191995 h 540"/>
                <a:gd name="T48" fmla="*/ 67735 w 666"/>
                <a:gd name="T49" fmla="*/ 190056 h 540"/>
                <a:gd name="T50" fmla="*/ 61929 w 666"/>
                <a:gd name="T51" fmla="*/ 188117 h 540"/>
                <a:gd name="T52" fmla="*/ 55155 w 666"/>
                <a:gd name="T53" fmla="*/ 181329 h 540"/>
                <a:gd name="T54" fmla="*/ 55155 w 666"/>
                <a:gd name="T55" fmla="*/ 174542 h 540"/>
                <a:gd name="T56" fmla="*/ 57091 w 666"/>
                <a:gd name="T57" fmla="*/ 168723 h 540"/>
                <a:gd name="T58" fmla="*/ 55155 w 666"/>
                <a:gd name="T59" fmla="*/ 170662 h 540"/>
                <a:gd name="T60" fmla="*/ 53220 w 666"/>
                <a:gd name="T61" fmla="*/ 164845 h 540"/>
                <a:gd name="T62" fmla="*/ 49350 w 666"/>
                <a:gd name="T63" fmla="*/ 159996 h 540"/>
                <a:gd name="T64" fmla="*/ 46447 w 666"/>
                <a:gd name="T65" fmla="*/ 161935 h 540"/>
                <a:gd name="T66" fmla="*/ 31932 w 666"/>
                <a:gd name="T67" fmla="*/ 151269 h 540"/>
                <a:gd name="T68" fmla="*/ 19352 w 666"/>
                <a:gd name="T69" fmla="*/ 147391 h 540"/>
                <a:gd name="T70" fmla="*/ 23224 w 666"/>
                <a:gd name="T71" fmla="*/ 147391 h 540"/>
                <a:gd name="T72" fmla="*/ 17418 w 666"/>
                <a:gd name="T73" fmla="*/ 147391 h 540"/>
                <a:gd name="T74" fmla="*/ 14515 w 666"/>
                <a:gd name="T75" fmla="*/ 149329 h 540"/>
                <a:gd name="T76" fmla="*/ 0 w 666"/>
                <a:gd name="T77" fmla="*/ 145451 h 540"/>
                <a:gd name="T78" fmla="*/ 1936 w 666"/>
                <a:gd name="T79" fmla="*/ 127997 h 540"/>
                <a:gd name="T80" fmla="*/ 0 w 666"/>
                <a:gd name="T81" fmla="*/ 108603 h 540"/>
                <a:gd name="T82" fmla="*/ 3870 w 666"/>
                <a:gd name="T83" fmla="*/ 95998 h 540"/>
                <a:gd name="T84" fmla="*/ 14515 w 666"/>
                <a:gd name="T85" fmla="*/ 81452 h 540"/>
                <a:gd name="T86" fmla="*/ 21288 w 666"/>
                <a:gd name="T87" fmla="*/ 67877 h 540"/>
                <a:gd name="T88" fmla="*/ 17418 w 666"/>
                <a:gd name="T89" fmla="*/ 51393 h 540"/>
                <a:gd name="T90" fmla="*/ 19352 w 666"/>
                <a:gd name="T91" fmla="*/ 27151 h 540"/>
                <a:gd name="T92" fmla="*/ 27094 w 666"/>
                <a:gd name="T93" fmla="*/ 10666 h 540"/>
                <a:gd name="T94" fmla="*/ 44512 w 666"/>
                <a:gd name="T95" fmla="*/ 1940 h 540"/>
                <a:gd name="T96" fmla="*/ 67735 w 666"/>
                <a:gd name="T97" fmla="*/ 3878 h 540"/>
                <a:gd name="T98" fmla="*/ 85153 w 666"/>
                <a:gd name="T99" fmla="*/ 17454 h 540"/>
                <a:gd name="T100" fmla="*/ 104505 w 666"/>
                <a:gd name="T101" fmla="*/ 10666 h 540"/>
                <a:gd name="T102" fmla="*/ 120955 w 666"/>
                <a:gd name="T103" fmla="*/ 19393 h 540"/>
                <a:gd name="T104" fmla="*/ 142243 w 666"/>
                <a:gd name="T105" fmla="*/ 17454 h 540"/>
                <a:gd name="T106" fmla="*/ 161596 w 666"/>
                <a:gd name="T107" fmla="*/ 10666 h 540"/>
                <a:gd name="T108" fmla="*/ 184819 w 666"/>
                <a:gd name="T109" fmla="*/ 14545 h 540"/>
                <a:gd name="T110" fmla="*/ 193528 w 666"/>
                <a:gd name="T111" fmla="*/ 17454 h 540"/>
                <a:gd name="T112" fmla="*/ 202237 w 666"/>
                <a:gd name="T113" fmla="*/ 8727 h 540"/>
                <a:gd name="T114" fmla="*/ 216752 w 666"/>
                <a:gd name="T115" fmla="*/ 1940 h 540"/>
                <a:gd name="T116" fmla="*/ 87088 w 666"/>
                <a:gd name="T117" fmla="*/ 188117 h 540"/>
                <a:gd name="T118" fmla="*/ 87088 w 666"/>
                <a:gd name="T119" fmla="*/ 190056 h 540"/>
                <a:gd name="T120" fmla="*/ 14515 w 666"/>
                <a:gd name="T121" fmla="*/ 149329 h 5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6" h="540">
                  <a:moveTo>
                    <a:pt x="636" y="48"/>
                  </a:moveTo>
                  <a:lnTo>
                    <a:pt x="636" y="54"/>
                  </a:lnTo>
                  <a:lnTo>
                    <a:pt x="636" y="60"/>
                  </a:lnTo>
                  <a:lnTo>
                    <a:pt x="636" y="66"/>
                  </a:lnTo>
                  <a:lnTo>
                    <a:pt x="642" y="72"/>
                  </a:lnTo>
                  <a:lnTo>
                    <a:pt x="642" y="78"/>
                  </a:lnTo>
                  <a:lnTo>
                    <a:pt x="642" y="84"/>
                  </a:lnTo>
                  <a:lnTo>
                    <a:pt x="648" y="84"/>
                  </a:lnTo>
                  <a:lnTo>
                    <a:pt x="654" y="84"/>
                  </a:lnTo>
                  <a:lnTo>
                    <a:pt x="654" y="90"/>
                  </a:lnTo>
                  <a:lnTo>
                    <a:pt x="660" y="90"/>
                  </a:lnTo>
                  <a:lnTo>
                    <a:pt x="660" y="96"/>
                  </a:lnTo>
                  <a:lnTo>
                    <a:pt x="666" y="96"/>
                  </a:lnTo>
                  <a:lnTo>
                    <a:pt x="660" y="96"/>
                  </a:lnTo>
                  <a:lnTo>
                    <a:pt x="666" y="96"/>
                  </a:lnTo>
                  <a:lnTo>
                    <a:pt x="666" y="102"/>
                  </a:lnTo>
                  <a:lnTo>
                    <a:pt x="666" y="108"/>
                  </a:lnTo>
                  <a:lnTo>
                    <a:pt x="666" y="114"/>
                  </a:lnTo>
                  <a:lnTo>
                    <a:pt x="666" y="120"/>
                  </a:lnTo>
                  <a:lnTo>
                    <a:pt x="660" y="120"/>
                  </a:lnTo>
                  <a:lnTo>
                    <a:pt x="660" y="126"/>
                  </a:lnTo>
                  <a:lnTo>
                    <a:pt x="666" y="126"/>
                  </a:lnTo>
                  <a:lnTo>
                    <a:pt x="666" y="132"/>
                  </a:lnTo>
                  <a:lnTo>
                    <a:pt x="660" y="132"/>
                  </a:lnTo>
                  <a:lnTo>
                    <a:pt x="660" y="138"/>
                  </a:lnTo>
                  <a:lnTo>
                    <a:pt x="654" y="138"/>
                  </a:lnTo>
                  <a:lnTo>
                    <a:pt x="648" y="144"/>
                  </a:lnTo>
                  <a:lnTo>
                    <a:pt x="642" y="144"/>
                  </a:lnTo>
                  <a:lnTo>
                    <a:pt x="642" y="150"/>
                  </a:lnTo>
                  <a:lnTo>
                    <a:pt x="636" y="150"/>
                  </a:lnTo>
                  <a:lnTo>
                    <a:pt x="630" y="144"/>
                  </a:lnTo>
                  <a:lnTo>
                    <a:pt x="630" y="150"/>
                  </a:lnTo>
                  <a:lnTo>
                    <a:pt x="624" y="150"/>
                  </a:lnTo>
                  <a:lnTo>
                    <a:pt x="624" y="156"/>
                  </a:lnTo>
                  <a:lnTo>
                    <a:pt x="618" y="156"/>
                  </a:lnTo>
                  <a:lnTo>
                    <a:pt x="618" y="162"/>
                  </a:lnTo>
                  <a:lnTo>
                    <a:pt x="612" y="162"/>
                  </a:lnTo>
                  <a:lnTo>
                    <a:pt x="612" y="168"/>
                  </a:lnTo>
                  <a:lnTo>
                    <a:pt x="612" y="174"/>
                  </a:lnTo>
                  <a:lnTo>
                    <a:pt x="606" y="174"/>
                  </a:lnTo>
                  <a:lnTo>
                    <a:pt x="606" y="180"/>
                  </a:lnTo>
                  <a:lnTo>
                    <a:pt x="606" y="186"/>
                  </a:lnTo>
                  <a:lnTo>
                    <a:pt x="606" y="192"/>
                  </a:lnTo>
                  <a:lnTo>
                    <a:pt x="606" y="198"/>
                  </a:lnTo>
                  <a:lnTo>
                    <a:pt x="600" y="198"/>
                  </a:lnTo>
                  <a:lnTo>
                    <a:pt x="600" y="204"/>
                  </a:lnTo>
                  <a:lnTo>
                    <a:pt x="600" y="210"/>
                  </a:lnTo>
                  <a:lnTo>
                    <a:pt x="594" y="210"/>
                  </a:lnTo>
                  <a:lnTo>
                    <a:pt x="594" y="216"/>
                  </a:lnTo>
                  <a:lnTo>
                    <a:pt x="588" y="216"/>
                  </a:lnTo>
                  <a:lnTo>
                    <a:pt x="588" y="222"/>
                  </a:lnTo>
                  <a:lnTo>
                    <a:pt x="588" y="228"/>
                  </a:lnTo>
                  <a:lnTo>
                    <a:pt x="588" y="234"/>
                  </a:lnTo>
                  <a:lnTo>
                    <a:pt x="588" y="240"/>
                  </a:lnTo>
                  <a:lnTo>
                    <a:pt x="588" y="246"/>
                  </a:lnTo>
                  <a:lnTo>
                    <a:pt x="582" y="246"/>
                  </a:lnTo>
                  <a:lnTo>
                    <a:pt x="576" y="246"/>
                  </a:lnTo>
                  <a:lnTo>
                    <a:pt x="576" y="252"/>
                  </a:lnTo>
                  <a:lnTo>
                    <a:pt x="570" y="252"/>
                  </a:lnTo>
                  <a:lnTo>
                    <a:pt x="564" y="252"/>
                  </a:lnTo>
                  <a:lnTo>
                    <a:pt x="564" y="258"/>
                  </a:lnTo>
                  <a:lnTo>
                    <a:pt x="570" y="258"/>
                  </a:lnTo>
                  <a:lnTo>
                    <a:pt x="570" y="264"/>
                  </a:lnTo>
                  <a:lnTo>
                    <a:pt x="570" y="270"/>
                  </a:lnTo>
                  <a:lnTo>
                    <a:pt x="570" y="276"/>
                  </a:lnTo>
                  <a:lnTo>
                    <a:pt x="564" y="276"/>
                  </a:lnTo>
                  <a:lnTo>
                    <a:pt x="564" y="282"/>
                  </a:lnTo>
                  <a:lnTo>
                    <a:pt x="564" y="288"/>
                  </a:lnTo>
                  <a:lnTo>
                    <a:pt x="558" y="288"/>
                  </a:lnTo>
                  <a:lnTo>
                    <a:pt x="558" y="294"/>
                  </a:lnTo>
                  <a:lnTo>
                    <a:pt x="552" y="294"/>
                  </a:lnTo>
                  <a:lnTo>
                    <a:pt x="552" y="300"/>
                  </a:lnTo>
                  <a:lnTo>
                    <a:pt x="546" y="300"/>
                  </a:lnTo>
                  <a:lnTo>
                    <a:pt x="540" y="300"/>
                  </a:lnTo>
                  <a:lnTo>
                    <a:pt x="540" y="306"/>
                  </a:lnTo>
                  <a:lnTo>
                    <a:pt x="534" y="306"/>
                  </a:lnTo>
                  <a:lnTo>
                    <a:pt x="534" y="312"/>
                  </a:lnTo>
                  <a:lnTo>
                    <a:pt x="528" y="312"/>
                  </a:lnTo>
                  <a:lnTo>
                    <a:pt x="534" y="312"/>
                  </a:lnTo>
                  <a:lnTo>
                    <a:pt x="534" y="318"/>
                  </a:lnTo>
                  <a:lnTo>
                    <a:pt x="534" y="324"/>
                  </a:lnTo>
                  <a:lnTo>
                    <a:pt x="528" y="324"/>
                  </a:lnTo>
                  <a:lnTo>
                    <a:pt x="528" y="330"/>
                  </a:lnTo>
                  <a:lnTo>
                    <a:pt x="528" y="336"/>
                  </a:lnTo>
                  <a:lnTo>
                    <a:pt x="528" y="342"/>
                  </a:lnTo>
                  <a:lnTo>
                    <a:pt x="522" y="342"/>
                  </a:lnTo>
                  <a:lnTo>
                    <a:pt x="522" y="348"/>
                  </a:lnTo>
                  <a:lnTo>
                    <a:pt x="522" y="354"/>
                  </a:lnTo>
                  <a:lnTo>
                    <a:pt x="522" y="360"/>
                  </a:lnTo>
                  <a:lnTo>
                    <a:pt x="516" y="360"/>
                  </a:lnTo>
                  <a:lnTo>
                    <a:pt x="516" y="366"/>
                  </a:lnTo>
                  <a:lnTo>
                    <a:pt x="510" y="366"/>
                  </a:lnTo>
                  <a:lnTo>
                    <a:pt x="510" y="372"/>
                  </a:lnTo>
                  <a:lnTo>
                    <a:pt x="510" y="378"/>
                  </a:lnTo>
                  <a:lnTo>
                    <a:pt x="510" y="384"/>
                  </a:lnTo>
                  <a:lnTo>
                    <a:pt x="504" y="384"/>
                  </a:lnTo>
                  <a:lnTo>
                    <a:pt x="504" y="390"/>
                  </a:lnTo>
                  <a:lnTo>
                    <a:pt x="498" y="390"/>
                  </a:lnTo>
                  <a:lnTo>
                    <a:pt x="498" y="396"/>
                  </a:lnTo>
                  <a:lnTo>
                    <a:pt x="492" y="396"/>
                  </a:lnTo>
                  <a:lnTo>
                    <a:pt x="498" y="396"/>
                  </a:lnTo>
                  <a:lnTo>
                    <a:pt x="498" y="402"/>
                  </a:lnTo>
                  <a:lnTo>
                    <a:pt x="492" y="402"/>
                  </a:lnTo>
                  <a:lnTo>
                    <a:pt x="498" y="402"/>
                  </a:lnTo>
                  <a:lnTo>
                    <a:pt x="492" y="402"/>
                  </a:lnTo>
                  <a:lnTo>
                    <a:pt x="492" y="408"/>
                  </a:lnTo>
                  <a:lnTo>
                    <a:pt x="492" y="414"/>
                  </a:lnTo>
                  <a:lnTo>
                    <a:pt x="486" y="408"/>
                  </a:lnTo>
                  <a:lnTo>
                    <a:pt x="486" y="414"/>
                  </a:lnTo>
                  <a:lnTo>
                    <a:pt x="480" y="414"/>
                  </a:lnTo>
                  <a:lnTo>
                    <a:pt x="474" y="414"/>
                  </a:lnTo>
                  <a:lnTo>
                    <a:pt x="468" y="414"/>
                  </a:lnTo>
                  <a:lnTo>
                    <a:pt x="468" y="408"/>
                  </a:lnTo>
                  <a:lnTo>
                    <a:pt x="468" y="402"/>
                  </a:lnTo>
                  <a:lnTo>
                    <a:pt x="462" y="402"/>
                  </a:lnTo>
                  <a:lnTo>
                    <a:pt x="462" y="408"/>
                  </a:lnTo>
                  <a:lnTo>
                    <a:pt x="456" y="408"/>
                  </a:lnTo>
                  <a:lnTo>
                    <a:pt x="456" y="402"/>
                  </a:lnTo>
                  <a:lnTo>
                    <a:pt x="456" y="396"/>
                  </a:lnTo>
                  <a:lnTo>
                    <a:pt x="450" y="396"/>
                  </a:lnTo>
                  <a:lnTo>
                    <a:pt x="456" y="396"/>
                  </a:lnTo>
                  <a:lnTo>
                    <a:pt x="450" y="396"/>
                  </a:lnTo>
                  <a:lnTo>
                    <a:pt x="456" y="390"/>
                  </a:lnTo>
                  <a:lnTo>
                    <a:pt x="450" y="390"/>
                  </a:lnTo>
                  <a:lnTo>
                    <a:pt x="444" y="390"/>
                  </a:lnTo>
                  <a:lnTo>
                    <a:pt x="444" y="384"/>
                  </a:lnTo>
                  <a:lnTo>
                    <a:pt x="438" y="384"/>
                  </a:lnTo>
                  <a:lnTo>
                    <a:pt x="444" y="384"/>
                  </a:lnTo>
                  <a:lnTo>
                    <a:pt x="438" y="384"/>
                  </a:lnTo>
                  <a:lnTo>
                    <a:pt x="438" y="378"/>
                  </a:lnTo>
                  <a:lnTo>
                    <a:pt x="438" y="384"/>
                  </a:lnTo>
                  <a:lnTo>
                    <a:pt x="438" y="390"/>
                  </a:lnTo>
                  <a:lnTo>
                    <a:pt x="438" y="396"/>
                  </a:lnTo>
                  <a:lnTo>
                    <a:pt x="432" y="396"/>
                  </a:lnTo>
                  <a:lnTo>
                    <a:pt x="426" y="396"/>
                  </a:lnTo>
                  <a:lnTo>
                    <a:pt x="420" y="396"/>
                  </a:lnTo>
                  <a:lnTo>
                    <a:pt x="414" y="390"/>
                  </a:lnTo>
                  <a:lnTo>
                    <a:pt x="420" y="390"/>
                  </a:lnTo>
                  <a:lnTo>
                    <a:pt x="414" y="390"/>
                  </a:lnTo>
                  <a:lnTo>
                    <a:pt x="420" y="390"/>
                  </a:lnTo>
                  <a:lnTo>
                    <a:pt x="414" y="390"/>
                  </a:lnTo>
                  <a:lnTo>
                    <a:pt x="414" y="384"/>
                  </a:lnTo>
                  <a:lnTo>
                    <a:pt x="414" y="390"/>
                  </a:lnTo>
                  <a:lnTo>
                    <a:pt x="408" y="390"/>
                  </a:lnTo>
                  <a:lnTo>
                    <a:pt x="408" y="396"/>
                  </a:lnTo>
                  <a:lnTo>
                    <a:pt x="402" y="396"/>
                  </a:lnTo>
                  <a:lnTo>
                    <a:pt x="402" y="402"/>
                  </a:lnTo>
                  <a:lnTo>
                    <a:pt x="396" y="402"/>
                  </a:lnTo>
                  <a:lnTo>
                    <a:pt x="396" y="408"/>
                  </a:lnTo>
                  <a:lnTo>
                    <a:pt x="390" y="408"/>
                  </a:lnTo>
                  <a:lnTo>
                    <a:pt x="390" y="414"/>
                  </a:lnTo>
                  <a:lnTo>
                    <a:pt x="384" y="414"/>
                  </a:lnTo>
                  <a:lnTo>
                    <a:pt x="384" y="420"/>
                  </a:lnTo>
                  <a:lnTo>
                    <a:pt x="378" y="420"/>
                  </a:lnTo>
                  <a:lnTo>
                    <a:pt x="378" y="426"/>
                  </a:lnTo>
                  <a:lnTo>
                    <a:pt x="372" y="426"/>
                  </a:lnTo>
                  <a:lnTo>
                    <a:pt x="372" y="432"/>
                  </a:lnTo>
                  <a:lnTo>
                    <a:pt x="366" y="432"/>
                  </a:lnTo>
                  <a:lnTo>
                    <a:pt x="366" y="438"/>
                  </a:lnTo>
                  <a:lnTo>
                    <a:pt x="360" y="438"/>
                  </a:lnTo>
                  <a:lnTo>
                    <a:pt x="360" y="444"/>
                  </a:lnTo>
                  <a:lnTo>
                    <a:pt x="354" y="444"/>
                  </a:lnTo>
                  <a:lnTo>
                    <a:pt x="354" y="450"/>
                  </a:lnTo>
                  <a:lnTo>
                    <a:pt x="348" y="450"/>
                  </a:lnTo>
                  <a:lnTo>
                    <a:pt x="342" y="456"/>
                  </a:lnTo>
                  <a:lnTo>
                    <a:pt x="342" y="462"/>
                  </a:lnTo>
                  <a:lnTo>
                    <a:pt x="342" y="468"/>
                  </a:lnTo>
                  <a:lnTo>
                    <a:pt x="348" y="468"/>
                  </a:lnTo>
                  <a:lnTo>
                    <a:pt x="342" y="474"/>
                  </a:lnTo>
                  <a:lnTo>
                    <a:pt x="342" y="480"/>
                  </a:lnTo>
                  <a:lnTo>
                    <a:pt x="342" y="486"/>
                  </a:lnTo>
                  <a:lnTo>
                    <a:pt x="342" y="492"/>
                  </a:lnTo>
                  <a:lnTo>
                    <a:pt x="336" y="492"/>
                  </a:lnTo>
                  <a:lnTo>
                    <a:pt x="336" y="498"/>
                  </a:lnTo>
                  <a:lnTo>
                    <a:pt x="336" y="504"/>
                  </a:lnTo>
                  <a:lnTo>
                    <a:pt x="330" y="504"/>
                  </a:lnTo>
                  <a:lnTo>
                    <a:pt x="336" y="504"/>
                  </a:lnTo>
                  <a:lnTo>
                    <a:pt x="330" y="504"/>
                  </a:lnTo>
                  <a:lnTo>
                    <a:pt x="330" y="510"/>
                  </a:lnTo>
                  <a:lnTo>
                    <a:pt x="324" y="510"/>
                  </a:lnTo>
                  <a:lnTo>
                    <a:pt x="324" y="516"/>
                  </a:lnTo>
                  <a:lnTo>
                    <a:pt x="318" y="516"/>
                  </a:lnTo>
                  <a:lnTo>
                    <a:pt x="318" y="510"/>
                  </a:lnTo>
                  <a:lnTo>
                    <a:pt x="318" y="504"/>
                  </a:lnTo>
                  <a:lnTo>
                    <a:pt x="312" y="504"/>
                  </a:lnTo>
                  <a:lnTo>
                    <a:pt x="318" y="504"/>
                  </a:lnTo>
                  <a:lnTo>
                    <a:pt x="318" y="510"/>
                  </a:lnTo>
                  <a:lnTo>
                    <a:pt x="318" y="516"/>
                  </a:lnTo>
                  <a:lnTo>
                    <a:pt x="318" y="510"/>
                  </a:lnTo>
                  <a:lnTo>
                    <a:pt x="312" y="510"/>
                  </a:lnTo>
                  <a:lnTo>
                    <a:pt x="312" y="504"/>
                  </a:lnTo>
                  <a:lnTo>
                    <a:pt x="306" y="504"/>
                  </a:lnTo>
                  <a:lnTo>
                    <a:pt x="312" y="504"/>
                  </a:lnTo>
                  <a:lnTo>
                    <a:pt x="312" y="510"/>
                  </a:lnTo>
                  <a:lnTo>
                    <a:pt x="306" y="510"/>
                  </a:lnTo>
                  <a:lnTo>
                    <a:pt x="306" y="504"/>
                  </a:lnTo>
                  <a:lnTo>
                    <a:pt x="306" y="510"/>
                  </a:lnTo>
                  <a:lnTo>
                    <a:pt x="312" y="510"/>
                  </a:lnTo>
                  <a:lnTo>
                    <a:pt x="306" y="510"/>
                  </a:lnTo>
                  <a:lnTo>
                    <a:pt x="312" y="510"/>
                  </a:lnTo>
                  <a:lnTo>
                    <a:pt x="312" y="516"/>
                  </a:lnTo>
                  <a:lnTo>
                    <a:pt x="312" y="522"/>
                  </a:lnTo>
                  <a:lnTo>
                    <a:pt x="312" y="516"/>
                  </a:lnTo>
                  <a:lnTo>
                    <a:pt x="312" y="522"/>
                  </a:lnTo>
                  <a:lnTo>
                    <a:pt x="312" y="528"/>
                  </a:lnTo>
                  <a:lnTo>
                    <a:pt x="306" y="528"/>
                  </a:lnTo>
                  <a:lnTo>
                    <a:pt x="300" y="528"/>
                  </a:lnTo>
                  <a:lnTo>
                    <a:pt x="294" y="528"/>
                  </a:lnTo>
                  <a:lnTo>
                    <a:pt x="294" y="522"/>
                  </a:lnTo>
                  <a:lnTo>
                    <a:pt x="294" y="528"/>
                  </a:lnTo>
                  <a:lnTo>
                    <a:pt x="288" y="528"/>
                  </a:lnTo>
                  <a:lnTo>
                    <a:pt x="282" y="528"/>
                  </a:lnTo>
                  <a:lnTo>
                    <a:pt x="276" y="528"/>
                  </a:lnTo>
                  <a:lnTo>
                    <a:pt x="270" y="528"/>
                  </a:lnTo>
                  <a:lnTo>
                    <a:pt x="270" y="522"/>
                  </a:lnTo>
                  <a:lnTo>
                    <a:pt x="270" y="528"/>
                  </a:lnTo>
                  <a:lnTo>
                    <a:pt x="276" y="528"/>
                  </a:lnTo>
                  <a:lnTo>
                    <a:pt x="270" y="528"/>
                  </a:lnTo>
                  <a:lnTo>
                    <a:pt x="270" y="534"/>
                  </a:lnTo>
                  <a:lnTo>
                    <a:pt x="270" y="528"/>
                  </a:lnTo>
                  <a:lnTo>
                    <a:pt x="270" y="534"/>
                  </a:lnTo>
                  <a:lnTo>
                    <a:pt x="264" y="534"/>
                  </a:lnTo>
                  <a:lnTo>
                    <a:pt x="258" y="534"/>
                  </a:lnTo>
                  <a:lnTo>
                    <a:pt x="258" y="528"/>
                  </a:lnTo>
                  <a:lnTo>
                    <a:pt x="264" y="528"/>
                  </a:lnTo>
                  <a:lnTo>
                    <a:pt x="264" y="522"/>
                  </a:lnTo>
                  <a:lnTo>
                    <a:pt x="264" y="528"/>
                  </a:lnTo>
                  <a:lnTo>
                    <a:pt x="258" y="528"/>
                  </a:lnTo>
                  <a:lnTo>
                    <a:pt x="264" y="528"/>
                  </a:lnTo>
                  <a:lnTo>
                    <a:pt x="258" y="528"/>
                  </a:lnTo>
                  <a:lnTo>
                    <a:pt x="252" y="528"/>
                  </a:lnTo>
                  <a:lnTo>
                    <a:pt x="252" y="522"/>
                  </a:lnTo>
                  <a:lnTo>
                    <a:pt x="246" y="522"/>
                  </a:lnTo>
                  <a:lnTo>
                    <a:pt x="246" y="516"/>
                  </a:lnTo>
                  <a:lnTo>
                    <a:pt x="246" y="522"/>
                  </a:lnTo>
                  <a:lnTo>
                    <a:pt x="252" y="522"/>
                  </a:lnTo>
                  <a:lnTo>
                    <a:pt x="252" y="528"/>
                  </a:lnTo>
                  <a:lnTo>
                    <a:pt x="246" y="528"/>
                  </a:lnTo>
                  <a:lnTo>
                    <a:pt x="246" y="522"/>
                  </a:lnTo>
                  <a:lnTo>
                    <a:pt x="246" y="528"/>
                  </a:lnTo>
                  <a:lnTo>
                    <a:pt x="252" y="528"/>
                  </a:lnTo>
                  <a:lnTo>
                    <a:pt x="246" y="528"/>
                  </a:lnTo>
                  <a:lnTo>
                    <a:pt x="246" y="534"/>
                  </a:lnTo>
                  <a:lnTo>
                    <a:pt x="246" y="528"/>
                  </a:lnTo>
                  <a:lnTo>
                    <a:pt x="246" y="522"/>
                  </a:lnTo>
                  <a:lnTo>
                    <a:pt x="246" y="528"/>
                  </a:lnTo>
                  <a:lnTo>
                    <a:pt x="240" y="522"/>
                  </a:lnTo>
                  <a:lnTo>
                    <a:pt x="240" y="516"/>
                  </a:lnTo>
                  <a:lnTo>
                    <a:pt x="240" y="522"/>
                  </a:lnTo>
                  <a:lnTo>
                    <a:pt x="234" y="522"/>
                  </a:lnTo>
                  <a:lnTo>
                    <a:pt x="234" y="516"/>
                  </a:lnTo>
                  <a:lnTo>
                    <a:pt x="234" y="522"/>
                  </a:lnTo>
                  <a:lnTo>
                    <a:pt x="234" y="528"/>
                  </a:lnTo>
                  <a:lnTo>
                    <a:pt x="240" y="528"/>
                  </a:lnTo>
                  <a:lnTo>
                    <a:pt x="240" y="534"/>
                  </a:lnTo>
                  <a:lnTo>
                    <a:pt x="234" y="534"/>
                  </a:lnTo>
                  <a:lnTo>
                    <a:pt x="234" y="528"/>
                  </a:lnTo>
                  <a:lnTo>
                    <a:pt x="228" y="528"/>
                  </a:lnTo>
                  <a:lnTo>
                    <a:pt x="234" y="528"/>
                  </a:lnTo>
                  <a:lnTo>
                    <a:pt x="228" y="528"/>
                  </a:lnTo>
                  <a:lnTo>
                    <a:pt x="228" y="522"/>
                  </a:lnTo>
                  <a:lnTo>
                    <a:pt x="234" y="522"/>
                  </a:lnTo>
                  <a:lnTo>
                    <a:pt x="228" y="522"/>
                  </a:lnTo>
                  <a:lnTo>
                    <a:pt x="228" y="528"/>
                  </a:lnTo>
                  <a:lnTo>
                    <a:pt x="228" y="534"/>
                  </a:lnTo>
                  <a:lnTo>
                    <a:pt x="234" y="534"/>
                  </a:lnTo>
                  <a:lnTo>
                    <a:pt x="228" y="534"/>
                  </a:lnTo>
                  <a:lnTo>
                    <a:pt x="228" y="540"/>
                  </a:lnTo>
                  <a:lnTo>
                    <a:pt x="222" y="540"/>
                  </a:lnTo>
                  <a:lnTo>
                    <a:pt x="222" y="534"/>
                  </a:lnTo>
                  <a:lnTo>
                    <a:pt x="222" y="528"/>
                  </a:lnTo>
                  <a:lnTo>
                    <a:pt x="228" y="522"/>
                  </a:lnTo>
                  <a:lnTo>
                    <a:pt x="222" y="522"/>
                  </a:lnTo>
                  <a:lnTo>
                    <a:pt x="222" y="528"/>
                  </a:lnTo>
                  <a:lnTo>
                    <a:pt x="222" y="534"/>
                  </a:lnTo>
                  <a:lnTo>
                    <a:pt x="222" y="528"/>
                  </a:lnTo>
                  <a:lnTo>
                    <a:pt x="216" y="528"/>
                  </a:lnTo>
                  <a:lnTo>
                    <a:pt x="222" y="528"/>
                  </a:lnTo>
                  <a:lnTo>
                    <a:pt x="222" y="534"/>
                  </a:lnTo>
                  <a:lnTo>
                    <a:pt x="222" y="540"/>
                  </a:lnTo>
                  <a:lnTo>
                    <a:pt x="216" y="540"/>
                  </a:lnTo>
                  <a:lnTo>
                    <a:pt x="222" y="540"/>
                  </a:lnTo>
                  <a:lnTo>
                    <a:pt x="216" y="540"/>
                  </a:lnTo>
                  <a:lnTo>
                    <a:pt x="216" y="534"/>
                  </a:lnTo>
                  <a:lnTo>
                    <a:pt x="216" y="528"/>
                  </a:lnTo>
                  <a:lnTo>
                    <a:pt x="216" y="534"/>
                  </a:lnTo>
                  <a:lnTo>
                    <a:pt x="216" y="540"/>
                  </a:lnTo>
                  <a:lnTo>
                    <a:pt x="210" y="540"/>
                  </a:lnTo>
                  <a:lnTo>
                    <a:pt x="204" y="540"/>
                  </a:lnTo>
                  <a:lnTo>
                    <a:pt x="204" y="534"/>
                  </a:lnTo>
                  <a:lnTo>
                    <a:pt x="204" y="528"/>
                  </a:lnTo>
                  <a:lnTo>
                    <a:pt x="204" y="534"/>
                  </a:lnTo>
                  <a:lnTo>
                    <a:pt x="198" y="534"/>
                  </a:lnTo>
                  <a:lnTo>
                    <a:pt x="198" y="528"/>
                  </a:lnTo>
                  <a:lnTo>
                    <a:pt x="198" y="534"/>
                  </a:lnTo>
                  <a:lnTo>
                    <a:pt x="198" y="540"/>
                  </a:lnTo>
                  <a:lnTo>
                    <a:pt x="192" y="540"/>
                  </a:lnTo>
                  <a:lnTo>
                    <a:pt x="186" y="540"/>
                  </a:lnTo>
                  <a:lnTo>
                    <a:pt x="192" y="540"/>
                  </a:lnTo>
                  <a:lnTo>
                    <a:pt x="192" y="534"/>
                  </a:lnTo>
                  <a:lnTo>
                    <a:pt x="186" y="534"/>
                  </a:lnTo>
                  <a:lnTo>
                    <a:pt x="192" y="534"/>
                  </a:lnTo>
                  <a:lnTo>
                    <a:pt x="186" y="534"/>
                  </a:lnTo>
                  <a:lnTo>
                    <a:pt x="186" y="540"/>
                  </a:lnTo>
                  <a:lnTo>
                    <a:pt x="186" y="534"/>
                  </a:lnTo>
                  <a:lnTo>
                    <a:pt x="180" y="534"/>
                  </a:lnTo>
                  <a:lnTo>
                    <a:pt x="180" y="540"/>
                  </a:lnTo>
                  <a:lnTo>
                    <a:pt x="180" y="534"/>
                  </a:lnTo>
                  <a:lnTo>
                    <a:pt x="174" y="534"/>
                  </a:lnTo>
                  <a:lnTo>
                    <a:pt x="174" y="528"/>
                  </a:lnTo>
                  <a:lnTo>
                    <a:pt x="174" y="534"/>
                  </a:lnTo>
                  <a:lnTo>
                    <a:pt x="174" y="528"/>
                  </a:lnTo>
                  <a:lnTo>
                    <a:pt x="174" y="534"/>
                  </a:lnTo>
                  <a:lnTo>
                    <a:pt x="174" y="528"/>
                  </a:lnTo>
                  <a:lnTo>
                    <a:pt x="168" y="528"/>
                  </a:lnTo>
                  <a:lnTo>
                    <a:pt x="174" y="528"/>
                  </a:lnTo>
                  <a:lnTo>
                    <a:pt x="174" y="534"/>
                  </a:lnTo>
                  <a:lnTo>
                    <a:pt x="174" y="528"/>
                  </a:lnTo>
                  <a:lnTo>
                    <a:pt x="168" y="528"/>
                  </a:lnTo>
                  <a:lnTo>
                    <a:pt x="168" y="522"/>
                  </a:lnTo>
                  <a:lnTo>
                    <a:pt x="162" y="522"/>
                  </a:lnTo>
                  <a:lnTo>
                    <a:pt x="162" y="516"/>
                  </a:lnTo>
                  <a:lnTo>
                    <a:pt x="156" y="516"/>
                  </a:lnTo>
                  <a:lnTo>
                    <a:pt x="156" y="510"/>
                  </a:lnTo>
                  <a:lnTo>
                    <a:pt x="156" y="504"/>
                  </a:lnTo>
                  <a:lnTo>
                    <a:pt x="150" y="498"/>
                  </a:lnTo>
                  <a:lnTo>
                    <a:pt x="150" y="492"/>
                  </a:lnTo>
                  <a:lnTo>
                    <a:pt x="156" y="492"/>
                  </a:lnTo>
                  <a:lnTo>
                    <a:pt x="150" y="492"/>
                  </a:lnTo>
                  <a:lnTo>
                    <a:pt x="156" y="492"/>
                  </a:lnTo>
                  <a:lnTo>
                    <a:pt x="156" y="498"/>
                  </a:lnTo>
                  <a:lnTo>
                    <a:pt x="156" y="492"/>
                  </a:lnTo>
                  <a:lnTo>
                    <a:pt x="156" y="498"/>
                  </a:lnTo>
                  <a:lnTo>
                    <a:pt x="156" y="492"/>
                  </a:lnTo>
                  <a:lnTo>
                    <a:pt x="156" y="486"/>
                  </a:lnTo>
                  <a:lnTo>
                    <a:pt x="156" y="492"/>
                  </a:lnTo>
                  <a:lnTo>
                    <a:pt x="150" y="492"/>
                  </a:lnTo>
                  <a:lnTo>
                    <a:pt x="150" y="486"/>
                  </a:lnTo>
                  <a:lnTo>
                    <a:pt x="144" y="486"/>
                  </a:lnTo>
                  <a:lnTo>
                    <a:pt x="144" y="480"/>
                  </a:lnTo>
                  <a:lnTo>
                    <a:pt x="150" y="480"/>
                  </a:lnTo>
                  <a:lnTo>
                    <a:pt x="156" y="480"/>
                  </a:lnTo>
                  <a:lnTo>
                    <a:pt x="162" y="480"/>
                  </a:lnTo>
                  <a:lnTo>
                    <a:pt x="156" y="480"/>
                  </a:lnTo>
                  <a:lnTo>
                    <a:pt x="156" y="474"/>
                  </a:lnTo>
                  <a:lnTo>
                    <a:pt x="162" y="474"/>
                  </a:lnTo>
                  <a:lnTo>
                    <a:pt x="162" y="468"/>
                  </a:lnTo>
                  <a:lnTo>
                    <a:pt x="162" y="474"/>
                  </a:lnTo>
                  <a:lnTo>
                    <a:pt x="168" y="474"/>
                  </a:lnTo>
                  <a:lnTo>
                    <a:pt x="168" y="468"/>
                  </a:lnTo>
                  <a:lnTo>
                    <a:pt x="162" y="468"/>
                  </a:lnTo>
                  <a:lnTo>
                    <a:pt x="162" y="474"/>
                  </a:lnTo>
                  <a:lnTo>
                    <a:pt x="156" y="474"/>
                  </a:lnTo>
                  <a:lnTo>
                    <a:pt x="156" y="480"/>
                  </a:lnTo>
                  <a:lnTo>
                    <a:pt x="150" y="480"/>
                  </a:lnTo>
                  <a:lnTo>
                    <a:pt x="150" y="474"/>
                  </a:lnTo>
                  <a:lnTo>
                    <a:pt x="156" y="474"/>
                  </a:lnTo>
                  <a:lnTo>
                    <a:pt x="150" y="474"/>
                  </a:lnTo>
                  <a:lnTo>
                    <a:pt x="150" y="480"/>
                  </a:lnTo>
                  <a:lnTo>
                    <a:pt x="156" y="480"/>
                  </a:lnTo>
                  <a:lnTo>
                    <a:pt x="150" y="480"/>
                  </a:lnTo>
                  <a:lnTo>
                    <a:pt x="144" y="480"/>
                  </a:lnTo>
                  <a:lnTo>
                    <a:pt x="144" y="474"/>
                  </a:lnTo>
                  <a:lnTo>
                    <a:pt x="138" y="474"/>
                  </a:lnTo>
                  <a:lnTo>
                    <a:pt x="138" y="468"/>
                  </a:lnTo>
                  <a:lnTo>
                    <a:pt x="144" y="468"/>
                  </a:lnTo>
                  <a:lnTo>
                    <a:pt x="150" y="468"/>
                  </a:lnTo>
                  <a:lnTo>
                    <a:pt x="156" y="468"/>
                  </a:lnTo>
                  <a:lnTo>
                    <a:pt x="162" y="468"/>
                  </a:lnTo>
                  <a:lnTo>
                    <a:pt x="156" y="468"/>
                  </a:lnTo>
                  <a:lnTo>
                    <a:pt x="156" y="462"/>
                  </a:lnTo>
                  <a:lnTo>
                    <a:pt x="150" y="462"/>
                  </a:lnTo>
                  <a:lnTo>
                    <a:pt x="150" y="468"/>
                  </a:lnTo>
                  <a:lnTo>
                    <a:pt x="144" y="468"/>
                  </a:lnTo>
                  <a:lnTo>
                    <a:pt x="144" y="462"/>
                  </a:lnTo>
                  <a:lnTo>
                    <a:pt x="150" y="462"/>
                  </a:lnTo>
                  <a:lnTo>
                    <a:pt x="144" y="462"/>
                  </a:lnTo>
                  <a:lnTo>
                    <a:pt x="144" y="468"/>
                  </a:lnTo>
                  <a:lnTo>
                    <a:pt x="138" y="468"/>
                  </a:lnTo>
                  <a:lnTo>
                    <a:pt x="138" y="462"/>
                  </a:lnTo>
                  <a:lnTo>
                    <a:pt x="132" y="462"/>
                  </a:lnTo>
                  <a:lnTo>
                    <a:pt x="132" y="456"/>
                  </a:lnTo>
                  <a:lnTo>
                    <a:pt x="138" y="456"/>
                  </a:lnTo>
                  <a:lnTo>
                    <a:pt x="138" y="450"/>
                  </a:lnTo>
                  <a:lnTo>
                    <a:pt x="138" y="456"/>
                  </a:lnTo>
                  <a:lnTo>
                    <a:pt x="138" y="450"/>
                  </a:lnTo>
                  <a:lnTo>
                    <a:pt x="144" y="450"/>
                  </a:lnTo>
                  <a:lnTo>
                    <a:pt x="150" y="450"/>
                  </a:lnTo>
                  <a:lnTo>
                    <a:pt x="150" y="444"/>
                  </a:lnTo>
                  <a:lnTo>
                    <a:pt x="150" y="450"/>
                  </a:lnTo>
                  <a:lnTo>
                    <a:pt x="144" y="450"/>
                  </a:lnTo>
                  <a:lnTo>
                    <a:pt x="138" y="450"/>
                  </a:lnTo>
                  <a:lnTo>
                    <a:pt x="144" y="450"/>
                  </a:lnTo>
                  <a:lnTo>
                    <a:pt x="138" y="450"/>
                  </a:lnTo>
                  <a:lnTo>
                    <a:pt x="138" y="456"/>
                  </a:lnTo>
                  <a:lnTo>
                    <a:pt x="132" y="456"/>
                  </a:lnTo>
                  <a:lnTo>
                    <a:pt x="126" y="456"/>
                  </a:lnTo>
                  <a:lnTo>
                    <a:pt x="126" y="450"/>
                  </a:lnTo>
                  <a:lnTo>
                    <a:pt x="126" y="444"/>
                  </a:lnTo>
                  <a:lnTo>
                    <a:pt x="120" y="444"/>
                  </a:lnTo>
                  <a:lnTo>
                    <a:pt x="120" y="438"/>
                  </a:lnTo>
                  <a:lnTo>
                    <a:pt x="114" y="438"/>
                  </a:lnTo>
                  <a:lnTo>
                    <a:pt x="114" y="432"/>
                  </a:lnTo>
                  <a:lnTo>
                    <a:pt x="108" y="432"/>
                  </a:lnTo>
                  <a:lnTo>
                    <a:pt x="102" y="432"/>
                  </a:lnTo>
                  <a:lnTo>
                    <a:pt x="102" y="426"/>
                  </a:lnTo>
                  <a:lnTo>
                    <a:pt x="96" y="426"/>
                  </a:lnTo>
                  <a:lnTo>
                    <a:pt x="90" y="426"/>
                  </a:lnTo>
                  <a:lnTo>
                    <a:pt x="84" y="426"/>
                  </a:lnTo>
                  <a:lnTo>
                    <a:pt x="84" y="420"/>
                  </a:lnTo>
                  <a:lnTo>
                    <a:pt x="78" y="420"/>
                  </a:lnTo>
                  <a:lnTo>
                    <a:pt x="72" y="420"/>
                  </a:lnTo>
                  <a:lnTo>
                    <a:pt x="66" y="420"/>
                  </a:lnTo>
                  <a:lnTo>
                    <a:pt x="60" y="420"/>
                  </a:lnTo>
                  <a:lnTo>
                    <a:pt x="54" y="420"/>
                  </a:lnTo>
                  <a:lnTo>
                    <a:pt x="48" y="420"/>
                  </a:lnTo>
                  <a:lnTo>
                    <a:pt x="42" y="420"/>
                  </a:lnTo>
                  <a:lnTo>
                    <a:pt x="48" y="420"/>
                  </a:lnTo>
                  <a:lnTo>
                    <a:pt x="48" y="414"/>
                  </a:lnTo>
                  <a:lnTo>
                    <a:pt x="54" y="414"/>
                  </a:lnTo>
                  <a:lnTo>
                    <a:pt x="60" y="414"/>
                  </a:lnTo>
                  <a:lnTo>
                    <a:pt x="66" y="414"/>
                  </a:lnTo>
                  <a:lnTo>
                    <a:pt x="66" y="408"/>
                  </a:lnTo>
                  <a:lnTo>
                    <a:pt x="66" y="414"/>
                  </a:lnTo>
                  <a:lnTo>
                    <a:pt x="72" y="414"/>
                  </a:lnTo>
                  <a:lnTo>
                    <a:pt x="78" y="414"/>
                  </a:lnTo>
                  <a:lnTo>
                    <a:pt x="78" y="420"/>
                  </a:lnTo>
                  <a:lnTo>
                    <a:pt x="78" y="414"/>
                  </a:lnTo>
                  <a:lnTo>
                    <a:pt x="72" y="414"/>
                  </a:lnTo>
                  <a:lnTo>
                    <a:pt x="72" y="420"/>
                  </a:lnTo>
                  <a:lnTo>
                    <a:pt x="72" y="414"/>
                  </a:lnTo>
                  <a:lnTo>
                    <a:pt x="66" y="414"/>
                  </a:lnTo>
                  <a:lnTo>
                    <a:pt x="72" y="414"/>
                  </a:lnTo>
                  <a:lnTo>
                    <a:pt x="72" y="420"/>
                  </a:lnTo>
                  <a:lnTo>
                    <a:pt x="78" y="420"/>
                  </a:lnTo>
                  <a:lnTo>
                    <a:pt x="84" y="420"/>
                  </a:lnTo>
                  <a:lnTo>
                    <a:pt x="84" y="414"/>
                  </a:lnTo>
                  <a:lnTo>
                    <a:pt x="78" y="414"/>
                  </a:lnTo>
                  <a:lnTo>
                    <a:pt x="72" y="414"/>
                  </a:lnTo>
                  <a:lnTo>
                    <a:pt x="66" y="408"/>
                  </a:lnTo>
                  <a:lnTo>
                    <a:pt x="60" y="408"/>
                  </a:lnTo>
                  <a:lnTo>
                    <a:pt x="54" y="408"/>
                  </a:lnTo>
                  <a:lnTo>
                    <a:pt x="54" y="414"/>
                  </a:lnTo>
                  <a:lnTo>
                    <a:pt x="48" y="414"/>
                  </a:lnTo>
                  <a:lnTo>
                    <a:pt x="42" y="414"/>
                  </a:lnTo>
                  <a:lnTo>
                    <a:pt x="42" y="408"/>
                  </a:lnTo>
                  <a:lnTo>
                    <a:pt x="42" y="414"/>
                  </a:lnTo>
                  <a:lnTo>
                    <a:pt x="42" y="420"/>
                  </a:lnTo>
                  <a:lnTo>
                    <a:pt x="42" y="414"/>
                  </a:lnTo>
                  <a:lnTo>
                    <a:pt x="42" y="420"/>
                  </a:lnTo>
                  <a:lnTo>
                    <a:pt x="36" y="420"/>
                  </a:lnTo>
                  <a:lnTo>
                    <a:pt x="42" y="420"/>
                  </a:lnTo>
                  <a:lnTo>
                    <a:pt x="36" y="420"/>
                  </a:lnTo>
                  <a:lnTo>
                    <a:pt x="42" y="420"/>
                  </a:lnTo>
                  <a:lnTo>
                    <a:pt x="36" y="420"/>
                  </a:lnTo>
                  <a:lnTo>
                    <a:pt x="42" y="420"/>
                  </a:lnTo>
                  <a:lnTo>
                    <a:pt x="36" y="420"/>
                  </a:lnTo>
                  <a:lnTo>
                    <a:pt x="30" y="420"/>
                  </a:lnTo>
                  <a:lnTo>
                    <a:pt x="24" y="420"/>
                  </a:lnTo>
                  <a:lnTo>
                    <a:pt x="18" y="420"/>
                  </a:lnTo>
                  <a:lnTo>
                    <a:pt x="12" y="420"/>
                  </a:lnTo>
                  <a:lnTo>
                    <a:pt x="6" y="420"/>
                  </a:lnTo>
                  <a:lnTo>
                    <a:pt x="6" y="426"/>
                  </a:lnTo>
                  <a:lnTo>
                    <a:pt x="0" y="426"/>
                  </a:lnTo>
                  <a:lnTo>
                    <a:pt x="0" y="420"/>
                  </a:lnTo>
                  <a:lnTo>
                    <a:pt x="0" y="414"/>
                  </a:lnTo>
                  <a:lnTo>
                    <a:pt x="6" y="414"/>
                  </a:lnTo>
                  <a:lnTo>
                    <a:pt x="0" y="408"/>
                  </a:lnTo>
                  <a:lnTo>
                    <a:pt x="6" y="408"/>
                  </a:lnTo>
                  <a:lnTo>
                    <a:pt x="6" y="402"/>
                  </a:lnTo>
                  <a:lnTo>
                    <a:pt x="0" y="402"/>
                  </a:lnTo>
                  <a:lnTo>
                    <a:pt x="6" y="396"/>
                  </a:lnTo>
                  <a:lnTo>
                    <a:pt x="6" y="390"/>
                  </a:lnTo>
                  <a:lnTo>
                    <a:pt x="0" y="390"/>
                  </a:lnTo>
                  <a:lnTo>
                    <a:pt x="6" y="390"/>
                  </a:lnTo>
                  <a:lnTo>
                    <a:pt x="6" y="384"/>
                  </a:lnTo>
                  <a:lnTo>
                    <a:pt x="6" y="378"/>
                  </a:lnTo>
                  <a:lnTo>
                    <a:pt x="6" y="372"/>
                  </a:lnTo>
                  <a:lnTo>
                    <a:pt x="6" y="366"/>
                  </a:lnTo>
                  <a:lnTo>
                    <a:pt x="6" y="360"/>
                  </a:lnTo>
                  <a:lnTo>
                    <a:pt x="0" y="360"/>
                  </a:lnTo>
                  <a:lnTo>
                    <a:pt x="0" y="354"/>
                  </a:lnTo>
                  <a:lnTo>
                    <a:pt x="0" y="348"/>
                  </a:lnTo>
                  <a:lnTo>
                    <a:pt x="0" y="342"/>
                  </a:lnTo>
                  <a:lnTo>
                    <a:pt x="0" y="336"/>
                  </a:lnTo>
                  <a:lnTo>
                    <a:pt x="0" y="330"/>
                  </a:lnTo>
                  <a:lnTo>
                    <a:pt x="0" y="324"/>
                  </a:lnTo>
                  <a:lnTo>
                    <a:pt x="6" y="324"/>
                  </a:lnTo>
                  <a:lnTo>
                    <a:pt x="6" y="318"/>
                  </a:lnTo>
                  <a:lnTo>
                    <a:pt x="0" y="318"/>
                  </a:lnTo>
                  <a:lnTo>
                    <a:pt x="0" y="312"/>
                  </a:lnTo>
                  <a:lnTo>
                    <a:pt x="0" y="306"/>
                  </a:lnTo>
                  <a:lnTo>
                    <a:pt x="6" y="306"/>
                  </a:lnTo>
                  <a:lnTo>
                    <a:pt x="6" y="300"/>
                  </a:lnTo>
                  <a:lnTo>
                    <a:pt x="6" y="294"/>
                  </a:lnTo>
                  <a:lnTo>
                    <a:pt x="0" y="294"/>
                  </a:lnTo>
                  <a:lnTo>
                    <a:pt x="6" y="294"/>
                  </a:lnTo>
                  <a:lnTo>
                    <a:pt x="6" y="288"/>
                  </a:lnTo>
                  <a:lnTo>
                    <a:pt x="0" y="288"/>
                  </a:lnTo>
                  <a:lnTo>
                    <a:pt x="6" y="288"/>
                  </a:lnTo>
                  <a:lnTo>
                    <a:pt x="6" y="282"/>
                  </a:lnTo>
                  <a:lnTo>
                    <a:pt x="6" y="276"/>
                  </a:lnTo>
                  <a:lnTo>
                    <a:pt x="6" y="270"/>
                  </a:lnTo>
                  <a:lnTo>
                    <a:pt x="12" y="270"/>
                  </a:lnTo>
                  <a:lnTo>
                    <a:pt x="18" y="270"/>
                  </a:lnTo>
                  <a:lnTo>
                    <a:pt x="24" y="270"/>
                  </a:lnTo>
                  <a:lnTo>
                    <a:pt x="24" y="264"/>
                  </a:lnTo>
                  <a:lnTo>
                    <a:pt x="24" y="258"/>
                  </a:lnTo>
                  <a:lnTo>
                    <a:pt x="24" y="252"/>
                  </a:lnTo>
                  <a:lnTo>
                    <a:pt x="24" y="246"/>
                  </a:lnTo>
                  <a:lnTo>
                    <a:pt x="30" y="246"/>
                  </a:lnTo>
                  <a:lnTo>
                    <a:pt x="30" y="240"/>
                  </a:lnTo>
                  <a:lnTo>
                    <a:pt x="36" y="240"/>
                  </a:lnTo>
                  <a:lnTo>
                    <a:pt x="36" y="234"/>
                  </a:lnTo>
                  <a:lnTo>
                    <a:pt x="36" y="228"/>
                  </a:lnTo>
                  <a:lnTo>
                    <a:pt x="42" y="228"/>
                  </a:lnTo>
                  <a:lnTo>
                    <a:pt x="48" y="228"/>
                  </a:lnTo>
                  <a:lnTo>
                    <a:pt x="48" y="222"/>
                  </a:lnTo>
                  <a:lnTo>
                    <a:pt x="54" y="222"/>
                  </a:lnTo>
                  <a:lnTo>
                    <a:pt x="54" y="216"/>
                  </a:lnTo>
                  <a:lnTo>
                    <a:pt x="54" y="210"/>
                  </a:lnTo>
                  <a:lnTo>
                    <a:pt x="48" y="204"/>
                  </a:lnTo>
                  <a:lnTo>
                    <a:pt x="54" y="204"/>
                  </a:lnTo>
                  <a:lnTo>
                    <a:pt x="54" y="198"/>
                  </a:lnTo>
                  <a:lnTo>
                    <a:pt x="54" y="192"/>
                  </a:lnTo>
                  <a:lnTo>
                    <a:pt x="60" y="192"/>
                  </a:lnTo>
                  <a:lnTo>
                    <a:pt x="60" y="198"/>
                  </a:lnTo>
                  <a:lnTo>
                    <a:pt x="60" y="192"/>
                  </a:lnTo>
                  <a:lnTo>
                    <a:pt x="66" y="192"/>
                  </a:lnTo>
                  <a:lnTo>
                    <a:pt x="66" y="186"/>
                  </a:lnTo>
                  <a:lnTo>
                    <a:pt x="66" y="180"/>
                  </a:lnTo>
                  <a:lnTo>
                    <a:pt x="60" y="180"/>
                  </a:lnTo>
                  <a:lnTo>
                    <a:pt x="60" y="174"/>
                  </a:lnTo>
                  <a:lnTo>
                    <a:pt x="60" y="168"/>
                  </a:lnTo>
                  <a:lnTo>
                    <a:pt x="60" y="162"/>
                  </a:lnTo>
                  <a:lnTo>
                    <a:pt x="60" y="156"/>
                  </a:lnTo>
                  <a:lnTo>
                    <a:pt x="54" y="156"/>
                  </a:lnTo>
                  <a:lnTo>
                    <a:pt x="54" y="150"/>
                  </a:lnTo>
                  <a:lnTo>
                    <a:pt x="48" y="150"/>
                  </a:lnTo>
                  <a:lnTo>
                    <a:pt x="48" y="144"/>
                  </a:lnTo>
                  <a:lnTo>
                    <a:pt x="48" y="138"/>
                  </a:lnTo>
                  <a:lnTo>
                    <a:pt x="48" y="132"/>
                  </a:lnTo>
                  <a:lnTo>
                    <a:pt x="48" y="126"/>
                  </a:lnTo>
                  <a:lnTo>
                    <a:pt x="54" y="126"/>
                  </a:lnTo>
                  <a:lnTo>
                    <a:pt x="54" y="120"/>
                  </a:lnTo>
                  <a:lnTo>
                    <a:pt x="54" y="114"/>
                  </a:lnTo>
                  <a:lnTo>
                    <a:pt x="54" y="108"/>
                  </a:lnTo>
                  <a:lnTo>
                    <a:pt x="54" y="102"/>
                  </a:lnTo>
                  <a:lnTo>
                    <a:pt x="54" y="96"/>
                  </a:lnTo>
                  <a:lnTo>
                    <a:pt x="54" y="90"/>
                  </a:lnTo>
                  <a:lnTo>
                    <a:pt x="54" y="84"/>
                  </a:lnTo>
                  <a:lnTo>
                    <a:pt x="54" y="78"/>
                  </a:lnTo>
                  <a:lnTo>
                    <a:pt x="54" y="72"/>
                  </a:lnTo>
                  <a:lnTo>
                    <a:pt x="60" y="72"/>
                  </a:lnTo>
                  <a:lnTo>
                    <a:pt x="60" y="66"/>
                  </a:lnTo>
                  <a:lnTo>
                    <a:pt x="66" y="66"/>
                  </a:lnTo>
                  <a:lnTo>
                    <a:pt x="72" y="66"/>
                  </a:lnTo>
                  <a:lnTo>
                    <a:pt x="72" y="60"/>
                  </a:lnTo>
                  <a:lnTo>
                    <a:pt x="72" y="54"/>
                  </a:lnTo>
                  <a:lnTo>
                    <a:pt x="78" y="54"/>
                  </a:lnTo>
                  <a:lnTo>
                    <a:pt x="78" y="48"/>
                  </a:lnTo>
                  <a:lnTo>
                    <a:pt x="78" y="42"/>
                  </a:lnTo>
                  <a:lnTo>
                    <a:pt x="78" y="36"/>
                  </a:lnTo>
                  <a:lnTo>
                    <a:pt x="78" y="30"/>
                  </a:lnTo>
                  <a:lnTo>
                    <a:pt x="78" y="24"/>
                  </a:lnTo>
                  <a:lnTo>
                    <a:pt x="84" y="24"/>
                  </a:lnTo>
                  <a:lnTo>
                    <a:pt x="84" y="18"/>
                  </a:lnTo>
                  <a:lnTo>
                    <a:pt x="90" y="18"/>
                  </a:lnTo>
                  <a:lnTo>
                    <a:pt x="90" y="12"/>
                  </a:lnTo>
                  <a:lnTo>
                    <a:pt x="96" y="12"/>
                  </a:lnTo>
                  <a:lnTo>
                    <a:pt x="102" y="12"/>
                  </a:lnTo>
                  <a:lnTo>
                    <a:pt x="102" y="6"/>
                  </a:lnTo>
                  <a:lnTo>
                    <a:pt x="108" y="6"/>
                  </a:lnTo>
                  <a:lnTo>
                    <a:pt x="114" y="6"/>
                  </a:lnTo>
                  <a:lnTo>
                    <a:pt x="120" y="6"/>
                  </a:lnTo>
                  <a:lnTo>
                    <a:pt x="126" y="6"/>
                  </a:lnTo>
                  <a:lnTo>
                    <a:pt x="132" y="6"/>
                  </a:lnTo>
                  <a:lnTo>
                    <a:pt x="138" y="6"/>
                  </a:lnTo>
                  <a:lnTo>
                    <a:pt x="144" y="6"/>
                  </a:lnTo>
                  <a:lnTo>
                    <a:pt x="150" y="0"/>
                  </a:lnTo>
                  <a:lnTo>
                    <a:pt x="156" y="0"/>
                  </a:lnTo>
                  <a:lnTo>
                    <a:pt x="162" y="0"/>
                  </a:lnTo>
                  <a:lnTo>
                    <a:pt x="168" y="6"/>
                  </a:lnTo>
                  <a:lnTo>
                    <a:pt x="174" y="6"/>
                  </a:lnTo>
                  <a:lnTo>
                    <a:pt x="180" y="6"/>
                  </a:lnTo>
                  <a:lnTo>
                    <a:pt x="186" y="6"/>
                  </a:lnTo>
                  <a:lnTo>
                    <a:pt x="186" y="12"/>
                  </a:lnTo>
                  <a:lnTo>
                    <a:pt x="192" y="12"/>
                  </a:lnTo>
                  <a:lnTo>
                    <a:pt x="198" y="12"/>
                  </a:lnTo>
                  <a:lnTo>
                    <a:pt x="204" y="12"/>
                  </a:lnTo>
                  <a:lnTo>
                    <a:pt x="210" y="12"/>
                  </a:lnTo>
                  <a:lnTo>
                    <a:pt x="210" y="18"/>
                  </a:lnTo>
                  <a:lnTo>
                    <a:pt x="216" y="24"/>
                  </a:lnTo>
                  <a:lnTo>
                    <a:pt x="222" y="24"/>
                  </a:lnTo>
                  <a:lnTo>
                    <a:pt x="222" y="30"/>
                  </a:lnTo>
                  <a:lnTo>
                    <a:pt x="228" y="36"/>
                  </a:lnTo>
                  <a:lnTo>
                    <a:pt x="228" y="42"/>
                  </a:lnTo>
                  <a:lnTo>
                    <a:pt x="234" y="42"/>
                  </a:lnTo>
                  <a:lnTo>
                    <a:pt x="234" y="48"/>
                  </a:lnTo>
                  <a:lnTo>
                    <a:pt x="240" y="48"/>
                  </a:lnTo>
                  <a:lnTo>
                    <a:pt x="246" y="48"/>
                  </a:lnTo>
                  <a:lnTo>
                    <a:pt x="252" y="48"/>
                  </a:lnTo>
                  <a:lnTo>
                    <a:pt x="252" y="42"/>
                  </a:lnTo>
                  <a:lnTo>
                    <a:pt x="258" y="42"/>
                  </a:lnTo>
                  <a:lnTo>
                    <a:pt x="264" y="42"/>
                  </a:lnTo>
                  <a:lnTo>
                    <a:pt x="270" y="42"/>
                  </a:lnTo>
                  <a:lnTo>
                    <a:pt x="270" y="36"/>
                  </a:lnTo>
                  <a:lnTo>
                    <a:pt x="276" y="36"/>
                  </a:lnTo>
                  <a:lnTo>
                    <a:pt x="282" y="36"/>
                  </a:lnTo>
                  <a:lnTo>
                    <a:pt x="282" y="30"/>
                  </a:lnTo>
                  <a:lnTo>
                    <a:pt x="288" y="30"/>
                  </a:lnTo>
                  <a:lnTo>
                    <a:pt x="294" y="30"/>
                  </a:lnTo>
                  <a:lnTo>
                    <a:pt x="300" y="30"/>
                  </a:lnTo>
                  <a:lnTo>
                    <a:pt x="300" y="36"/>
                  </a:lnTo>
                  <a:lnTo>
                    <a:pt x="306" y="36"/>
                  </a:lnTo>
                  <a:lnTo>
                    <a:pt x="312" y="36"/>
                  </a:lnTo>
                  <a:lnTo>
                    <a:pt x="312" y="42"/>
                  </a:lnTo>
                  <a:lnTo>
                    <a:pt x="318" y="42"/>
                  </a:lnTo>
                  <a:lnTo>
                    <a:pt x="318" y="48"/>
                  </a:lnTo>
                  <a:lnTo>
                    <a:pt x="324" y="48"/>
                  </a:lnTo>
                  <a:lnTo>
                    <a:pt x="330" y="48"/>
                  </a:lnTo>
                  <a:lnTo>
                    <a:pt x="330" y="54"/>
                  </a:lnTo>
                  <a:lnTo>
                    <a:pt x="336" y="54"/>
                  </a:lnTo>
                  <a:lnTo>
                    <a:pt x="342" y="54"/>
                  </a:lnTo>
                  <a:lnTo>
                    <a:pt x="342" y="60"/>
                  </a:lnTo>
                  <a:lnTo>
                    <a:pt x="348" y="60"/>
                  </a:lnTo>
                  <a:lnTo>
                    <a:pt x="354" y="60"/>
                  </a:lnTo>
                  <a:lnTo>
                    <a:pt x="360" y="60"/>
                  </a:lnTo>
                  <a:lnTo>
                    <a:pt x="366" y="60"/>
                  </a:lnTo>
                  <a:lnTo>
                    <a:pt x="372" y="60"/>
                  </a:lnTo>
                  <a:lnTo>
                    <a:pt x="378" y="60"/>
                  </a:lnTo>
                  <a:lnTo>
                    <a:pt x="384" y="60"/>
                  </a:lnTo>
                  <a:lnTo>
                    <a:pt x="390" y="60"/>
                  </a:lnTo>
                  <a:lnTo>
                    <a:pt x="396" y="54"/>
                  </a:lnTo>
                  <a:lnTo>
                    <a:pt x="396" y="48"/>
                  </a:lnTo>
                  <a:lnTo>
                    <a:pt x="402" y="48"/>
                  </a:lnTo>
                  <a:lnTo>
                    <a:pt x="402" y="42"/>
                  </a:lnTo>
                  <a:lnTo>
                    <a:pt x="408" y="42"/>
                  </a:lnTo>
                  <a:lnTo>
                    <a:pt x="408" y="36"/>
                  </a:lnTo>
                  <a:lnTo>
                    <a:pt x="414" y="36"/>
                  </a:lnTo>
                  <a:lnTo>
                    <a:pt x="420" y="36"/>
                  </a:lnTo>
                  <a:lnTo>
                    <a:pt x="426" y="36"/>
                  </a:lnTo>
                  <a:lnTo>
                    <a:pt x="432" y="36"/>
                  </a:lnTo>
                  <a:lnTo>
                    <a:pt x="432" y="30"/>
                  </a:lnTo>
                  <a:lnTo>
                    <a:pt x="438" y="30"/>
                  </a:lnTo>
                  <a:lnTo>
                    <a:pt x="444" y="30"/>
                  </a:lnTo>
                  <a:lnTo>
                    <a:pt x="450" y="30"/>
                  </a:lnTo>
                  <a:lnTo>
                    <a:pt x="456" y="30"/>
                  </a:lnTo>
                  <a:lnTo>
                    <a:pt x="462" y="30"/>
                  </a:lnTo>
                  <a:lnTo>
                    <a:pt x="468" y="30"/>
                  </a:lnTo>
                  <a:lnTo>
                    <a:pt x="474" y="30"/>
                  </a:lnTo>
                  <a:lnTo>
                    <a:pt x="480" y="30"/>
                  </a:lnTo>
                  <a:lnTo>
                    <a:pt x="486" y="30"/>
                  </a:lnTo>
                  <a:lnTo>
                    <a:pt x="492" y="30"/>
                  </a:lnTo>
                  <a:lnTo>
                    <a:pt x="498" y="30"/>
                  </a:lnTo>
                  <a:lnTo>
                    <a:pt x="504" y="36"/>
                  </a:lnTo>
                  <a:lnTo>
                    <a:pt x="510" y="36"/>
                  </a:lnTo>
                  <a:lnTo>
                    <a:pt x="516" y="36"/>
                  </a:lnTo>
                  <a:lnTo>
                    <a:pt x="516" y="42"/>
                  </a:lnTo>
                  <a:lnTo>
                    <a:pt x="522" y="42"/>
                  </a:lnTo>
                  <a:lnTo>
                    <a:pt x="528" y="42"/>
                  </a:lnTo>
                  <a:lnTo>
                    <a:pt x="534" y="42"/>
                  </a:lnTo>
                  <a:lnTo>
                    <a:pt x="540" y="42"/>
                  </a:lnTo>
                  <a:lnTo>
                    <a:pt x="534" y="48"/>
                  </a:lnTo>
                  <a:lnTo>
                    <a:pt x="540" y="48"/>
                  </a:lnTo>
                  <a:lnTo>
                    <a:pt x="540" y="42"/>
                  </a:lnTo>
                  <a:lnTo>
                    <a:pt x="540" y="48"/>
                  </a:lnTo>
                  <a:lnTo>
                    <a:pt x="540" y="42"/>
                  </a:lnTo>
                  <a:lnTo>
                    <a:pt x="540" y="48"/>
                  </a:lnTo>
                  <a:lnTo>
                    <a:pt x="540" y="42"/>
                  </a:lnTo>
                  <a:lnTo>
                    <a:pt x="540" y="48"/>
                  </a:lnTo>
                  <a:lnTo>
                    <a:pt x="546" y="48"/>
                  </a:lnTo>
                  <a:lnTo>
                    <a:pt x="546" y="42"/>
                  </a:lnTo>
                  <a:lnTo>
                    <a:pt x="552" y="42"/>
                  </a:lnTo>
                  <a:lnTo>
                    <a:pt x="552" y="36"/>
                  </a:lnTo>
                  <a:lnTo>
                    <a:pt x="546" y="36"/>
                  </a:lnTo>
                  <a:lnTo>
                    <a:pt x="552" y="36"/>
                  </a:lnTo>
                  <a:lnTo>
                    <a:pt x="552" y="30"/>
                  </a:lnTo>
                  <a:lnTo>
                    <a:pt x="552" y="36"/>
                  </a:lnTo>
                  <a:lnTo>
                    <a:pt x="558" y="36"/>
                  </a:lnTo>
                  <a:lnTo>
                    <a:pt x="558" y="30"/>
                  </a:lnTo>
                  <a:lnTo>
                    <a:pt x="564" y="30"/>
                  </a:lnTo>
                  <a:lnTo>
                    <a:pt x="564" y="24"/>
                  </a:lnTo>
                  <a:lnTo>
                    <a:pt x="570" y="24"/>
                  </a:lnTo>
                  <a:lnTo>
                    <a:pt x="570" y="18"/>
                  </a:lnTo>
                  <a:lnTo>
                    <a:pt x="570" y="24"/>
                  </a:lnTo>
                  <a:lnTo>
                    <a:pt x="570" y="18"/>
                  </a:lnTo>
                  <a:lnTo>
                    <a:pt x="576" y="18"/>
                  </a:lnTo>
                  <a:lnTo>
                    <a:pt x="582" y="18"/>
                  </a:lnTo>
                  <a:lnTo>
                    <a:pt x="588" y="18"/>
                  </a:lnTo>
                  <a:lnTo>
                    <a:pt x="588" y="12"/>
                  </a:lnTo>
                  <a:lnTo>
                    <a:pt x="594" y="12"/>
                  </a:lnTo>
                  <a:lnTo>
                    <a:pt x="594" y="6"/>
                  </a:lnTo>
                  <a:lnTo>
                    <a:pt x="600" y="6"/>
                  </a:lnTo>
                  <a:lnTo>
                    <a:pt x="606" y="6"/>
                  </a:lnTo>
                  <a:lnTo>
                    <a:pt x="612" y="6"/>
                  </a:lnTo>
                  <a:lnTo>
                    <a:pt x="612" y="12"/>
                  </a:lnTo>
                  <a:lnTo>
                    <a:pt x="612" y="18"/>
                  </a:lnTo>
                  <a:lnTo>
                    <a:pt x="618" y="18"/>
                  </a:lnTo>
                  <a:lnTo>
                    <a:pt x="618" y="24"/>
                  </a:lnTo>
                  <a:lnTo>
                    <a:pt x="624" y="24"/>
                  </a:lnTo>
                  <a:lnTo>
                    <a:pt x="624" y="30"/>
                  </a:lnTo>
                  <a:lnTo>
                    <a:pt x="624" y="36"/>
                  </a:lnTo>
                  <a:lnTo>
                    <a:pt x="630" y="36"/>
                  </a:lnTo>
                  <a:lnTo>
                    <a:pt x="630" y="42"/>
                  </a:lnTo>
                  <a:lnTo>
                    <a:pt x="636" y="42"/>
                  </a:lnTo>
                  <a:lnTo>
                    <a:pt x="636" y="48"/>
                  </a:lnTo>
                  <a:close/>
                  <a:moveTo>
                    <a:pt x="246" y="528"/>
                  </a:moveTo>
                  <a:lnTo>
                    <a:pt x="258" y="528"/>
                  </a:lnTo>
                  <a:lnTo>
                    <a:pt x="258" y="534"/>
                  </a:lnTo>
                  <a:lnTo>
                    <a:pt x="246" y="534"/>
                  </a:lnTo>
                  <a:lnTo>
                    <a:pt x="246" y="528"/>
                  </a:lnTo>
                  <a:close/>
                  <a:moveTo>
                    <a:pt x="198" y="534"/>
                  </a:moveTo>
                  <a:lnTo>
                    <a:pt x="210" y="534"/>
                  </a:lnTo>
                  <a:lnTo>
                    <a:pt x="210" y="540"/>
                  </a:lnTo>
                  <a:lnTo>
                    <a:pt x="198" y="540"/>
                  </a:lnTo>
                  <a:lnTo>
                    <a:pt x="198" y="534"/>
                  </a:lnTo>
                  <a:close/>
                  <a:moveTo>
                    <a:pt x="240" y="522"/>
                  </a:moveTo>
                  <a:lnTo>
                    <a:pt x="246" y="522"/>
                  </a:lnTo>
                  <a:lnTo>
                    <a:pt x="246" y="534"/>
                  </a:lnTo>
                  <a:lnTo>
                    <a:pt x="240" y="534"/>
                  </a:lnTo>
                  <a:lnTo>
                    <a:pt x="240" y="522"/>
                  </a:lnTo>
                  <a:close/>
                  <a:moveTo>
                    <a:pt x="234" y="522"/>
                  </a:moveTo>
                  <a:lnTo>
                    <a:pt x="240" y="522"/>
                  </a:lnTo>
                  <a:lnTo>
                    <a:pt x="240" y="528"/>
                  </a:lnTo>
                  <a:lnTo>
                    <a:pt x="234" y="528"/>
                  </a:lnTo>
                  <a:lnTo>
                    <a:pt x="234" y="522"/>
                  </a:lnTo>
                  <a:close/>
                  <a:moveTo>
                    <a:pt x="78" y="420"/>
                  </a:moveTo>
                  <a:lnTo>
                    <a:pt x="84" y="420"/>
                  </a:lnTo>
                  <a:lnTo>
                    <a:pt x="78" y="420"/>
                  </a:lnTo>
                  <a:close/>
                  <a:moveTo>
                    <a:pt x="36" y="420"/>
                  </a:moveTo>
                  <a:lnTo>
                    <a:pt x="42" y="420"/>
                  </a:lnTo>
                  <a:lnTo>
                    <a:pt x="36" y="420"/>
                  </a:lnTo>
                  <a:close/>
                  <a:moveTo>
                    <a:pt x="312" y="504"/>
                  </a:moveTo>
                  <a:lnTo>
                    <a:pt x="312" y="510"/>
                  </a:lnTo>
                  <a:lnTo>
                    <a:pt x="313" y="510"/>
                  </a:lnTo>
                  <a:lnTo>
                    <a:pt x="312" y="50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6" name="Freeform 25"/>
            <p:cNvSpPr>
              <a:spLocks/>
            </p:cNvSpPr>
            <p:nvPr>
              <p:custDataLst>
                <p:tags r:id="rId24"/>
              </p:custDataLst>
            </p:nvPr>
          </p:nvSpPr>
          <p:spPr bwMode="gray">
            <a:xfrm>
              <a:off x="1287847" y="3070746"/>
              <a:ext cx="98029" cy="244987"/>
            </a:xfrm>
            <a:custGeom>
              <a:avLst/>
              <a:gdLst>
                <a:gd name="T0" fmla="*/ 29720 w 108"/>
                <a:gd name="T1" fmla="*/ 95928 h 282"/>
                <a:gd name="T2" fmla="*/ 24927 w 108"/>
                <a:gd name="T3" fmla="*/ 97847 h 282"/>
                <a:gd name="T4" fmla="*/ 21092 w 108"/>
                <a:gd name="T5" fmla="*/ 95928 h 282"/>
                <a:gd name="T6" fmla="*/ 19175 w 108"/>
                <a:gd name="T7" fmla="*/ 92091 h 282"/>
                <a:gd name="T8" fmla="*/ 14381 w 108"/>
                <a:gd name="T9" fmla="*/ 90173 h 282"/>
                <a:gd name="T10" fmla="*/ 12464 w 108"/>
                <a:gd name="T11" fmla="*/ 85377 h 282"/>
                <a:gd name="T12" fmla="*/ 12464 w 108"/>
                <a:gd name="T13" fmla="*/ 83458 h 282"/>
                <a:gd name="T14" fmla="*/ 14381 w 108"/>
                <a:gd name="T15" fmla="*/ 79620 h 282"/>
                <a:gd name="T16" fmla="*/ 14381 w 108"/>
                <a:gd name="T17" fmla="*/ 73865 h 282"/>
                <a:gd name="T18" fmla="*/ 12464 w 108"/>
                <a:gd name="T19" fmla="*/ 69069 h 282"/>
                <a:gd name="T20" fmla="*/ 14381 w 108"/>
                <a:gd name="T21" fmla="*/ 65232 h 282"/>
                <a:gd name="T22" fmla="*/ 14381 w 108"/>
                <a:gd name="T23" fmla="*/ 58516 h 282"/>
                <a:gd name="T24" fmla="*/ 16298 w 108"/>
                <a:gd name="T25" fmla="*/ 54679 h 282"/>
                <a:gd name="T26" fmla="*/ 12464 w 108"/>
                <a:gd name="T27" fmla="*/ 51801 h 282"/>
                <a:gd name="T28" fmla="*/ 10546 w 108"/>
                <a:gd name="T29" fmla="*/ 47964 h 282"/>
                <a:gd name="T30" fmla="*/ 12464 w 108"/>
                <a:gd name="T31" fmla="*/ 44127 h 282"/>
                <a:gd name="T32" fmla="*/ 10546 w 108"/>
                <a:gd name="T33" fmla="*/ 40290 h 282"/>
                <a:gd name="T34" fmla="*/ 12464 w 108"/>
                <a:gd name="T35" fmla="*/ 35494 h 282"/>
                <a:gd name="T36" fmla="*/ 10546 w 108"/>
                <a:gd name="T37" fmla="*/ 31656 h 282"/>
                <a:gd name="T38" fmla="*/ 7670 w 108"/>
                <a:gd name="T39" fmla="*/ 31656 h 282"/>
                <a:gd name="T40" fmla="*/ 7670 w 108"/>
                <a:gd name="T41" fmla="*/ 33575 h 282"/>
                <a:gd name="T42" fmla="*/ 7670 w 108"/>
                <a:gd name="T43" fmla="*/ 31656 h 282"/>
                <a:gd name="T44" fmla="*/ 7670 w 108"/>
                <a:gd name="T45" fmla="*/ 29738 h 282"/>
                <a:gd name="T46" fmla="*/ 7670 w 108"/>
                <a:gd name="T47" fmla="*/ 23023 h 282"/>
                <a:gd name="T48" fmla="*/ 7670 w 108"/>
                <a:gd name="T49" fmla="*/ 21104 h 282"/>
                <a:gd name="T50" fmla="*/ 7670 w 108"/>
                <a:gd name="T51" fmla="*/ 19186 h 282"/>
                <a:gd name="T52" fmla="*/ 7670 w 108"/>
                <a:gd name="T53" fmla="*/ 16308 h 282"/>
                <a:gd name="T54" fmla="*/ 7670 w 108"/>
                <a:gd name="T55" fmla="*/ 14390 h 282"/>
                <a:gd name="T56" fmla="*/ 3835 w 108"/>
                <a:gd name="T57" fmla="*/ 12471 h 282"/>
                <a:gd name="T58" fmla="*/ 0 w 108"/>
                <a:gd name="T59" fmla="*/ 10552 h 282"/>
                <a:gd name="T60" fmla="*/ 1917 w 108"/>
                <a:gd name="T61" fmla="*/ 6715 h 282"/>
                <a:gd name="T62" fmla="*/ 1917 w 108"/>
                <a:gd name="T63" fmla="*/ 0 h 282"/>
                <a:gd name="T64" fmla="*/ 3835 w 108"/>
                <a:gd name="T65" fmla="*/ 0 h 282"/>
                <a:gd name="T66" fmla="*/ 10546 w 108"/>
                <a:gd name="T67" fmla="*/ 1918 h 282"/>
                <a:gd name="T68" fmla="*/ 14381 w 108"/>
                <a:gd name="T69" fmla="*/ 3837 h 282"/>
                <a:gd name="T70" fmla="*/ 19175 w 108"/>
                <a:gd name="T71" fmla="*/ 1918 h 282"/>
                <a:gd name="T72" fmla="*/ 19175 w 108"/>
                <a:gd name="T73" fmla="*/ 3837 h 282"/>
                <a:gd name="T74" fmla="*/ 16298 w 108"/>
                <a:gd name="T75" fmla="*/ 7674 h 282"/>
                <a:gd name="T76" fmla="*/ 16298 w 108"/>
                <a:gd name="T77" fmla="*/ 12471 h 282"/>
                <a:gd name="T78" fmla="*/ 19175 w 108"/>
                <a:gd name="T79" fmla="*/ 16308 h 282"/>
                <a:gd name="T80" fmla="*/ 23010 w 108"/>
                <a:gd name="T81" fmla="*/ 19186 h 282"/>
                <a:gd name="T82" fmla="*/ 26844 w 108"/>
                <a:gd name="T83" fmla="*/ 21104 h 282"/>
                <a:gd name="T84" fmla="*/ 29720 w 108"/>
                <a:gd name="T85" fmla="*/ 24941 h 282"/>
                <a:gd name="T86" fmla="*/ 29720 w 108"/>
                <a:gd name="T87" fmla="*/ 31656 h 282"/>
                <a:gd name="T88" fmla="*/ 29720 w 108"/>
                <a:gd name="T89" fmla="*/ 33575 h 282"/>
                <a:gd name="T90" fmla="*/ 31638 w 108"/>
                <a:gd name="T91" fmla="*/ 37413 h 282"/>
                <a:gd name="T92" fmla="*/ 33556 w 108"/>
                <a:gd name="T93" fmla="*/ 41250 h 282"/>
                <a:gd name="T94" fmla="*/ 33556 w 108"/>
                <a:gd name="T95" fmla="*/ 47964 h 282"/>
                <a:gd name="T96" fmla="*/ 33556 w 108"/>
                <a:gd name="T97" fmla="*/ 54679 h 282"/>
                <a:gd name="T98" fmla="*/ 33556 w 108"/>
                <a:gd name="T99" fmla="*/ 60435 h 282"/>
                <a:gd name="T100" fmla="*/ 33556 w 108"/>
                <a:gd name="T101" fmla="*/ 67150 h 282"/>
                <a:gd name="T102" fmla="*/ 35473 w 108"/>
                <a:gd name="T103" fmla="*/ 70987 h 282"/>
                <a:gd name="T104" fmla="*/ 33556 w 108"/>
                <a:gd name="T105" fmla="*/ 74824 h 282"/>
                <a:gd name="T106" fmla="*/ 33556 w 108"/>
                <a:gd name="T107" fmla="*/ 81539 h 282"/>
                <a:gd name="T108" fmla="*/ 33556 w 108"/>
                <a:gd name="T109" fmla="*/ 88255 h 282"/>
                <a:gd name="T110" fmla="*/ 35473 w 108"/>
                <a:gd name="T111" fmla="*/ 92091 h 282"/>
                <a:gd name="T112" fmla="*/ 35473 w 108"/>
                <a:gd name="T113" fmla="*/ 90173 h 282"/>
                <a:gd name="T114" fmla="*/ 35473 w 108"/>
                <a:gd name="T115" fmla="*/ 92091 h 282"/>
                <a:gd name="T116" fmla="*/ 37391 w 108"/>
                <a:gd name="T117" fmla="*/ 94010 h 282"/>
                <a:gd name="T118" fmla="*/ 33556 w 108"/>
                <a:gd name="T119" fmla="*/ 95928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8" h="282">
                  <a:moveTo>
                    <a:pt x="96" y="276"/>
                  </a:moveTo>
                  <a:lnTo>
                    <a:pt x="90" y="276"/>
                  </a:lnTo>
                  <a:lnTo>
                    <a:pt x="84" y="276"/>
                  </a:lnTo>
                  <a:lnTo>
                    <a:pt x="84" y="282"/>
                  </a:lnTo>
                  <a:lnTo>
                    <a:pt x="78" y="282"/>
                  </a:lnTo>
                  <a:lnTo>
                    <a:pt x="72" y="282"/>
                  </a:lnTo>
                  <a:lnTo>
                    <a:pt x="66" y="282"/>
                  </a:lnTo>
                  <a:lnTo>
                    <a:pt x="66" y="276"/>
                  </a:lnTo>
                  <a:lnTo>
                    <a:pt x="60" y="276"/>
                  </a:lnTo>
                  <a:lnTo>
                    <a:pt x="60" y="270"/>
                  </a:lnTo>
                  <a:lnTo>
                    <a:pt x="54" y="270"/>
                  </a:lnTo>
                  <a:lnTo>
                    <a:pt x="54" y="264"/>
                  </a:lnTo>
                  <a:lnTo>
                    <a:pt x="48" y="264"/>
                  </a:lnTo>
                  <a:lnTo>
                    <a:pt x="48" y="258"/>
                  </a:lnTo>
                  <a:lnTo>
                    <a:pt x="42" y="258"/>
                  </a:lnTo>
                  <a:lnTo>
                    <a:pt x="42" y="252"/>
                  </a:lnTo>
                  <a:lnTo>
                    <a:pt x="42" y="246"/>
                  </a:lnTo>
                  <a:lnTo>
                    <a:pt x="36" y="246"/>
                  </a:lnTo>
                  <a:lnTo>
                    <a:pt x="42" y="246"/>
                  </a:lnTo>
                  <a:lnTo>
                    <a:pt x="36" y="246"/>
                  </a:lnTo>
                  <a:lnTo>
                    <a:pt x="36" y="240"/>
                  </a:lnTo>
                  <a:lnTo>
                    <a:pt x="36" y="234"/>
                  </a:lnTo>
                  <a:lnTo>
                    <a:pt x="42" y="234"/>
                  </a:lnTo>
                  <a:lnTo>
                    <a:pt x="42" y="228"/>
                  </a:lnTo>
                  <a:lnTo>
                    <a:pt x="42" y="222"/>
                  </a:lnTo>
                  <a:lnTo>
                    <a:pt x="42" y="216"/>
                  </a:lnTo>
                  <a:lnTo>
                    <a:pt x="42" y="210"/>
                  </a:lnTo>
                  <a:lnTo>
                    <a:pt x="36" y="210"/>
                  </a:lnTo>
                  <a:lnTo>
                    <a:pt x="36" y="204"/>
                  </a:lnTo>
                  <a:lnTo>
                    <a:pt x="36" y="198"/>
                  </a:lnTo>
                  <a:lnTo>
                    <a:pt x="36" y="192"/>
                  </a:lnTo>
                  <a:lnTo>
                    <a:pt x="42" y="192"/>
                  </a:lnTo>
                  <a:lnTo>
                    <a:pt x="42" y="186"/>
                  </a:lnTo>
                  <a:lnTo>
                    <a:pt x="42" y="180"/>
                  </a:lnTo>
                  <a:lnTo>
                    <a:pt x="42" y="174"/>
                  </a:lnTo>
                  <a:lnTo>
                    <a:pt x="42" y="168"/>
                  </a:lnTo>
                  <a:lnTo>
                    <a:pt x="42" y="162"/>
                  </a:lnTo>
                  <a:lnTo>
                    <a:pt x="48" y="162"/>
                  </a:lnTo>
                  <a:lnTo>
                    <a:pt x="48" y="156"/>
                  </a:lnTo>
                  <a:lnTo>
                    <a:pt x="42" y="156"/>
                  </a:lnTo>
                  <a:lnTo>
                    <a:pt x="42" y="150"/>
                  </a:lnTo>
                  <a:lnTo>
                    <a:pt x="36" y="150"/>
                  </a:lnTo>
                  <a:lnTo>
                    <a:pt x="36" y="144"/>
                  </a:lnTo>
                  <a:lnTo>
                    <a:pt x="30" y="144"/>
                  </a:lnTo>
                  <a:lnTo>
                    <a:pt x="30" y="138"/>
                  </a:lnTo>
                  <a:lnTo>
                    <a:pt x="30" y="132"/>
                  </a:lnTo>
                  <a:lnTo>
                    <a:pt x="36" y="132"/>
                  </a:lnTo>
                  <a:lnTo>
                    <a:pt x="36" y="126"/>
                  </a:lnTo>
                  <a:lnTo>
                    <a:pt x="36" y="120"/>
                  </a:lnTo>
                  <a:lnTo>
                    <a:pt x="30" y="120"/>
                  </a:lnTo>
                  <a:lnTo>
                    <a:pt x="30" y="114"/>
                  </a:lnTo>
                  <a:lnTo>
                    <a:pt x="36" y="114"/>
                  </a:lnTo>
                  <a:lnTo>
                    <a:pt x="36" y="108"/>
                  </a:lnTo>
                  <a:lnTo>
                    <a:pt x="36" y="102"/>
                  </a:lnTo>
                  <a:lnTo>
                    <a:pt x="36" y="96"/>
                  </a:lnTo>
                  <a:lnTo>
                    <a:pt x="30" y="96"/>
                  </a:lnTo>
                  <a:lnTo>
                    <a:pt x="30" y="90"/>
                  </a:lnTo>
                  <a:lnTo>
                    <a:pt x="30" y="96"/>
                  </a:lnTo>
                  <a:lnTo>
                    <a:pt x="30" y="90"/>
                  </a:lnTo>
                  <a:lnTo>
                    <a:pt x="24" y="90"/>
                  </a:lnTo>
                  <a:lnTo>
                    <a:pt x="24" y="96"/>
                  </a:lnTo>
                  <a:lnTo>
                    <a:pt x="18" y="96"/>
                  </a:lnTo>
                  <a:lnTo>
                    <a:pt x="24" y="96"/>
                  </a:lnTo>
                  <a:lnTo>
                    <a:pt x="24" y="90"/>
                  </a:lnTo>
                  <a:lnTo>
                    <a:pt x="18" y="90"/>
                  </a:lnTo>
                  <a:lnTo>
                    <a:pt x="24" y="90"/>
                  </a:lnTo>
                  <a:lnTo>
                    <a:pt x="30" y="90"/>
                  </a:lnTo>
                  <a:lnTo>
                    <a:pt x="30" y="84"/>
                  </a:lnTo>
                  <a:lnTo>
                    <a:pt x="24" y="84"/>
                  </a:lnTo>
                  <a:lnTo>
                    <a:pt x="24" y="78"/>
                  </a:lnTo>
                  <a:lnTo>
                    <a:pt x="24" y="72"/>
                  </a:lnTo>
                  <a:lnTo>
                    <a:pt x="24" y="66"/>
                  </a:lnTo>
                  <a:lnTo>
                    <a:pt x="30" y="66"/>
                  </a:lnTo>
                  <a:lnTo>
                    <a:pt x="24" y="66"/>
                  </a:lnTo>
                  <a:lnTo>
                    <a:pt x="24" y="60"/>
                  </a:lnTo>
                  <a:lnTo>
                    <a:pt x="30" y="60"/>
                  </a:lnTo>
                  <a:lnTo>
                    <a:pt x="24" y="60"/>
                  </a:lnTo>
                  <a:lnTo>
                    <a:pt x="24" y="54"/>
                  </a:lnTo>
                  <a:lnTo>
                    <a:pt x="24" y="48"/>
                  </a:lnTo>
                  <a:lnTo>
                    <a:pt x="30" y="48"/>
                  </a:lnTo>
                  <a:lnTo>
                    <a:pt x="24" y="48"/>
                  </a:lnTo>
                  <a:lnTo>
                    <a:pt x="24" y="42"/>
                  </a:lnTo>
                  <a:lnTo>
                    <a:pt x="24" y="48"/>
                  </a:lnTo>
                  <a:lnTo>
                    <a:pt x="24" y="42"/>
                  </a:lnTo>
                  <a:lnTo>
                    <a:pt x="18" y="42"/>
                  </a:lnTo>
                  <a:lnTo>
                    <a:pt x="18" y="36"/>
                  </a:lnTo>
                  <a:lnTo>
                    <a:pt x="12" y="36"/>
                  </a:lnTo>
                  <a:lnTo>
                    <a:pt x="12" y="30"/>
                  </a:lnTo>
                  <a:lnTo>
                    <a:pt x="6" y="30"/>
                  </a:lnTo>
                  <a:lnTo>
                    <a:pt x="0" y="30"/>
                  </a:lnTo>
                  <a:lnTo>
                    <a:pt x="0" y="24"/>
                  </a:lnTo>
                  <a:lnTo>
                    <a:pt x="0" y="18"/>
                  </a:lnTo>
                  <a:lnTo>
                    <a:pt x="6" y="18"/>
                  </a:lnTo>
                  <a:lnTo>
                    <a:pt x="6" y="12"/>
                  </a:lnTo>
                  <a:lnTo>
                    <a:pt x="6" y="6"/>
                  </a:lnTo>
                  <a:lnTo>
                    <a:pt x="6" y="0"/>
                  </a:lnTo>
                  <a:lnTo>
                    <a:pt x="0" y="0"/>
                  </a:lnTo>
                  <a:lnTo>
                    <a:pt x="6" y="0"/>
                  </a:lnTo>
                  <a:lnTo>
                    <a:pt x="12" y="0"/>
                  </a:lnTo>
                  <a:lnTo>
                    <a:pt x="18" y="6"/>
                  </a:lnTo>
                  <a:lnTo>
                    <a:pt x="24" y="6"/>
                  </a:lnTo>
                  <a:lnTo>
                    <a:pt x="30" y="6"/>
                  </a:lnTo>
                  <a:lnTo>
                    <a:pt x="36" y="6"/>
                  </a:lnTo>
                  <a:lnTo>
                    <a:pt x="36" y="12"/>
                  </a:lnTo>
                  <a:lnTo>
                    <a:pt x="42" y="12"/>
                  </a:lnTo>
                  <a:lnTo>
                    <a:pt x="42" y="6"/>
                  </a:lnTo>
                  <a:lnTo>
                    <a:pt x="48" y="6"/>
                  </a:lnTo>
                  <a:lnTo>
                    <a:pt x="54" y="6"/>
                  </a:lnTo>
                  <a:lnTo>
                    <a:pt x="60" y="6"/>
                  </a:lnTo>
                  <a:lnTo>
                    <a:pt x="54" y="6"/>
                  </a:lnTo>
                  <a:lnTo>
                    <a:pt x="54" y="12"/>
                  </a:lnTo>
                  <a:lnTo>
                    <a:pt x="54" y="18"/>
                  </a:lnTo>
                  <a:lnTo>
                    <a:pt x="54" y="24"/>
                  </a:lnTo>
                  <a:lnTo>
                    <a:pt x="48" y="24"/>
                  </a:lnTo>
                  <a:lnTo>
                    <a:pt x="54" y="24"/>
                  </a:lnTo>
                  <a:lnTo>
                    <a:pt x="54" y="30"/>
                  </a:lnTo>
                  <a:lnTo>
                    <a:pt x="48" y="36"/>
                  </a:lnTo>
                  <a:lnTo>
                    <a:pt x="48" y="42"/>
                  </a:lnTo>
                  <a:lnTo>
                    <a:pt x="54" y="42"/>
                  </a:lnTo>
                  <a:lnTo>
                    <a:pt x="54" y="48"/>
                  </a:lnTo>
                  <a:lnTo>
                    <a:pt x="60" y="48"/>
                  </a:lnTo>
                  <a:lnTo>
                    <a:pt x="60" y="54"/>
                  </a:lnTo>
                  <a:lnTo>
                    <a:pt x="66" y="54"/>
                  </a:lnTo>
                  <a:lnTo>
                    <a:pt x="72" y="54"/>
                  </a:lnTo>
                  <a:lnTo>
                    <a:pt x="72" y="60"/>
                  </a:lnTo>
                  <a:lnTo>
                    <a:pt x="78" y="60"/>
                  </a:lnTo>
                  <a:lnTo>
                    <a:pt x="78" y="66"/>
                  </a:lnTo>
                  <a:lnTo>
                    <a:pt x="84" y="66"/>
                  </a:lnTo>
                  <a:lnTo>
                    <a:pt x="84" y="72"/>
                  </a:lnTo>
                  <a:lnTo>
                    <a:pt x="84" y="78"/>
                  </a:lnTo>
                  <a:lnTo>
                    <a:pt x="84" y="84"/>
                  </a:lnTo>
                  <a:lnTo>
                    <a:pt x="84" y="90"/>
                  </a:lnTo>
                  <a:lnTo>
                    <a:pt x="84" y="96"/>
                  </a:lnTo>
                  <a:lnTo>
                    <a:pt x="84" y="90"/>
                  </a:lnTo>
                  <a:lnTo>
                    <a:pt x="84" y="96"/>
                  </a:lnTo>
                  <a:lnTo>
                    <a:pt x="84" y="102"/>
                  </a:lnTo>
                  <a:lnTo>
                    <a:pt x="90" y="102"/>
                  </a:lnTo>
                  <a:lnTo>
                    <a:pt x="90" y="108"/>
                  </a:lnTo>
                  <a:lnTo>
                    <a:pt x="96" y="108"/>
                  </a:lnTo>
                  <a:lnTo>
                    <a:pt x="96" y="114"/>
                  </a:lnTo>
                  <a:lnTo>
                    <a:pt x="96" y="120"/>
                  </a:lnTo>
                  <a:lnTo>
                    <a:pt x="96" y="126"/>
                  </a:lnTo>
                  <a:lnTo>
                    <a:pt x="96" y="132"/>
                  </a:lnTo>
                  <a:lnTo>
                    <a:pt x="96" y="138"/>
                  </a:lnTo>
                  <a:lnTo>
                    <a:pt x="96" y="144"/>
                  </a:lnTo>
                  <a:lnTo>
                    <a:pt x="96" y="150"/>
                  </a:lnTo>
                  <a:lnTo>
                    <a:pt x="96" y="156"/>
                  </a:lnTo>
                  <a:lnTo>
                    <a:pt x="96" y="162"/>
                  </a:lnTo>
                  <a:lnTo>
                    <a:pt x="96" y="168"/>
                  </a:lnTo>
                  <a:lnTo>
                    <a:pt x="96" y="174"/>
                  </a:lnTo>
                  <a:lnTo>
                    <a:pt x="96" y="180"/>
                  </a:lnTo>
                  <a:lnTo>
                    <a:pt x="96" y="186"/>
                  </a:lnTo>
                  <a:lnTo>
                    <a:pt x="96" y="192"/>
                  </a:lnTo>
                  <a:lnTo>
                    <a:pt x="96" y="198"/>
                  </a:lnTo>
                  <a:lnTo>
                    <a:pt x="96" y="204"/>
                  </a:lnTo>
                  <a:lnTo>
                    <a:pt x="102" y="204"/>
                  </a:lnTo>
                  <a:lnTo>
                    <a:pt x="96" y="204"/>
                  </a:lnTo>
                  <a:lnTo>
                    <a:pt x="96" y="210"/>
                  </a:lnTo>
                  <a:lnTo>
                    <a:pt x="96" y="216"/>
                  </a:lnTo>
                  <a:lnTo>
                    <a:pt x="96" y="222"/>
                  </a:lnTo>
                  <a:lnTo>
                    <a:pt x="96" y="228"/>
                  </a:lnTo>
                  <a:lnTo>
                    <a:pt x="96" y="234"/>
                  </a:lnTo>
                  <a:lnTo>
                    <a:pt x="96" y="240"/>
                  </a:lnTo>
                  <a:lnTo>
                    <a:pt x="96" y="246"/>
                  </a:lnTo>
                  <a:lnTo>
                    <a:pt x="96" y="252"/>
                  </a:lnTo>
                  <a:lnTo>
                    <a:pt x="96" y="258"/>
                  </a:lnTo>
                  <a:lnTo>
                    <a:pt x="102" y="258"/>
                  </a:lnTo>
                  <a:lnTo>
                    <a:pt x="102" y="264"/>
                  </a:lnTo>
                  <a:lnTo>
                    <a:pt x="102" y="258"/>
                  </a:lnTo>
                  <a:lnTo>
                    <a:pt x="102" y="264"/>
                  </a:lnTo>
                  <a:lnTo>
                    <a:pt x="102" y="258"/>
                  </a:lnTo>
                  <a:lnTo>
                    <a:pt x="102" y="264"/>
                  </a:lnTo>
                  <a:lnTo>
                    <a:pt x="108" y="264"/>
                  </a:lnTo>
                  <a:lnTo>
                    <a:pt x="102" y="264"/>
                  </a:lnTo>
                  <a:lnTo>
                    <a:pt x="108" y="264"/>
                  </a:lnTo>
                  <a:lnTo>
                    <a:pt x="102" y="264"/>
                  </a:lnTo>
                  <a:lnTo>
                    <a:pt x="108" y="270"/>
                  </a:lnTo>
                  <a:lnTo>
                    <a:pt x="108" y="276"/>
                  </a:lnTo>
                  <a:lnTo>
                    <a:pt x="102" y="276"/>
                  </a:lnTo>
                  <a:lnTo>
                    <a:pt x="96" y="27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7" name="Freeform 26"/>
            <p:cNvSpPr>
              <a:spLocks/>
            </p:cNvSpPr>
            <p:nvPr>
              <p:custDataLst>
                <p:tags r:id="rId25"/>
              </p:custDataLst>
            </p:nvPr>
          </p:nvSpPr>
          <p:spPr bwMode="gray">
            <a:xfrm>
              <a:off x="1331026" y="3006982"/>
              <a:ext cx="158714" cy="304276"/>
            </a:xfrm>
            <a:custGeom>
              <a:avLst/>
              <a:gdLst>
                <a:gd name="T0" fmla="*/ 31879 w 174"/>
                <a:gd name="T1" fmla="*/ 122354 h 348"/>
                <a:gd name="T2" fmla="*/ 23184 w 174"/>
                <a:gd name="T3" fmla="*/ 122354 h 348"/>
                <a:gd name="T4" fmla="*/ 17388 w 174"/>
                <a:gd name="T5" fmla="*/ 124295 h 348"/>
                <a:gd name="T6" fmla="*/ 19321 w 174"/>
                <a:gd name="T7" fmla="*/ 120412 h 348"/>
                <a:gd name="T8" fmla="*/ 19321 w 174"/>
                <a:gd name="T9" fmla="*/ 120412 h 348"/>
                <a:gd name="T10" fmla="*/ 19321 w 174"/>
                <a:gd name="T11" fmla="*/ 120412 h 348"/>
                <a:gd name="T12" fmla="*/ 17388 w 174"/>
                <a:gd name="T13" fmla="*/ 113614 h 348"/>
                <a:gd name="T14" fmla="*/ 17388 w 174"/>
                <a:gd name="T15" fmla="*/ 104875 h 348"/>
                <a:gd name="T16" fmla="*/ 19321 w 174"/>
                <a:gd name="T17" fmla="*/ 98077 h 348"/>
                <a:gd name="T18" fmla="*/ 17388 w 174"/>
                <a:gd name="T19" fmla="*/ 92251 h 348"/>
                <a:gd name="T20" fmla="*/ 17388 w 174"/>
                <a:gd name="T21" fmla="*/ 83511 h 348"/>
                <a:gd name="T22" fmla="*/ 17388 w 174"/>
                <a:gd name="T23" fmla="*/ 74772 h 348"/>
                <a:gd name="T24" fmla="*/ 17388 w 174"/>
                <a:gd name="T25" fmla="*/ 67003 h 348"/>
                <a:gd name="T26" fmla="*/ 12558 w 174"/>
                <a:gd name="T27" fmla="*/ 62148 h 348"/>
                <a:gd name="T28" fmla="*/ 12558 w 174"/>
                <a:gd name="T29" fmla="*/ 57293 h 348"/>
                <a:gd name="T30" fmla="*/ 12558 w 174"/>
                <a:gd name="T31" fmla="*/ 49524 h 348"/>
                <a:gd name="T32" fmla="*/ 7728 w 174"/>
                <a:gd name="T33" fmla="*/ 44669 h 348"/>
                <a:gd name="T34" fmla="*/ 1932 w 174"/>
                <a:gd name="T35" fmla="*/ 42727 h 348"/>
                <a:gd name="T36" fmla="*/ 1932 w 174"/>
                <a:gd name="T37" fmla="*/ 36901 h 348"/>
                <a:gd name="T38" fmla="*/ 1932 w 174"/>
                <a:gd name="T39" fmla="*/ 32045 h 348"/>
                <a:gd name="T40" fmla="*/ 3864 w 174"/>
                <a:gd name="T41" fmla="*/ 26218 h 348"/>
                <a:gd name="T42" fmla="*/ 7728 w 174"/>
                <a:gd name="T43" fmla="*/ 26218 h 348"/>
                <a:gd name="T44" fmla="*/ 10626 w 174"/>
                <a:gd name="T45" fmla="*/ 23305 h 348"/>
                <a:gd name="T46" fmla="*/ 12558 w 174"/>
                <a:gd name="T47" fmla="*/ 21363 h 348"/>
                <a:gd name="T48" fmla="*/ 17388 w 174"/>
                <a:gd name="T49" fmla="*/ 21363 h 348"/>
                <a:gd name="T50" fmla="*/ 23184 w 174"/>
                <a:gd name="T51" fmla="*/ 19421 h 348"/>
                <a:gd name="T52" fmla="*/ 29947 w 174"/>
                <a:gd name="T53" fmla="*/ 14566 h 348"/>
                <a:gd name="T54" fmla="*/ 31879 w 174"/>
                <a:gd name="T55" fmla="*/ 8739 h 348"/>
                <a:gd name="T56" fmla="*/ 31879 w 174"/>
                <a:gd name="T57" fmla="*/ 3885 h 348"/>
                <a:gd name="T58" fmla="*/ 37674 w 174"/>
                <a:gd name="T59" fmla="*/ 1942 h 348"/>
                <a:gd name="T60" fmla="*/ 41539 w 174"/>
                <a:gd name="T61" fmla="*/ 1942 h 348"/>
                <a:gd name="T62" fmla="*/ 46369 w 174"/>
                <a:gd name="T63" fmla="*/ 6798 h 348"/>
                <a:gd name="T64" fmla="*/ 51199 w 174"/>
                <a:gd name="T65" fmla="*/ 10681 h 348"/>
                <a:gd name="T66" fmla="*/ 55063 w 174"/>
                <a:gd name="T67" fmla="*/ 14566 h 348"/>
                <a:gd name="T68" fmla="*/ 55063 w 174"/>
                <a:gd name="T69" fmla="*/ 19421 h 348"/>
                <a:gd name="T70" fmla="*/ 56995 w 174"/>
                <a:gd name="T71" fmla="*/ 26218 h 348"/>
                <a:gd name="T72" fmla="*/ 58927 w 174"/>
                <a:gd name="T73" fmla="*/ 32045 h 348"/>
                <a:gd name="T74" fmla="*/ 60859 w 174"/>
                <a:gd name="T75" fmla="*/ 37871 h 348"/>
                <a:gd name="T76" fmla="*/ 56995 w 174"/>
                <a:gd name="T77" fmla="*/ 37871 h 348"/>
                <a:gd name="T78" fmla="*/ 56995 w 174"/>
                <a:gd name="T79" fmla="*/ 44669 h 348"/>
                <a:gd name="T80" fmla="*/ 55063 w 174"/>
                <a:gd name="T81" fmla="*/ 51466 h 348"/>
                <a:gd name="T82" fmla="*/ 51199 w 174"/>
                <a:gd name="T83" fmla="*/ 56321 h 348"/>
                <a:gd name="T84" fmla="*/ 46369 w 174"/>
                <a:gd name="T85" fmla="*/ 60206 h 348"/>
                <a:gd name="T86" fmla="*/ 44437 w 174"/>
                <a:gd name="T87" fmla="*/ 67003 h 348"/>
                <a:gd name="T88" fmla="*/ 40573 w 174"/>
                <a:gd name="T89" fmla="*/ 70887 h 348"/>
                <a:gd name="T90" fmla="*/ 40573 w 174"/>
                <a:gd name="T91" fmla="*/ 74772 h 348"/>
                <a:gd name="T92" fmla="*/ 40573 w 174"/>
                <a:gd name="T93" fmla="*/ 79627 h 348"/>
                <a:gd name="T94" fmla="*/ 40573 w 174"/>
                <a:gd name="T95" fmla="*/ 83511 h 348"/>
                <a:gd name="T96" fmla="*/ 37674 w 174"/>
                <a:gd name="T97" fmla="*/ 90309 h 348"/>
                <a:gd name="T98" fmla="*/ 37674 w 174"/>
                <a:gd name="T99" fmla="*/ 98077 h 348"/>
                <a:gd name="T100" fmla="*/ 40573 w 174"/>
                <a:gd name="T101" fmla="*/ 104875 h 348"/>
                <a:gd name="T102" fmla="*/ 40573 w 174"/>
                <a:gd name="T103" fmla="*/ 109730 h 348"/>
                <a:gd name="T104" fmla="*/ 40573 w 174"/>
                <a:gd name="T105" fmla="*/ 115556 h 348"/>
                <a:gd name="T106" fmla="*/ 37674 w 174"/>
                <a:gd name="T107" fmla="*/ 120412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348">
                  <a:moveTo>
                    <a:pt x="108" y="342"/>
                  </a:moveTo>
                  <a:lnTo>
                    <a:pt x="102" y="342"/>
                  </a:lnTo>
                  <a:lnTo>
                    <a:pt x="96" y="342"/>
                  </a:lnTo>
                  <a:lnTo>
                    <a:pt x="90" y="342"/>
                  </a:lnTo>
                  <a:lnTo>
                    <a:pt x="84" y="342"/>
                  </a:lnTo>
                  <a:lnTo>
                    <a:pt x="78" y="342"/>
                  </a:lnTo>
                  <a:lnTo>
                    <a:pt x="72" y="342"/>
                  </a:lnTo>
                  <a:lnTo>
                    <a:pt x="66" y="342"/>
                  </a:lnTo>
                  <a:lnTo>
                    <a:pt x="66" y="348"/>
                  </a:lnTo>
                  <a:lnTo>
                    <a:pt x="60" y="348"/>
                  </a:lnTo>
                  <a:lnTo>
                    <a:pt x="54" y="348"/>
                  </a:lnTo>
                  <a:lnTo>
                    <a:pt x="48" y="348"/>
                  </a:lnTo>
                  <a:lnTo>
                    <a:pt x="54" y="348"/>
                  </a:lnTo>
                  <a:lnTo>
                    <a:pt x="60" y="348"/>
                  </a:lnTo>
                  <a:lnTo>
                    <a:pt x="60" y="342"/>
                  </a:lnTo>
                  <a:lnTo>
                    <a:pt x="54" y="336"/>
                  </a:lnTo>
                  <a:lnTo>
                    <a:pt x="60" y="336"/>
                  </a:lnTo>
                  <a:lnTo>
                    <a:pt x="54" y="336"/>
                  </a:lnTo>
                  <a:lnTo>
                    <a:pt x="60" y="336"/>
                  </a:lnTo>
                  <a:lnTo>
                    <a:pt x="54" y="336"/>
                  </a:lnTo>
                  <a:lnTo>
                    <a:pt x="54" y="330"/>
                  </a:lnTo>
                  <a:lnTo>
                    <a:pt x="54" y="336"/>
                  </a:lnTo>
                  <a:lnTo>
                    <a:pt x="54" y="330"/>
                  </a:lnTo>
                  <a:lnTo>
                    <a:pt x="54" y="336"/>
                  </a:lnTo>
                  <a:lnTo>
                    <a:pt x="54" y="330"/>
                  </a:lnTo>
                  <a:lnTo>
                    <a:pt x="48" y="330"/>
                  </a:lnTo>
                  <a:lnTo>
                    <a:pt x="48" y="324"/>
                  </a:lnTo>
                  <a:lnTo>
                    <a:pt x="48" y="318"/>
                  </a:lnTo>
                  <a:lnTo>
                    <a:pt x="48" y="312"/>
                  </a:lnTo>
                  <a:lnTo>
                    <a:pt x="48" y="306"/>
                  </a:lnTo>
                  <a:lnTo>
                    <a:pt x="48" y="300"/>
                  </a:lnTo>
                  <a:lnTo>
                    <a:pt x="48" y="294"/>
                  </a:lnTo>
                  <a:lnTo>
                    <a:pt x="48" y="288"/>
                  </a:lnTo>
                  <a:lnTo>
                    <a:pt x="48" y="282"/>
                  </a:lnTo>
                  <a:lnTo>
                    <a:pt x="48" y="276"/>
                  </a:lnTo>
                  <a:lnTo>
                    <a:pt x="54" y="276"/>
                  </a:lnTo>
                  <a:lnTo>
                    <a:pt x="48" y="276"/>
                  </a:lnTo>
                  <a:lnTo>
                    <a:pt x="48" y="270"/>
                  </a:lnTo>
                  <a:lnTo>
                    <a:pt x="48" y="264"/>
                  </a:lnTo>
                  <a:lnTo>
                    <a:pt x="48" y="258"/>
                  </a:lnTo>
                  <a:lnTo>
                    <a:pt x="48" y="252"/>
                  </a:lnTo>
                  <a:lnTo>
                    <a:pt x="48" y="246"/>
                  </a:lnTo>
                  <a:lnTo>
                    <a:pt x="48" y="240"/>
                  </a:lnTo>
                  <a:lnTo>
                    <a:pt x="48" y="234"/>
                  </a:lnTo>
                  <a:lnTo>
                    <a:pt x="48" y="228"/>
                  </a:lnTo>
                  <a:lnTo>
                    <a:pt x="48" y="222"/>
                  </a:lnTo>
                  <a:lnTo>
                    <a:pt x="48" y="216"/>
                  </a:lnTo>
                  <a:lnTo>
                    <a:pt x="48" y="210"/>
                  </a:lnTo>
                  <a:lnTo>
                    <a:pt x="48" y="204"/>
                  </a:lnTo>
                  <a:lnTo>
                    <a:pt x="48" y="198"/>
                  </a:lnTo>
                  <a:lnTo>
                    <a:pt x="48" y="192"/>
                  </a:lnTo>
                  <a:lnTo>
                    <a:pt x="48" y="186"/>
                  </a:lnTo>
                  <a:lnTo>
                    <a:pt x="48" y="180"/>
                  </a:lnTo>
                  <a:lnTo>
                    <a:pt x="42" y="180"/>
                  </a:lnTo>
                  <a:lnTo>
                    <a:pt x="42" y="174"/>
                  </a:lnTo>
                  <a:lnTo>
                    <a:pt x="36" y="174"/>
                  </a:lnTo>
                  <a:lnTo>
                    <a:pt x="36" y="168"/>
                  </a:lnTo>
                  <a:lnTo>
                    <a:pt x="36" y="162"/>
                  </a:lnTo>
                  <a:lnTo>
                    <a:pt x="36" y="168"/>
                  </a:lnTo>
                  <a:lnTo>
                    <a:pt x="36" y="162"/>
                  </a:lnTo>
                  <a:lnTo>
                    <a:pt x="36" y="156"/>
                  </a:lnTo>
                  <a:lnTo>
                    <a:pt x="36" y="150"/>
                  </a:lnTo>
                  <a:lnTo>
                    <a:pt x="36" y="144"/>
                  </a:lnTo>
                  <a:lnTo>
                    <a:pt x="36" y="138"/>
                  </a:lnTo>
                  <a:lnTo>
                    <a:pt x="30" y="138"/>
                  </a:lnTo>
                  <a:lnTo>
                    <a:pt x="30" y="132"/>
                  </a:lnTo>
                  <a:lnTo>
                    <a:pt x="24" y="132"/>
                  </a:lnTo>
                  <a:lnTo>
                    <a:pt x="24" y="126"/>
                  </a:lnTo>
                  <a:lnTo>
                    <a:pt x="18" y="126"/>
                  </a:lnTo>
                  <a:lnTo>
                    <a:pt x="12" y="126"/>
                  </a:lnTo>
                  <a:lnTo>
                    <a:pt x="12" y="120"/>
                  </a:lnTo>
                  <a:lnTo>
                    <a:pt x="6" y="120"/>
                  </a:lnTo>
                  <a:lnTo>
                    <a:pt x="6" y="114"/>
                  </a:lnTo>
                  <a:lnTo>
                    <a:pt x="0" y="114"/>
                  </a:lnTo>
                  <a:lnTo>
                    <a:pt x="0" y="108"/>
                  </a:lnTo>
                  <a:lnTo>
                    <a:pt x="6" y="102"/>
                  </a:lnTo>
                  <a:lnTo>
                    <a:pt x="6" y="96"/>
                  </a:lnTo>
                  <a:lnTo>
                    <a:pt x="0" y="96"/>
                  </a:lnTo>
                  <a:lnTo>
                    <a:pt x="6" y="96"/>
                  </a:lnTo>
                  <a:lnTo>
                    <a:pt x="6" y="90"/>
                  </a:lnTo>
                  <a:lnTo>
                    <a:pt x="6" y="84"/>
                  </a:lnTo>
                  <a:lnTo>
                    <a:pt x="6" y="78"/>
                  </a:lnTo>
                  <a:lnTo>
                    <a:pt x="12" y="78"/>
                  </a:lnTo>
                  <a:lnTo>
                    <a:pt x="12" y="72"/>
                  </a:lnTo>
                  <a:lnTo>
                    <a:pt x="18" y="72"/>
                  </a:lnTo>
                  <a:lnTo>
                    <a:pt x="18" y="78"/>
                  </a:lnTo>
                  <a:lnTo>
                    <a:pt x="18" y="72"/>
                  </a:lnTo>
                  <a:lnTo>
                    <a:pt x="24" y="72"/>
                  </a:lnTo>
                  <a:lnTo>
                    <a:pt x="24" y="66"/>
                  </a:lnTo>
                  <a:lnTo>
                    <a:pt x="30" y="66"/>
                  </a:lnTo>
                  <a:lnTo>
                    <a:pt x="30" y="60"/>
                  </a:lnTo>
                  <a:lnTo>
                    <a:pt x="30" y="66"/>
                  </a:lnTo>
                  <a:lnTo>
                    <a:pt x="30" y="60"/>
                  </a:lnTo>
                  <a:lnTo>
                    <a:pt x="36" y="60"/>
                  </a:lnTo>
                  <a:lnTo>
                    <a:pt x="30" y="60"/>
                  </a:lnTo>
                  <a:lnTo>
                    <a:pt x="36" y="60"/>
                  </a:lnTo>
                  <a:lnTo>
                    <a:pt x="36" y="54"/>
                  </a:lnTo>
                  <a:lnTo>
                    <a:pt x="42" y="54"/>
                  </a:lnTo>
                  <a:lnTo>
                    <a:pt x="48" y="54"/>
                  </a:lnTo>
                  <a:lnTo>
                    <a:pt x="48" y="60"/>
                  </a:lnTo>
                  <a:lnTo>
                    <a:pt x="48" y="54"/>
                  </a:lnTo>
                  <a:lnTo>
                    <a:pt x="54" y="54"/>
                  </a:lnTo>
                  <a:lnTo>
                    <a:pt x="60" y="54"/>
                  </a:lnTo>
                  <a:lnTo>
                    <a:pt x="66" y="54"/>
                  </a:lnTo>
                  <a:lnTo>
                    <a:pt x="72" y="54"/>
                  </a:lnTo>
                  <a:lnTo>
                    <a:pt x="78" y="48"/>
                  </a:lnTo>
                  <a:lnTo>
                    <a:pt x="84" y="48"/>
                  </a:lnTo>
                  <a:lnTo>
                    <a:pt x="84" y="42"/>
                  </a:lnTo>
                  <a:lnTo>
                    <a:pt x="84" y="36"/>
                  </a:lnTo>
                  <a:lnTo>
                    <a:pt x="90" y="36"/>
                  </a:lnTo>
                  <a:lnTo>
                    <a:pt x="90" y="30"/>
                  </a:lnTo>
                  <a:lnTo>
                    <a:pt x="90" y="24"/>
                  </a:lnTo>
                  <a:lnTo>
                    <a:pt x="96" y="24"/>
                  </a:lnTo>
                  <a:lnTo>
                    <a:pt x="96" y="18"/>
                  </a:lnTo>
                  <a:lnTo>
                    <a:pt x="90" y="18"/>
                  </a:lnTo>
                  <a:lnTo>
                    <a:pt x="90" y="12"/>
                  </a:lnTo>
                  <a:lnTo>
                    <a:pt x="90" y="6"/>
                  </a:lnTo>
                  <a:lnTo>
                    <a:pt x="96" y="6"/>
                  </a:lnTo>
                  <a:lnTo>
                    <a:pt x="102" y="6"/>
                  </a:lnTo>
                  <a:lnTo>
                    <a:pt x="108" y="6"/>
                  </a:lnTo>
                  <a:lnTo>
                    <a:pt x="108" y="0"/>
                  </a:lnTo>
                  <a:lnTo>
                    <a:pt x="114" y="0"/>
                  </a:lnTo>
                  <a:lnTo>
                    <a:pt x="120" y="0"/>
                  </a:lnTo>
                  <a:lnTo>
                    <a:pt x="120" y="6"/>
                  </a:lnTo>
                  <a:lnTo>
                    <a:pt x="126" y="6"/>
                  </a:lnTo>
                  <a:lnTo>
                    <a:pt x="126" y="12"/>
                  </a:lnTo>
                  <a:lnTo>
                    <a:pt x="132" y="12"/>
                  </a:lnTo>
                  <a:lnTo>
                    <a:pt x="132" y="18"/>
                  </a:lnTo>
                  <a:lnTo>
                    <a:pt x="138" y="18"/>
                  </a:lnTo>
                  <a:lnTo>
                    <a:pt x="138" y="24"/>
                  </a:lnTo>
                  <a:lnTo>
                    <a:pt x="144" y="24"/>
                  </a:lnTo>
                  <a:lnTo>
                    <a:pt x="144" y="30"/>
                  </a:lnTo>
                  <a:lnTo>
                    <a:pt x="150" y="30"/>
                  </a:lnTo>
                  <a:lnTo>
                    <a:pt x="156" y="30"/>
                  </a:lnTo>
                  <a:lnTo>
                    <a:pt x="156" y="36"/>
                  </a:lnTo>
                  <a:lnTo>
                    <a:pt x="156" y="42"/>
                  </a:lnTo>
                  <a:lnTo>
                    <a:pt x="162" y="42"/>
                  </a:lnTo>
                  <a:lnTo>
                    <a:pt x="156" y="42"/>
                  </a:lnTo>
                  <a:lnTo>
                    <a:pt x="156" y="48"/>
                  </a:lnTo>
                  <a:lnTo>
                    <a:pt x="156" y="54"/>
                  </a:lnTo>
                  <a:lnTo>
                    <a:pt x="156" y="60"/>
                  </a:lnTo>
                  <a:lnTo>
                    <a:pt x="156" y="66"/>
                  </a:lnTo>
                  <a:lnTo>
                    <a:pt x="162" y="66"/>
                  </a:lnTo>
                  <a:lnTo>
                    <a:pt x="162" y="72"/>
                  </a:lnTo>
                  <a:lnTo>
                    <a:pt x="168" y="72"/>
                  </a:lnTo>
                  <a:lnTo>
                    <a:pt x="168" y="78"/>
                  </a:lnTo>
                  <a:lnTo>
                    <a:pt x="168" y="84"/>
                  </a:lnTo>
                  <a:lnTo>
                    <a:pt x="168" y="90"/>
                  </a:lnTo>
                  <a:lnTo>
                    <a:pt x="168" y="96"/>
                  </a:lnTo>
                  <a:lnTo>
                    <a:pt x="174" y="96"/>
                  </a:lnTo>
                  <a:lnTo>
                    <a:pt x="174" y="102"/>
                  </a:lnTo>
                  <a:lnTo>
                    <a:pt x="174" y="108"/>
                  </a:lnTo>
                  <a:lnTo>
                    <a:pt x="168" y="108"/>
                  </a:lnTo>
                  <a:lnTo>
                    <a:pt x="168" y="114"/>
                  </a:lnTo>
                  <a:lnTo>
                    <a:pt x="168" y="108"/>
                  </a:lnTo>
                  <a:lnTo>
                    <a:pt x="162" y="108"/>
                  </a:lnTo>
                  <a:lnTo>
                    <a:pt x="162" y="114"/>
                  </a:lnTo>
                  <a:lnTo>
                    <a:pt x="162" y="120"/>
                  </a:lnTo>
                  <a:lnTo>
                    <a:pt x="156" y="120"/>
                  </a:lnTo>
                  <a:lnTo>
                    <a:pt x="162" y="126"/>
                  </a:lnTo>
                  <a:lnTo>
                    <a:pt x="162" y="132"/>
                  </a:lnTo>
                  <a:lnTo>
                    <a:pt x="162" y="138"/>
                  </a:lnTo>
                  <a:lnTo>
                    <a:pt x="156" y="138"/>
                  </a:lnTo>
                  <a:lnTo>
                    <a:pt x="156" y="144"/>
                  </a:lnTo>
                  <a:lnTo>
                    <a:pt x="150" y="144"/>
                  </a:lnTo>
                  <a:lnTo>
                    <a:pt x="144" y="144"/>
                  </a:lnTo>
                  <a:lnTo>
                    <a:pt x="144" y="150"/>
                  </a:lnTo>
                  <a:lnTo>
                    <a:pt x="144" y="156"/>
                  </a:lnTo>
                  <a:lnTo>
                    <a:pt x="138" y="156"/>
                  </a:lnTo>
                  <a:lnTo>
                    <a:pt x="138" y="162"/>
                  </a:lnTo>
                  <a:lnTo>
                    <a:pt x="132" y="162"/>
                  </a:lnTo>
                  <a:lnTo>
                    <a:pt x="132" y="168"/>
                  </a:lnTo>
                  <a:lnTo>
                    <a:pt x="132" y="174"/>
                  </a:lnTo>
                  <a:lnTo>
                    <a:pt x="132" y="180"/>
                  </a:lnTo>
                  <a:lnTo>
                    <a:pt x="132" y="186"/>
                  </a:lnTo>
                  <a:lnTo>
                    <a:pt x="126" y="186"/>
                  </a:lnTo>
                  <a:lnTo>
                    <a:pt x="120" y="186"/>
                  </a:lnTo>
                  <a:lnTo>
                    <a:pt x="114" y="186"/>
                  </a:lnTo>
                  <a:lnTo>
                    <a:pt x="114" y="192"/>
                  </a:lnTo>
                  <a:lnTo>
                    <a:pt x="114" y="198"/>
                  </a:lnTo>
                  <a:lnTo>
                    <a:pt x="114" y="204"/>
                  </a:lnTo>
                  <a:lnTo>
                    <a:pt x="108" y="204"/>
                  </a:lnTo>
                  <a:lnTo>
                    <a:pt x="114" y="204"/>
                  </a:lnTo>
                  <a:lnTo>
                    <a:pt x="114" y="210"/>
                  </a:lnTo>
                  <a:lnTo>
                    <a:pt x="108" y="210"/>
                  </a:lnTo>
                  <a:lnTo>
                    <a:pt x="114" y="210"/>
                  </a:lnTo>
                  <a:lnTo>
                    <a:pt x="114" y="216"/>
                  </a:lnTo>
                  <a:lnTo>
                    <a:pt x="114" y="222"/>
                  </a:lnTo>
                  <a:lnTo>
                    <a:pt x="108" y="222"/>
                  </a:lnTo>
                  <a:lnTo>
                    <a:pt x="108" y="228"/>
                  </a:lnTo>
                  <a:lnTo>
                    <a:pt x="108" y="234"/>
                  </a:lnTo>
                  <a:lnTo>
                    <a:pt x="114" y="234"/>
                  </a:lnTo>
                  <a:lnTo>
                    <a:pt x="114" y="240"/>
                  </a:lnTo>
                  <a:lnTo>
                    <a:pt x="108" y="240"/>
                  </a:lnTo>
                  <a:lnTo>
                    <a:pt x="108" y="246"/>
                  </a:lnTo>
                  <a:lnTo>
                    <a:pt x="108" y="252"/>
                  </a:lnTo>
                  <a:lnTo>
                    <a:pt x="108" y="258"/>
                  </a:lnTo>
                  <a:lnTo>
                    <a:pt x="108" y="264"/>
                  </a:lnTo>
                  <a:lnTo>
                    <a:pt x="108" y="270"/>
                  </a:lnTo>
                  <a:lnTo>
                    <a:pt x="108" y="276"/>
                  </a:lnTo>
                  <a:lnTo>
                    <a:pt x="114" y="276"/>
                  </a:lnTo>
                  <a:lnTo>
                    <a:pt x="114" y="282"/>
                  </a:lnTo>
                  <a:lnTo>
                    <a:pt x="114" y="288"/>
                  </a:lnTo>
                  <a:lnTo>
                    <a:pt x="114" y="294"/>
                  </a:lnTo>
                  <a:lnTo>
                    <a:pt x="114" y="300"/>
                  </a:lnTo>
                  <a:lnTo>
                    <a:pt x="114" y="306"/>
                  </a:lnTo>
                  <a:lnTo>
                    <a:pt x="108" y="306"/>
                  </a:lnTo>
                  <a:lnTo>
                    <a:pt x="114" y="306"/>
                  </a:lnTo>
                  <a:lnTo>
                    <a:pt x="114" y="312"/>
                  </a:lnTo>
                  <a:lnTo>
                    <a:pt x="108" y="318"/>
                  </a:lnTo>
                  <a:lnTo>
                    <a:pt x="114" y="318"/>
                  </a:lnTo>
                  <a:lnTo>
                    <a:pt x="114" y="324"/>
                  </a:lnTo>
                  <a:lnTo>
                    <a:pt x="108" y="324"/>
                  </a:lnTo>
                  <a:lnTo>
                    <a:pt x="114" y="330"/>
                  </a:lnTo>
                  <a:lnTo>
                    <a:pt x="108" y="330"/>
                  </a:lnTo>
                  <a:lnTo>
                    <a:pt x="108" y="336"/>
                  </a:lnTo>
                  <a:lnTo>
                    <a:pt x="108" y="34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8" name="Freeform 27"/>
            <p:cNvSpPr>
              <a:spLocks/>
            </p:cNvSpPr>
            <p:nvPr>
              <p:custDataLst>
                <p:tags r:id="rId26"/>
              </p:custDataLst>
            </p:nvPr>
          </p:nvSpPr>
          <p:spPr bwMode="gray">
            <a:xfrm>
              <a:off x="1303018" y="2435347"/>
              <a:ext cx="799403" cy="607433"/>
            </a:xfrm>
            <a:custGeom>
              <a:avLst/>
              <a:gdLst>
                <a:gd name="T0" fmla="*/ 60190 w 876"/>
                <a:gd name="T1" fmla="*/ 237877 h 696"/>
                <a:gd name="T2" fmla="*/ 49511 w 876"/>
                <a:gd name="T3" fmla="*/ 233041 h 696"/>
                <a:gd name="T4" fmla="*/ 42716 w 876"/>
                <a:gd name="T5" fmla="*/ 241744 h 696"/>
                <a:gd name="T6" fmla="*/ 40774 w 876"/>
                <a:gd name="T7" fmla="*/ 229174 h 696"/>
                <a:gd name="T8" fmla="*/ 26211 w 876"/>
                <a:gd name="T9" fmla="*/ 227240 h 696"/>
                <a:gd name="T10" fmla="*/ 14562 w 876"/>
                <a:gd name="T11" fmla="*/ 216603 h 696"/>
                <a:gd name="T12" fmla="*/ 19416 w 876"/>
                <a:gd name="T13" fmla="*/ 212735 h 696"/>
                <a:gd name="T14" fmla="*/ 8737 w 876"/>
                <a:gd name="T15" fmla="*/ 204032 h 696"/>
                <a:gd name="T16" fmla="*/ 1942 w 876"/>
                <a:gd name="T17" fmla="*/ 195329 h 696"/>
                <a:gd name="T18" fmla="*/ 0 w 876"/>
                <a:gd name="T19" fmla="*/ 182759 h 696"/>
                <a:gd name="T20" fmla="*/ 10678 w 876"/>
                <a:gd name="T21" fmla="*/ 177924 h 696"/>
                <a:gd name="T22" fmla="*/ 23299 w 876"/>
                <a:gd name="T23" fmla="*/ 172122 h 696"/>
                <a:gd name="T24" fmla="*/ 42716 w 876"/>
                <a:gd name="T25" fmla="*/ 172122 h 696"/>
                <a:gd name="T26" fmla="*/ 62132 w 876"/>
                <a:gd name="T27" fmla="*/ 172122 h 696"/>
                <a:gd name="T28" fmla="*/ 72810 w 876"/>
                <a:gd name="T29" fmla="*/ 163420 h 696"/>
                <a:gd name="T30" fmla="*/ 76693 w 876"/>
                <a:gd name="T31" fmla="*/ 144080 h 696"/>
                <a:gd name="T32" fmla="*/ 79605 w 876"/>
                <a:gd name="T33" fmla="*/ 127641 h 696"/>
                <a:gd name="T34" fmla="*/ 79605 w 876"/>
                <a:gd name="T35" fmla="*/ 108301 h 696"/>
                <a:gd name="T36" fmla="*/ 83489 w 876"/>
                <a:gd name="T37" fmla="*/ 93797 h 696"/>
                <a:gd name="T38" fmla="*/ 102905 w 876"/>
                <a:gd name="T39" fmla="*/ 88962 h 696"/>
                <a:gd name="T40" fmla="*/ 120379 w 876"/>
                <a:gd name="T41" fmla="*/ 78325 h 696"/>
                <a:gd name="T42" fmla="*/ 132029 w 876"/>
                <a:gd name="T43" fmla="*/ 67689 h 696"/>
                <a:gd name="T44" fmla="*/ 145620 w 876"/>
                <a:gd name="T45" fmla="*/ 55118 h 696"/>
                <a:gd name="T46" fmla="*/ 158240 w 876"/>
                <a:gd name="T47" fmla="*/ 48349 h 696"/>
                <a:gd name="T48" fmla="*/ 170861 w 876"/>
                <a:gd name="T49" fmla="*/ 40613 h 696"/>
                <a:gd name="T50" fmla="*/ 186394 w 876"/>
                <a:gd name="T51" fmla="*/ 29977 h 696"/>
                <a:gd name="T52" fmla="*/ 199014 w 876"/>
                <a:gd name="T53" fmla="*/ 21274 h 696"/>
                <a:gd name="T54" fmla="*/ 214547 w 876"/>
                <a:gd name="T55" fmla="*/ 12571 h 696"/>
                <a:gd name="T56" fmla="*/ 229109 w 876"/>
                <a:gd name="T57" fmla="*/ 3868 h 696"/>
                <a:gd name="T58" fmla="*/ 244642 w 876"/>
                <a:gd name="T59" fmla="*/ 1934 h 696"/>
                <a:gd name="T60" fmla="*/ 263088 w 876"/>
                <a:gd name="T61" fmla="*/ 6769 h 696"/>
                <a:gd name="T62" fmla="*/ 273766 w 876"/>
                <a:gd name="T63" fmla="*/ 14505 h 696"/>
                <a:gd name="T64" fmla="*/ 295124 w 876"/>
                <a:gd name="T65" fmla="*/ 17406 h 696"/>
                <a:gd name="T66" fmla="*/ 298036 w 876"/>
                <a:gd name="T67" fmla="*/ 37712 h 696"/>
                <a:gd name="T68" fmla="*/ 303861 w 876"/>
                <a:gd name="T69" fmla="*/ 51250 h 696"/>
                <a:gd name="T70" fmla="*/ 312598 w 876"/>
                <a:gd name="T71" fmla="*/ 65754 h 696"/>
                <a:gd name="T72" fmla="*/ 308715 w 876"/>
                <a:gd name="T73" fmla="*/ 85094 h 696"/>
                <a:gd name="T74" fmla="*/ 305802 w 876"/>
                <a:gd name="T75" fmla="*/ 101532 h 696"/>
                <a:gd name="T76" fmla="*/ 303861 w 876"/>
                <a:gd name="T77" fmla="*/ 120872 h 696"/>
                <a:gd name="T78" fmla="*/ 301919 w 876"/>
                <a:gd name="T79" fmla="*/ 140212 h 696"/>
                <a:gd name="T80" fmla="*/ 289299 w 876"/>
                <a:gd name="T81" fmla="*/ 154717 h 696"/>
                <a:gd name="T82" fmla="*/ 280562 w 876"/>
                <a:gd name="T83" fmla="*/ 165353 h 696"/>
                <a:gd name="T84" fmla="*/ 269883 w 876"/>
                <a:gd name="T85" fmla="*/ 177924 h 696"/>
                <a:gd name="T86" fmla="*/ 263088 w 876"/>
                <a:gd name="T87" fmla="*/ 191461 h 696"/>
                <a:gd name="T88" fmla="*/ 265029 w 876"/>
                <a:gd name="T89" fmla="*/ 204032 h 696"/>
                <a:gd name="T90" fmla="*/ 252408 w 876"/>
                <a:gd name="T91" fmla="*/ 209834 h 696"/>
                <a:gd name="T92" fmla="*/ 245613 w 876"/>
                <a:gd name="T93" fmla="*/ 214669 h 696"/>
                <a:gd name="T94" fmla="*/ 241730 w 876"/>
                <a:gd name="T95" fmla="*/ 216603 h 696"/>
                <a:gd name="T96" fmla="*/ 232992 w 876"/>
                <a:gd name="T97" fmla="*/ 216603 h 696"/>
                <a:gd name="T98" fmla="*/ 215518 w 876"/>
                <a:gd name="T99" fmla="*/ 212735 h 696"/>
                <a:gd name="T100" fmla="*/ 199014 w 876"/>
                <a:gd name="T101" fmla="*/ 214669 h 696"/>
                <a:gd name="T102" fmla="*/ 186394 w 876"/>
                <a:gd name="T103" fmla="*/ 222405 h 696"/>
                <a:gd name="T104" fmla="*/ 168920 w 876"/>
                <a:gd name="T105" fmla="*/ 220471 h 696"/>
                <a:gd name="T106" fmla="*/ 156299 w 876"/>
                <a:gd name="T107" fmla="*/ 214669 h 696"/>
                <a:gd name="T108" fmla="*/ 143679 w 876"/>
                <a:gd name="T109" fmla="*/ 216603 h 696"/>
                <a:gd name="T110" fmla="*/ 131059 w 876"/>
                <a:gd name="T111" fmla="*/ 214669 h 696"/>
                <a:gd name="T112" fmla="*/ 115526 w 876"/>
                <a:gd name="T113" fmla="*/ 205966 h 696"/>
                <a:gd name="T114" fmla="*/ 98051 w 876"/>
                <a:gd name="T115" fmla="*/ 204032 h 696"/>
                <a:gd name="T116" fmla="*/ 81547 w 876"/>
                <a:gd name="T117" fmla="*/ 205966 h 696"/>
                <a:gd name="T118" fmla="*/ 76693 w 876"/>
                <a:gd name="T119" fmla="*/ 220471 h 696"/>
                <a:gd name="T120" fmla="*/ 67957 w 876"/>
                <a:gd name="T121" fmla="*/ 232075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696">
                  <a:moveTo>
                    <a:pt x="192" y="696"/>
                  </a:moveTo>
                  <a:lnTo>
                    <a:pt x="186" y="696"/>
                  </a:lnTo>
                  <a:lnTo>
                    <a:pt x="186" y="690"/>
                  </a:lnTo>
                  <a:lnTo>
                    <a:pt x="186" y="684"/>
                  </a:lnTo>
                  <a:lnTo>
                    <a:pt x="180" y="684"/>
                  </a:lnTo>
                  <a:lnTo>
                    <a:pt x="174" y="684"/>
                  </a:lnTo>
                  <a:lnTo>
                    <a:pt x="174" y="678"/>
                  </a:lnTo>
                  <a:lnTo>
                    <a:pt x="168" y="678"/>
                  </a:lnTo>
                  <a:lnTo>
                    <a:pt x="168" y="672"/>
                  </a:lnTo>
                  <a:lnTo>
                    <a:pt x="162" y="672"/>
                  </a:lnTo>
                  <a:lnTo>
                    <a:pt x="162" y="666"/>
                  </a:lnTo>
                  <a:lnTo>
                    <a:pt x="156" y="666"/>
                  </a:lnTo>
                  <a:lnTo>
                    <a:pt x="156" y="660"/>
                  </a:lnTo>
                  <a:lnTo>
                    <a:pt x="150" y="660"/>
                  </a:lnTo>
                  <a:lnTo>
                    <a:pt x="150" y="654"/>
                  </a:lnTo>
                  <a:lnTo>
                    <a:pt x="144" y="654"/>
                  </a:lnTo>
                  <a:lnTo>
                    <a:pt x="138" y="654"/>
                  </a:lnTo>
                  <a:lnTo>
                    <a:pt x="138" y="660"/>
                  </a:lnTo>
                  <a:lnTo>
                    <a:pt x="132" y="660"/>
                  </a:lnTo>
                  <a:lnTo>
                    <a:pt x="126" y="660"/>
                  </a:lnTo>
                  <a:lnTo>
                    <a:pt x="120" y="660"/>
                  </a:lnTo>
                  <a:lnTo>
                    <a:pt x="120" y="666"/>
                  </a:lnTo>
                  <a:lnTo>
                    <a:pt x="120" y="672"/>
                  </a:lnTo>
                  <a:lnTo>
                    <a:pt x="126" y="672"/>
                  </a:lnTo>
                  <a:lnTo>
                    <a:pt x="126" y="678"/>
                  </a:lnTo>
                  <a:lnTo>
                    <a:pt x="120" y="678"/>
                  </a:lnTo>
                  <a:lnTo>
                    <a:pt x="120" y="684"/>
                  </a:lnTo>
                  <a:lnTo>
                    <a:pt x="120" y="678"/>
                  </a:lnTo>
                  <a:lnTo>
                    <a:pt x="114" y="672"/>
                  </a:lnTo>
                  <a:lnTo>
                    <a:pt x="108" y="666"/>
                  </a:lnTo>
                  <a:lnTo>
                    <a:pt x="108" y="660"/>
                  </a:lnTo>
                  <a:lnTo>
                    <a:pt x="102" y="660"/>
                  </a:lnTo>
                  <a:lnTo>
                    <a:pt x="102" y="654"/>
                  </a:lnTo>
                  <a:lnTo>
                    <a:pt x="108" y="654"/>
                  </a:lnTo>
                  <a:lnTo>
                    <a:pt x="114" y="654"/>
                  </a:lnTo>
                  <a:lnTo>
                    <a:pt x="114" y="648"/>
                  </a:lnTo>
                  <a:lnTo>
                    <a:pt x="114" y="642"/>
                  </a:lnTo>
                  <a:lnTo>
                    <a:pt x="108" y="642"/>
                  </a:lnTo>
                  <a:lnTo>
                    <a:pt x="108" y="636"/>
                  </a:lnTo>
                  <a:lnTo>
                    <a:pt x="102" y="636"/>
                  </a:lnTo>
                  <a:lnTo>
                    <a:pt x="96" y="636"/>
                  </a:lnTo>
                  <a:lnTo>
                    <a:pt x="90" y="642"/>
                  </a:lnTo>
                  <a:lnTo>
                    <a:pt x="84" y="642"/>
                  </a:lnTo>
                  <a:lnTo>
                    <a:pt x="78" y="642"/>
                  </a:lnTo>
                  <a:lnTo>
                    <a:pt x="72" y="642"/>
                  </a:lnTo>
                  <a:lnTo>
                    <a:pt x="72" y="636"/>
                  </a:lnTo>
                  <a:lnTo>
                    <a:pt x="66" y="636"/>
                  </a:lnTo>
                  <a:lnTo>
                    <a:pt x="66" y="630"/>
                  </a:lnTo>
                  <a:lnTo>
                    <a:pt x="60" y="630"/>
                  </a:lnTo>
                  <a:lnTo>
                    <a:pt x="60" y="624"/>
                  </a:lnTo>
                  <a:lnTo>
                    <a:pt x="54" y="624"/>
                  </a:lnTo>
                  <a:lnTo>
                    <a:pt x="48" y="618"/>
                  </a:lnTo>
                  <a:lnTo>
                    <a:pt x="42" y="618"/>
                  </a:lnTo>
                  <a:lnTo>
                    <a:pt x="42" y="612"/>
                  </a:lnTo>
                  <a:lnTo>
                    <a:pt x="42" y="606"/>
                  </a:lnTo>
                  <a:lnTo>
                    <a:pt x="42" y="600"/>
                  </a:lnTo>
                  <a:lnTo>
                    <a:pt x="48" y="600"/>
                  </a:lnTo>
                  <a:lnTo>
                    <a:pt x="54" y="600"/>
                  </a:lnTo>
                  <a:lnTo>
                    <a:pt x="60" y="600"/>
                  </a:lnTo>
                  <a:lnTo>
                    <a:pt x="60" y="594"/>
                  </a:lnTo>
                  <a:lnTo>
                    <a:pt x="54" y="600"/>
                  </a:lnTo>
                  <a:lnTo>
                    <a:pt x="54" y="594"/>
                  </a:lnTo>
                  <a:lnTo>
                    <a:pt x="54" y="600"/>
                  </a:lnTo>
                  <a:lnTo>
                    <a:pt x="54" y="594"/>
                  </a:lnTo>
                  <a:lnTo>
                    <a:pt x="48" y="594"/>
                  </a:lnTo>
                  <a:lnTo>
                    <a:pt x="48" y="588"/>
                  </a:lnTo>
                  <a:lnTo>
                    <a:pt x="42" y="588"/>
                  </a:lnTo>
                  <a:lnTo>
                    <a:pt x="42" y="582"/>
                  </a:lnTo>
                  <a:lnTo>
                    <a:pt x="36" y="582"/>
                  </a:lnTo>
                  <a:lnTo>
                    <a:pt x="30" y="582"/>
                  </a:lnTo>
                  <a:lnTo>
                    <a:pt x="24" y="582"/>
                  </a:lnTo>
                  <a:lnTo>
                    <a:pt x="24" y="576"/>
                  </a:lnTo>
                  <a:lnTo>
                    <a:pt x="18" y="576"/>
                  </a:lnTo>
                  <a:lnTo>
                    <a:pt x="18" y="570"/>
                  </a:lnTo>
                  <a:lnTo>
                    <a:pt x="12" y="570"/>
                  </a:lnTo>
                  <a:lnTo>
                    <a:pt x="12" y="564"/>
                  </a:lnTo>
                  <a:lnTo>
                    <a:pt x="18" y="564"/>
                  </a:lnTo>
                  <a:lnTo>
                    <a:pt x="12" y="564"/>
                  </a:lnTo>
                  <a:lnTo>
                    <a:pt x="12" y="558"/>
                  </a:lnTo>
                  <a:lnTo>
                    <a:pt x="6" y="558"/>
                  </a:lnTo>
                  <a:lnTo>
                    <a:pt x="6" y="552"/>
                  </a:lnTo>
                  <a:lnTo>
                    <a:pt x="12" y="552"/>
                  </a:lnTo>
                  <a:lnTo>
                    <a:pt x="12" y="546"/>
                  </a:lnTo>
                  <a:lnTo>
                    <a:pt x="6" y="546"/>
                  </a:lnTo>
                  <a:lnTo>
                    <a:pt x="6" y="540"/>
                  </a:lnTo>
                  <a:lnTo>
                    <a:pt x="0" y="540"/>
                  </a:lnTo>
                  <a:lnTo>
                    <a:pt x="0" y="534"/>
                  </a:lnTo>
                  <a:lnTo>
                    <a:pt x="0" y="528"/>
                  </a:lnTo>
                  <a:lnTo>
                    <a:pt x="0" y="522"/>
                  </a:lnTo>
                  <a:lnTo>
                    <a:pt x="0" y="516"/>
                  </a:lnTo>
                  <a:lnTo>
                    <a:pt x="0" y="510"/>
                  </a:lnTo>
                  <a:lnTo>
                    <a:pt x="0" y="504"/>
                  </a:lnTo>
                  <a:lnTo>
                    <a:pt x="6" y="504"/>
                  </a:lnTo>
                  <a:lnTo>
                    <a:pt x="12" y="504"/>
                  </a:lnTo>
                  <a:lnTo>
                    <a:pt x="18" y="504"/>
                  </a:lnTo>
                  <a:lnTo>
                    <a:pt x="24" y="504"/>
                  </a:lnTo>
                  <a:lnTo>
                    <a:pt x="24" y="510"/>
                  </a:lnTo>
                  <a:lnTo>
                    <a:pt x="30" y="510"/>
                  </a:lnTo>
                  <a:lnTo>
                    <a:pt x="30" y="504"/>
                  </a:lnTo>
                  <a:lnTo>
                    <a:pt x="36" y="504"/>
                  </a:lnTo>
                  <a:lnTo>
                    <a:pt x="42" y="504"/>
                  </a:lnTo>
                  <a:lnTo>
                    <a:pt x="48" y="504"/>
                  </a:lnTo>
                  <a:lnTo>
                    <a:pt x="48" y="498"/>
                  </a:lnTo>
                  <a:lnTo>
                    <a:pt x="54" y="498"/>
                  </a:lnTo>
                  <a:lnTo>
                    <a:pt x="54" y="492"/>
                  </a:lnTo>
                  <a:lnTo>
                    <a:pt x="60" y="492"/>
                  </a:lnTo>
                  <a:lnTo>
                    <a:pt x="66" y="492"/>
                  </a:lnTo>
                  <a:lnTo>
                    <a:pt x="66" y="486"/>
                  </a:lnTo>
                  <a:lnTo>
                    <a:pt x="72" y="486"/>
                  </a:lnTo>
                  <a:lnTo>
                    <a:pt x="78" y="486"/>
                  </a:lnTo>
                  <a:lnTo>
                    <a:pt x="84" y="486"/>
                  </a:lnTo>
                  <a:lnTo>
                    <a:pt x="90" y="486"/>
                  </a:lnTo>
                  <a:lnTo>
                    <a:pt x="96" y="486"/>
                  </a:lnTo>
                  <a:lnTo>
                    <a:pt x="102" y="486"/>
                  </a:lnTo>
                  <a:lnTo>
                    <a:pt x="108" y="486"/>
                  </a:lnTo>
                  <a:lnTo>
                    <a:pt x="114" y="486"/>
                  </a:lnTo>
                  <a:lnTo>
                    <a:pt x="120" y="486"/>
                  </a:lnTo>
                  <a:lnTo>
                    <a:pt x="126" y="486"/>
                  </a:lnTo>
                  <a:lnTo>
                    <a:pt x="132" y="486"/>
                  </a:lnTo>
                  <a:lnTo>
                    <a:pt x="138" y="486"/>
                  </a:lnTo>
                  <a:lnTo>
                    <a:pt x="144" y="486"/>
                  </a:lnTo>
                  <a:lnTo>
                    <a:pt x="150" y="486"/>
                  </a:lnTo>
                  <a:lnTo>
                    <a:pt x="156" y="486"/>
                  </a:lnTo>
                  <a:lnTo>
                    <a:pt x="162" y="486"/>
                  </a:lnTo>
                  <a:lnTo>
                    <a:pt x="168" y="486"/>
                  </a:lnTo>
                  <a:lnTo>
                    <a:pt x="174" y="486"/>
                  </a:lnTo>
                  <a:lnTo>
                    <a:pt x="180" y="486"/>
                  </a:lnTo>
                  <a:lnTo>
                    <a:pt x="186" y="486"/>
                  </a:lnTo>
                  <a:lnTo>
                    <a:pt x="186" y="480"/>
                  </a:lnTo>
                  <a:lnTo>
                    <a:pt x="186" y="474"/>
                  </a:lnTo>
                  <a:lnTo>
                    <a:pt x="192" y="474"/>
                  </a:lnTo>
                  <a:lnTo>
                    <a:pt x="192" y="468"/>
                  </a:lnTo>
                  <a:lnTo>
                    <a:pt x="198" y="468"/>
                  </a:lnTo>
                  <a:lnTo>
                    <a:pt x="204" y="468"/>
                  </a:lnTo>
                  <a:lnTo>
                    <a:pt x="204" y="462"/>
                  </a:lnTo>
                  <a:lnTo>
                    <a:pt x="204" y="456"/>
                  </a:lnTo>
                  <a:lnTo>
                    <a:pt x="210" y="450"/>
                  </a:lnTo>
                  <a:lnTo>
                    <a:pt x="210" y="444"/>
                  </a:lnTo>
                  <a:lnTo>
                    <a:pt x="210" y="438"/>
                  </a:lnTo>
                  <a:lnTo>
                    <a:pt x="216" y="432"/>
                  </a:lnTo>
                  <a:lnTo>
                    <a:pt x="216" y="426"/>
                  </a:lnTo>
                  <a:lnTo>
                    <a:pt x="216" y="420"/>
                  </a:lnTo>
                  <a:lnTo>
                    <a:pt x="216" y="414"/>
                  </a:lnTo>
                  <a:lnTo>
                    <a:pt x="216" y="408"/>
                  </a:lnTo>
                  <a:lnTo>
                    <a:pt x="216" y="402"/>
                  </a:lnTo>
                  <a:lnTo>
                    <a:pt x="216" y="396"/>
                  </a:lnTo>
                  <a:lnTo>
                    <a:pt x="216" y="390"/>
                  </a:lnTo>
                  <a:lnTo>
                    <a:pt x="222" y="390"/>
                  </a:lnTo>
                  <a:lnTo>
                    <a:pt x="222" y="384"/>
                  </a:lnTo>
                  <a:lnTo>
                    <a:pt x="222" y="378"/>
                  </a:lnTo>
                  <a:lnTo>
                    <a:pt x="222" y="372"/>
                  </a:lnTo>
                  <a:lnTo>
                    <a:pt x="222" y="366"/>
                  </a:lnTo>
                  <a:lnTo>
                    <a:pt x="222" y="360"/>
                  </a:lnTo>
                  <a:lnTo>
                    <a:pt x="222" y="354"/>
                  </a:lnTo>
                  <a:lnTo>
                    <a:pt x="222" y="348"/>
                  </a:lnTo>
                  <a:lnTo>
                    <a:pt x="222" y="342"/>
                  </a:lnTo>
                  <a:lnTo>
                    <a:pt x="222" y="336"/>
                  </a:lnTo>
                  <a:lnTo>
                    <a:pt x="222" y="330"/>
                  </a:lnTo>
                  <a:lnTo>
                    <a:pt x="222" y="324"/>
                  </a:lnTo>
                  <a:lnTo>
                    <a:pt x="222" y="318"/>
                  </a:lnTo>
                  <a:lnTo>
                    <a:pt x="222" y="312"/>
                  </a:lnTo>
                  <a:lnTo>
                    <a:pt x="222" y="306"/>
                  </a:lnTo>
                  <a:lnTo>
                    <a:pt x="222" y="300"/>
                  </a:lnTo>
                  <a:lnTo>
                    <a:pt x="222" y="294"/>
                  </a:lnTo>
                  <a:lnTo>
                    <a:pt x="222" y="288"/>
                  </a:lnTo>
                  <a:lnTo>
                    <a:pt x="222" y="282"/>
                  </a:lnTo>
                  <a:lnTo>
                    <a:pt x="222" y="276"/>
                  </a:lnTo>
                  <a:lnTo>
                    <a:pt x="222" y="270"/>
                  </a:lnTo>
                  <a:lnTo>
                    <a:pt x="222" y="264"/>
                  </a:lnTo>
                  <a:lnTo>
                    <a:pt x="228" y="264"/>
                  </a:lnTo>
                  <a:lnTo>
                    <a:pt x="234" y="264"/>
                  </a:lnTo>
                  <a:lnTo>
                    <a:pt x="240" y="258"/>
                  </a:lnTo>
                  <a:lnTo>
                    <a:pt x="246" y="258"/>
                  </a:lnTo>
                  <a:lnTo>
                    <a:pt x="252" y="258"/>
                  </a:lnTo>
                  <a:lnTo>
                    <a:pt x="258" y="258"/>
                  </a:lnTo>
                  <a:lnTo>
                    <a:pt x="264" y="258"/>
                  </a:lnTo>
                  <a:lnTo>
                    <a:pt x="270" y="252"/>
                  </a:lnTo>
                  <a:lnTo>
                    <a:pt x="276" y="252"/>
                  </a:lnTo>
                  <a:lnTo>
                    <a:pt x="282" y="252"/>
                  </a:lnTo>
                  <a:lnTo>
                    <a:pt x="288" y="252"/>
                  </a:lnTo>
                  <a:lnTo>
                    <a:pt x="294" y="252"/>
                  </a:lnTo>
                  <a:lnTo>
                    <a:pt x="300" y="252"/>
                  </a:lnTo>
                  <a:lnTo>
                    <a:pt x="306" y="246"/>
                  </a:lnTo>
                  <a:lnTo>
                    <a:pt x="312" y="246"/>
                  </a:lnTo>
                  <a:lnTo>
                    <a:pt x="318" y="240"/>
                  </a:lnTo>
                  <a:lnTo>
                    <a:pt x="324" y="234"/>
                  </a:lnTo>
                  <a:lnTo>
                    <a:pt x="330" y="228"/>
                  </a:lnTo>
                  <a:lnTo>
                    <a:pt x="336" y="228"/>
                  </a:lnTo>
                  <a:lnTo>
                    <a:pt x="336" y="222"/>
                  </a:lnTo>
                  <a:lnTo>
                    <a:pt x="342" y="216"/>
                  </a:lnTo>
                  <a:lnTo>
                    <a:pt x="348" y="210"/>
                  </a:lnTo>
                  <a:lnTo>
                    <a:pt x="354" y="210"/>
                  </a:lnTo>
                  <a:lnTo>
                    <a:pt x="354" y="204"/>
                  </a:lnTo>
                  <a:lnTo>
                    <a:pt x="360" y="204"/>
                  </a:lnTo>
                  <a:lnTo>
                    <a:pt x="360" y="198"/>
                  </a:lnTo>
                  <a:lnTo>
                    <a:pt x="366" y="198"/>
                  </a:lnTo>
                  <a:lnTo>
                    <a:pt x="366" y="192"/>
                  </a:lnTo>
                  <a:lnTo>
                    <a:pt x="372" y="192"/>
                  </a:lnTo>
                  <a:lnTo>
                    <a:pt x="372" y="186"/>
                  </a:lnTo>
                  <a:lnTo>
                    <a:pt x="378" y="186"/>
                  </a:lnTo>
                  <a:lnTo>
                    <a:pt x="384" y="180"/>
                  </a:lnTo>
                  <a:lnTo>
                    <a:pt x="384" y="174"/>
                  </a:lnTo>
                  <a:lnTo>
                    <a:pt x="390" y="174"/>
                  </a:lnTo>
                  <a:lnTo>
                    <a:pt x="396" y="168"/>
                  </a:lnTo>
                  <a:lnTo>
                    <a:pt x="402" y="162"/>
                  </a:lnTo>
                  <a:lnTo>
                    <a:pt x="408" y="162"/>
                  </a:lnTo>
                  <a:lnTo>
                    <a:pt x="408" y="156"/>
                  </a:lnTo>
                  <a:lnTo>
                    <a:pt x="414" y="156"/>
                  </a:lnTo>
                  <a:lnTo>
                    <a:pt x="420" y="156"/>
                  </a:lnTo>
                  <a:lnTo>
                    <a:pt x="420" y="150"/>
                  </a:lnTo>
                  <a:lnTo>
                    <a:pt x="426" y="150"/>
                  </a:lnTo>
                  <a:lnTo>
                    <a:pt x="426" y="144"/>
                  </a:lnTo>
                  <a:lnTo>
                    <a:pt x="432" y="144"/>
                  </a:lnTo>
                  <a:lnTo>
                    <a:pt x="438" y="144"/>
                  </a:lnTo>
                  <a:lnTo>
                    <a:pt x="438" y="138"/>
                  </a:lnTo>
                  <a:lnTo>
                    <a:pt x="444" y="138"/>
                  </a:lnTo>
                  <a:lnTo>
                    <a:pt x="450" y="132"/>
                  </a:lnTo>
                  <a:lnTo>
                    <a:pt x="456" y="132"/>
                  </a:lnTo>
                  <a:lnTo>
                    <a:pt x="456" y="126"/>
                  </a:lnTo>
                  <a:lnTo>
                    <a:pt x="462" y="126"/>
                  </a:lnTo>
                  <a:lnTo>
                    <a:pt x="462" y="120"/>
                  </a:lnTo>
                  <a:lnTo>
                    <a:pt x="468" y="120"/>
                  </a:lnTo>
                  <a:lnTo>
                    <a:pt x="474" y="120"/>
                  </a:lnTo>
                  <a:lnTo>
                    <a:pt x="474" y="114"/>
                  </a:lnTo>
                  <a:lnTo>
                    <a:pt x="480" y="114"/>
                  </a:lnTo>
                  <a:lnTo>
                    <a:pt x="486" y="108"/>
                  </a:lnTo>
                  <a:lnTo>
                    <a:pt x="492" y="108"/>
                  </a:lnTo>
                  <a:lnTo>
                    <a:pt x="492" y="102"/>
                  </a:lnTo>
                  <a:lnTo>
                    <a:pt x="498" y="102"/>
                  </a:lnTo>
                  <a:lnTo>
                    <a:pt x="504" y="96"/>
                  </a:lnTo>
                  <a:lnTo>
                    <a:pt x="510" y="96"/>
                  </a:lnTo>
                  <a:lnTo>
                    <a:pt x="510" y="90"/>
                  </a:lnTo>
                  <a:lnTo>
                    <a:pt x="516" y="90"/>
                  </a:lnTo>
                  <a:lnTo>
                    <a:pt x="522" y="84"/>
                  </a:lnTo>
                  <a:lnTo>
                    <a:pt x="528" y="84"/>
                  </a:lnTo>
                  <a:lnTo>
                    <a:pt x="528" y="78"/>
                  </a:lnTo>
                  <a:lnTo>
                    <a:pt x="534" y="78"/>
                  </a:lnTo>
                  <a:lnTo>
                    <a:pt x="540" y="78"/>
                  </a:lnTo>
                  <a:lnTo>
                    <a:pt x="540" y="72"/>
                  </a:lnTo>
                  <a:lnTo>
                    <a:pt x="546" y="72"/>
                  </a:lnTo>
                  <a:lnTo>
                    <a:pt x="552" y="66"/>
                  </a:lnTo>
                  <a:lnTo>
                    <a:pt x="558" y="66"/>
                  </a:lnTo>
                  <a:lnTo>
                    <a:pt x="558" y="60"/>
                  </a:lnTo>
                  <a:lnTo>
                    <a:pt x="564" y="60"/>
                  </a:lnTo>
                  <a:lnTo>
                    <a:pt x="570" y="54"/>
                  </a:lnTo>
                  <a:lnTo>
                    <a:pt x="576" y="54"/>
                  </a:lnTo>
                  <a:lnTo>
                    <a:pt x="576" y="48"/>
                  </a:lnTo>
                  <a:lnTo>
                    <a:pt x="582" y="48"/>
                  </a:lnTo>
                  <a:lnTo>
                    <a:pt x="588" y="48"/>
                  </a:lnTo>
                  <a:lnTo>
                    <a:pt x="588" y="42"/>
                  </a:lnTo>
                  <a:lnTo>
                    <a:pt x="594" y="36"/>
                  </a:lnTo>
                  <a:lnTo>
                    <a:pt x="600" y="36"/>
                  </a:lnTo>
                  <a:lnTo>
                    <a:pt x="606" y="36"/>
                  </a:lnTo>
                  <a:lnTo>
                    <a:pt x="606" y="30"/>
                  </a:lnTo>
                  <a:lnTo>
                    <a:pt x="612" y="30"/>
                  </a:lnTo>
                  <a:lnTo>
                    <a:pt x="618" y="24"/>
                  </a:lnTo>
                  <a:lnTo>
                    <a:pt x="624" y="24"/>
                  </a:lnTo>
                  <a:lnTo>
                    <a:pt x="624" y="18"/>
                  </a:lnTo>
                  <a:lnTo>
                    <a:pt x="630" y="18"/>
                  </a:lnTo>
                  <a:lnTo>
                    <a:pt x="636" y="12"/>
                  </a:lnTo>
                  <a:lnTo>
                    <a:pt x="642" y="12"/>
                  </a:lnTo>
                  <a:lnTo>
                    <a:pt x="642" y="6"/>
                  </a:lnTo>
                  <a:lnTo>
                    <a:pt x="648" y="6"/>
                  </a:lnTo>
                  <a:lnTo>
                    <a:pt x="654" y="6"/>
                  </a:lnTo>
                  <a:lnTo>
                    <a:pt x="654" y="0"/>
                  </a:lnTo>
                  <a:lnTo>
                    <a:pt x="660" y="6"/>
                  </a:lnTo>
                  <a:lnTo>
                    <a:pt x="666" y="6"/>
                  </a:lnTo>
                  <a:lnTo>
                    <a:pt x="672" y="6"/>
                  </a:lnTo>
                  <a:lnTo>
                    <a:pt x="678" y="6"/>
                  </a:lnTo>
                  <a:lnTo>
                    <a:pt x="684" y="6"/>
                  </a:lnTo>
                  <a:lnTo>
                    <a:pt x="690" y="12"/>
                  </a:lnTo>
                  <a:lnTo>
                    <a:pt x="696" y="12"/>
                  </a:lnTo>
                  <a:lnTo>
                    <a:pt x="702" y="12"/>
                  </a:lnTo>
                  <a:lnTo>
                    <a:pt x="708" y="12"/>
                  </a:lnTo>
                  <a:lnTo>
                    <a:pt x="714" y="18"/>
                  </a:lnTo>
                  <a:lnTo>
                    <a:pt x="720" y="18"/>
                  </a:lnTo>
                  <a:lnTo>
                    <a:pt x="726" y="18"/>
                  </a:lnTo>
                  <a:lnTo>
                    <a:pt x="732" y="18"/>
                  </a:lnTo>
                  <a:lnTo>
                    <a:pt x="738" y="18"/>
                  </a:lnTo>
                  <a:lnTo>
                    <a:pt x="738" y="24"/>
                  </a:lnTo>
                  <a:lnTo>
                    <a:pt x="744" y="24"/>
                  </a:lnTo>
                  <a:lnTo>
                    <a:pt x="750" y="24"/>
                  </a:lnTo>
                  <a:lnTo>
                    <a:pt x="750" y="30"/>
                  </a:lnTo>
                  <a:lnTo>
                    <a:pt x="756" y="30"/>
                  </a:lnTo>
                  <a:lnTo>
                    <a:pt x="756" y="36"/>
                  </a:lnTo>
                  <a:lnTo>
                    <a:pt x="762" y="36"/>
                  </a:lnTo>
                  <a:lnTo>
                    <a:pt x="762" y="42"/>
                  </a:lnTo>
                  <a:lnTo>
                    <a:pt x="768" y="42"/>
                  </a:lnTo>
                  <a:lnTo>
                    <a:pt x="768" y="48"/>
                  </a:lnTo>
                  <a:lnTo>
                    <a:pt x="774" y="48"/>
                  </a:lnTo>
                  <a:lnTo>
                    <a:pt x="774" y="54"/>
                  </a:lnTo>
                  <a:lnTo>
                    <a:pt x="780" y="54"/>
                  </a:lnTo>
                  <a:lnTo>
                    <a:pt x="822" y="30"/>
                  </a:lnTo>
                  <a:lnTo>
                    <a:pt x="822" y="36"/>
                  </a:lnTo>
                  <a:lnTo>
                    <a:pt x="822" y="42"/>
                  </a:lnTo>
                  <a:lnTo>
                    <a:pt x="828" y="42"/>
                  </a:lnTo>
                  <a:lnTo>
                    <a:pt x="828" y="48"/>
                  </a:lnTo>
                  <a:lnTo>
                    <a:pt x="828" y="54"/>
                  </a:lnTo>
                  <a:lnTo>
                    <a:pt x="828" y="66"/>
                  </a:lnTo>
                  <a:lnTo>
                    <a:pt x="828" y="72"/>
                  </a:lnTo>
                  <a:lnTo>
                    <a:pt x="834" y="78"/>
                  </a:lnTo>
                  <a:lnTo>
                    <a:pt x="834" y="84"/>
                  </a:lnTo>
                  <a:lnTo>
                    <a:pt x="834" y="90"/>
                  </a:lnTo>
                  <a:lnTo>
                    <a:pt x="834" y="96"/>
                  </a:lnTo>
                  <a:lnTo>
                    <a:pt x="834" y="102"/>
                  </a:lnTo>
                  <a:lnTo>
                    <a:pt x="834" y="108"/>
                  </a:lnTo>
                  <a:lnTo>
                    <a:pt x="834" y="114"/>
                  </a:lnTo>
                  <a:lnTo>
                    <a:pt x="834" y="120"/>
                  </a:lnTo>
                  <a:lnTo>
                    <a:pt x="834" y="126"/>
                  </a:lnTo>
                  <a:lnTo>
                    <a:pt x="840" y="126"/>
                  </a:lnTo>
                  <a:lnTo>
                    <a:pt x="840" y="132"/>
                  </a:lnTo>
                  <a:lnTo>
                    <a:pt x="846" y="132"/>
                  </a:lnTo>
                  <a:lnTo>
                    <a:pt x="846" y="138"/>
                  </a:lnTo>
                  <a:lnTo>
                    <a:pt x="846" y="144"/>
                  </a:lnTo>
                  <a:lnTo>
                    <a:pt x="852" y="144"/>
                  </a:lnTo>
                  <a:lnTo>
                    <a:pt x="858" y="150"/>
                  </a:lnTo>
                  <a:lnTo>
                    <a:pt x="858" y="156"/>
                  </a:lnTo>
                  <a:lnTo>
                    <a:pt x="852" y="156"/>
                  </a:lnTo>
                  <a:lnTo>
                    <a:pt x="852" y="162"/>
                  </a:lnTo>
                  <a:lnTo>
                    <a:pt x="858" y="168"/>
                  </a:lnTo>
                  <a:lnTo>
                    <a:pt x="864" y="174"/>
                  </a:lnTo>
                  <a:lnTo>
                    <a:pt x="870" y="180"/>
                  </a:lnTo>
                  <a:lnTo>
                    <a:pt x="870" y="186"/>
                  </a:lnTo>
                  <a:lnTo>
                    <a:pt x="876" y="186"/>
                  </a:lnTo>
                  <a:lnTo>
                    <a:pt x="876" y="192"/>
                  </a:lnTo>
                  <a:lnTo>
                    <a:pt x="876" y="198"/>
                  </a:lnTo>
                  <a:lnTo>
                    <a:pt x="876" y="204"/>
                  </a:lnTo>
                  <a:lnTo>
                    <a:pt x="870" y="210"/>
                  </a:lnTo>
                  <a:lnTo>
                    <a:pt x="864" y="216"/>
                  </a:lnTo>
                  <a:lnTo>
                    <a:pt x="864" y="222"/>
                  </a:lnTo>
                  <a:lnTo>
                    <a:pt x="864" y="228"/>
                  </a:lnTo>
                  <a:lnTo>
                    <a:pt x="864" y="234"/>
                  </a:lnTo>
                  <a:lnTo>
                    <a:pt x="864" y="240"/>
                  </a:lnTo>
                  <a:lnTo>
                    <a:pt x="864" y="246"/>
                  </a:lnTo>
                  <a:lnTo>
                    <a:pt x="864" y="252"/>
                  </a:lnTo>
                  <a:lnTo>
                    <a:pt x="858" y="252"/>
                  </a:lnTo>
                  <a:lnTo>
                    <a:pt x="858" y="258"/>
                  </a:lnTo>
                  <a:lnTo>
                    <a:pt x="858" y="264"/>
                  </a:lnTo>
                  <a:lnTo>
                    <a:pt x="858" y="270"/>
                  </a:lnTo>
                  <a:lnTo>
                    <a:pt x="858" y="276"/>
                  </a:lnTo>
                  <a:lnTo>
                    <a:pt x="858" y="282"/>
                  </a:lnTo>
                  <a:lnTo>
                    <a:pt x="858" y="288"/>
                  </a:lnTo>
                  <a:lnTo>
                    <a:pt x="858" y="294"/>
                  </a:lnTo>
                  <a:lnTo>
                    <a:pt x="858" y="300"/>
                  </a:lnTo>
                  <a:lnTo>
                    <a:pt x="858" y="306"/>
                  </a:lnTo>
                  <a:lnTo>
                    <a:pt x="858" y="312"/>
                  </a:lnTo>
                  <a:lnTo>
                    <a:pt x="858" y="318"/>
                  </a:lnTo>
                  <a:lnTo>
                    <a:pt x="852" y="324"/>
                  </a:lnTo>
                  <a:lnTo>
                    <a:pt x="852" y="330"/>
                  </a:lnTo>
                  <a:lnTo>
                    <a:pt x="852" y="336"/>
                  </a:lnTo>
                  <a:lnTo>
                    <a:pt x="852" y="342"/>
                  </a:lnTo>
                  <a:lnTo>
                    <a:pt x="852" y="348"/>
                  </a:lnTo>
                  <a:lnTo>
                    <a:pt x="852" y="354"/>
                  </a:lnTo>
                  <a:lnTo>
                    <a:pt x="852" y="360"/>
                  </a:lnTo>
                  <a:lnTo>
                    <a:pt x="852" y="372"/>
                  </a:lnTo>
                  <a:lnTo>
                    <a:pt x="852" y="378"/>
                  </a:lnTo>
                  <a:lnTo>
                    <a:pt x="852" y="384"/>
                  </a:lnTo>
                  <a:lnTo>
                    <a:pt x="852" y="390"/>
                  </a:lnTo>
                  <a:lnTo>
                    <a:pt x="852" y="396"/>
                  </a:lnTo>
                  <a:lnTo>
                    <a:pt x="846" y="396"/>
                  </a:lnTo>
                  <a:lnTo>
                    <a:pt x="846" y="402"/>
                  </a:lnTo>
                  <a:lnTo>
                    <a:pt x="840" y="408"/>
                  </a:lnTo>
                  <a:lnTo>
                    <a:pt x="834" y="414"/>
                  </a:lnTo>
                  <a:lnTo>
                    <a:pt x="828" y="420"/>
                  </a:lnTo>
                  <a:lnTo>
                    <a:pt x="822" y="426"/>
                  </a:lnTo>
                  <a:lnTo>
                    <a:pt x="822" y="432"/>
                  </a:lnTo>
                  <a:lnTo>
                    <a:pt x="816" y="432"/>
                  </a:lnTo>
                  <a:lnTo>
                    <a:pt x="816" y="438"/>
                  </a:lnTo>
                  <a:lnTo>
                    <a:pt x="810" y="438"/>
                  </a:lnTo>
                  <a:lnTo>
                    <a:pt x="810" y="444"/>
                  </a:lnTo>
                  <a:lnTo>
                    <a:pt x="804" y="444"/>
                  </a:lnTo>
                  <a:lnTo>
                    <a:pt x="804" y="450"/>
                  </a:lnTo>
                  <a:lnTo>
                    <a:pt x="798" y="450"/>
                  </a:lnTo>
                  <a:lnTo>
                    <a:pt x="798" y="456"/>
                  </a:lnTo>
                  <a:lnTo>
                    <a:pt x="792" y="456"/>
                  </a:lnTo>
                  <a:lnTo>
                    <a:pt x="792" y="462"/>
                  </a:lnTo>
                  <a:lnTo>
                    <a:pt x="786" y="462"/>
                  </a:lnTo>
                  <a:lnTo>
                    <a:pt x="786" y="468"/>
                  </a:lnTo>
                  <a:lnTo>
                    <a:pt x="780" y="474"/>
                  </a:lnTo>
                  <a:lnTo>
                    <a:pt x="780" y="480"/>
                  </a:lnTo>
                  <a:lnTo>
                    <a:pt x="774" y="480"/>
                  </a:lnTo>
                  <a:lnTo>
                    <a:pt x="774" y="486"/>
                  </a:lnTo>
                  <a:lnTo>
                    <a:pt x="768" y="492"/>
                  </a:lnTo>
                  <a:lnTo>
                    <a:pt x="768" y="498"/>
                  </a:lnTo>
                  <a:lnTo>
                    <a:pt x="762" y="498"/>
                  </a:lnTo>
                  <a:lnTo>
                    <a:pt x="762" y="504"/>
                  </a:lnTo>
                  <a:lnTo>
                    <a:pt x="756" y="504"/>
                  </a:lnTo>
                  <a:lnTo>
                    <a:pt x="756" y="510"/>
                  </a:lnTo>
                  <a:lnTo>
                    <a:pt x="756" y="516"/>
                  </a:lnTo>
                  <a:lnTo>
                    <a:pt x="756" y="522"/>
                  </a:lnTo>
                  <a:lnTo>
                    <a:pt x="750" y="522"/>
                  </a:lnTo>
                  <a:lnTo>
                    <a:pt x="750" y="528"/>
                  </a:lnTo>
                  <a:lnTo>
                    <a:pt x="750" y="534"/>
                  </a:lnTo>
                  <a:lnTo>
                    <a:pt x="744" y="534"/>
                  </a:lnTo>
                  <a:lnTo>
                    <a:pt x="738" y="534"/>
                  </a:lnTo>
                  <a:lnTo>
                    <a:pt x="738" y="540"/>
                  </a:lnTo>
                  <a:lnTo>
                    <a:pt x="738" y="546"/>
                  </a:lnTo>
                  <a:lnTo>
                    <a:pt x="738" y="552"/>
                  </a:lnTo>
                  <a:lnTo>
                    <a:pt x="744" y="552"/>
                  </a:lnTo>
                  <a:lnTo>
                    <a:pt x="744" y="558"/>
                  </a:lnTo>
                  <a:lnTo>
                    <a:pt x="744" y="564"/>
                  </a:lnTo>
                  <a:lnTo>
                    <a:pt x="744" y="570"/>
                  </a:lnTo>
                  <a:lnTo>
                    <a:pt x="744" y="576"/>
                  </a:lnTo>
                  <a:lnTo>
                    <a:pt x="750" y="576"/>
                  </a:lnTo>
                  <a:lnTo>
                    <a:pt x="744" y="576"/>
                  </a:lnTo>
                  <a:lnTo>
                    <a:pt x="738" y="576"/>
                  </a:lnTo>
                  <a:lnTo>
                    <a:pt x="732" y="576"/>
                  </a:lnTo>
                  <a:lnTo>
                    <a:pt x="732" y="582"/>
                  </a:lnTo>
                  <a:lnTo>
                    <a:pt x="726" y="582"/>
                  </a:lnTo>
                  <a:lnTo>
                    <a:pt x="726" y="588"/>
                  </a:lnTo>
                  <a:lnTo>
                    <a:pt x="720" y="588"/>
                  </a:lnTo>
                  <a:lnTo>
                    <a:pt x="714" y="588"/>
                  </a:lnTo>
                  <a:lnTo>
                    <a:pt x="708" y="588"/>
                  </a:lnTo>
                  <a:lnTo>
                    <a:pt x="708" y="594"/>
                  </a:lnTo>
                  <a:lnTo>
                    <a:pt x="708" y="588"/>
                  </a:lnTo>
                  <a:lnTo>
                    <a:pt x="708" y="594"/>
                  </a:lnTo>
                  <a:lnTo>
                    <a:pt x="702" y="594"/>
                  </a:lnTo>
                  <a:lnTo>
                    <a:pt x="702" y="600"/>
                  </a:lnTo>
                  <a:lnTo>
                    <a:pt x="696" y="600"/>
                  </a:lnTo>
                  <a:lnTo>
                    <a:pt x="696" y="606"/>
                  </a:lnTo>
                  <a:lnTo>
                    <a:pt x="690" y="606"/>
                  </a:lnTo>
                  <a:lnTo>
                    <a:pt x="690" y="600"/>
                  </a:lnTo>
                  <a:lnTo>
                    <a:pt x="690" y="606"/>
                  </a:lnTo>
                  <a:lnTo>
                    <a:pt x="684" y="606"/>
                  </a:lnTo>
                  <a:lnTo>
                    <a:pt x="690" y="606"/>
                  </a:lnTo>
                  <a:lnTo>
                    <a:pt x="690" y="612"/>
                  </a:lnTo>
                  <a:lnTo>
                    <a:pt x="684" y="612"/>
                  </a:lnTo>
                  <a:lnTo>
                    <a:pt x="684" y="618"/>
                  </a:lnTo>
                  <a:lnTo>
                    <a:pt x="678" y="618"/>
                  </a:lnTo>
                  <a:lnTo>
                    <a:pt x="678" y="612"/>
                  </a:lnTo>
                  <a:lnTo>
                    <a:pt x="678" y="618"/>
                  </a:lnTo>
                  <a:lnTo>
                    <a:pt x="678" y="612"/>
                  </a:lnTo>
                  <a:lnTo>
                    <a:pt x="678" y="618"/>
                  </a:lnTo>
                  <a:lnTo>
                    <a:pt x="678" y="612"/>
                  </a:lnTo>
                  <a:lnTo>
                    <a:pt x="678" y="618"/>
                  </a:lnTo>
                  <a:lnTo>
                    <a:pt x="672" y="618"/>
                  </a:lnTo>
                  <a:lnTo>
                    <a:pt x="678" y="612"/>
                  </a:lnTo>
                  <a:lnTo>
                    <a:pt x="672" y="612"/>
                  </a:lnTo>
                  <a:lnTo>
                    <a:pt x="666" y="612"/>
                  </a:lnTo>
                  <a:lnTo>
                    <a:pt x="660" y="612"/>
                  </a:lnTo>
                  <a:lnTo>
                    <a:pt x="654" y="612"/>
                  </a:lnTo>
                  <a:lnTo>
                    <a:pt x="654" y="606"/>
                  </a:lnTo>
                  <a:lnTo>
                    <a:pt x="648" y="606"/>
                  </a:lnTo>
                  <a:lnTo>
                    <a:pt x="642" y="606"/>
                  </a:lnTo>
                  <a:lnTo>
                    <a:pt x="636" y="600"/>
                  </a:lnTo>
                  <a:lnTo>
                    <a:pt x="630" y="600"/>
                  </a:lnTo>
                  <a:lnTo>
                    <a:pt x="624" y="600"/>
                  </a:lnTo>
                  <a:lnTo>
                    <a:pt x="618" y="600"/>
                  </a:lnTo>
                  <a:lnTo>
                    <a:pt x="612" y="600"/>
                  </a:lnTo>
                  <a:lnTo>
                    <a:pt x="606" y="600"/>
                  </a:lnTo>
                  <a:lnTo>
                    <a:pt x="600" y="600"/>
                  </a:lnTo>
                  <a:lnTo>
                    <a:pt x="594" y="600"/>
                  </a:lnTo>
                  <a:lnTo>
                    <a:pt x="588" y="600"/>
                  </a:lnTo>
                  <a:lnTo>
                    <a:pt x="582" y="600"/>
                  </a:lnTo>
                  <a:lnTo>
                    <a:pt x="576" y="600"/>
                  </a:lnTo>
                  <a:lnTo>
                    <a:pt x="570" y="600"/>
                  </a:lnTo>
                  <a:lnTo>
                    <a:pt x="570" y="606"/>
                  </a:lnTo>
                  <a:lnTo>
                    <a:pt x="564" y="606"/>
                  </a:lnTo>
                  <a:lnTo>
                    <a:pt x="558" y="606"/>
                  </a:lnTo>
                  <a:lnTo>
                    <a:pt x="552" y="606"/>
                  </a:lnTo>
                  <a:lnTo>
                    <a:pt x="546" y="606"/>
                  </a:lnTo>
                  <a:lnTo>
                    <a:pt x="546" y="612"/>
                  </a:lnTo>
                  <a:lnTo>
                    <a:pt x="540" y="612"/>
                  </a:lnTo>
                  <a:lnTo>
                    <a:pt x="540" y="618"/>
                  </a:lnTo>
                  <a:lnTo>
                    <a:pt x="534" y="618"/>
                  </a:lnTo>
                  <a:lnTo>
                    <a:pt x="534" y="624"/>
                  </a:lnTo>
                  <a:lnTo>
                    <a:pt x="528" y="630"/>
                  </a:lnTo>
                  <a:lnTo>
                    <a:pt x="522" y="630"/>
                  </a:lnTo>
                  <a:lnTo>
                    <a:pt x="516" y="630"/>
                  </a:lnTo>
                  <a:lnTo>
                    <a:pt x="510" y="630"/>
                  </a:lnTo>
                  <a:lnTo>
                    <a:pt x="504" y="630"/>
                  </a:lnTo>
                  <a:lnTo>
                    <a:pt x="498" y="630"/>
                  </a:lnTo>
                  <a:lnTo>
                    <a:pt x="492" y="630"/>
                  </a:lnTo>
                  <a:lnTo>
                    <a:pt x="486" y="630"/>
                  </a:lnTo>
                  <a:lnTo>
                    <a:pt x="480" y="630"/>
                  </a:lnTo>
                  <a:lnTo>
                    <a:pt x="480" y="624"/>
                  </a:lnTo>
                  <a:lnTo>
                    <a:pt x="474" y="624"/>
                  </a:lnTo>
                  <a:lnTo>
                    <a:pt x="468" y="624"/>
                  </a:lnTo>
                  <a:lnTo>
                    <a:pt x="468" y="618"/>
                  </a:lnTo>
                  <a:lnTo>
                    <a:pt x="462" y="618"/>
                  </a:lnTo>
                  <a:lnTo>
                    <a:pt x="456" y="618"/>
                  </a:lnTo>
                  <a:lnTo>
                    <a:pt x="456" y="612"/>
                  </a:lnTo>
                  <a:lnTo>
                    <a:pt x="450" y="612"/>
                  </a:lnTo>
                  <a:lnTo>
                    <a:pt x="450" y="606"/>
                  </a:lnTo>
                  <a:lnTo>
                    <a:pt x="444" y="606"/>
                  </a:lnTo>
                  <a:lnTo>
                    <a:pt x="438" y="606"/>
                  </a:lnTo>
                  <a:lnTo>
                    <a:pt x="438" y="600"/>
                  </a:lnTo>
                  <a:lnTo>
                    <a:pt x="432" y="600"/>
                  </a:lnTo>
                  <a:lnTo>
                    <a:pt x="426" y="600"/>
                  </a:lnTo>
                  <a:lnTo>
                    <a:pt x="420" y="600"/>
                  </a:lnTo>
                  <a:lnTo>
                    <a:pt x="420" y="606"/>
                  </a:lnTo>
                  <a:lnTo>
                    <a:pt x="414" y="606"/>
                  </a:lnTo>
                  <a:lnTo>
                    <a:pt x="408" y="606"/>
                  </a:lnTo>
                  <a:lnTo>
                    <a:pt x="408" y="612"/>
                  </a:lnTo>
                  <a:lnTo>
                    <a:pt x="402" y="612"/>
                  </a:lnTo>
                  <a:lnTo>
                    <a:pt x="396" y="612"/>
                  </a:lnTo>
                  <a:lnTo>
                    <a:pt x="390" y="612"/>
                  </a:lnTo>
                  <a:lnTo>
                    <a:pt x="390" y="618"/>
                  </a:lnTo>
                  <a:lnTo>
                    <a:pt x="384" y="618"/>
                  </a:lnTo>
                  <a:lnTo>
                    <a:pt x="378" y="618"/>
                  </a:lnTo>
                  <a:lnTo>
                    <a:pt x="372" y="618"/>
                  </a:lnTo>
                  <a:lnTo>
                    <a:pt x="372" y="612"/>
                  </a:lnTo>
                  <a:lnTo>
                    <a:pt x="366" y="612"/>
                  </a:lnTo>
                  <a:lnTo>
                    <a:pt x="366" y="606"/>
                  </a:lnTo>
                  <a:lnTo>
                    <a:pt x="360" y="600"/>
                  </a:lnTo>
                  <a:lnTo>
                    <a:pt x="360" y="594"/>
                  </a:lnTo>
                  <a:lnTo>
                    <a:pt x="354" y="594"/>
                  </a:lnTo>
                  <a:lnTo>
                    <a:pt x="348" y="588"/>
                  </a:lnTo>
                  <a:lnTo>
                    <a:pt x="348" y="582"/>
                  </a:lnTo>
                  <a:lnTo>
                    <a:pt x="342" y="582"/>
                  </a:lnTo>
                  <a:lnTo>
                    <a:pt x="336" y="582"/>
                  </a:lnTo>
                  <a:lnTo>
                    <a:pt x="330" y="582"/>
                  </a:lnTo>
                  <a:lnTo>
                    <a:pt x="324" y="582"/>
                  </a:lnTo>
                  <a:lnTo>
                    <a:pt x="324" y="576"/>
                  </a:lnTo>
                  <a:lnTo>
                    <a:pt x="318" y="576"/>
                  </a:lnTo>
                  <a:lnTo>
                    <a:pt x="312" y="576"/>
                  </a:lnTo>
                  <a:lnTo>
                    <a:pt x="306" y="576"/>
                  </a:lnTo>
                  <a:lnTo>
                    <a:pt x="300" y="570"/>
                  </a:lnTo>
                  <a:lnTo>
                    <a:pt x="294" y="570"/>
                  </a:lnTo>
                  <a:lnTo>
                    <a:pt x="288" y="570"/>
                  </a:lnTo>
                  <a:lnTo>
                    <a:pt x="282" y="576"/>
                  </a:lnTo>
                  <a:lnTo>
                    <a:pt x="276" y="576"/>
                  </a:lnTo>
                  <a:lnTo>
                    <a:pt x="270" y="576"/>
                  </a:lnTo>
                  <a:lnTo>
                    <a:pt x="264" y="576"/>
                  </a:lnTo>
                  <a:lnTo>
                    <a:pt x="258" y="576"/>
                  </a:lnTo>
                  <a:lnTo>
                    <a:pt x="252" y="576"/>
                  </a:lnTo>
                  <a:lnTo>
                    <a:pt x="246" y="576"/>
                  </a:lnTo>
                  <a:lnTo>
                    <a:pt x="240" y="576"/>
                  </a:lnTo>
                  <a:lnTo>
                    <a:pt x="240" y="582"/>
                  </a:lnTo>
                  <a:lnTo>
                    <a:pt x="234" y="582"/>
                  </a:lnTo>
                  <a:lnTo>
                    <a:pt x="228" y="582"/>
                  </a:lnTo>
                  <a:lnTo>
                    <a:pt x="228" y="588"/>
                  </a:lnTo>
                  <a:lnTo>
                    <a:pt x="222" y="588"/>
                  </a:lnTo>
                  <a:lnTo>
                    <a:pt x="222" y="594"/>
                  </a:lnTo>
                  <a:lnTo>
                    <a:pt x="216" y="594"/>
                  </a:lnTo>
                  <a:lnTo>
                    <a:pt x="216" y="600"/>
                  </a:lnTo>
                  <a:lnTo>
                    <a:pt x="216" y="606"/>
                  </a:lnTo>
                  <a:lnTo>
                    <a:pt x="216" y="612"/>
                  </a:lnTo>
                  <a:lnTo>
                    <a:pt x="216" y="618"/>
                  </a:lnTo>
                  <a:lnTo>
                    <a:pt x="216" y="624"/>
                  </a:lnTo>
                  <a:lnTo>
                    <a:pt x="210" y="624"/>
                  </a:lnTo>
                  <a:lnTo>
                    <a:pt x="210" y="630"/>
                  </a:lnTo>
                  <a:lnTo>
                    <a:pt x="210" y="636"/>
                  </a:lnTo>
                  <a:lnTo>
                    <a:pt x="204" y="636"/>
                  </a:lnTo>
                  <a:lnTo>
                    <a:pt x="198" y="636"/>
                  </a:lnTo>
                  <a:lnTo>
                    <a:pt x="198" y="642"/>
                  </a:lnTo>
                  <a:lnTo>
                    <a:pt x="192" y="642"/>
                  </a:lnTo>
                  <a:lnTo>
                    <a:pt x="192" y="648"/>
                  </a:lnTo>
                  <a:lnTo>
                    <a:pt x="192" y="654"/>
                  </a:lnTo>
                  <a:lnTo>
                    <a:pt x="192" y="660"/>
                  </a:lnTo>
                  <a:lnTo>
                    <a:pt x="192" y="666"/>
                  </a:lnTo>
                  <a:lnTo>
                    <a:pt x="192" y="672"/>
                  </a:lnTo>
                  <a:lnTo>
                    <a:pt x="192" y="678"/>
                  </a:lnTo>
                  <a:lnTo>
                    <a:pt x="192" y="684"/>
                  </a:lnTo>
                  <a:lnTo>
                    <a:pt x="192" y="690"/>
                  </a:lnTo>
                  <a:lnTo>
                    <a:pt x="192" y="69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399" name="Freeform 28"/>
            <p:cNvSpPr>
              <a:spLocks/>
            </p:cNvSpPr>
            <p:nvPr>
              <p:custDataLst>
                <p:tags r:id="rId27"/>
              </p:custDataLst>
            </p:nvPr>
          </p:nvSpPr>
          <p:spPr bwMode="gray">
            <a:xfrm>
              <a:off x="1976383" y="2438703"/>
              <a:ext cx="536825" cy="814385"/>
            </a:xfrm>
            <a:custGeom>
              <a:avLst/>
              <a:gdLst>
                <a:gd name="T0" fmla="*/ 174132 w 588"/>
                <a:gd name="T1" fmla="*/ 261667 h 930"/>
                <a:gd name="T2" fmla="*/ 167323 w 588"/>
                <a:gd name="T3" fmla="*/ 264586 h 930"/>
                <a:gd name="T4" fmla="*/ 166349 w 588"/>
                <a:gd name="T5" fmla="*/ 272368 h 930"/>
                <a:gd name="T6" fmla="*/ 159540 w 588"/>
                <a:gd name="T7" fmla="*/ 281122 h 930"/>
                <a:gd name="T8" fmla="*/ 147867 w 588"/>
                <a:gd name="T9" fmla="*/ 289877 h 930"/>
                <a:gd name="T10" fmla="*/ 140084 w 588"/>
                <a:gd name="T11" fmla="*/ 294741 h 930"/>
                <a:gd name="T12" fmla="*/ 129383 w 588"/>
                <a:gd name="T13" fmla="*/ 298632 h 930"/>
                <a:gd name="T14" fmla="*/ 116737 w 588"/>
                <a:gd name="T15" fmla="*/ 300577 h 930"/>
                <a:gd name="T16" fmla="*/ 109927 w 588"/>
                <a:gd name="T17" fmla="*/ 305441 h 930"/>
                <a:gd name="T18" fmla="*/ 109927 w 588"/>
                <a:gd name="T19" fmla="*/ 313223 h 930"/>
                <a:gd name="T20" fmla="*/ 97281 w 588"/>
                <a:gd name="T21" fmla="*/ 320032 h 930"/>
                <a:gd name="T22" fmla="*/ 81716 w 588"/>
                <a:gd name="T23" fmla="*/ 323923 h 930"/>
                <a:gd name="T24" fmla="*/ 72960 w 588"/>
                <a:gd name="T25" fmla="*/ 325868 h 930"/>
                <a:gd name="T26" fmla="*/ 64205 w 588"/>
                <a:gd name="T27" fmla="*/ 328787 h 930"/>
                <a:gd name="T28" fmla="*/ 56423 w 588"/>
                <a:gd name="T29" fmla="*/ 328787 h 930"/>
                <a:gd name="T30" fmla="*/ 45721 w 588"/>
                <a:gd name="T31" fmla="*/ 332678 h 930"/>
                <a:gd name="T32" fmla="*/ 38912 w 588"/>
                <a:gd name="T33" fmla="*/ 320032 h 930"/>
                <a:gd name="T34" fmla="*/ 30157 w 588"/>
                <a:gd name="T35" fmla="*/ 306414 h 930"/>
                <a:gd name="T36" fmla="*/ 19456 w 588"/>
                <a:gd name="T37" fmla="*/ 298632 h 930"/>
                <a:gd name="T38" fmla="*/ 12646 w 588"/>
                <a:gd name="T39" fmla="*/ 289877 h 930"/>
                <a:gd name="T40" fmla="*/ 21402 w 588"/>
                <a:gd name="T41" fmla="*/ 281122 h 930"/>
                <a:gd name="T42" fmla="*/ 40858 w 588"/>
                <a:gd name="T43" fmla="*/ 281122 h 930"/>
                <a:gd name="T44" fmla="*/ 36967 w 588"/>
                <a:gd name="T45" fmla="*/ 272368 h 930"/>
                <a:gd name="T46" fmla="*/ 32102 w 588"/>
                <a:gd name="T47" fmla="*/ 257777 h 930"/>
                <a:gd name="T48" fmla="*/ 32102 w 588"/>
                <a:gd name="T49" fmla="*/ 250967 h 930"/>
                <a:gd name="T50" fmla="*/ 30157 w 588"/>
                <a:gd name="T51" fmla="*/ 238322 h 930"/>
                <a:gd name="T52" fmla="*/ 26265 w 588"/>
                <a:gd name="T53" fmla="*/ 225676 h 930"/>
                <a:gd name="T54" fmla="*/ 21402 w 588"/>
                <a:gd name="T55" fmla="*/ 218867 h 930"/>
                <a:gd name="T56" fmla="*/ 8755 w 588"/>
                <a:gd name="T57" fmla="*/ 212058 h 930"/>
                <a:gd name="T58" fmla="*/ 1946 w 588"/>
                <a:gd name="T59" fmla="*/ 199413 h 930"/>
                <a:gd name="T60" fmla="*/ 3891 w 588"/>
                <a:gd name="T61" fmla="*/ 186766 h 930"/>
                <a:gd name="T62" fmla="*/ 10700 w 588"/>
                <a:gd name="T63" fmla="*/ 174121 h 930"/>
                <a:gd name="T64" fmla="*/ 21402 w 588"/>
                <a:gd name="T65" fmla="*/ 161475 h 930"/>
                <a:gd name="T66" fmla="*/ 30157 w 588"/>
                <a:gd name="T67" fmla="*/ 150775 h 930"/>
                <a:gd name="T68" fmla="*/ 40858 w 588"/>
                <a:gd name="T69" fmla="*/ 133265 h 930"/>
                <a:gd name="T70" fmla="*/ 42803 w 588"/>
                <a:gd name="T71" fmla="*/ 111865 h 930"/>
                <a:gd name="T72" fmla="*/ 42803 w 588"/>
                <a:gd name="T73" fmla="*/ 92411 h 930"/>
                <a:gd name="T74" fmla="*/ 45721 w 588"/>
                <a:gd name="T75" fmla="*/ 74901 h 930"/>
                <a:gd name="T76" fmla="*/ 42803 w 588"/>
                <a:gd name="T77" fmla="*/ 57391 h 930"/>
                <a:gd name="T78" fmla="*/ 36967 w 588"/>
                <a:gd name="T79" fmla="*/ 44746 h 930"/>
                <a:gd name="T80" fmla="*/ 34048 w 588"/>
                <a:gd name="T81" fmla="*/ 28210 h 930"/>
                <a:gd name="T82" fmla="*/ 30157 w 588"/>
                <a:gd name="T83" fmla="*/ 8755 h 930"/>
                <a:gd name="T84" fmla="*/ 42803 w 588"/>
                <a:gd name="T85" fmla="*/ 1945 h 930"/>
                <a:gd name="T86" fmla="*/ 62260 w 588"/>
                <a:gd name="T87" fmla="*/ 6810 h 930"/>
                <a:gd name="T88" fmla="*/ 81716 w 588"/>
                <a:gd name="T89" fmla="*/ 14591 h 930"/>
                <a:gd name="T90" fmla="*/ 97281 w 588"/>
                <a:gd name="T91" fmla="*/ 23346 h 930"/>
                <a:gd name="T92" fmla="*/ 211099 w 588"/>
                <a:gd name="T93" fmla="*/ 90465 h 930"/>
                <a:gd name="T94" fmla="*/ 211099 w 588"/>
                <a:gd name="T95" fmla="*/ 109920 h 930"/>
                <a:gd name="T96" fmla="*/ 211099 w 588"/>
                <a:gd name="T97" fmla="*/ 128402 h 930"/>
                <a:gd name="T98" fmla="*/ 211099 w 588"/>
                <a:gd name="T99" fmla="*/ 147857 h 930"/>
                <a:gd name="T100" fmla="*/ 204289 w 588"/>
                <a:gd name="T101" fmla="*/ 163420 h 930"/>
                <a:gd name="T102" fmla="*/ 189697 w 588"/>
                <a:gd name="T103" fmla="*/ 167312 h 930"/>
                <a:gd name="T104" fmla="*/ 182888 w 588"/>
                <a:gd name="T105" fmla="*/ 180930 h 930"/>
                <a:gd name="T106" fmla="*/ 178023 w 588"/>
                <a:gd name="T107" fmla="*/ 192603 h 930"/>
                <a:gd name="T108" fmla="*/ 174132 w 588"/>
                <a:gd name="T109" fmla="*/ 199413 h 930"/>
                <a:gd name="T110" fmla="*/ 177051 w 588"/>
                <a:gd name="T111" fmla="*/ 212058 h 930"/>
                <a:gd name="T112" fmla="*/ 167323 w 588"/>
                <a:gd name="T113" fmla="*/ 220813 h 930"/>
                <a:gd name="T114" fmla="*/ 178023 w 588"/>
                <a:gd name="T115" fmla="*/ 227621 h 930"/>
                <a:gd name="T116" fmla="*/ 182888 w 588"/>
                <a:gd name="T117" fmla="*/ 238322 h 930"/>
                <a:gd name="T118" fmla="*/ 186779 w 588"/>
                <a:gd name="T119" fmla="*/ 25096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8" h="930">
                  <a:moveTo>
                    <a:pt x="522" y="732"/>
                  </a:moveTo>
                  <a:lnTo>
                    <a:pt x="516" y="732"/>
                  </a:lnTo>
                  <a:lnTo>
                    <a:pt x="516" y="726"/>
                  </a:lnTo>
                  <a:lnTo>
                    <a:pt x="510" y="726"/>
                  </a:lnTo>
                  <a:lnTo>
                    <a:pt x="504" y="726"/>
                  </a:lnTo>
                  <a:lnTo>
                    <a:pt x="498" y="726"/>
                  </a:lnTo>
                  <a:lnTo>
                    <a:pt x="498" y="732"/>
                  </a:lnTo>
                  <a:lnTo>
                    <a:pt x="492" y="732"/>
                  </a:lnTo>
                  <a:lnTo>
                    <a:pt x="486" y="732"/>
                  </a:lnTo>
                  <a:lnTo>
                    <a:pt x="480" y="732"/>
                  </a:lnTo>
                  <a:lnTo>
                    <a:pt x="474" y="732"/>
                  </a:lnTo>
                  <a:lnTo>
                    <a:pt x="474" y="738"/>
                  </a:lnTo>
                  <a:lnTo>
                    <a:pt x="474" y="732"/>
                  </a:lnTo>
                  <a:lnTo>
                    <a:pt x="474" y="738"/>
                  </a:lnTo>
                  <a:lnTo>
                    <a:pt x="474" y="732"/>
                  </a:lnTo>
                  <a:lnTo>
                    <a:pt x="474" y="738"/>
                  </a:lnTo>
                  <a:lnTo>
                    <a:pt x="468" y="732"/>
                  </a:lnTo>
                  <a:lnTo>
                    <a:pt x="468" y="738"/>
                  </a:lnTo>
                  <a:lnTo>
                    <a:pt x="468" y="732"/>
                  </a:lnTo>
                  <a:lnTo>
                    <a:pt x="468" y="738"/>
                  </a:lnTo>
                  <a:lnTo>
                    <a:pt x="462" y="738"/>
                  </a:lnTo>
                  <a:lnTo>
                    <a:pt x="462" y="744"/>
                  </a:lnTo>
                  <a:lnTo>
                    <a:pt x="462" y="750"/>
                  </a:lnTo>
                  <a:lnTo>
                    <a:pt x="462" y="744"/>
                  </a:lnTo>
                  <a:lnTo>
                    <a:pt x="462" y="750"/>
                  </a:lnTo>
                  <a:lnTo>
                    <a:pt x="462" y="756"/>
                  </a:lnTo>
                  <a:lnTo>
                    <a:pt x="462" y="762"/>
                  </a:lnTo>
                  <a:lnTo>
                    <a:pt x="462" y="768"/>
                  </a:lnTo>
                  <a:lnTo>
                    <a:pt x="456" y="768"/>
                  </a:lnTo>
                  <a:lnTo>
                    <a:pt x="456" y="774"/>
                  </a:lnTo>
                  <a:lnTo>
                    <a:pt x="456" y="768"/>
                  </a:lnTo>
                  <a:lnTo>
                    <a:pt x="456" y="774"/>
                  </a:lnTo>
                  <a:lnTo>
                    <a:pt x="450" y="774"/>
                  </a:lnTo>
                  <a:lnTo>
                    <a:pt x="444" y="774"/>
                  </a:lnTo>
                  <a:lnTo>
                    <a:pt x="444" y="780"/>
                  </a:lnTo>
                  <a:lnTo>
                    <a:pt x="444" y="786"/>
                  </a:lnTo>
                  <a:lnTo>
                    <a:pt x="438" y="786"/>
                  </a:lnTo>
                  <a:lnTo>
                    <a:pt x="432" y="786"/>
                  </a:lnTo>
                  <a:lnTo>
                    <a:pt x="432" y="792"/>
                  </a:lnTo>
                  <a:lnTo>
                    <a:pt x="426" y="792"/>
                  </a:lnTo>
                  <a:lnTo>
                    <a:pt x="426" y="798"/>
                  </a:lnTo>
                  <a:lnTo>
                    <a:pt x="420" y="798"/>
                  </a:lnTo>
                  <a:lnTo>
                    <a:pt x="420" y="804"/>
                  </a:lnTo>
                  <a:lnTo>
                    <a:pt x="414" y="804"/>
                  </a:lnTo>
                  <a:lnTo>
                    <a:pt x="414" y="810"/>
                  </a:lnTo>
                  <a:lnTo>
                    <a:pt x="414" y="816"/>
                  </a:lnTo>
                  <a:lnTo>
                    <a:pt x="414" y="810"/>
                  </a:lnTo>
                  <a:lnTo>
                    <a:pt x="408" y="816"/>
                  </a:lnTo>
                  <a:lnTo>
                    <a:pt x="402" y="816"/>
                  </a:lnTo>
                  <a:lnTo>
                    <a:pt x="402" y="822"/>
                  </a:lnTo>
                  <a:lnTo>
                    <a:pt x="396" y="822"/>
                  </a:lnTo>
                  <a:lnTo>
                    <a:pt x="402" y="822"/>
                  </a:lnTo>
                  <a:lnTo>
                    <a:pt x="396" y="822"/>
                  </a:lnTo>
                  <a:lnTo>
                    <a:pt x="390" y="822"/>
                  </a:lnTo>
                  <a:lnTo>
                    <a:pt x="396" y="822"/>
                  </a:lnTo>
                  <a:lnTo>
                    <a:pt x="390" y="822"/>
                  </a:lnTo>
                  <a:lnTo>
                    <a:pt x="390" y="828"/>
                  </a:lnTo>
                  <a:lnTo>
                    <a:pt x="390" y="834"/>
                  </a:lnTo>
                  <a:lnTo>
                    <a:pt x="384" y="834"/>
                  </a:lnTo>
                  <a:lnTo>
                    <a:pt x="378" y="834"/>
                  </a:lnTo>
                  <a:lnTo>
                    <a:pt x="372" y="834"/>
                  </a:lnTo>
                  <a:lnTo>
                    <a:pt x="366" y="834"/>
                  </a:lnTo>
                  <a:lnTo>
                    <a:pt x="360" y="834"/>
                  </a:lnTo>
                  <a:lnTo>
                    <a:pt x="354" y="834"/>
                  </a:lnTo>
                  <a:lnTo>
                    <a:pt x="354" y="840"/>
                  </a:lnTo>
                  <a:lnTo>
                    <a:pt x="354" y="834"/>
                  </a:lnTo>
                  <a:lnTo>
                    <a:pt x="354" y="840"/>
                  </a:lnTo>
                  <a:lnTo>
                    <a:pt x="348" y="840"/>
                  </a:lnTo>
                  <a:lnTo>
                    <a:pt x="342" y="840"/>
                  </a:lnTo>
                  <a:lnTo>
                    <a:pt x="336" y="840"/>
                  </a:lnTo>
                  <a:lnTo>
                    <a:pt x="330" y="840"/>
                  </a:lnTo>
                  <a:lnTo>
                    <a:pt x="324" y="840"/>
                  </a:lnTo>
                  <a:lnTo>
                    <a:pt x="318" y="840"/>
                  </a:lnTo>
                  <a:lnTo>
                    <a:pt x="312" y="840"/>
                  </a:lnTo>
                  <a:lnTo>
                    <a:pt x="306" y="840"/>
                  </a:lnTo>
                  <a:lnTo>
                    <a:pt x="306" y="846"/>
                  </a:lnTo>
                  <a:lnTo>
                    <a:pt x="300" y="846"/>
                  </a:lnTo>
                  <a:lnTo>
                    <a:pt x="300" y="852"/>
                  </a:lnTo>
                  <a:lnTo>
                    <a:pt x="300" y="846"/>
                  </a:lnTo>
                  <a:lnTo>
                    <a:pt x="300" y="852"/>
                  </a:lnTo>
                  <a:lnTo>
                    <a:pt x="306" y="852"/>
                  </a:lnTo>
                  <a:lnTo>
                    <a:pt x="312" y="852"/>
                  </a:lnTo>
                  <a:lnTo>
                    <a:pt x="312" y="858"/>
                  </a:lnTo>
                  <a:lnTo>
                    <a:pt x="312" y="864"/>
                  </a:lnTo>
                  <a:lnTo>
                    <a:pt x="312" y="870"/>
                  </a:lnTo>
                  <a:lnTo>
                    <a:pt x="306" y="864"/>
                  </a:lnTo>
                  <a:lnTo>
                    <a:pt x="306" y="870"/>
                  </a:lnTo>
                  <a:lnTo>
                    <a:pt x="306" y="876"/>
                  </a:lnTo>
                  <a:lnTo>
                    <a:pt x="300" y="876"/>
                  </a:lnTo>
                  <a:lnTo>
                    <a:pt x="306" y="876"/>
                  </a:lnTo>
                  <a:lnTo>
                    <a:pt x="300" y="876"/>
                  </a:lnTo>
                  <a:lnTo>
                    <a:pt x="300" y="882"/>
                  </a:lnTo>
                  <a:lnTo>
                    <a:pt x="294" y="882"/>
                  </a:lnTo>
                  <a:lnTo>
                    <a:pt x="288" y="882"/>
                  </a:lnTo>
                  <a:lnTo>
                    <a:pt x="288" y="888"/>
                  </a:lnTo>
                  <a:lnTo>
                    <a:pt x="288" y="894"/>
                  </a:lnTo>
                  <a:lnTo>
                    <a:pt x="282" y="894"/>
                  </a:lnTo>
                  <a:lnTo>
                    <a:pt x="276" y="894"/>
                  </a:lnTo>
                  <a:lnTo>
                    <a:pt x="270" y="894"/>
                  </a:lnTo>
                  <a:lnTo>
                    <a:pt x="264" y="894"/>
                  </a:lnTo>
                  <a:lnTo>
                    <a:pt x="258" y="894"/>
                  </a:lnTo>
                  <a:lnTo>
                    <a:pt x="252" y="894"/>
                  </a:lnTo>
                  <a:lnTo>
                    <a:pt x="252" y="900"/>
                  </a:lnTo>
                  <a:lnTo>
                    <a:pt x="246" y="900"/>
                  </a:lnTo>
                  <a:lnTo>
                    <a:pt x="240" y="900"/>
                  </a:lnTo>
                  <a:lnTo>
                    <a:pt x="234" y="900"/>
                  </a:lnTo>
                  <a:lnTo>
                    <a:pt x="228" y="900"/>
                  </a:lnTo>
                  <a:lnTo>
                    <a:pt x="228" y="906"/>
                  </a:lnTo>
                  <a:lnTo>
                    <a:pt x="228" y="900"/>
                  </a:lnTo>
                  <a:lnTo>
                    <a:pt x="228" y="906"/>
                  </a:lnTo>
                  <a:lnTo>
                    <a:pt x="222" y="906"/>
                  </a:lnTo>
                  <a:lnTo>
                    <a:pt x="222" y="900"/>
                  </a:lnTo>
                  <a:lnTo>
                    <a:pt x="222" y="906"/>
                  </a:lnTo>
                  <a:lnTo>
                    <a:pt x="216" y="906"/>
                  </a:lnTo>
                  <a:lnTo>
                    <a:pt x="210" y="906"/>
                  </a:lnTo>
                  <a:lnTo>
                    <a:pt x="210" y="912"/>
                  </a:lnTo>
                  <a:lnTo>
                    <a:pt x="204" y="912"/>
                  </a:lnTo>
                  <a:lnTo>
                    <a:pt x="204" y="918"/>
                  </a:lnTo>
                  <a:lnTo>
                    <a:pt x="204" y="912"/>
                  </a:lnTo>
                  <a:lnTo>
                    <a:pt x="204" y="918"/>
                  </a:lnTo>
                  <a:lnTo>
                    <a:pt x="198" y="918"/>
                  </a:lnTo>
                  <a:lnTo>
                    <a:pt x="192" y="918"/>
                  </a:lnTo>
                  <a:lnTo>
                    <a:pt x="192" y="924"/>
                  </a:lnTo>
                  <a:lnTo>
                    <a:pt x="186" y="924"/>
                  </a:lnTo>
                  <a:lnTo>
                    <a:pt x="186" y="918"/>
                  </a:lnTo>
                  <a:lnTo>
                    <a:pt x="180" y="918"/>
                  </a:lnTo>
                  <a:lnTo>
                    <a:pt x="180" y="912"/>
                  </a:lnTo>
                  <a:lnTo>
                    <a:pt x="174" y="912"/>
                  </a:lnTo>
                  <a:lnTo>
                    <a:pt x="174" y="906"/>
                  </a:lnTo>
                  <a:lnTo>
                    <a:pt x="168" y="906"/>
                  </a:lnTo>
                  <a:lnTo>
                    <a:pt x="162" y="912"/>
                  </a:lnTo>
                  <a:lnTo>
                    <a:pt x="168" y="912"/>
                  </a:lnTo>
                  <a:lnTo>
                    <a:pt x="162" y="912"/>
                  </a:lnTo>
                  <a:lnTo>
                    <a:pt x="162" y="918"/>
                  </a:lnTo>
                  <a:lnTo>
                    <a:pt x="156" y="918"/>
                  </a:lnTo>
                  <a:lnTo>
                    <a:pt x="150" y="918"/>
                  </a:lnTo>
                  <a:lnTo>
                    <a:pt x="144" y="918"/>
                  </a:lnTo>
                  <a:lnTo>
                    <a:pt x="144" y="924"/>
                  </a:lnTo>
                  <a:lnTo>
                    <a:pt x="138" y="924"/>
                  </a:lnTo>
                  <a:lnTo>
                    <a:pt x="132" y="924"/>
                  </a:lnTo>
                  <a:lnTo>
                    <a:pt x="132" y="930"/>
                  </a:lnTo>
                  <a:lnTo>
                    <a:pt x="132" y="924"/>
                  </a:lnTo>
                  <a:lnTo>
                    <a:pt x="126" y="924"/>
                  </a:lnTo>
                  <a:lnTo>
                    <a:pt x="126" y="930"/>
                  </a:lnTo>
                  <a:lnTo>
                    <a:pt x="126" y="924"/>
                  </a:lnTo>
                  <a:lnTo>
                    <a:pt x="120" y="924"/>
                  </a:lnTo>
                  <a:lnTo>
                    <a:pt x="114" y="924"/>
                  </a:lnTo>
                  <a:lnTo>
                    <a:pt x="114" y="918"/>
                  </a:lnTo>
                  <a:lnTo>
                    <a:pt x="120" y="918"/>
                  </a:lnTo>
                  <a:lnTo>
                    <a:pt x="120" y="912"/>
                  </a:lnTo>
                  <a:lnTo>
                    <a:pt x="114" y="906"/>
                  </a:lnTo>
                  <a:lnTo>
                    <a:pt x="108" y="900"/>
                  </a:lnTo>
                  <a:lnTo>
                    <a:pt x="108" y="894"/>
                  </a:lnTo>
                  <a:lnTo>
                    <a:pt x="108" y="888"/>
                  </a:lnTo>
                  <a:lnTo>
                    <a:pt x="102" y="882"/>
                  </a:lnTo>
                  <a:lnTo>
                    <a:pt x="102" y="876"/>
                  </a:lnTo>
                  <a:lnTo>
                    <a:pt x="102" y="870"/>
                  </a:lnTo>
                  <a:lnTo>
                    <a:pt x="96" y="870"/>
                  </a:lnTo>
                  <a:lnTo>
                    <a:pt x="96" y="864"/>
                  </a:lnTo>
                  <a:lnTo>
                    <a:pt x="96" y="858"/>
                  </a:lnTo>
                  <a:lnTo>
                    <a:pt x="90" y="858"/>
                  </a:lnTo>
                  <a:lnTo>
                    <a:pt x="84" y="858"/>
                  </a:lnTo>
                  <a:lnTo>
                    <a:pt x="84" y="852"/>
                  </a:lnTo>
                  <a:lnTo>
                    <a:pt x="78" y="852"/>
                  </a:lnTo>
                  <a:lnTo>
                    <a:pt x="84" y="852"/>
                  </a:lnTo>
                  <a:lnTo>
                    <a:pt x="78" y="852"/>
                  </a:lnTo>
                  <a:lnTo>
                    <a:pt x="72" y="852"/>
                  </a:lnTo>
                  <a:lnTo>
                    <a:pt x="72" y="846"/>
                  </a:lnTo>
                  <a:lnTo>
                    <a:pt x="66" y="846"/>
                  </a:lnTo>
                  <a:lnTo>
                    <a:pt x="60" y="840"/>
                  </a:lnTo>
                  <a:lnTo>
                    <a:pt x="54" y="834"/>
                  </a:lnTo>
                  <a:lnTo>
                    <a:pt x="60" y="834"/>
                  </a:lnTo>
                  <a:lnTo>
                    <a:pt x="54" y="834"/>
                  </a:lnTo>
                  <a:lnTo>
                    <a:pt x="54" y="828"/>
                  </a:lnTo>
                  <a:lnTo>
                    <a:pt x="48" y="828"/>
                  </a:lnTo>
                  <a:lnTo>
                    <a:pt x="54" y="828"/>
                  </a:lnTo>
                  <a:lnTo>
                    <a:pt x="54" y="822"/>
                  </a:lnTo>
                  <a:lnTo>
                    <a:pt x="48" y="822"/>
                  </a:lnTo>
                  <a:lnTo>
                    <a:pt x="42" y="816"/>
                  </a:lnTo>
                  <a:lnTo>
                    <a:pt x="36" y="810"/>
                  </a:lnTo>
                  <a:lnTo>
                    <a:pt x="30" y="804"/>
                  </a:lnTo>
                  <a:lnTo>
                    <a:pt x="30" y="798"/>
                  </a:lnTo>
                  <a:lnTo>
                    <a:pt x="36" y="798"/>
                  </a:lnTo>
                  <a:lnTo>
                    <a:pt x="36" y="792"/>
                  </a:lnTo>
                  <a:lnTo>
                    <a:pt x="42" y="792"/>
                  </a:lnTo>
                  <a:lnTo>
                    <a:pt x="42" y="786"/>
                  </a:lnTo>
                  <a:lnTo>
                    <a:pt x="48" y="786"/>
                  </a:lnTo>
                  <a:lnTo>
                    <a:pt x="54" y="786"/>
                  </a:lnTo>
                  <a:lnTo>
                    <a:pt x="60" y="786"/>
                  </a:lnTo>
                  <a:lnTo>
                    <a:pt x="66" y="786"/>
                  </a:lnTo>
                  <a:lnTo>
                    <a:pt x="72" y="786"/>
                  </a:lnTo>
                  <a:lnTo>
                    <a:pt x="78" y="786"/>
                  </a:lnTo>
                  <a:lnTo>
                    <a:pt x="84" y="786"/>
                  </a:lnTo>
                  <a:lnTo>
                    <a:pt x="90" y="786"/>
                  </a:lnTo>
                  <a:lnTo>
                    <a:pt x="96" y="786"/>
                  </a:lnTo>
                  <a:lnTo>
                    <a:pt x="102" y="786"/>
                  </a:lnTo>
                  <a:lnTo>
                    <a:pt x="108" y="786"/>
                  </a:lnTo>
                  <a:lnTo>
                    <a:pt x="114" y="786"/>
                  </a:lnTo>
                  <a:lnTo>
                    <a:pt x="120" y="786"/>
                  </a:lnTo>
                  <a:lnTo>
                    <a:pt x="126" y="786"/>
                  </a:lnTo>
                  <a:lnTo>
                    <a:pt x="120" y="780"/>
                  </a:lnTo>
                  <a:lnTo>
                    <a:pt x="114" y="780"/>
                  </a:lnTo>
                  <a:lnTo>
                    <a:pt x="114" y="774"/>
                  </a:lnTo>
                  <a:lnTo>
                    <a:pt x="108" y="774"/>
                  </a:lnTo>
                  <a:lnTo>
                    <a:pt x="108" y="768"/>
                  </a:lnTo>
                  <a:lnTo>
                    <a:pt x="102" y="768"/>
                  </a:lnTo>
                  <a:lnTo>
                    <a:pt x="102" y="762"/>
                  </a:lnTo>
                  <a:lnTo>
                    <a:pt x="102" y="756"/>
                  </a:lnTo>
                  <a:lnTo>
                    <a:pt x="96" y="756"/>
                  </a:lnTo>
                  <a:lnTo>
                    <a:pt x="96" y="750"/>
                  </a:lnTo>
                  <a:lnTo>
                    <a:pt x="96" y="744"/>
                  </a:lnTo>
                  <a:lnTo>
                    <a:pt x="90" y="744"/>
                  </a:lnTo>
                  <a:lnTo>
                    <a:pt x="90" y="738"/>
                  </a:lnTo>
                  <a:lnTo>
                    <a:pt x="90" y="732"/>
                  </a:lnTo>
                  <a:lnTo>
                    <a:pt x="90" y="726"/>
                  </a:lnTo>
                  <a:lnTo>
                    <a:pt x="90" y="720"/>
                  </a:lnTo>
                  <a:lnTo>
                    <a:pt x="84" y="720"/>
                  </a:lnTo>
                  <a:lnTo>
                    <a:pt x="90" y="720"/>
                  </a:lnTo>
                  <a:lnTo>
                    <a:pt x="90" y="714"/>
                  </a:lnTo>
                  <a:lnTo>
                    <a:pt x="84" y="714"/>
                  </a:lnTo>
                  <a:lnTo>
                    <a:pt x="90" y="714"/>
                  </a:lnTo>
                  <a:lnTo>
                    <a:pt x="84" y="714"/>
                  </a:lnTo>
                  <a:lnTo>
                    <a:pt x="90" y="714"/>
                  </a:lnTo>
                  <a:lnTo>
                    <a:pt x="90" y="708"/>
                  </a:lnTo>
                  <a:lnTo>
                    <a:pt x="90" y="702"/>
                  </a:lnTo>
                  <a:lnTo>
                    <a:pt x="90" y="696"/>
                  </a:lnTo>
                  <a:lnTo>
                    <a:pt x="96" y="696"/>
                  </a:lnTo>
                  <a:lnTo>
                    <a:pt x="90" y="696"/>
                  </a:lnTo>
                  <a:lnTo>
                    <a:pt x="90" y="690"/>
                  </a:lnTo>
                  <a:lnTo>
                    <a:pt x="90" y="684"/>
                  </a:lnTo>
                  <a:lnTo>
                    <a:pt x="90" y="678"/>
                  </a:lnTo>
                  <a:lnTo>
                    <a:pt x="90" y="672"/>
                  </a:lnTo>
                  <a:lnTo>
                    <a:pt x="90" y="666"/>
                  </a:lnTo>
                  <a:lnTo>
                    <a:pt x="84" y="666"/>
                  </a:lnTo>
                  <a:lnTo>
                    <a:pt x="78" y="660"/>
                  </a:lnTo>
                  <a:lnTo>
                    <a:pt x="78" y="654"/>
                  </a:lnTo>
                  <a:lnTo>
                    <a:pt x="78" y="648"/>
                  </a:lnTo>
                  <a:lnTo>
                    <a:pt x="78" y="642"/>
                  </a:lnTo>
                  <a:lnTo>
                    <a:pt x="78" y="648"/>
                  </a:lnTo>
                  <a:lnTo>
                    <a:pt x="78" y="642"/>
                  </a:lnTo>
                  <a:lnTo>
                    <a:pt x="78" y="636"/>
                  </a:lnTo>
                  <a:lnTo>
                    <a:pt x="72" y="636"/>
                  </a:lnTo>
                  <a:lnTo>
                    <a:pt x="72" y="630"/>
                  </a:lnTo>
                  <a:lnTo>
                    <a:pt x="72" y="636"/>
                  </a:lnTo>
                  <a:lnTo>
                    <a:pt x="72" y="630"/>
                  </a:lnTo>
                  <a:lnTo>
                    <a:pt x="66" y="630"/>
                  </a:lnTo>
                  <a:lnTo>
                    <a:pt x="66" y="624"/>
                  </a:lnTo>
                  <a:lnTo>
                    <a:pt x="66" y="630"/>
                  </a:lnTo>
                  <a:lnTo>
                    <a:pt x="60" y="630"/>
                  </a:lnTo>
                  <a:lnTo>
                    <a:pt x="60" y="624"/>
                  </a:lnTo>
                  <a:lnTo>
                    <a:pt x="60" y="618"/>
                  </a:lnTo>
                  <a:lnTo>
                    <a:pt x="60" y="612"/>
                  </a:lnTo>
                  <a:lnTo>
                    <a:pt x="54" y="612"/>
                  </a:lnTo>
                  <a:lnTo>
                    <a:pt x="48" y="612"/>
                  </a:lnTo>
                  <a:lnTo>
                    <a:pt x="42" y="612"/>
                  </a:lnTo>
                  <a:lnTo>
                    <a:pt x="36" y="612"/>
                  </a:lnTo>
                  <a:lnTo>
                    <a:pt x="36" y="606"/>
                  </a:lnTo>
                  <a:lnTo>
                    <a:pt x="30" y="606"/>
                  </a:lnTo>
                  <a:lnTo>
                    <a:pt x="30" y="600"/>
                  </a:lnTo>
                  <a:lnTo>
                    <a:pt x="24" y="600"/>
                  </a:lnTo>
                  <a:lnTo>
                    <a:pt x="24" y="594"/>
                  </a:lnTo>
                  <a:lnTo>
                    <a:pt x="24" y="588"/>
                  </a:lnTo>
                  <a:lnTo>
                    <a:pt x="18" y="588"/>
                  </a:lnTo>
                  <a:lnTo>
                    <a:pt x="18" y="582"/>
                  </a:lnTo>
                  <a:lnTo>
                    <a:pt x="12" y="582"/>
                  </a:lnTo>
                  <a:lnTo>
                    <a:pt x="12" y="576"/>
                  </a:lnTo>
                  <a:lnTo>
                    <a:pt x="12" y="570"/>
                  </a:lnTo>
                  <a:lnTo>
                    <a:pt x="6" y="570"/>
                  </a:lnTo>
                  <a:lnTo>
                    <a:pt x="6" y="564"/>
                  </a:lnTo>
                  <a:lnTo>
                    <a:pt x="6" y="558"/>
                  </a:lnTo>
                  <a:lnTo>
                    <a:pt x="6" y="552"/>
                  </a:lnTo>
                  <a:lnTo>
                    <a:pt x="6" y="546"/>
                  </a:lnTo>
                  <a:lnTo>
                    <a:pt x="0" y="546"/>
                  </a:lnTo>
                  <a:lnTo>
                    <a:pt x="0" y="540"/>
                  </a:lnTo>
                  <a:lnTo>
                    <a:pt x="0" y="534"/>
                  </a:lnTo>
                  <a:lnTo>
                    <a:pt x="0" y="528"/>
                  </a:lnTo>
                  <a:lnTo>
                    <a:pt x="6" y="528"/>
                  </a:lnTo>
                  <a:lnTo>
                    <a:pt x="12" y="528"/>
                  </a:lnTo>
                  <a:lnTo>
                    <a:pt x="12" y="522"/>
                  </a:lnTo>
                  <a:lnTo>
                    <a:pt x="12" y="516"/>
                  </a:lnTo>
                  <a:lnTo>
                    <a:pt x="18" y="516"/>
                  </a:lnTo>
                  <a:lnTo>
                    <a:pt x="18" y="510"/>
                  </a:lnTo>
                  <a:lnTo>
                    <a:pt x="18" y="504"/>
                  </a:lnTo>
                  <a:lnTo>
                    <a:pt x="18" y="498"/>
                  </a:lnTo>
                  <a:lnTo>
                    <a:pt x="24" y="498"/>
                  </a:lnTo>
                  <a:lnTo>
                    <a:pt x="24" y="492"/>
                  </a:lnTo>
                  <a:lnTo>
                    <a:pt x="30" y="492"/>
                  </a:lnTo>
                  <a:lnTo>
                    <a:pt x="30" y="486"/>
                  </a:lnTo>
                  <a:lnTo>
                    <a:pt x="36" y="480"/>
                  </a:lnTo>
                  <a:lnTo>
                    <a:pt x="36" y="474"/>
                  </a:lnTo>
                  <a:lnTo>
                    <a:pt x="42" y="474"/>
                  </a:lnTo>
                  <a:lnTo>
                    <a:pt x="42" y="468"/>
                  </a:lnTo>
                  <a:lnTo>
                    <a:pt x="48" y="462"/>
                  </a:lnTo>
                  <a:lnTo>
                    <a:pt x="48" y="456"/>
                  </a:lnTo>
                  <a:lnTo>
                    <a:pt x="54" y="456"/>
                  </a:lnTo>
                  <a:lnTo>
                    <a:pt x="54" y="450"/>
                  </a:lnTo>
                  <a:lnTo>
                    <a:pt x="60" y="450"/>
                  </a:lnTo>
                  <a:lnTo>
                    <a:pt x="60" y="444"/>
                  </a:lnTo>
                  <a:lnTo>
                    <a:pt x="66" y="444"/>
                  </a:lnTo>
                  <a:lnTo>
                    <a:pt x="66" y="438"/>
                  </a:lnTo>
                  <a:lnTo>
                    <a:pt x="72" y="438"/>
                  </a:lnTo>
                  <a:lnTo>
                    <a:pt x="72" y="432"/>
                  </a:lnTo>
                  <a:lnTo>
                    <a:pt x="78" y="432"/>
                  </a:lnTo>
                  <a:lnTo>
                    <a:pt x="78" y="426"/>
                  </a:lnTo>
                  <a:lnTo>
                    <a:pt x="84" y="426"/>
                  </a:lnTo>
                  <a:lnTo>
                    <a:pt x="84" y="420"/>
                  </a:lnTo>
                  <a:lnTo>
                    <a:pt x="90" y="414"/>
                  </a:lnTo>
                  <a:lnTo>
                    <a:pt x="96" y="408"/>
                  </a:lnTo>
                  <a:lnTo>
                    <a:pt x="102" y="402"/>
                  </a:lnTo>
                  <a:lnTo>
                    <a:pt x="108" y="396"/>
                  </a:lnTo>
                  <a:lnTo>
                    <a:pt x="108" y="390"/>
                  </a:lnTo>
                  <a:lnTo>
                    <a:pt x="114" y="390"/>
                  </a:lnTo>
                  <a:lnTo>
                    <a:pt x="114" y="384"/>
                  </a:lnTo>
                  <a:lnTo>
                    <a:pt x="114" y="378"/>
                  </a:lnTo>
                  <a:lnTo>
                    <a:pt x="114" y="372"/>
                  </a:lnTo>
                  <a:lnTo>
                    <a:pt x="114" y="366"/>
                  </a:lnTo>
                  <a:lnTo>
                    <a:pt x="114" y="354"/>
                  </a:lnTo>
                  <a:lnTo>
                    <a:pt x="114" y="348"/>
                  </a:lnTo>
                  <a:lnTo>
                    <a:pt x="114" y="342"/>
                  </a:lnTo>
                  <a:lnTo>
                    <a:pt x="114" y="336"/>
                  </a:lnTo>
                  <a:lnTo>
                    <a:pt x="114" y="330"/>
                  </a:lnTo>
                  <a:lnTo>
                    <a:pt x="114" y="324"/>
                  </a:lnTo>
                  <a:lnTo>
                    <a:pt x="114" y="318"/>
                  </a:lnTo>
                  <a:lnTo>
                    <a:pt x="120" y="312"/>
                  </a:lnTo>
                  <a:lnTo>
                    <a:pt x="120" y="306"/>
                  </a:lnTo>
                  <a:lnTo>
                    <a:pt x="120" y="300"/>
                  </a:lnTo>
                  <a:lnTo>
                    <a:pt x="120" y="294"/>
                  </a:lnTo>
                  <a:lnTo>
                    <a:pt x="120" y="288"/>
                  </a:lnTo>
                  <a:lnTo>
                    <a:pt x="120" y="282"/>
                  </a:lnTo>
                  <a:lnTo>
                    <a:pt x="120" y="276"/>
                  </a:lnTo>
                  <a:lnTo>
                    <a:pt x="120" y="270"/>
                  </a:lnTo>
                  <a:lnTo>
                    <a:pt x="120" y="264"/>
                  </a:lnTo>
                  <a:lnTo>
                    <a:pt x="120" y="258"/>
                  </a:lnTo>
                  <a:lnTo>
                    <a:pt x="120" y="252"/>
                  </a:lnTo>
                  <a:lnTo>
                    <a:pt x="120" y="246"/>
                  </a:lnTo>
                  <a:lnTo>
                    <a:pt x="126" y="246"/>
                  </a:lnTo>
                  <a:lnTo>
                    <a:pt x="126" y="240"/>
                  </a:lnTo>
                  <a:lnTo>
                    <a:pt x="126" y="234"/>
                  </a:lnTo>
                  <a:lnTo>
                    <a:pt x="126" y="228"/>
                  </a:lnTo>
                  <a:lnTo>
                    <a:pt x="126" y="222"/>
                  </a:lnTo>
                  <a:lnTo>
                    <a:pt x="126" y="216"/>
                  </a:lnTo>
                  <a:lnTo>
                    <a:pt x="126" y="210"/>
                  </a:lnTo>
                  <a:lnTo>
                    <a:pt x="132" y="204"/>
                  </a:lnTo>
                  <a:lnTo>
                    <a:pt x="138" y="198"/>
                  </a:lnTo>
                  <a:lnTo>
                    <a:pt x="138" y="192"/>
                  </a:lnTo>
                  <a:lnTo>
                    <a:pt x="138" y="186"/>
                  </a:lnTo>
                  <a:lnTo>
                    <a:pt x="138" y="180"/>
                  </a:lnTo>
                  <a:lnTo>
                    <a:pt x="132" y="180"/>
                  </a:lnTo>
                  <a:lnTo>
                    <a:pt x="132" y="174"/>
                  </a:lnTo>
                  <a:lnTo>
                    <a:pt x="126" y="168"/>
                  </a:lnTo>
                  <a:lnTo>
                    <a:pt x="120" y="162"/>
                  </a:lnTo>
                  <a:lnTo>
                    <a:pt x="114" y="156"/>
                  </a:lnTo>
                  <a:lnTo>
                    <a:pt x="114" y="150"/>
                  </a:lnTo>
                  <a:lnTo>
                    <a:pt x="120" y="150"/>
                  </a:lnTo>
                  <a:lnTo>
                    <a:pt x="120" y="144"/>
                  </a:lnTo>
                  <a:lnTo>
                    <a:pt x="114" y="138"/>
                  </a:lnTo>
                  <a:lnTo>
                    <a:pt x="108" y="138"/>
                  </a:lnTo>
                  <a:lnTo>
                    <a:pt x="108" y="132"/>
                  </a:lnTo>
                  <a:lnTo>
                    <a:pt x="108" y="126"/>
                  </a:lnTo>
                  <a:lnTo>
                    <a:pt x="102" y="126"/>
                  </a:lnTo>
                  <a:lnTo>
                    <a:pt x="102" y="120"/>
                  </a:lnTo>
                  <a:lnTo>
                    <a:pt x="96" y="120"/>
                  </a:lnTo>
                  <a:lnTo>
                    <a:pt x="96" y="114"/>
                  </a:lnTo>
                  <a:lnTo>
                    <a:pt x="96" y="108"/>
                  </a:lnTo>
                  <a:lnTo>
                    <a:pt x="96" y="102"/>
                  </a:lnTo>
                  <a:lnTo>
                    <a:pt x="96" y="96"/>
                  </a:lnTo>
                  <a:lnTo>
                    <a:pt x="96" y="90"/>
                  </a:lnTo>
                  <a:lnTo>
                    <a:pt x="96" y="84"/>
                  </a:lnTo>
                  <a:lnTo>
                    <a:pt x="96" y="78"/>
                  </a:lnTo>
                  <a:lnTo>
                    <a:pt x="96" y="72"/>
                  </a:lnTo>
                  <a:lnTo>
                    <a:pt x="90" y="66"/>
                  </a:lnTo>
                  <a:lnTo>
                    <a:pt x="90" y="60"/>
                  </a:lnTo>
                  <a:lnTo>
                    <a:pt x="90" y="48"/>
                  </a:lnTo>
                  <a:lnTo>
                    <a:pt x="90" y="42"/>
                  </a:lnTo>
                  <a:lnTo>
                    <a:pt x="90" y="36"/>
                  </a:lnTo>
                  <a:lnTo>
                    <a:pt x="84" y="36"/>
                  </a:lnTo>
                  <a:lnTo>
                    <a:pt x="84" y="30"/>
                  </a:lnTo>
                  <a:lnTo>
                    <a:pt x="84" y="24"/>
                  </a:lnTo>
                  <a:lnTo>
                    <a:pt x="90" y="24"/>
                  </a:lnTo>
                  <a:lnTo>
                    <a:pt x="96" y="24"/>
                  </a:lnTo>
                  <a:lnTo>
                    <a:pt x="96" y="18"/>
                  </a:lnTo>
                  <a:lnTo>
                    <a:pt x="102" y="18"/>
                  </a:lnTo>
                  <a:lnTo>
                    <a:pt x="108" y="18"/>
                  </a:lnTo>
                  <a:lnTo>
                    <a:pt x="108" y="12"/>
                  </a:lnTo>
                  <a:lnTo>
                    <a:pt x="114" y="12"/>
                  </a:lnTo>
                  <a:lnTo>
                    <a:pt x="120" y="12"/>
                  </a:lnTo>
                  <a:lnTo>
                    <a:pt x="120" y="6"/>
                  </a:lnTo>
                  <a:lnTo>
                    <a:pt x="126" y="6"/>
                  </a:lnTo>
                  <a:lnTo>
                    <a:pt x="132" y="6"/>
                  </a:lnTo>
                  <a:lnTo>
                    <a:pt x="138" y="0"/>
                  </a:lnTo>
                  <a:lnTo>
                    <a:pt x="144" y="0"/>
                  </a:lnTo>
                  <a:lnTo>
                    <a:pt x="150" y="6"/>
                  </a:lnTo>
                  <a:lnTo>
                    <a:pt x="156" y="6"/>
                  </a:lnTo>
                  <a:lnTo>
                    <a:pt x="162" y="12"/>
                  </a:lnTo>
                  <a:lnTo>
                    <a:pt x="168" y="12"/>
                  </a:lnTo>
                  <a:lnTo>
                    <a:pt x="174" y="18"/>
                  </a:lnTo>
                  <a:lnTo>
                    <a:pt x="180" y="18"/>
                  </a:lnTo>
                  <a:lnTo>
                    <a:pt x="186" y="24"/>
                  </a:lnTo>
                  <a:lnTo>
                    <a:pt x="192" y="24"/>
                  </a:lnTo>
                  <a:lnTo>
                    <a:pt x="198" y="30"/>
                  </a:lnTo>
                  <a:lnTo>
                    <a:pt x="204" y="30"/>
                  </a:lnTo>
                  <a:lnTo>
                    <a:pt x="210" y="36"/>
                  </a:lnTo>
                  <a:lnTo>
                    <a:pt x="216" y="36"/>
                  </a:lnTo>
                  <a:lnTo>
                    <a:pt x="222" y="42"/>
                  </a:lnTo>
                  <a:lnTo>
                    <a:pt x="228" y="42"/>
                  </a:lnTo>
                  <a:lnTo>
                    <a:pt x="234" y="48"/>
                  </a:lnTo>
                  <a:lnTo>
                    <a:pt x="240" y="48"/>
                  </a:lnTo>
                  <a:lnTo>
                    <a:pt x="246" y="54"/>
                  </a:lnTo>
                  <a:lnTo>
                    <a:pt x="252" y="54"/>
                  </a:lnTo>
                  <a:lnTo>
                    <a:pt x="252" y="60"/>
                  </a:lnTo>
                  <a:lnTo>
                    <a:pt x="258" y="60"/>
                  </a:lnTo>
                  <a:lnTo>
                    <a:pt x="264" y="60"/>
                  </a:lnTo>
                  <a:lnTo>
                    <a:pt x="264" y="66"/>
                  </a:lnTo>
                  <a:lnTo>
                    <a:pt x="270" y="66"/>
                  </a:lnTo>
                  <a:lnTo>
                    <a:pt x="276" y="66"/>
                  </a:lnTo>
                  <a:lnTo>
                    <a:pt x="282" y="72"/>
                  </a:lnTo>
                  <a:lnTo>
                    <a:pt x="288" y="72"/>
                  </a:lnTo>
                  <a:lnTo>
                    <a:pt x="288" y="78"/>
                  </a:lnTo>
                  <a:lnTo>
                    <a:pt x="306" y="84"/>
                  </a:lnTo>
                  <a:lnTo>
                    <a:pt x="588" y="234"/>
                  </a:lnTo>
                  <a:lnTo>
                    <a:pt x="588" y="240"/>
                  </a:lnTo>
                  <a:lnTo>
                    <a:pt x="588" y="246"/>
                  </a:lnTo>
                  <a:lnTo>
                    <a:pt x="588" y="252"/>
                  </a:lnTo>
                  <a:lnTo>
                    <a:pt x="588" y="258"/>
                  </a:lnTo>
                  <a:lnTo>
                    <a:pt x="588" y="264"/>
                  </a:lnTo>
                  <a:lnTo>
                    <a:pt x="588" y="270"/>
                  </a:lnTo>
                  <a:lnTo>
                    <a:pt x="588" y="276"/>
                  </a:lnTo>
                  <a:lnTo>
                    <a:pt x="588" y="282"/>
                  </a:lnTo>
                  <a:lnTo>
                    <a:pt x="588" y="288"/>
                  </a:lnTo>
                  <a:lnTo>
                    <a:pt x="588" y="294"/>
                  </a:lnTo>
                  <a:lnTo>
                    <a:pt x="588" y="300"/>
                  </a:lnTo>
                  <a:lnTo>
                    <a:pt x="588" y="306"/>
                  </a:lnTo>
                  <a:lnTo>
                    <a:pt x="588" y="312"/>
                  </a:lnTo>
                  <a:lnTo>
                    <a:pt x="588" y="318"/>
                  </a:lnTo>
                  <a:lnTo>
                    <a:pt x="588" y="324"/>
                  </a:lnTo>
                  <a:lnTo>
                    <a:pt x="588" y="330"/>
                  </a:lnTo>
                  <a:lnTo>
                    <a:pt x="588" y="336"/>
                  </a:lnTo>
                  <a:lnTo>
                    <a:pt x="588" y="342"/>
                  </a:lnTo>
                  <a:lnTo>
                    <a:pt x="588" y="348"/>
                  </a:lnTo>
                  <a:lnTo>
                    <a:pt x="588" y="354"/>
                  </a:lnTo>
                  <a:lnTo>
                    <a:pt x="588" y="360"/>
                  </a:lnTo>
                  <a:lnTo>
                    <a:pt x="588" y="366"/>
                  </a:lnTo>
                  <a:lnTo>
                    <a:pt x="588" y="372"/>
                  </a:lnTo>
                  <a:lnTo>
                    <a:pt x="588" y="378"/>
                  </a:lnTo>
                  <a:lnTo>
                    <a:pt x="588" y="384"/>
                  </a:lnTo>
                  <a:lnTo>
                    <a:pt x="588" y="390"/>
                  </a:lnTo>
                  <a:lnTo>
                    <a:pt x="588" y="396"/>
                  </a:lnTo>
                  <a:lnTo>
                    <a:pt x="588" y="402"/>
                  </a:lnTo>
                  <a:lnTo>
                    <a:pt x="588" y="408"/>
                  </a:lnTo>
                  <a:lnTo>
                    <a:pt x="588" y="414"/>
                  </a:lnTo>
                  <a:lnTo>
                    <a:pt x="588" y="420"/>
                  </a:lnTo>
                  <a:lnTo>
                    <a:pt x="588" y="426"/>
                  </a:lnTo>
                  <a:lnTo>
                    <a:pt x="588" y="432"/>
                  </a:lnTo>
                  <a:lnTo>
                    <a:pt x="588" y="438"/>
                  </a:lnTo>
                  <a:lnTo>
                    <a:pt x="588" y="450"/>
                  </a:lnTo>
                  <a:lnTo>
                    <a:pt x="588" y="456"/>
                  </a:lnTo>
                  <a:lnTo>
                    <a:pt x="582" y="456"/>
                  </a:lnTo>
                  <a:lnTo>
                    <a:pt x="576" y="456"/>
                  </a:lnTo>
                  <a:lnTo>
                    <a:pt x="570" y="456"/>
                  </a:lnTo>
                  <a:lnTo>
                    <a:pt x="564" y="456"/>
                  </a:lnTo>
                  <a:lnTo>
                    <a:pt x="558" y="456"/>
                  </a:lnTo>
                  <a:lnTo>
                    <a:pt x="552" y="456"/>
                  </a:lnTo>
                  <a:lnTo>
                    <a:pt x="552" y="462"/>
                  </a:lnTo>
                  <a:lnTo>
                    <a:pt x="546" y="456"/>
                  </a:lnTo>
                  <a:lnTo>
                    <a:pt x="540" y="456"/>
                  </a:lnTo>
                  <a:lnTo>
                    <a:pt x="534" y="456"/>
                  </a:lnTo>
                  <a:lnTo>
                    <a:pt x="534" y="462"/>
                  </a:lnTo>
                  <a:lnTo>
                    <a:pt x="528" y="468"/>
                  </a:lnTo>
                  <a:lnTo>
                    <a:pt x="528" y="474"/>
                  </a:lnTo>
                  <a:lnTo>
                    <a:pt x="528" y="480"/>
                  </a:lnTo>
                  <a:lnTo>
                    <a:pt x="528" y="486"/>
                  </a:lnTo>
                  <a:lnTo>
                    <a:pt x="528" y="492"/>
                  </a:lnTo>
                  <a:lnTo>
                    <a:pt x="522" y="492"/>
                  </a:lnTo>
                  <a:lnTo>
                    <a:pt x="522" y="498"/>
                  </a:lnTo>
                  <a:lnTo>
                    <a:pt x="516" y="498"/>
                  </a:lnTo>
                  <a:lnTo>
                    <a:pt x="516" y="504"/>
                  </a:lnTo>
                  <a:lnTo>
                    <a:pt x="510" y="504"/>
                  </a:lnTo>
                  <a:lnTo>
                    <a:pt x="510" y="510"/>
                  </a:lnTo>
                  <a:lnTo>
                    <a:pt x="516" y="510"/>
                  </a:lnTo>
                  <a:lnTo>
                    <a:pt x="516" y="516"/>
                  </a:lnTo>
                  <a:lnTo>
                    <a:pt x="510" y="516"/>
                  </a:lnTo>
                  <a:lnTo>
                    <a:pt x="504" y="522"/>
                  </a:lnTo>
                  <a:lnTo>
                    <a:pt x="498" y="522"/>
                  </a:lnTo>
                  <a:lnTo>
                    <a:pt x="498" y="528"/>
                  </a:lnTo>
                  <a:lnTo>
                    <a:pt x="498" y="534"/>
                  </a:lnTo>
                  <a:lnTo>
                    <a:pt x="498" y="540"/>
                  </a:lnTo>
                  <a:lnTo>
                    <a:pt x="504" y="540"/>
                  </a:lnTo>
                  <a:lnTo>
                    <a:pt x="504" y="546"/>
                  </a:lnTo>
                  <a:lnTo>
                    <a:pt x="510" y="546"/>
                  </a:lnTo>
                  <a:lnTo>
                    <a:pt x="504" y="546"/>
                  </a:lnTo>
                  <a:lnTo>
                    <a:pt x="504" y="552"/>
                  </a:lnTo>
                  <a:lnTo>
                    <a:pt x="498" y="552"/>
                  </a:lnTo>
                  <a:lnTo>
                    <a:pt x="498" y="558"/>
                  </a:lnTo>
                  <a:lnTo>
                    <a:pt x="492" y="558"/>
                  </a:lnTo>
                  <a:lnTo>
                    <a:pt x="486" y="558"/>
                  </a:lnTo>
                  <a:lnTo>
                    <a:pt x="486" y="564"/>
                  </a:lnTo>
                  <a:lnTo>
                    <a:pt x="480" y="564"/>
                  </a:lnTo>
                  <a:lnTo>
                    <a:pt x="480" y="570"/>
                  </a:lnTo>
                  <a:lnTo>
                    <a:pt x="480" y="576"/>
                  </a:lnTo>
                  <a:lnTo>
                    <a:pt x="486" y="576"/>
                  </a:lnTo>
                  <a:lnTo>
                    <a:pt x="486" y="582"/>
                  </a:lnTo>
                  <a:lnTo>
                    <a:pt x="486" y="588"/>
                  </a:lnTo>
                  <a:lnTo>
                    <a:pt x="492" y="588"/>
                  </a:lnTo>
                  <a:lnTo>
                    <a:pt x="492" y="594"/>
                  </a:lnTo>
                  <a:lnTo>
                    <a:pt x="486" y="594"/>
                  </a:lnTo>
                  <a:lnTo>
                    <a:pt x="486" y="600"/>
                  </a:lnTo>
                  <a:lnTo>
                    <a:pt x="480" y="606"/>
                  </a:lnTo>
                  <a:lnTo>
                    <a:pt x="474" y="606"/>
                  </a:lnTo>
                  <a:lnTo>
                    <a:pt x="474" y="612"/>
                  </a:lnTo>
                  <a:lnTo>
                    <a:pt x="468" y="612"/>
                  </a:lnTo>
                  <a:lnTo>
                    <a:pt x="474" y="612"/>
                  </a:lnTo>
                  <a:lnTo>
                    <a:pt x="468" y="612"/>
                  </a:lnTo>
                  <a:lnTo>
                    <a:pt x="468" y="618"/>
                  </a:lnTo>
                  <a:lnTo>
                    <a:pt x="468" y="624"/>
                  </a:lnTo>
                  <a:lnTo>
                    <a:pt x="468" y="630"/>
                  </a:lnTo>
                  <a:lnTo>
                    <a:pt x="474" y="636"/>
                  </a:lnTo>
                  <a:lnTo>
                    <a:pt x="480" y="636"/>
                  </a:lnTo>
                  <a:lnTo>
                    <a:pt x="480" y="630"/>
                  </a:lnTo>
                  <a:lnTo>
                    <a:pt x="486" y="630"/>
                  </a:lnTo>
                  <a:lnTo>
                    <a:pt x="492" y="630"/>
                  </a:lnTo>
                  <a:lnTo>
                    <a:pt x="498" y="630"/>
                  </a:lnTo>
                  <a:lnTo>
                    <a:pt x="498" y="636"/>
                  </a:lnTo>
                  <a:lnTo>
                    <a:pt x="498" y="642"/>
                  </a:lnTo>
                  <a:lnTo>
                    <a:pt x="498" y="648"/>
                  </a:lnTo>
                  <a:lnTo>
                    <a:pt x="498" y="654"/>
                  </a:lnTo>
                  <a:lnTo>
                    <a:pt x="504" y="660"/>
                  </a:lnTo>
                  <a:lnTo>
                    <a:pt x="504" y="666"/>
                  </a:lnTo>
                  <a:lnTo>
                    <a:pt x="498" y="672"/>
                  </a:lnTo>
                  <a:lnTo>
                    <a:pt x="504" y="672"/>
                  </a:lnTo>
                  <a:lnTo>
                    <a:pt x="504" y="666"/>
                  </a:lnTo>
                  <a:lnTo>
                    <a:pt x="510" y="666"/>
                  </a:lnTo>
                  <a:lnTo>
                    <a:pt x="510" y="672"/>
                  </a:lnTo>
                  <a:lnTo>
                    <a:pt x="510" y="678"/>
                  </a:lnTo>
                  <a:lnTo>
                    <a:pt x="510" y="684"/>
                  </a:lnTo>
                  <a:lnTo>
                    <a:pt x="504" y="684"/>
                  </a:lnTo>
                  <a:lnTo>
                    <a:pt x="504" y="690"/>
                  </a:lnTo>
                  <a:lnTo>
                    <a:pt x="510" y="690"/>
                  </a:lnTo>
                  <a:lnTo>
                    <a:pt x="510" y="696"/>
                  </a:lnTo>
                  <a:lnTo>
                    <a:pt x="516" y="702"/>
                  </a:lnTo>
                  <a:lnTo>
                    <a:pt x="522" y="702"/>
                  </a:lnTo>
                  <a:lnTo>
                    <a:pt x="528" y="702"/>
                  </a:lnTo>
                  <a:lnTo>
                    <a:pt x="528" y="708"/>
                  </a:lnTo>
                  <a:lnTo>
                    <a:pt x="528" y="714"/>
                  </a:lnTo>
                  <a:lnTo>
                    <a:pt x="528" y="720"/>
                  </a:lnTo>
                  <a:lnTo>
                    <a:pt x="528" y="726"/>
                  </a:lnTo>
                  <a:lnTo>
                    <a:pt x="522" y="73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0" name="Freeform 30"/>
            <p:cNvSpPr>
              <a:spLocks noEditPoints="1"/>
            </p:cNvSpPr>
            <p:nvPr>
              <p:custDataLst>
                <p:tags r:id="rId28"/>
              </p:custDataLst>
            </p:nvPr>
          </p:nvSpPr>
          <p:spPr bwMode="gray">
            <a:xfrm>
              <a:off x="3142228" y="2723961"/>
              <a:ext cx="339601" cy="283022"/>
            </a:xfrm>
            <a:custGeom>
              <a:avLst/>
              <a:gdLst>
                <a:gd name="T0" fmla="*/ 48452 w 372"/>
                <a:gd name="T1" fmla="*/ 14519 h 324"/>
                <a:gd name="T2" fmla="*/ 55235 w 372"/>
                <a:gd name="T3" fmla="*/ 31941 h 324"/>
                <a:gd name="T4" fmla="*/ 60081 w 372"/>
                <a:gd name="T5" fmla="*/ 44524 h 324"/>
                <a:gd name="T6" fmla="*/ 63957 w 372"/>
                <a:gd name="T7" fmla="*/ 57107 h 324"/>
                <a:gd name="T8" fmla="*/ 67834 w 372"/>
                <a:gd name="T9" fmla="*/ 57107 h 324"/>
                <a:gd name="T10" fmla="*/ 71710 w 372"/>
                <a:gd name="T11" fmla="*/ 57107 h 324"/>
                <a:gd name="T12" fmla="*/ 74616 w 372"/>
                <a:gd name="T13" fmla="*/ 63883 h 324"/>
                <a:gd name="T14" fmla="*/ 80431 w 372"/>
                <a:gd name="T15" fmla="*/ 61947 h 324"/>
                <a:gd name="T16" fmla="*/ 95935 w 372"/>
                <a:gd name="T17" fmla="*/ 70658 h 324"/>
                <a:gd name="T18" fmla="*/ 104657 w 372"/>
                <a:gd name="T19" fmla="*/ 83241 h 324"/>
                <a:gd name="T20" fmla="*/ 112409 w 372"/>
                <a:gd name="T21" fmla="*/ 89049 h 324"/>
                <a:gd name="T22" fmla="*/ 117254 w 372"/>
                <a:gd name="T23" fmla="*/ 97760 h 324"/>
                <a:gd name="T24" fmla="*/ 123069 w 372"/>
                <a:gd name="T25" fmla="*/ 104535 h 324"/>
                <a:gd name="T26" fmla="*/ 131790 w 372"/>
                <a:gd name="T27" fmla="*/ 108407 h 324"/>
                <a:gd name="T28" fmla="*/ 119193 w 372"/>
                <a:gd name="T29" fmla="*/ 112279 h 324"/>
                <a:gd name="T30" fmla="*/ 105626 w 372"/>
                <a:gd name="T31" fmla="*/ 99696 h 324"/>
                <a:gd name="T32" fmla="*/ 93998 w 372"/>
                <a:gd name="T33" fmla="*/ 89049 h 324"/>
                <a:gd name="T34" fmla="*/ 80431 w 372"/>
                <a:gd name="T35" fmla="*/ 78402 h 324"/>
                <a:gd name="T36" fmla="*/ 67834 w 372"/>
                <a:gd name="T37" fmla="*/ 74530 h 324"/>
                <a:gd name="T38" fmla="*/ 55235 w 372"/>
                <a:gd name="T39" fmla="*/ 74530 h 324"/>
                <a:gd name="T40" fmla="*/ 42638 w 372"/>
                <a:gd name="T41" fmla="*/ 74530 h 324"/>
                <a:gd name="T42" fmla="*/ 30040 w 372"/>
                <a:gd name="T43" fmla="*/ 65818 h 324"/>
                <a:gd name="T44" fmla="*/ 21319 w 372"/>
                <a:gd name="T45" fmla="*/ 80338 h 324"/>
                <a:gd name="T46" fmla="*/ 14536 w 372"/>
                <a:gd name="T47" fmla="*/ 74530 h 324"/>
                <a:gd name="T48" fmla="*/ 1938 w 372"/>
                <a:gd name="T49" fmla="*/ 70658 h 324"/>
                <a:gd name="T50" fmla="*/ 3876 w 372"/>
                <a:gd name="T51" fmla="*/ 55171 h 324"/>
                <a:gd name="T52" fmla="*/ 8721 w 372"/>
                <a:gd name="T53" fmla="*/ 36781 h 324"/>
                <a:gd name="T54" fmla="*/ 10660 w 372"/>
                <a:gd name="T55" fmla="*/ 26134 h 324"/>
                <a:gd name="T56" fmla="*/ 21319 w 372"/>
                <a:gd name="T57" fmla="*/ 19358 h 324"/>
                <a:gd name="T58" fmla="*/ 33916 w 372"/>
                <a:gd name="T59" fmla="*/ 10647 h 324"/>
                <a:gd name="T60" fmla="*/ 70740 w 372"/>
                <a:gd name="T61" fmla="*/ 46460 h 324"/>
                <a:gd name="T62" fmla="*/ 71710 w 372"/>
                <a:gd name="T63" fmla="*/ 44524 h 324"/>
                <a:gd name="T64" fmla="*/ 78493 w 372"/>
                <a:gd name="T65" fmla="*/ 48396 h 324"/>
                <a:gd name="T66" fmla="*/ 70740 w 372"/>
                <a:gd name="T67" fmla="*/ 48396 h 324"/>
                <a:gd name="T68" fmla="*/ 76555 w 372"/>
                <a:gd name="T69" fmla="*/ 60011 h 324"/>
                <a:gd name="T70" fmla="*/ 74616 w 372"/>
                <a:gd name="T71" fmla="*/ 48396 h 324"/>
                <a:gd name="T72" fmla="*/ 60081 w 372"/>
                <a:gd name="T73" fmla="*/ 37749 h 324"/>
                <a:gd name="T74" fmla="*/ 71710 w 372"/>
                <a:gd name="T75" fmla="*/ 40653 h 324"/>
                <a:gd name="T76" fmla="*/ 63957 w 372"/>
                <a:gd name="T77" fmla="*/ 42588 h 324"/>
                <a:gd name="T78" fmla="*/ 71710 w 372"/>
                <a:gd name="T79" fmla="*/ 46460 h 324"/>
                <a:gd name="T80" fmla="*/ 127914 w 372"/>
                <a:gd name="T81" fmla="*/ 105503 h 324"/>
                <a:gd name="T82" fmla="*/ 87214 w 372"/>
                <a:gd name="T83" fmla="*/ 51300 h 324"/>
                <a:gd name="T84" fmla="*/ 76555 w 372"/>
                <a:gd name="T85" fmla="*/ 51300 h 324"/>
                <a:gd name="T86" fmla="*/ 91090 w 372"/>
                <a:gd name="T87" fmla="*/ 51300 h 324"/>
                <a:gd name="T88" fmla="*/ 83338 w 372"/>
                <a:gd name="T89" fmla="*/ 42588 h 324"/>
                <a:gd name="T90" fmla="*/ 125007 w 372"/>
                <a:gd name="T91" fmla="*/ 104535 h 324"/>
                <a:gd name="T92" fmla="*/ 65895 w 372"/>
                <a:gd name="T93" fmla="*/ 36781 h 324"/>
                <a:gd name="T94" fmla="*/ 76555 w 372"/>
                <a:gd name="T95" fmla="*/ 44524 h 324"/>
                <a:gd name="T96" fmla="*/ 74616 w 372"/>
                <a:gd name="T97" fmla="*/ 57107 h 324"/>
                <a:gd name="T98" fmla="*/ 127914 w 372"/>
                <a:gd name="T99" fmla="*/ 104535 h 324"/>
                <a:gd name="T100" fmla="*/ 115317 w 372"/>
                <a:gd name="T101" fmla="*/ 89049 h 324"/>
                <a:gd name="T102" fmla="*/ 85276 w 372"/>
                <a:gd name="T103" fmla="*/ 46460 h 324"/>
                <a:gd name="T104" fmla="*/ 58143 w 372"/>
                <a:gd name="T105" fmla="*/ 30005 h 324"/>
                <a:gd name="T106" fmla="*/ 115317 w 372"/>
                <a:gd name="T107" fmla="*/ 89049 h 324"/>
                <a:gd name="T108" fmla="*/ 127914 w 372"/>
                <a:gd name="T109" fmla="*/ 105503 h 324"/>
                <a:gd name="T110" fmla="*/ 80431 w 372"/>
                <a:gd name="T111" fmla="*/ 48396 h 324"/>
                <a:gd name="T112" fmla="*/ 127914 w 372"/>
                <a:gd name="T113" fmla="*/ 101632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2" h="324">
                  <a:moveTo>
                    <a:pt x="120" y="0"/>
                  </a:moveTo>
                  <a:lnTo>
                    <a:pt x="120" y="6"/>
                  </a:lnTo>
                  <a:lnTo>
                    <a:pt x="126" y="6"/>
                  </a:lnTo>
                  <a:lnTo>
                    <a:pt x="126" y="12"/>
                  </a:lnTo>
                  <a:lnTo>
                    <a:pt x="126" y="18"/>
                  </a:lnTo>
                  <a:lnTo>
                    <a:pt x="132" y="18"/>
                  </a:lnTo>
                  <a:lnTo>
                    <a:pt x="132" y="24"/>
                  </a:lnTo>
                  <a:lnTo>
                    <a:pt x="138" y="30"/>
                  </a:lnTo>
                  <a:lnTo>
                    <a:pt x="138" y="36"/>
                  </a:lnTo>
                  <a:lnTo>
                    <a:pt x="138" y="42"/>
                  </a:lnTo>
                  <a:lnTo>
                    <a:pt x="144" y="42"/>
                  </a:lnTo>
                  <a:lnTo>
                    <a:pt x="144" y="48"/>
                  </a:lnTo>
                  <a:lnTo>
                    <a:pt x="144" y="54"/>
                  </a:lnTo>
                  <a:lnTo>
                    <a:pt x="144" y="60"/>
                  </a:lnTo>
                  <a:lnTo>
                    <a:pt x="144" y="66"/>
                  </a:lnTo>
                  <a:lnTo>
                    <a:pt x="150" y="66"/>
                  </a:lnTo>
                  <a:lnTo>
                    <a:pt x="150" y="72"/>
                  </a:lnTo>
                  <a:lnTo>
                    <a:pt x="150" y="78"/>
                  </a:lnTo>
                  <a:lnTo>
                    <a:pt x="150" y="84"/>
                  </a:lnTo>
                  <a:lnTo>
                    <a:pt x="156" y="90"/>
                  </a:lnTo>
                  <a:lnTo>
                    <a:pt x="150" y="90"/>
                  </a:lnTo>
                  <a:lnTo>
                    <a:pt x="156" y="90"/>
                  </a:lnTo>
                  <a:lnTo>
                    <a:pt x="156" y="96"/>
                  </a:lnTo>
                  <a:lnTo>
                    <a:pt x="156" y="102"/>
                  </a:lnTo>
                  <a:lnTo>
                    <a:pt x="156" y="108"/>
                  </a:lnTo>
                  <a:lnTo>
                    <a:pt x="156" y="114"/>
                  </a:lnTo>
                  <a:lnTo>
                    <a:pt x="156" y="120"/>
                  </a:lnTo>
                  <a:lnTo>
                    <a:pt x="162" y="120"/>
                  </a:lnTo>
                  <a:lnTo>
                    <a:pt x="162" y="126"/>
                  </a:lnTo>
                  <a:lnTo>
                    <a:pt x="168" y="126"/>
                  </a:lnTo>
                  <a:lnTo>
                    <a:pt x="168" y="132"/>
                  </a:lnTo>
                  <a:lnTo>
                    <a:pt x="168" y="138"/>
                  </a:lnTo>
                  <a:lnTo>
                    <a:pt x="168" y="144"/>
                  </a:lnTo>
                  <a:lnTo>
                    <a:pt x="174" y="144"/>
                  </a:lnTo>
                  <a:lnTo>
                    <a:pt x="180" y="144"/>
                  </a:lnTo>
                  <a:lnTo>
                    <a:pt x="180" y="150"/>
                  </a:lnTo>
                  <a:lnTo>
                    <a:pt x="180" y="156"/>
                  </a:lnTo>
                  <a:lnTo>
                    <a:pt x="180" y="162"/>
                  </a:lnTo>
                  <a:lnTo>
                    <a:pt x="186" y="162"/>
                  </a:lnTo>
                  <a:lnTo>
                    <a:pt x="180" y="162"/>
                  </a:lnTo>
                  <a:lnTo>
                    <a:pt x="180" y="168"/>
                  </a:lnTo>
                  <a:lnTo>
                    <a:pt x="186" y="168"/>
                  </a:lnTo>
                  <a:lnTo>
                    <a:pt x="186" y="174"/>
                  </a:lnTo>
                  <a:lnTo>
                    <a:pt x="186" y="168"/>
                  </a:lnTo>
                  <a:lnTo>
                    <a:pt x="186" y="174"/>
                  </a:lnTo>
                  <a:lnTo>
                    <a:pt x="186" y="168"/>
                  </a:lnTo>
                  <a:lnTo>
                    <a:pt x="186" y="174"/>
                  </a:lnTo>
                  <a:lnTo>
                    <a:pt x="186" y="168"/>
                  </a:lnTo>
                  <a:lnTo>
                    <a:pt x="192" y="168"/>
                  </a:lnTo>
                  <a:lnTo>
                    <a:pt x="192" y="162"/>
                  </a:lnTo>
                  <a:lnTo>
                    <a:pt x="186" y="162"/>
                  </a:lnTo>
                  <a:lnTo>
                    <a:pt x="186" y="156"/>
                  </a:lnTo>
                  <a:lnTo>
                    <a:pt x="186" y="150"/>
                  </a:lnTo>
                  <a:lnTo>
                    <a:pt x="192" y="150"/>
                  </a:lnTo>
                  <a:lnTo>
                    <a:pt x="192" y="144"/>
                  </a:lnTo>
                  <a:lnTo>
                    <a:pt x="192" y="150"/>
                  </a:lnTo>
                  <a:lnTo>
                    <a:pt x="198" y="150"/>
                  </a:lnTo>
                  <a:lnTo>
                    <a:pt x="198" y="156"/>
                  </a:lnTo>
                  <a:lnTo>
                    <a:pt x="204" y="156"/>
                  </a:lnTo>
                  <a:lnTo>
                    <a:pt x="204" y="162"/>
                  </a:lnTo>
                  <a:lnTo>
                    <a:pt x="198" y="162"/>
                  </a:lnTo>
                  <a:lnTo>
                    <a:pt x="204" y="162"/>
                  </a:lnTo>
                  <a:lnTo>
                    <a:pt x="204" y="168"/>
                  </a:lnTo>
                  <a:lnTo>
                    <a:pt x="204" y="174"/>
                  </a:lnTo>
                  <a:lnTo>
                    <a:pt x="204" y="168"/>
                  </a:lnTo>
                  <a:lnTo>
                    <a:pt x="204" y="174"/>
                  </a:lnTo>
                  <a:lnTo>
                    <a:pt x="210" y="174"/>
                  </a:lnTo>
                  <a:lnTo>
                    <a:pt x="204" y="174"/>
                  </a:lnTo>
                  <a:lnTo>
                    <a:pt x="210" y="174"/>
                  </a:lnTo>
                  <a:lnTo>
                    <a:pt x="210" y="180"/>
                  </a:lnTo>
                  <a:lnTo>
                    <a:pt x="216" y="180"/>
                  </a:lnTo>
                  <a:lnTo>
                    <a:pt x="222" y="180"/>
                  </a:lnTo>
                  <a:lnTo>
                    <a:pt x="216" y="180"/>
                  </a:lnTo>
                  <a:lnTo>
                    <a:pt x="222" y="180"/>
                  </a:lnTo>
                  <a:lnTo>
                    <a:pt x="222" y="174"/>
                  </a:lnTo>
                  <a:lnTo>
                    <a:pt x="222" y="180"/>
                  </a:lnTo>
                  <a:lnTo>
                    <a:pt x="222" y="174"/>
                  </a:lnTo>
                  <a:lnTo>
                    <a:pt x="228" y="174"/>
                  </a:lnTo>
                  <a:lnTo>
                    <a:pt x="228" y="180"/>
                  </a:lnTo>
                  <a:lnTo>
                    <a:pt x="228" y="174"/>
                  </a:lnTo>
                  <a:lnTo>
                    <a:pt x="228" y="180"/>
                  </a:lnTo>
                  <a:lnTo>
                    <a:pt x="234" y="180"/>
                  </a:lnTo>
                  <a:lnTo>
                    <a:pt x="240" y="180"/>
                  </a:lnTo>
                  <a:lnTo>
                    <a:pt x="240" y="186"/>
                  </a:lnTo>
                  <a:lnTo>
                    <a:pt x="240" y="192"/>
                  </a:lnTo>
                  <a:lnTo>
                    <a:pt x="246" y="192"/>
                  </a:lnTo>
                  <a:lnTo>
                    <a:pt x="252" y="192"/>
                  </a:lnTo>
                  <a:lnTo>
                    <a:pt x="258" y="192"/>
                  </a:lnTo>
                  <a:lnTo>
                    <a:pt x="264" y="198"/>
                  </a:lnTo>
                  <a:lnTo>
                    <a:pt x="270" y="198"/>
                  </a:lnTo>
                  <a:lnTo>
                    <a:pt x="270" y="204"/>
                  </a:lnTo>
                  <a:lnTo>
                    <a:pt x="276" y="210"/>
                  </a:lnTo>
                  <a:lnTo>
                    <a:pt x="276" y="216"/>
                  </a:lnTo>
                  <a:lnTo>
                    <a:pt x="282" y="216"/>
                  </a:lnTo>
                  <a:lnTo>
                    <a:pt x="282" y="222"/>
                  </a:lnTo>
                  <a:lnTo>
                    <a:pt x="288" y="222"/>
                  </a:lnTo>
                  <a:lnTo>
                    <a:pt x="288" y="228"/>
                  </a:lnTo>
                  <a:lnTo>
                    <a:pt x="288" y="234"/>
                  </a:lnTo>
                  <a:lnTo>
                    <a:pt x="288" y="228"/>
                  </a:lnTo>
                  <a:lnTo>
                    <a:pt x="294" y="234"/>
                  </a:lnTo>
                  <a:lnTo>
                    <a:pt x="294" y="240"/>
                  </a:lnTo>
                  <a:lnTo>
                    <a:pt x="294" y="234"/>
                  </a:lnTo>
                  <a:lnTo>
                    <a:pt x="300" y="240"/>
                  </a:lnTo>
                  <a:lnTo>
                    <a:pt x="300" y="234"/>
                  </a:lnTo>
                  <a:lnTo>
                    <a:pt x="300" y="240"/>
                  </a:lnTo>
                  <a:lnTo>
                    <a:pt x="306" y="240"/>
                  </a:lnTo>
                  <a:lnTo>
                    <a:pt x="312" y="240"/>
                  </a:lnTo>
                  <a:lnTo>
                    <a:pt x="312" y="246"/>
                  </a:lnTo>
                  <a:lnTo>
                    <a:pt x="312" y="252"/>
                  </a:lnTo>
                  <a:lnTo>
                    <a:pt x="318" y="252"/>
                  </a:lnTo>
                  <a:lnTo>
                    <a:pt x="318" y="258"/>
                  </a:lnTo>
                  <a:lnTo>
                    <a:pt x="324" y="258"/>
                  </a:lnTo>
                  <a:lnTo>
                    <a:pt x="324" y="252"/>
                  </a:lnTo>
                  <a:lnTo>
                    <a:pt x="318" y="252"/>
                  </a:lnTo>
                  <a:lnTo>
                    <a:pt x="324" y="252"/>
                  </a:lnTo>
                  <a:lnTo>
                    <a:pt x="324" y="258"/>
                  </a:lnTo>
                  <a:lnTo>
                    <a:pt x="330" y="258"/>
                  </a:lnTo>
                  <a:lnTo>
                    <a:pt x="330" y="264"/>
                  </a:lnTo>
                  <a:lnTo>
                    <a:pt x="330" y="270"/>
                  </a:lnTo>
                  <a:lnTo>
                    <a:pt x="330" y="276"/>
                  </a:lnTo>
                  <a:lnTo>
                    <a:pt x="336" y="276"/>
                  </a:lnTo>
                  <a:lnTo>
                    <a:pt x="336" y="282"/>
                  </a:lnTo>
                  <a:lnTo>
                    <a:pt x="336" y="276"/>
                  </a:lnTo>
                  <a:lnTo>
                    <a:pt x="342" y="276"/>
                  </a:lnTo>
                  <a:lnTo>
                    <a:pt x="342" y="282"/>
                  </a:lnTo>
                  <a:lnTo>
                    <a:pt x="348" y="282"/>
                  </a:lnTo>
                  <a:lnTo>
                    <a:pt x="348" y="288"/>
                  </a:lnTo>
                  <a:lnTo>
                    <a:pt x="354" y="288"/>
                  </a:lnTo>
                  <a:lnTo>
                    <a:pt x="354" y="294"/>
                  </a:lnTo>
                  <a:lnTo>
                    <a:pt x="348" y="294"/>
                  </a:lnTo>
                  <a:lnTo>
                    <a:pt x="354" y="294"/>
                  </a:lnTo>
                  <a:lnTo>
                    <a:pt x="354" y="300"/>
                  </a:lnTo>
                  <a:lnTo>
                    <a:pt x="360" y="300"/>
                  </a:lnTo>
                  <a:lnTo>
                    <a:pt x="354" y="300"/>
                  </a:lnTo>
                  <a:lnTo>
                    <a:pt x="360" y="300"/>
                  </a:lnTo>
                  <a:lnTo>
                    <a:pt x="366" y="300"/>
                  </a:lnTo>
                  <a:lnTo>
                    <a:pt x="366" y="294"/>
                  </a:lnTo>
                  <a:lnTo>
                    <a:pt x="366" y="300"/>
                  </a:lnTo>
                  <a:lnTo>
                    <a:pt x="372" y="300"/>
                  </a:lnTo>
                  <a:lnTo>
                    <a:pt x="372" y="306"/>
                  </a:lnTo>
                  <a:lnTo>
                    <a:pt x="366" y="306"/>
                  </a:lnTo>
                  <a:lnTo>
                    <a:pt x="366" y="312"/>
                  </a:lnTo>
                  <a:lnTo>
                    <a:pt x="360" y="312"/>
                  </a:lnTo>
                  <a:lnTo>
                    <a:pt x="360" y="318"/>
                  </a:lnTo>
                  <a:lnTo>
                    <a:pt x="354" y="318"/>
                  </a:lnTo>
                  <a:lnTo>
                    <a:pt x="354" y="324"/>
                  </a:lnTo>
                  <a:lnTo>
                    <a:pt x="348" y="324"/>
                  </a:lnTo>
                  <a:lnTo>
                    <a:pt x="342" y="324"/>
                  </a:lnTo>
                  <a:lnTo>
                    <a:pt x="342" y="318"/>
                  </a:lnTo>
                  <a:lnTo>
                    <a:pt x="336" y="318"/>
                  </a:lnTo>
                  <a:lnTo>
                    <a:pt x="330" y="318"/>
                  </a:lnTo>
                  <a:lnTo>
                    <a:pt x="330" y="312"/>
                  </a:lnTo>
                  <a:lnTo>
                    <a:pt x="324" y="312"/>
                  </a:lnTo>
                  <a:lnTo>
                    <a:pt x="324" y="306"/>
                  </a:lnTo>
                  <a:lnTo>
                    <a:pt x="318" y="306"/>
                  </a:lnTo>
                  <a:lnTo>
                    <a:pt x="318" y="300"/>
                  </a:lnTo>
                  <a:lnTo>
                    <a:pt x="312" y="300"/>
                  </a:lnTo>
                  <a:lnTo>
                    <a:pt x="306" y="294"/>
                  </a:lnTo>
                  <a:lnTo>
                    <a:pt x="306" y="288"/>
                  </a:lnTo>
                  <a:lnTo>
                    <a:pt x="300" y="282"/>
                  </a:lnTo>
                  <a:lnTo>
                    <a:pt x="300" y="276"/>
                  </a:lnTo>
                  <a:lnTo>
                    <a:pt x="294" y="276"/>
                  </a:lnTo>
                  <a:lnTo>
                    <a:pt x="294" y="270"/>
                  </a:lnTo>
                  <a:lnTo>
                    <a:pt x="288" y="270"/>
                  </a:lnTo>
                  <a:lnTo>
                    <a:pt x="282" y="264"/>
                  </a:lnTo>
                  <a:lnTo>
                    <a:pt x="276" y="264"/>
                  </a:lnTo>
                  <a:lnTo>
                    <a:pt x="276" y="258"/>
                  </a:lnTo>
                  <a:lnTo>
                    <a:pt x="270" y="258"/>
                  </a:lnTo>
                  <a:lnTo>
                    <a:pt x="270" y="252"/>
                  </a:lnTo>
                  <a:lnTo>
                    <a:pt x="264" y="252"/>
                  </a:lnTo>
                  <a:lnTo>
                    <a:pt x="264" y="246"/>
                  </a:lnTo>
                  <a:lnTo>
                    <a:pt x="258" y="240"/>
                  </a:lnTo>
                  <a:lnTo>
                    <a:pt x="258" y="234"/>
                  </a:lnTo>
                  <a:lnTo>
                    <a:pt x="252" y="234"/>
                  </a:lnTo>
                  <a:lnTo>
                    <a:pt x="252" y="228"/>
                  </a:lnTo>
                  <a:lnTo>
                    <a:pt x="246" y="228"/>
                  </a:lnTo>
                  <a:lnTo>
                    <a:pt x="246" y="222"/>
                  </a:lnTo>
                  <a:lnTo>
                    <a:pt x="240" y="222"/>
                  </a:lnTo>
                  <a:lnTo>
                    <a:pt x="234" y="222"/>
                  </a:lnTo>
                  <a:lnTo>
                    <a:pt x="228" y="222"/>
                  </a:lnTo>
                  <a:lnTo>
                    <a:pt x="228" y="216"/>
                  </a:lnTo>
                  <a:lnTo>
                    <a:pt x="222" y="216"/>
                  </a:lnTo>
                  <a:lnTo>
                    <a:pt x="222" y="210"/>
                  </a:lnTo>
                  <a:lnTo>
                    <a:pt x="216" y="210"/>
                  </a:lnTo>
                  <a:lnTo>
                    <a:pt x="210" y="210"/>
                  </a:lnTo>
                  <a:lnTo>
                    <a:pt x="210" y="204"/>
                  </a:lnTo>
                  <a:lnTo>
                    <a:pt x="204" y="204"/>
                  </a:lnTo>
                  <a:lnTo>
                    <a:pt x="198" y="204"/>
                  </a:lnTo>
                  <a:lnTo>
                    <a:pt x="198" y="210"/>
                  </a:lnTo>
                  <a:lnTo>
                    <a:pt x="192" y="210"/>
                  </a:lnTo>
                  <a:lnTo>
                    <a:pt x="192" y="204"/>
                  </a:lnTo>
                  <a:lnTo>
                    <a:pt x="186" y="204"/>
                  </a:lnTo>
                  <a:lnTo>
                    <a:pt x="180" y="204"/>
                  </a:lnTo>
                  <a:lnTo>
                    <a:pt x="174" y="204"/>
                  </a:lnTo>
                  <a:lnTo>
                    <a:pt x="174" y="198"/>
                  </a:lnTo>
                  <a:lnTo>
                    <a:pt x="174" y="204"/>
                  </a:lnTo>
                  <a:lnTo>
                    <a:pt x="168" y="204"/>
                  </a:lnTo>
                  <a:lnTo>
                    <a:pt x="162" y="204"/>
                  </a:lnTo>
                  <a:lnTo>
                    <a:pt x="156" y="204"/>
                  </a:lnTo>
                  <a:lnTo>
                    <a:pt x="156" y="210"/>
                  </a:lnTo>
                  <a:lnTo>
                    <a:pt x="156" y="204"/>
                  </a:lnTo>
                  <a:lnTo>
                    <a:pt x="156" y="198"/>
                  </a:lnTo>
                  <a:lnTo>
                    <a:pt x="150" y="198"/>
                  </a:lnTo>
                  <a:lnTo>
                    <a:pt x="144" y="198"/>
                  </a:lnTo>
                  <a:lnTo>
                    <a:pt x="144" y="204"/>
                  </a:lnTo>
                  <a:lnTo>
                    <a:pt x="138" y="204"/>
                  </a:lnTo>
                  <a:lnTo>
                    <a:pt x="132" y="204"/>
                  </a:lnTo>
                  <a:lnTo>
                    <a:pt x="126" y="204"/>
                  </a:lnTo>
                  <a:lnTo>
                    <a:pt x="126" y="210"/>
                  </a:lnTo>
                  <a:lnTo>
                    <a:pt x="120" y="210"/>
                  </a:lnTo>
                  <a:lnTo>
                    <a:pt x="114" y="210"/>
                  </a:lnTo>
                  <a:lnTo>
                    <a:pt x="114" y="204"/>
                  </a:lnTo>
                  <a:lnTo>
                    <a:pt x="108" y="204"/>
                  </a:lnTo>
                  <a:lnTo>
                    <a:pt x="108" y="198"/>
                  </a:lnTo>
                  <a:lnTo>
                    <a:pt x="102" y="198"/>
                  </a:lnTo>
                  <a:lnTo>
                    <a:pt x="102" y="192"/>
                  </a:lnTo>
                  <a:lnTo>
                    <a:pt x="96" y="192"/>
                  </a:lnTo>
                  <a:lnTo>
                    <a:pt x="90" y="192"/>
                  </a:lnTo>
                  <a:lnTo>
                    <a:pt x="90" y="186"/>
                  </a:lnTo>
                  <a:lnTo>
                    <a:pt x="84" y="186"/>
                  </a:lnTo>
                  <a:lnTo>
                    <a:pt x="84" y="180"/>
                  </a:lnTo>
                  <a:lnTo>
                    <a:pt x="78" y="186"/>
                  </a:lnTo>
                  <a:lnTo>
                    <a:pt x="78" y="192"/>
                  </a:lnTo>
                  <a:lnTo>
                    <a:pt x="78" y="198"/>
                  </a:lnTo>
                  <a:lnTo>
                    <a:pt x="72" y="204"/>
                  </a:lnTo>
                  <a:lnTo>
                    <a:pt x="72" y="210"/>
                  </a:lnTo>
                  <a:lnTo>
                    <a:pt x="66" y="216"/>
                  </a:lnTo>
                  <a:lnTo>
                    <a:pt x="66" y="222"/>
                  </a:lnTo>
                  <a:lnTo>
                    <a:pt x="66" y="228"/>
                  </a:lnTo>
                  <a:lnTo>
                    <a:pt x="60" y="228"/>
                  </a:lnTo>
                  <a:lnTo>
                    <a:pt x="60" y="222"/>
                  </a:lnTo>
                  <a:lnTo>
                    <a:pt x="60" y="216"/>
                  </a:lnTo>
                  <a:lnTo>
                    <a:pt x="54" y="216"/>
                  </a:lnTo>
                  <a:lnTo>
                    <a:pt x="54" y="210"/>
                  </a:lnTo>
                  <a:lnTo>
                    <a:pt x="48" y="210"/>
                  </a:lnTo>
                  <a:lnTo>
                    <a:pt x="48" y="204"/>
                  </a:lnTo>
                  <a:lnTo>
                    <a:pt x="48" y="210"/>
                  </a:lnTo>
                  <a:lnTo>
                    <a:pt x="48" y="204"/>
                  </a:lnTo>
                  <a:lnTo>
                    <a:pt x="42" y="204"/>
                  </a:lnTo>
                  <a:lnTo>
                    <a:pt x="42" y="210"/>
                  </a:lnTo>
                  <a:lnTo>
                    <a:pt x="36" y="210"/>
                  </a:lnTo>
                  <a:lnTo>
                    <a:pt x="36" y="216"/>
                  </a:lnTo>
                  <a:lnTo>
                    <a:pt x="30" y="216"/>
                  </a:lnTo>
                  <a:lnTo>
                    <a:pt x="24" y="216"/>
                  </a:lnTo>
                  <a:lnTo>
                    <a:pt x="18" y="216"/>
                  </a:lnTo>
                  <a:lnTo>
                    <a:pt x="12" y="216"/>
                  </a:lnTo>
                  <a:lnTo>
                    <a:pt x="6" y="216"/>
                  </a:lnTo>
                  <a:lnTo>
                    <a:pt x="6" y="210"/>
                  </a:lnTo>
                  <a:lnTo>
                    <a:pt x="6" y="204"/>
                  </a:lnTo>
                  <a:lnTo>
                    <a:pt x="6" y="198"/>
                  </a:lnTo>
                  <a:lnTo>
                    <a:pt x="6" y="192"/>
                  </a:lnTo>
                  <a:lnTo>
                    <a:pt x="6" y="186"/>
                  </a:lnTo>
                  <a:lnTo>
                    <a:pt x="0" y="186"/>
                  </a:lnTo>
                  <a:lnTo>
                    <a:pt x="0" y="180"/>
                  </a:lnTo>
                  <a:lnTo>
                    <a:pt x="0" y="174"/>
                  </a:lnTo>
                  <a:lnTo>
                    <a:pt x="0" y="168"/>
                  </a:lnTo>
                  <a:lnTo>
                    <a:pt x="0" y="162"/>
                  </a:lnTo>
                  <a:lnTo>
                    <a:pt x="6" y="162"/>
                  </a:lnTo>
                  <a:lnTo>
                    <a:pt x="6" y="156"/>
                  </a:lnTo>
                  <a:lnTo>
                    <a:pt x="12" y="156"/>
                  </a:lnTo>
                  <a:lnTo>
                    <a:pt x="12" y="150"/>
                  </a:lnTo>
                  <a:lnTo>
                    <a:pt x="12" y="144"/>
                  </a:lnTo>
                  <a:lnTo>
                    <a:pt x="12" y="138"/>
                  </a:lnTo>
                  <a:lnTo>
                    <a:pt x="18" y="132"/>
                  </a:lnTo>
                  <a:lnTo>
                    <a:pt x="18" y="126"/>
                  </a:lnTo>
                  <a:lnTo>
                    <a:pt x="18" y="120"/>
                  </a:lnTo>
                  <a:lnTo>
                    <a:pt x="24" y="120"/>
                  </a:lnTo>
                  <a:lnTo>
                    <a:pt x="24" y="114"/>
                  </a:lnTo>
                  <a:lnTo>
                    <a:pt x="24" y="108"/>
                  </a:lnTo>
                  <a:lnTo>
                    <a:pt x="24" y="102"/>
                  </a:lnTo>
                  <a:lnTo>
                    <a:pt x="30" y="102"/>
                  </a:lnTo>
                  <a:lnTo>
                    <a:pt x="30" y="96"/>
                  </a:lnTo>
                  <a:lnTo>
                    <a:pt x="30" y="90"/>
                  </a:lnTo>
                  <a:lnTo>
                    <a:pt x="24" y="90"/>
                  </a:lnTo>
                  <a:lnTo>
                    <a:pt x="24" y="84"/>
                  </a:lnTo>
                  <a:lnTo>
                    <a:pt x="24" y="78"/>
                  </a:lnTo>
                  <a:lnTo>
                    <a:pt x="30" y="78"/>
                  </a:lnTo>
                  <a:lnTo>
                    <a:pt x="30" y="72"/>
                  </a:lnTo>
                  <a:lnTo>
                    <a:pt x="36" y="72"/>
                  </a:lnTo>
                  <a:lnTo>
                    <a:pt x="30" y="72"/>
                  </a:lnTo>
                  <a:lnTo>
                    <a:pt x="30" y="66"/>
                  </a:lnTo>
                  <a:lnTo>
                    <a:pt x="30" y="60"/>
                  </a:lnTo>
                  <a:lnTo>
                    <a:pt x="36" y="60"/>
                  </a:lnTo>
                  <a:lnTo>
                    <a:pt x="36" y="54"/>
                  </a:lnTo>
                  <a:lnTo>
                    <a:pt x="30" y="54"/>
                  </a:lnTo>
                  <a:lnTo>
                    <a:pt x="36" y="54"/>
                  </a:lnTo>
                  <a:lnTo>
                    <a:pt x="42" y="54"/>
                  </a:lnTo>
                  <a:lnTo>
                    <a:pt x="48" y="54"/>
                  </a:lnTo>
                  <a:lnTo>
                    <a:pt x="54" y="54"/>
                  </a:lnTo>
                  <a:lnTo>
                    <a:pt x="60" y="54"/>
                  </a:lnTo>
                  <a:lnTo>
                    <a:pt x="60" y="48"/>
                  </a:lnTo>
                  <a:lnTo>
                    <a:pt x="60" y="42"/>
                  </a:lnTo>
                  <a:lnTo>
                    <a:pt x="66" y="36"/>
                  </a:lnTo>
                  <a:lnTo>
                    <a:pt x="72" y="36"/>
                  </a:lnTo>
                  <a:lnTo>
                    <a:pt x="78" y="36"/>
                  </a:lnTo>
                  <a:lnTo>
                    <a:pt x="78" y="30"/>
                  </a:lnTo>
                  <a:lnTo>
                    <a:pt x="84" y="30"/>
                  </a:lnTo>
                  <a:lnTo>
                    <a:pt x="90" y="24"/>
                  </a:lnTo>
                  <a:lnTo>
                    <a:pt x="90" y="30"/>
                  </a:lnTo>
                  <a:lnTo>
                    <a:pt x="96" y="30"/>
                  </a:lnTo>
                  <a:lnTo>
                    <a:pt x="96" y="24"/>
                  </a:lnTo>
                  <a:lnTo>
                    <a:pt x="96" y="30"/>
                  </a:lnTo>
                  <a:lnTo>
                    <a:pt x="102" y="24"/>
                  </a:lnTo>
                  <a:lnTo>
                    <a:pt x="108" y="24"/>
                  </a:lnTo>
                  <a:lnTo>
                    <a:pt x="108" y="18"/>
                  </a:lnTo>
                  <a:lnTo>
                    <a:pt x="108" y="12"/>
                  </a:lnTo>
                  <a:lnTo>
                    <a:pt x="114" y="6"/>
                  </a:lnTo>
                  <a:lnTo>
                    <a:pt x="120" y="0"/>
                  </a:lnTo>
                  <a:close/>
                  <a:moveTo>
                    <a:pt x="192" y="132"/>
                  </a:moveTo>
                  <a:lnTo>
                    <a:pt x="198" y="132"/>
                  </a:lnTo>
                  <a:lnTo>
                    <a:pt x="198" y="138"/>
                  </a:lnTo>
                  <a:lnTo>
                    <a:pt x="204" y="138"/>
                  </a:lnTo>
                  <a:lnTo>
                    <a:pt x="204" y="132"/>
                  </a:lnTo>
                  <a:lnTo>
                    <a:pt x="198" y="132"/>
                  </a:lnTo>
                  <a:lnTo>
                    <a:pt x="192" y="132"/>
                  </a:lnTo>
                  <a:lnTo>
                    <a:pt x="198" y="132"/>
                  </a:lnTo>
                  <a:lnTo>
                    <a:pt x="198" y="126"/>
                  </a:lnTo>
                  <a:lnTo>
                    <a:pt x="204" y="126"/>
                  </a:lnTo>
                  <a:lnTo>
                    <a:pt x="198" y="126"/>
                  </a:lnTo>
                  <a:lnTo>
                    <a:pt x="204" y="126"/>
                  </a:lnTo>
                  <a:lnTo>
                    <a:pt x="204" y="132"/>
                  </a:lnTo>
                  <a:lnTo>
                    <a:pt x="210" y="138"/>
                  </a:lnTo>
                  <a:lnTo>
                    <a:pt x="216" y="138"/>
                  </a:lnTo>
                  <a:lnTo>
                    <a:pt x="210" y="138"/>
                  </a:lnTo>
                  <a:lnTo>
                    <a:pt x="210" y="132"/>
                  </a:lnTo>
                  <a:lnTo>
                    <a:pt x="216" y="132"/>
                  </a:lnTo>
                  <a:lnTo>
                    <a:pt x="216" y="138"/>
                  </a:lnTo>
                  <a:lnTo>
                    <a:pt x="222" y="138"/>
                  </a:lnTo>
                  <a:lnTo>
                    <a:pt x="216" y="138"/>
                  </a:lnTo>
                  <a:lnTo>
                    <a:pt x="222" y="138"/>
                  </a:lnTo>
                  <a:lnTo>
                    <a:pt x="222" y="144"/>
                  </a:lnTo>
                  <a:lnTo>
                    <a:pt x="216" y="144"/>
                  </a:lnTo>
                  <a:lnTo>
                    <a:pt x="210" y="144"/>
                  </a:lnTo>
                  <a:lnTo>
                    <a:pt x="210" y="138"/>
                  </a:lnTo>
                  <a:lnTo>
                    <a:pt x="210" y="144"/>
                  </a:lnTo>
                  <a:lnTo>
                    <a:pt x="204" y="138"/>
                  </a:lnTo>
                  <a:lnTo>
                    <a:pt x="204" y="144"/>
                  </a:lnTo>
                  <a:lnTo>
                    <a:pt x="198" y="138"/>
                  </a:lnTo>
                  <a:lnTo>
                    <a:pt x="198" y="132"/>
                  </a:lnTo>
                  <a:lnTo>
                    <a:pt x="198" y="138"/>
                  </a:lnTo>
                  <a:lnTo>
                    <a:pt x="192" y="138"/>
                  </a:lnTo>
                  <a:lnTo>
                    <a:pt x="192" y="132"/>
                  </a:lnTo>
                  <a:close/>
                  <a:moveTo>
                    <a:pt x="198" y="108"/>
                  </a:moveTo>
                  <a:lnTo>
                    <a:pt x="204" y="108"/>
                  </a:lnTo>
                  <a:lnTo>
                    <a:pt x="204" y="120"/>
                  </a:lnTo>
                  <a:lnTo>
                    <a:pt x="198" y="120"/>
                  </a:lnTo>
                  <a:lnTo>
                    <a:pt x="198" y="108"/>
                  </a:lnTo>
                  <a:close/>
                  <a:moveTo>
                    <a:pt x="210" y="162"/>
                  </a:moveTo>
                  <a:lnTo>
                    <a:pt x="216" y="162"/>
                  </a:lnTo>
                  <a:lnTo>
                    <a:pt x="216" y="168"/>
                  </a:lnTo>
                  <a:lnTo>
                    <a:pt x="210" y="168"/>
                  </a:lnTo>
                  <a:lnTo>
                    <a:pt x="210" y="162"/>
                  </a:lnTo>
                  <a:close/>
                  <a:moveTo>
                    <a:pt x="204" y="108"/>
                  </a:moveTo>
                  <a:lnTo>
                    <a:pt x="210" y="108"/>
                  </a:lnTo>
                  <a:lnTo>
                    <a:pt x="210" y="114"/>
                  </a:lnTo>
                  <a:lnTo>
                    <a:pt x="204" y="114"/>
                  </a:lnTo>
                  <a:lnTo>
                    <a:pt x="204" y="108"/>
                  </a:lnTo>
                  <a:close/>
                  <a:moveTo>
                    <a:pt x="210" y="132"/>
                  </a:moveTo>
                  <a:lnTo>
                    <a:pt x="210" y="138"/>
                  </a:lnTo>
                  <a:lnTo>
                    <a:pt x="211" y="138"/>
                  </a:lnTo>
                  <a:lnTo>
                    <a:pt x="210" y="132"/>
                  </a:lnTo>
                  <a:close/>
                  <a:moveTo>
                    <a:pt x="360" y="294"/>
                  </a:moveTo>
                  <a:lnTo>
                    <a:pt x="366" y="294"/>
                  </a:lnTo>
                  <a:lnTo>
                    <a:pt x="360" y="294"/>
                  </a:lnTo>
                  <a:close/>
                  <a:moveTo>
                    <a:pt x="204" y="84"/>
                  </a:moveTo>
                  <a:lnTo>
                    <a:pt x="210" y="84"/>
                  </a:lnTo>
                  <a:lnTo>
                    <a:pt x="210" y="90"/>
                  </a:lnTo>
                  <a:lnTo>
                    <a:pt x="204" y="90"/>
                  </a:lnTo>
                  <a:lnTo>
                    <a:pt x="204" y="84"/>
                  </a:lnTo>
                  <a:close/>
                  <a:moveTo>
                    <a:pt x="168" y="108"/>
                  </a:moveTo>
                  <a:lnTo>
                    <a:pt x="168" y="114"/>
                  </a:lnTo>
                  <a:lnTo>
                    <a:pt x="169" y="114"/>
                  </a:lnTo>
                  <a:lnTo>
                    <a:pt x="168" y="108"/>
                  </a:lnTo>
                  <a:close/>
                  <a:moveTo>
                    <a:pt x="192" y="96"/>
                  </a:moveTo>
                  <a:lnTo>
                    <a:pt x="192" y="102"/>
                  </a:lnTo>
                  <a:lnTo>
                    <a:pt x="193" y="102"/>
                  </a:lnTo>
                  <a:lnTo>
                    <a:pt x="192" y="96"/>
                  </a:lnTo>
                  <a:close/>
                  <a:moveTo>
                    <a:pt x="204" y="114"/>
                  </a:moveTo>
                  <a:lnTo>
                    <a:pt x="210" y="114"/>
                  </a:lnTo>
                  <a:lnTo>
                    <a:pt x="204" y="114"/>
                  </a:lnTo>
                  <a:close/>
                  <a:moveTo>
                    <a:pt x="210" y="162"/>
                  </a:moveTo>
                  <a:lnTo>
                    <a:pt x="216" y="162"/>
                  </a:lnTo>
                  <a:lnTo>
                    <a:pt x="210" y="162"/>
                  </a:lnTo>
                  <a:close/>
                  <a:moveTo>
                    <a:pt x="240" y="144"/>
                  </a:moveTo>
                  <a:lnTo>
                    <a:pt x="246" y="144"/>
                  </a:lnTo>
                  <a:lnTo>
                    <a:pt x="240" y="144"/>
                  </a:lnTo>
                  <a:close/>
                  <a:moveTo>
                    <a:pt x="180" y="120"/>
                  </a:moveTo>
                  <a:lnTo>
                    <a:pt x="180" y="126"/>
                  </a:lnTo>
                  <a:lnTo>
                    <a:pt x="181" y="126"/>
                  </a:lnTo>
                  <a:lnTo>
                    <a:pt x="180" y="120"/>
                  </a:lnTo>
                  <a:close/>
                  <a:moveTo>
                    <a:pt x="354" y="288"/>
                  </a:moveTo>
                  <a:lnTo>
                    <a:pt x="360" y="288"/>
                  </a:lnTo>
                  <a:lnTo>
                    <a:pt x="354" y="288"/>
                  </a:lnTo>
                  <a:close/>
                  <a:moveTo>
                    <a:pt x="198" y="120"/>
                  </a:moveTo>
                  <a:lnTo>
                    <a:pt x="204" y="120"/>
                  </a:lnTo>
                  <a:lnTo>
                    <a:pt x="198" y="120"/>
                  </a:lnTo>
                  <a:close/>
                  <a:moveTo>
                    <a:pt x="204" y="126"/>
                  </a:moveTo>
                  <a:lnTo>
                    <a:pt x="210" y="126"/>
                  </a:lnTo>
                  <a:lnTo>
                    <a:pt x="210" y="132"/>
                  </a:lnTo>
                  <a:lnTo>
                    <a:pt x="204" y="132"/>
                  </a:lnTo>
                  <a:lnTo>
                    <a:pt x="204" y="126"/>
                  </a:lnTo>
                  <a:close/>
                  <a:moveTo>
                    <a:pt x="354" y="288"/>
                  </a:moveTo>
                  <a:lnTo>
                    <a:pt x="360" y="288"/>
                  </a:lnTo>
                  <a:lnTo>
                    <a:pt x="360" y="294"/>
                  </a:lnTo>
                  <a:lnTo>
                    <a:pt x="354" y="294"/>
                  </a:lnTo>
                  <a:lnTo>
                    <a:pt x="354" y="288"/>
                  </a:lnTo>
                  <a:close/>
                  <a:moveTo>
                    <a:pt x="360" y="294"/>
                  </a:moveTo>
                  <a:lnTo>
                    <a:pt x="366" y="294"/>
                  </a:lnTo>
                  <a:lnTo>
                    <a:pt x="366" y="300"/>
                  </a:lnTo>
                  <a:lnTo>
                    <a:pt x="360" y="300"/>
                  </a:lnTo>
                  <a:lnTo>
                    <a:pt x="360" y="294"/>
                  </a:lnTo>
                  <a:close/>
                  <a:moveTo>
                    <a:pt x="228" y="144"/>
                  </a:moveTo>
                  <a:lnTo>
                    <a:pt x="234" y="144"/>
                  </a:lnTo>
                  <a:lnTo>
                    <a:pt x="228" y="144"/>
                  </a:lnTo>
                  <a:close/>
                  <a:moveTo>
                    <a:pt x="186" y="144"/>
                  </a:moveTo>
                  <a:lnTo>
                    <a:pt x="186" y="150"/>
                  </a:lnTo>
                  <a:lnTo>
                    <a:pt x="187" y="150"/>
                  </a:lnTo>
                  <a:lnTo>
                    <a:pt x="186" y="144"/>
                  </a:lnTo>
                  <a:close/>
                  <a:moveTo>
                    <a:pt x="240" y="144"/>
                  </a:moveTo>
                  <a:lnTo>
                    <a:pt x="246" y="144"/>
                  </a:lnTo>
                  <a:lnTo>
                    <a:pt x="240" y="144"/>
                  </a:lnTo>
                  <a:close/>
                  <a:moveTo>
                    <a:pt x="240" y="144"/>
                  </a:moveTo>
                  <a:lnTo>
                    <a:pt x="240" y="150"/>
                  </a:lnTo>
                  <a:lnTo>
                    <a:pt x="241" y="150"/>
                  </a:lnTo>
                  <a:lnTo>
                    <a:pt x="240" y="144"/>
                  </a:lnTo>
                  <a:close/>
                  <a:moveTo>
                    <a:pt x="228" y="168"/>
                  </a:moveTo>
                  <a:lnTo>
                    <a:pt x="228" y="174"/>
                  </a:lnTo>
                  <a:lnTo>
                    <a:pt x="229" y="174"/>
                  </a:lnTo>
                  <a:lnTo>
                    <a:pt x="228" y="168"/>
                  </a:lnTo>
                  <a:close/>
                  <a:moveTo>
                    <a:pt x="216" y="144"/>
                  </a:moveTo>
                  <a:lnTo>
                    <a:pt x="222" y="144"/>
                  </a:lnTo>
                  <a:lnTo>
                    <a:pt x="222" y="150"/>
                  </a:lnTo>
                  <a:lnTo>
                    <a:pt x="216" y="150"/>
                  </a:lnTo>
                  <a:lnTo>
                    <a:pt x="216" y="144"/>
                  </a:lnTo>
                  <a:close/>
                  <a:moveTo>
                    <a:pt x="240" y="180"/>
                  </a:moveTo>
                  <a:lnTo>
                    <a:pt x="240" y="186"/>
                  </a:lnTo>
                  <a:lnTo>
                    <a:pt x="241" y="186"/>
                  </a:lnTo>
                  <a:lnTo>
                    <a:pt x="240" y="180"/>
                  </a:lnTo>
                  <a:close/>
                  <a:moveTo>
                    <a:pt x="252" y="144"/>
                  </a:moveTo>
                  <a:lnTo>
                    <a:pt x="258" y="144"/>
                  </a:lnTo>
                  <a:lnTo>
                    <a:pt x="252" y="144"/>
                  </a:lnTo>
                  <a:close/>
                  <a:moveTo>
                    <a:pt x="216" y="114"/>
                  </a:moveTo>
                  <a:lnTo>
                    <a:pt x="216" y="120"/>
                  </a:lnTo>
                  <a:lnTo>
                    <a:pt x="217" y="120"/>
                  </a:lnTo>
                  <a:lnTo>
                    <a:pt x="216" y="114"/>
                  </a:lnTo>
                  <a:close/>
                  <a:moveTo>
                    <a:pt x="198" y="102"/>
                  </a:moveTo>
                  <a:lnTo>
                    <a:pt x="198" y="108"/>
                  </a:lnTo>
                  <a:lnTo>
                    <a:pt x="199" y="108"/>
                  </a:lnTo>
                  <a:lnTo>
                    <a:pt x="198" y="102"/>
                  </a:lnTo>
                  <a:close/>
                  <a:moveTo>
                    <a:pt x="234" y="120"/>
                  </a:moveTo>
                  <a:lnTo>
                    <a:pt x="234" y="126"/>
                  </a:lnTo>
                  <a:lnTo>
                    <a:pt x="235" y="126"/>
                  </a:lnTo>
                  <a:lnTo>
                    <a:pt x="234" y="120"/>
                  </a:lnTo>
                  <a:close/>
                  <a:moveTo>
                    <a:pt x="360" y="300"/>
                  </a:moveTo>
                  <a:lnTo>
                    <a:pt x="366" y="300"/>
                  </a:lnTo>
                  <a:lnTo>
                    <a:pt x="360" y="300"/>
                  </a:lnTo>
                  <a:close/>
                  <a:moveTo>
                    <a:pt x="354" y="294"/>
                  </a:moveTo>
                  <a:lnTo>
                    <a:pt x="354" y="300"/>
                  </a:lnTo>
                  <a:lnTo>
                    <a:pt x="355" y="300"/>
                  </a:lnTo>
                  <a:lnTo>
                    <a:pt x="354" y="294"/>
                  </a:lnTo>
                  <a:close/>
                  <a:moveTo>
                    <a:pt x="204" y="120"/>
                  </a:moveTo>
                  <a:lnTo>
                    <a:pt x="210" y="120"/>
                  </a:lnTo>
                  <a:lnTo>
                    <a:pt x="204" y="120"/>
                  </a:lnTo>
                  <a:close/>
                  <a:moveTo>
                    <a:pt x="228" y="126"/>
                  </a:moveTo>
                  <a:lnTo>
                    <a:pt x="234" y="126"/>
                  </a:lnTo>
                  <a:lnTo>
                    <a:pt x="228" y="126"/>
                  </a:lnTo>
                  <a:close/>
                  <a:moveTo>
                    <a:pt x="186" y="96"/>
                  </a:moveTo>
                  <a:lnTo>
                    <a:pt x="192" y="96"/>
                  </a:lnTo>
                  <a:lnTo>
                    <a:pt x="192" y="102"/>
                  </a:lnTo>
                  <a:lnTo>
                    <a:pt x="186" y="102"/>
                  </a:lnTo>
                  <a:lnTo>
                    <a:pt x="186" y="96"/>
                  </a:lnTo>
                  <a:close/>
                  <a:moveTo>
                    <a:pt x="240" y="138"/>
                  </a:moveTo>
                  <a:lnTo>
                    <a:pt x="246" y="138"/>
                  </a:lnTo>
                  <a:lnTo>
                    <a:pt x="240" y="138"/>
                  </a:lnTo>
                  <a:close/>
                  <a:moveTo>
                    <a:pt x="216" y="120"/>
                  </a:moveTo>
                  <a:lnTo>
                    <a:pt x="222" y="120"/>
                  </a:lnTo>
                  <a:lnTo>
                    <a:pt x="222" y="126"/>
                  </a:lnTo>
                  <a:lnTo>
                    <a:pt x="216" y="126"/>
                  </a:lnTo>
                  <a:lnTo>
                    <a:pt x="216" y="120"/>
                  </a:lnTo>
                  <a:close/>
                  <a:moveTo>
                    <a:pt x="216" y="126"/>
                  </a:moveTo>
                  <a:lnTo>
                    <a:pt x="222" y="126"/>
                  </a:lnTo>
                  <a:lnTo>
                    <a:pt x="216" y="126"/>
                  </a:lnTo>
                  <a:close/>
                  <a:moveTo>
                    <a:pt x="174" y="120"/>
                  </a:moveTo>
                  <a:lnTo>
                    <a:pt x="180" y="120"/>
                  </a:lnTo>
                  <a:lnTo>
                    <a:pt x="174" y="120"/>
                  </a:lnTo>
                  <a:close/>
                  <a:moveTo>
                    <a:pt x="306" y="240"/>
                  </a:moveTo>
                  <a:lnTo>
                    <a:pt x="312" y="240"/>
                  </a:lnTo>
                  <a:lnTo>
                    <a:pt x="306" y="240"/>
                  </a:lnTo>
                  <a:close/>
                  <a:moveTo>
                    <a:pt x="210" y="156"/>
                  </a:moveTo>
                  <a:lnTo>
                    <a:pt x="210" y="162"/>
                  </a:lnTo>
                  <a:lnTo>
                    <a:pt x="211" y="162"/>
                  </a:lnTo>
                  <a:lnTo>
                    <a:pt x="210" y="156"/>
                  </a:lnTo>
                  <a:close/>
                  <a:moveTo>
                    <a:pt x="234" y="150"/>
                  </a:moveTo>
                  <a:lnTo>
                    <a:pt x="234" y="156"/>
                  </a:lnTo>
                  <a:lnTo>
                    <a:pt x="235" y="156"/>
                  </a:lnTo>
                  <a:lnTo>
                    <a:pt x="234" y="150"/>
                  </a:lnTo>
                  <a:close/>
                  <a:moveTo>
                    <a:pt x="240" y="186"/>
                  </a:moveTo>
                  <a:lnTo>
                    <a:pt x="246" y="186"/>
                  </a:lnTo>
                  <a:lnTo>
                    <a:pt x="240" y="186"/>
                  </a:lnTo>
                  <a:close/>
                  <a:moveTo>
                    <a:pt x="360" y="294"/>
                  </a:moveTo>
                  <a:lnTo>
                    <a:pt x="360" y="300"/>
                  </a:lnTo>
                  <a:lnTo>
                    <a:pt x="361" y="300"/>
                  </a:lnTo>
                  <a:lnTo>
                    <a:pt x="360" y="294"/>
                  </a:lnTo>
                  <a:close/>
                  <a:moveTo>
                    <a:pt x="240" y="186"/>
                  </a:moveTo>
                  <a:lnTo>
                    <a:pt x="246" y="186"/>
                  </a:lnTo>
                  <a:lnTo>
                    <a:pt x="246" y="192"/>
                  </a:lnTo>
                  <a:lnTo>
                    <a:pt x="240" y="192"/>
                  </a:lnTo>
                  <a:lnTo>
                    <a:pt x="240" y="186"/>
                  </a:lnTo>
                  <a:close/>
                  <a:moveTo>
                    <a:pt x="318" y="252"/>
                  </a:moveTo>
                  <a:lnTo>
                    <a:pt x="324" y="252"/>
                  </a:lnTo>
                  <a:lnTo>
                    <a:pt x="318" y="252"/>
                  </a:lnTo>
                  <a:close/>
                  <a:moveTo>
                    <a:pt x="192" y="120"/>
                  </a:moveTo>
                  <a:lnTo>
                    <a:pt x="198" y="120"/>
                  </a:lnTo>
                  <a:lnTo>
                    <a:pt x="198" y="126"/>
                  </a:lnTo>
                  <a:lnTo>
                    <a:pt x="192" y="126"/>
                  </a:lnTo>
                  <a:lnTo>
                    <a:pt x="192" y="120"/>
                  </a:lnTo>
                  <a:close/>
                  <a:moveTo>
                    <a:pt x="246" y="192"/>
                  </a:moveTo>
                  <a:lnTo>
                    <a:pt x="252" y="192"/>
                  </a:lnTo>
                  <a:lnTo>
                    <a:pt x="246" y="192"/>
                  </a:lnTo>
                  <a:close/>
                  <a:moveTo>
                    <a:pt x="240" y="132"/>
                  </a:moveTo>
                  <a:lnTo>
                    <a:pt x="240" y="138"/>
                  </a:lnTo>
                  <a:lnTo>
                    <a:pt x="241" y="138"/>
                  </a:lnTo>
                  <a:lnTo>
                    <a:pt x="240" y="132"/>
                  </a:lnTo>
                  <a:close/>
                  <a:moveTo>
                    <a:pt x="210" y="162"/>
                  </a:moveTo>
                  <a:lnTo>
                    <a:pt x="210" y="168"/>
                  </a:lnTo>
                  <a:lnTo>
                    <a:pt x="211" y="168"/>
                  </a:lnTo>
                  <a:lnTo>
                    <a:pt x="210" y="162"/>
                  </a:lnTo>
                  <a:close/>
                  <a:moveTo>
                    <a:pt x="162" y="78"/>
                  </a:moveTo>
                  <a:lnTo>
                    <a:pt x="162" y="84"/>
                  </a:lnTo>
                  <a:lnTo>
                    <a:pt x="163" y="84"/>
                  </a:lnTo>
                  <a:lnTo>
                    <a:pt x="162" y="78"/>
                  </a:lnTo>
                  <a:close/>
                  <a:moveTo>
                    <a:pt x="186" y="144"/>
                  </a:moveTo>
                  <a:lnTo>
                    <a:pt x="192" y="144"/>
                  </a:lnTo>
                  <a:lnTo>
                    <a:pt x="192" y="150"/>
                  </a:lnTo>
                  <a:lnTo>
                    <a:pt x="186" y="150"/>
                  </a:lnTo>
                  <a:lnTo>
                    <a:pt x="186" y="144"/>
                  </a:lnTo>
                  <a:close/>
                  <a:moveTo>
                    <a:pt x="324" y="252"/>
                  </a:moveTo>
                  <a:lnTo>
                    <a:pt x="324" y="258"/>
                  </a:lnTo>
                  <a:lnTo>
                    <a:pt x="325" y="258"/>
                  </a:lnTo>
                  <a:lnTo>
                    <a:pt x="324" y="252"/>
                  </a:lnTo>
                  <a:close/>
                  <a:moveTo>
                    <a:pt x="210" y="120"/>
                  </a:moveTo>
                  <a:lnTo>
                    <a:pt x="216" y="120"/>
                  </a:lnTo>
                  <a:lnTo>
                    <a:pt x="210" y="120"/>
                  </a:lnTo>
                  <a:close/>
                  <a:moveTo>
                    <a:pt x="360" y="288"/>
                  </a:moveTo>
                  <a:lnTo>
                    <a:pt x="360" y="294"/>
                  </a:lnTo>
                  <a:lnTo>
                    <a:pt x="361" y="294"/>
                  </a:lnTo>
                  <a:lnTo>
                    <a:pt x="360" y="288"/>
                  </a:lnTo>
                  <a:close/>
                  <a:moveTo>
                    <a:pt x="360" y="294"/>
                  </a:moveTo>
                  <a:lnTo>
                    <a:pt x="360" y="300"/>
                  </a:lnTo>
                  <a:lnTo>
                    <a:pt x="361" y="300"/>
                  </a:lnTo>
                  <a:lnTo>
                    <a:pt x="360" y="294"/>
                  </a:lnTo>
                  <a:close/>
                  <a:moveTo>
                    <a:pt x="198" y="108"/>
                  </a:moveTo>
                  <a:lnTo>
                    <a:pt x="204" y="108"/>
                  </a:lnTo>
                  <a:lnTo>
                    <a:pt x="198" y="108"/>
                  </a:lnTo>
                  <a:close/>
                  <a:moveTo>
                    <a:pt x="186" y="96"/>
                  </a:moveTo>
                  <a:lnTo>
                    <a:pt x="186" y="102"/>
                  </a:lnTo>
                  <a:lnTo>
                    <a:pt x="187" y="102"/>
                  </a:lnTo>
                  <a:lnTo>
                    <a:pt x="186" y="96"/>
                  </a:lnTo>
                  <a:close/>
                  <a:moveTo>
                    <a:pt x="222" y="138"/>
                  </a:moveTo>
                  <a:lnTo>
                    <a:pt x="228" y="138"/>
                  </a:lnTo>
                  <a:lnTo>
                    <a:pt x="222" y="138"/>
                  </a:lnTo>
                  <a:close/>
                  <a:moveTo>
                    <a:pt x="354" y="294"/>
                  </a:moveTo>
                  <a:lnTo>
                    <a:pt x="354" y="300"/>
                  </a:lnTo>
                  <a:lnTo>
                    <a:pt x="355" y="300"/>
                  </a:lnTo>
                  <a:lnTo>
                    <a:pt x="354" y="294"/>
                  </a:lnTo>
                  <a:close/>
                  <a:moveTo>
                    <a:pt x="342" y="276"/>
                  </a:moveTo>
                  <a:lnTo>
                    <a:pt x="342" y="282"/>
                  </a:lnTo>
                  <a:lnTo>
                    <a:pt x="343" y="282"/>
                  </a:lnTo>
                  <a:lnTo>
                    <a:pt x="342" y="276"/>
                  </a:lnTo>
                  <a:close/>
                  <a:moveTo>
                    <a:pt x="360" y="288"/>
                  </a:moveTo>
                  <a:lnTo>
                    <a:pt x="360" y="294"/>
                  </a:lnTo>
                  <a:lnTo>
                    <a:pt x="361" y="294"/>
                  </a:lnTo>
                  <a:lnTo>
                    <a:pt x="360" y="288"/>
                  </a:lnTo>
                  <a:close/>
                  <a:moveTo>
                    <a:pt x="192" y="132"/>
                  </a:moveTo>
                  <a:lnTo>
                    <a:pt x="198" y="132"/>
                  </a:lnTo>
                  <a:lnTo>
                    <a:pt x="192" y="13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1" name="Freeform 31"/>
            <p:cNvSpPr>
              <a:spLocks/>
            </p:cNvSpPr>
            <p:nvPr>
              <p:custDataLst>
                <p:tags r:id="rId29"/>
              </p:custDataLst>
            </p:nvPr>
          </p:nvSpPr>
          <p:spPr bwMode="gray">
            <a:xfrm>
              <a:off x="3415308" y="2991321"/>
              <a:ext cx="82858" cy="89493"/>
            </a:xfrm>
            <a:custGeom>
              <a:avLst/>
              <a:gdLst>
                <a:gd name="T0" fmla="*/ 15798 w 90"/>
                <a:gd name="T1" fmla="*/ 3907 h 102"/>
                <a:gd name="T2" fmla="*/ 17773 w 90"/>
                <a:gd name="T3" fmla="*/ 6838 h 102"/>
                <a:gd name="T4" fmla="*/ 19747 w 90"/>
                <a:gd name="T5" fmla="*/ 3907 h 102"/>
                <a:gd name="T6" fmla="*/ 22710 w 90"/>
                <a:gd name="T7" fmla="*/ 1954 h 102"/>
                <a:gd name="T8" fmla="*/ 23697 w 90"/>
                <a:gd name="T9" fmla="*/ 0 h 102"/>
                <a:gd name="T10" fmla="*/ 28634 w 90"/>
                <a:gd name="T11" fmla="*/ 1954 h 102"/>
                <a:gd name="T12" fmla="*/ 30609 w 90"/>
                <a:gd name="T13" fmla="*/ 3907 h 102"/>
                <a:gd name="T14" fmla="*/ 30609 w 90"/>
                <a:gd name="T15" fmla="*/ 8792 h 102"/>
                <a:gd name="T16" fmla="*/ 33571 w 90"/>
                <a:gd name="T17" fmla="*/ 10746 h 102"/>
                <a:gd name="T18" fmla="*/ 33571 w 90"/>
                <a:gd name="T19" fmla="*/ 15630 h 102"/>
                <a:gd name="T20" fmla="*/ 28634 w 90"/>
                <a:gd name="T21" fmla="*/ 15630 h 102"/>
                <a:gd name="T22" fmla="*/ 23697 w 90"/>
                <a:gd name="T23" fmla="*/ 19537 h 102"/>
                <a:gd name="T24" fmla="*/ 19747 w 90"/>
                <a:gd name="T25" fmla="*/ 19537 h 102"/>
                <a:gd name="T26" fmla="*/ 17773 w 90"/>
                <a:gd name="T27" fmla="*/ 21491 h 102"/>
                <a:gd name="T28" fmla="*/ 15798 w 90"/>
                <a:gd name="T29" fmla="*/ 23445 h 102"/>
                <a:gd name="T30" fmla="*/ 17773 w 90"/>
                <a:gd name="T31" fmla="*/ 26376 h 102"/>
                <a:gd name="T32" fmla="*/ 19747 w 90"/>
                <a:gd name="T33" fmla="*/ 23445 h 102"/>
                <a:gd name="T34" fmla="*/ 23697 w 90"/>
                <a:gd name="T35" fmla="*/ 23445 h 102"/>
                <a:gd name="T36" fmla="*/ 26660 w 90"/>
                <a:gd name="T37" fmla="*/ 21491 h 102"/>
                <a:gd name="T38" fmla="*/ 28634 w 90"/>
                <a:gd name="T39" fmla="*/ 23445 h 102"/>
                <a:gd name="T40" fmla="*/ 28634 w 90"/>
                <a:gd name="T41" fmla="*/ 28329 h 102"/>
                <a:gd name="T42" fmla="*/ 26660 w 90"/>
                <a:gd name="T43" fmla="*/ 30283 h 102"/>
                <a:gd name="T44" fmla="*/ 23697 w 90"/>
                <a:gd name="T45" fmla="*/ 32237 h 102"/>
                <a:gd name="T46" fmla="*/ 22710 w 90"/>
                <a:gd name="T47" fmla="*/ 34191 h 102"/>
                <a:gd name="T48" fmla="*/ 17773 w 90"/>
                <a:gd name="T49" fmla="*/ 34191 h 102"/>
                <a:gd name="T50" fmla="*/ 15798 w 90"/>
                <a:gd name="T51" fmla="*/ 34191 h 102"/>
                <a:gd name="T52" fmla="*/ 10861 w 90"/>
                <a:gd name="T53" fmla="*/ 34191 h 102"/>
                <a:gd name="T54" fmla="*/ 8887 w 90"/>
                <a:gd name="T55" fmla="*/ 37121 h 102"/>
                <a:gd name="T56" fmla="*/ 6911 w 90"/>
                <a:gd name="T57" fmla="*/ 34191 h 102"/>
                <a:gd name="T58" fmla="*/ 3949 w 90"/>
                <a:gd name="T59" fmla="*/ 37121 h 102"/>
                <a:gd name="T60" fmla="*/ 0 w 90"/>
                <a:gd name="T61" fmla="*/ 37121 h 102"/>
                <a:gd name="T62" fmla="*/ 0 w 90"/>
                <a:gd name="T63" fmla="*/ 32237 h 102"/>
                <a:gd name="T64" fmla="*/ 0 w 90"/>
                <a:gd name="T65" fmla="*/ 28329 h 102"/>
                <a:gd name="T66" fmla="*/ 0 w 90"/>
                <a:gd name="T67" fmla="*/ 23445 h 102"/>
                <a:gd name="T68" fmla="*/ 0 w 90"/>
                <a:gd name="T69" fmla="*/ 19537 h 102"/>
                <a:gd name="T70" fmla="*/ 1975 w 90"/>
                <a:gd name="T71" fmla="*/ 17584 h 102"/>
                <a:gd name="T72" fmla="*/ 3949 w 90"/>
                <a:gd name="T73" fmla="*/ 15630 h 102"/>
                <a:gd name="T74" fmla="*/ 6911 w 90"/>
                <a:gd name="T75" fmla="*/ 12700 h 102"/>
                <a:gd name="T76" fmla="*/ 8887 w 90"/>
                <a:gd name="T77" fmla="*/ 10746 h 102"/>
                <a:gd name="T78" fmla="*/ 10861 w 90"/>
                <a:gd name="T79" fmla="*/ 8792 h 102"/>
                <a:gd name="T80" fmla="*/ 12836 w 90"/>
                <a:gd name="T81" fmla="*/ 3907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 h="102">
                  <a:moveTo>
                    <a:pt x="36" y="12"/>
                  </a:moveTo>
                  <a:lnTo>
                    <a:pt x="42" y="12"/>
                  </a:lnTo>
                  <a:lnTo>
                    <a:pt x="42" y="18"/>
                  </a:lnTo>
                  <a:lnTo>
                    <a:pt x="48" y="18"/>
                  </a:lnTo>
                  <a:lnTo>
                    <a:pt x="54" y="18"/>
                  </a:lnTo>
                  <a:lnTo>
                    <a:pt x="54" y="12"/>
                  </a:lnTo>
                  <a:lnTo>
                    <a:pt x="60" y="12"/>
                  </a:lnTo>
                  <a:lnTo>
                    <a:pt x="60" y="6"/>
                  </a:lnTo>
                  <a:lnTo>
                    <a:pt x="66" y="6"/>
                  </a:lnTo>
                  <a:lnTo>
                    <a:pt x="66" y="0"/>
                  </a:lnTo>
                  <a:lnTo>
                    <a:pt x="72" y="0"/>
                  </a:lnTo>
                  <a:lnTo>
                    <a:pt x="78" y="6"/>
                  </a:lnTo>
                  <a:lnTo>
                    <a:pt x="78" y="12"/>
                  </a:lnTo>
                  <a:lnTo>
                    <a:pt x="84" y="12"/>
                  </a:lnTo>
                  <a:lnTo>
                    <a:pt x="84" y="18"/>
                  </a:lnTo>
                  <a:lnTo>
                    <a:pt x="84" y="24"/>
                  </a:lnTo>
                  <a:lnTo>
                    <a:pt x="90" y="24"/>
                  </a:lnTo>
                  <a:lnTo>
                    <a:pt x="90" y="30"/>
                  </a:lnTo>
                  <a:lnTo>
                    <a:pt x="90" y="36"/>
                  </a:lnTo>
                  <a:lnTo>
                    <a:pt x="90" y="42"/>
                  </a:lnTo>
                  <a:lnTo>
                    <a:pt x="84" y="42"/>
                  </a:lnTo>
                  <a:lnTo>
                    <a:pt x="78" y="42"/>
                  </a:lnTo>
                  <a:lnTo>
                    <a:pt x="72" y="48"/>
                  </a:lnTo>
                  <a:lnTo>
                    <a:pt x="66" y="54"/>
                  </a:lnTo>
                  <a:lnTo>
                    <a:pt x="60" y="54"/>
                  </a:lnTo>
                  <a:lnTo>
                    <a:pt x="54" y="54"/>
                  </a:lnTo>
                  <a:lnTo>
                    <a:pt x="54" y="60"/>
                  </a:lnTo>
                  <a:lnTo>
                    <a:pt x="48" y="60"/>
                  </a:lnTo>
                  <a:lnTo>
                    <a:pt x="48" y="66"/>
                  </a:lnTo>
                  <a:lnTo>
                    <a:pt x="42" y="66"/>
                  </a:lnTo>
                  <a:lnTo>
                    <a:pt x="42" y="72"/>
                  </a:lnTo>
                  <a:lnTo>
                    <a:pt x="48" y="72"/>
                  </a:lnTo>
                  <a:lnTo>
                    <a:pt x="48" y="66"/>
                  </a:lnTo>
                  <a:lnTo>
                    <a:pt x="54" y="66"/>
                  </a:lnTo>
                  <a:lnTo>
                    <a:pt x="60" y="66"/>
                  </a:lnTo>
                  <a:lnTo>
                    <a:pt x="66" y="66"/>
                  </a:lnTo>
                  <a:lnTo>
                    <a:pt x="72" y="66"/>
                  </a:lnTo>
                  <a:lnTo>
                    <a:pt x="72" y="60"/>
                  </a:lnTo>
                  <a:lnTo>
                    <a:pt x="72" y="66"/>
                  </a:lnTo>
                  <a:lnTo>
                    <a:pt x="78" y="66"/>
                  </a:lnTo>
                  <a:lnTo>
                    <a:pt x="78" y="72"/>
                  </a:lnTo>
                  <a:lnTo>
                    <a:pt x="78" y="78"/>
                  </a:lnTo>
                  <a:lnTo>
                    <a:pt x="72" y="78"/>
                  </a:lnTo>
                  <a:lnTo>
                    <a:pt x="72" y="84"/>
                  </a:lnTo>
                  <a:lnTo>
                    <a:pt x="72" y="90"/>
                  </a:lnTo>
                  <a:lnTo>
                    <a:pt x="66" y="90"/>
                  </a:lnTo>
                  <a:lnTo>
                    <a:pt x="66" y="96"/>
                  </a:lnTo>
                  <a:lnTo>
                    <a:pt x="60" y="96"/>
                  </a:lnTo>
                  <a:lnTo>
                    <a:pt x="54" y="96"/>
                  </a:lnTo>
                  <a:lnTo>
                    <a:pt x="48" y="96"/>
                  </a:lnTo>
                  <a:lnTo>
                    <a:pt x="48" y="90"/>
                  </a:lnTo>
                  <a:lnTo>
                    <a:pt x="42" y="96"/>
                  </a:lnTo>
                  <a:lnTo>
                    <a:pt x="36" y="96"/>
                  </a:lnTo>
                  <a:lnTo>
                    <a:pt x="30" y="96"/>
                  </a:lnTo>
                  <a:lnTo>
                    <a:pt x="24" y="96"/>
                  </a:lnTo>
                  <a:lnTo>
                    <a:pt x="24" y="102"/>
                  </a:lnTo>
                  <a:lnTo>
                    <a:pt x="24" y="96"/>
                  </a:lnTo>
                  <a:lnTo>
                    <a:pt x="18" y="96"/>
                  </a:lnTo>
                  <a:lnTo>
                    <a:pt x="18" y="102"/>
                  </a:lnTo>
                  <a:lnTo>
                    <a:pt x="12" y="102"/>
                  </a:lnTo>
                  <a:lnTo>
                    <a:pt x="6" y="102"/>
                  </a:lnTo>
                  <a:lnTo>
                    <a:pt x="0" y="102"/>
                  </a:lnTo>
                  <a:lnTo>
                    <a:pt x="0" y="96"/>
                  </a:lnTo>
                  <a:lnTo>
                    <a:pt x="0" y="90"/>
                  </a:lnTo>
                  <a:lnTo>
                    <a:pt x="0" y="84"/>
                  </a:lnTo>
                  <a:lnTo>
                    <a:pt x="0" y="78"/>
                  </a:lnTo>
                  <a:lnTo>
                    <a:pt x="0" y="72"/>
                  </a:lnTo>
                  <a:lnTo>
                    <a:pt x="0" y="66"/>
                  </a:lnTo>
                  <a:lnTo>
                    <a:pt x="0" y="60"/>
                  </a:lnTo>
                  <a:lnTo>
                    <a:pt x="0" y="54"/>
                  </a:lnTo>
                  <a:lnTo>
                    <a:pt x="6" y="54"/>
                  </a:lnTo>
                  <a:lnTo>
                    <a:pt x="6" y="48"/>
                  </a:lnTo>
                  <a:lnTo>
                    <a:pt x="12" y="48"/>
                  </a:lnTo>
                  <a:lnTo>
                    <a:pt x="12" y="42"/>
                  </a:lnTo>
                  <a:lnTo>
                    <a:pt x="18" y="42"/>
                  </a:lnTo>
                  <a:lnTo>
                    <a:pt x="18" y="36"/>
                  </a:lnTo>
                  <a:lnTo>
                    <a:pt x="18" y="30"/>
                  </a:lnTo>
                  <a:lnTo>
                    <a:pt x="24" y="30"/>
                  </a:lnTo>
                  <a:lnTo>
                    <a:pt x="24" y="24"/>
                  </a:lnTo>
                  <a:lnTo>
                    <a:pt x="30" y="24"/>
                  </a:lnTo>
                  <a:lnTo>
                    <a:pt x="30" y="18"/>
                  </a:lnTo>
                  <a:lnTo>
                    <a:pt x="36" y="1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2" name="Freeform 32"/>
            <p:cNvSpPr>
              <a:spLocks/>
            </p:cNvSpPr>
            <p:nvPr>
              <p:custDataLst>
                <p:tags r:id="rId30"/>
              </p:custDataLst>
            </p:nvPr>
          </p:nvSpPr>
          <p:spPr bwMode="gray">
            <a:xfrm>
              <a:off x="2966009" y="2880573"/>
              <a:ext cx="762059" cy="566042"/>
            </a:xfrm>
            <a:custGeom>
              <a:avLst/>
              <a:gdLst>
                <a:gd name="T0" fmla="*/ 163454 w 834"/>
                <a:gd name="T1" fmla="*/ 218751 h 648"/>
                <a:gd name="T2" fmla="*/ 154698 w 834"/>
                <a:gd name="T3" fmla="*/ 214878 h 648"/>
                <a:gd name="T4" fmla="*/ 142049 w 834"/>
                <a:gd name="T5" fmla="*/ 218751 h 648"/>
                <a:gd name="T6" fmla="*/ 128428 w 834"/>
                <a:gd name="T7" fmla="*/ 229398 h 648"/>
                <a:gd name="T8" fmla="*/ 117726 w 834"/>
                <a:gd name="T9" fmla="*/ 227461 h 648"/>
                <a:gd name="T10" fmla="*/ 103132 w 834"/>
                <a:gd name="T11" fmla="*/ 225525 h 648"/>
                <a:gd name="T12" fmla="*/ 90484 w 834"/>
                <a:gd name="T13" fmla="*/ 218751 h 648"/>
                <a:gd name="T14" fmla="*/ 76862 w 834"/>
                <a:gd name="T15" fmla="*/ 210039 h 648"/>
                <a:gd name="T16" fmla="*/ 62268 w 834"/>
                <a:gd name="T17" fmla="*/ 210039 h 648"/>
                <a:gd name="T18" fmla="*/ 56430 w 834"/>
                <a:gd name="T19" fmla="*/ 197456 h 648"/>
                <a:gd name="T20" fmla="*/ 53512 w 834"/>
                <a:gd name="T21" fmla="*/ 191648 h 648"/>
                <a:gd name="T22" fmla="*/ 42809 w 834"/>
                <a:gd name="T23" fmla="*/ 184873 h 648"/>
                <a:gd name="T24" fmla="*/ 38918 w 834"/>
                <a:gd name="T25" fmla="*/ 174226 h 648"/>
                <a:gd name="T26" fmla="*/ 34053 w 834"/>
                <a:gd name="T27" fmla="*/ 165514 h 648"/>
                <a:gd name="T28" fmla="*/ 30161 w 834"/>
                <a:gd name="T29" fmla="*/ 161643 h 648"/>
                <a:gd name="T30" fmla="*/ 21405 w 834"/>
                <a:gd name="T31" fmla="*/ 150996 h 648"/>
                <a:gd name="T32" fmla="*/ 10702 w 834"/>
                <a:gd name="T33" fmla="*/ 144220 h 648"/>
                <a:gd name="T34" fmla="*/ 0 w 834"/>
                <a:gd name="T35" fmla="*/ 142284 h 648"/>
                <a:gd name="T36" fmla="*/ 3891 w 834"/>
                <a:gd name="T37" fmla="*/ 129702 h 648"/>
                <a:gd name="T38" fmla="*/ 17513 w 834"/>
                <a:gd name="T39" fmla="*/ 129702 h 648"/>
                <a:gd name="T40" fmla="*/ 23351 w 834"/>
                <a:gd name="T41" fmla="*/ 119054 h 648"/>
                <a:gd name="T42" fmla="*/ 23351 w 834"/>
                <a:gd name="T43" fmla="*/ 101632 h 648"/>
                <a:gd name="T44" fmla="*/ 26270 w 834"/>
                <a:gd name="T45" fmla="*/ 90985 h 648"/>
                <a:gd name="T46" fmla="*/ 32107 w 834"/>
                <a:gd name="T47" fmla="*/ 83241 h 648"/>
                <a:gd name="T48" fmla="*/ 38918 w 834"/>
                <a:gd name="T49" fmla="*/ 80338 h 648"/>
                <a:gd name="T50" fmla="*/ 42809 w 834"/>
                <a:gd name="T51" fmla="*/ 65818 h 648"/>
                <a:gd name="T52" fmla="*/ 47674 w 834"/>
                <a:gd name="T53" fmla="*/ 57108 h 648"/>
                <a:gd name="T54" fmla="*/ 53512 w 834"/>
                <a:gd name="T55" fmla="*/ 44524 h 648"/>
                <a:gd name="T56" fmla="*/ 62268 w 834"/>
                <a:gd name="T57" fmla="*/ 40653 h 648"/>
                <a:gd name="T58" fmla="*/ 68105 w 834"/>
                <a:gd name="T59" fmla="*/ 27101 h 648"/>
                <a:gd name="T60" fmla="*/ 71024 w 834"/>
                <a:gd name="T61" fmla="*/ 14519 h 648"/>
                <a:gd name="T62" fmla="*/ 83672 w 834"/>
                <a:gd name="T63" fmla="*/ 10647 h 648"/>
                <a:gd name="T64" fmla="*/ 90484 w 834"/>
                <a:gd name="T65" fmla="*/ 12583 h 648"/>
                <a:gd name="T66" fmla="*/ 97294 w 834"/>
                <a:gd name="T67" fmla="*/ 6776 h 648"/>
                <a:gd name="T68" fmla="*/ 105077 w 834"/>
                <a:gd name="T69" fmla="*/ 3872 h 648"/>
                <a:gd name="T70" fmla="*/ 113834 w 834"/>
                <a:gd name="T71" fmla="*/ 8711 h 648"/>
                <a:gd name="T72" fmla="*/ 124536 w 834"/>
                <a:gd name="T73" fmla="*/ 10647 h 648"/>
                <a:gd name="T74" fmla="*/ 135238 w 834"/>
                <a:gd name="T75" fmla="*/ 8711 h 648"/>
                <a:gd name="T76" fmla="*/ 145941 w 834"/>
                <a:gd name="T77" fmla="*/ 10647 h 648"/>
                <a:gd name="T78" fmla="*/ 156643 w 834"/>
                <a:gd name="T79" fmla="*/ 17423 h 648"/>
                <a:gd name="T80" fmla="*/ 165399 w 834"/>
                <a:gd name="T81" fmla="*/ 27101 h 648"/>
                <a:gd name="T82" fmla="*/ 176102 w 834"/>
                <a:gd name="T83" fmla="*/ 36781 h 648"/>
                <a:gd name="T84" fmla="*/ 186804 w 834"/>
                <a:gd name="T85" fmla="*/ 46460 h 648"/>
                <a:gd name="T86" fmla="*/ 181940 w 834"/>
                <a:gd name="T87" fmla="*/ 57108 h 648"/>
                <a:gd name="T88" fmla="*/ 176102 w 834"/>
                <a:gd name="T89" fmla="*/ 67755 h 648"/>
                <a:gd name="T90" fmla="*/ 180966 w 834"/>
                <a:gd name="T91" fmla="*/ 80338 h 648"/>
                <a:gd name="T92" fmla="*/ 191669 w 834"/>
                <a:gd name="T93" fmla="*/ 78402 h 648"/>
                <a:gd name="T94" fmla="*/ 195561 w 834"/>
                <a:gd name="T95" fmla="*/ 83241 h 648"/>
                <a:gd name="T96" fmla="*/ 197507 w 834"/>
                <a:gd name="T97" fmla="*/ 95825 h 648"/>
                <a:gd name="T98" fmla="*/ 206263 w 834"/>
                <a:gd name="T99" fmla="*/ 108407 h 648"/>
                <a:gd name="T100" fmla="*/ 216965 w 834"/>
                <a:gd name="T101" fmla="*/ 115183 h 648"/>
                <a:gd name="T102" fmla="*/ 231560 w 834"/>
                <a:gd name="T103" fmla="*/ 123894 h 648"/>
                <a:gd name="T104" fmla="*/ 251018 w 834"/>
                <a:gd name="T105" fmla="*/ 129702 h 648"/>
                <a:gd name="T106" fmla="*/ 268531 w 834"/>
                <a:gd name="T107" fmla="*/ 135509 h 648"/>
                <a:gd name="T108" fmla="*/ 286044 w 834"/>
                <a:gd name="T109" fmla="*/ 138413 h 648"/>
                <a:gd name="T110" fmla="*/ 286044 w 834"/>
                <a:gd name="T111" fmla="*/ 152931 h 648"/>
                <a:gd name="T112" fmla="*/ 238370 w 834"/>
                <a:gd name="T113" fmla="*/ 199391 h 648"/>
                <a:gd name="T114" fmla="*/ 208209 w 834"/>
                <a:gd name="T115" fmla="*/ 202295 h 648"/>
                <a:gd name="T116" fmla="*/ 197507 w 834"/>
                <a:gd name="T117" fmla="*/ 210039 h 648"/>
                <a:gd name="T118" fmla="*/ 184859 w 834"/>
                <a:gd name="T119" fmla="*/ 214878 h 6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4" h="648">
                  <a:moveTo>
                    <a:pt x="498" y="618"/>
                  </a:moveTo>
                  <a:lnTo>
                    <a:pt x="492" y="618"/>
                  </a:lnTo>
                  <a:lnTo>
                    <a:pt x="486" y="618"/>
                  </a:lnTo>
                  <a:lnTo>
                    <a:pt x="480" y="618"/>
                  </a:lnTo>
                  <a:lnTo>
                    <a:pt x="474" y="618"/>
                  </a:lnTo>
                  <a:lnTo>
                    <a:pt x="468" y="618"/>
                  </a:lnTo>
                  <a:lnTo>
                    <a:pt x="462" y="618"/>
                  </a:lnTo>
                  <a:lnTo>
                    <a:pt x="456" y="618"/>
                  </a:lnTo>
                  <a:lnTo>
                    <a:pt x="450" y="618"/>
                  </a:lnTo>
                  <a:lnTo>
                    <a:pt x="450" y="612"/>
                  </a:lnTo>
                  <a:lnTo>
                    <a:pt x="444" y="612"/>
                  </a:lnTo>
                  <a:lnTo>
                    <a:pt x="444" y="606"/>
                  </a:lnTo>
                  <a:lnTo>
                    <a:pt x="438" y="606"/>
                  </a:lnTo>
                  <a:lnTo>
                    <a:pt x="438" y="600"/>
                  </a:lnTo>
                  <a:lnTo>
                    <a:pt x="432" y="600"/>
                  </a:lnTo>
                  <a:lnTo>
                    <a:pt x="432" y="606"/>
                  </a:lnTo>
                  <a:lnTo>
                    <a:pt x="426" y="606"/>
                  </a:lnTo>
                  <a:lnTo>
                    <a:pt x="420" y="606"/>
                  </a:lnTo>
                  <a:lnTo>
                    <a:pt x="414" y="606"/>
                  </a:lnTo>
                  <a:lnTo>
                    <a:pt x="414" y="612"/>
                  </a:lnTo>
                  <a:lnTo>
                    <a:pt x="408" y="612"/>
                  </a:lnTo>
                  <a:lnTo>
                    <a:pt x="402" y="612"/>
                  </a:lnTo>
                  <a:lnTo>
                    <a:pt x="402" y="618"/>
                  </a:lnTo>
                  <a:lnTo>
                    <a:pt x="396" y="618"/>
                  </a:lnTo>
                  <a:lnTo>
                    <a:pt x="390" y="618"/>
                  </a:lnTo>
                  <a:lnTo>
                    <a:pt x="384" y="624"/>
                  </a:lnTo>
                  <a:lnTo>
                    <a:pt x="378" y="630"/>
                  </a:lnTo>
                  <a:lnTo>
                    <a:pt x="378" y="636"/>
                  </a:lnTo>
                  <a:lnTo>
                    <a:pt x="372" y="636"/>
                  </a:lnTo>
                  <a:lnTo>
                    <a:pt x="372" y="642"/>
                  </a:lnTo>
                  <a:lnTo>
                    <a:pt x="366" y="648"/>
                  </a:lnTo>
                  <a:lnTo>
                    <a:pt x="360" y="648"/>
                  </a:lnTo>
                  <a:lnTo>
                    <a:pt x="354" y="648"/>
                  </a:lnTo>
                  <a:lnTo>
                    <a:pt x="354" y="642"/>
                  </a:lnTo>
                  <a:lnTo>
                    <a:pt x="354" y="648"/>
                  </a:lnTo>
                  <a:lnTo>
                    <a:pt x="348" y="648"/>
                  </a:lnTo>
                  <a:lnTo>
                    <a:pt x="348" y="642"/>
                  </a:lnTo>
                  <a:lnTo>
                    <a:pt x="342" y="642"/>
                  </a:lnTo>
                  <a:lnTo>
                    <a:pt x="336" y="642"/>
                  </a:lnTo>
                  <a:lnTo>
                    <a:pt x="330" y="642"/>
                  </a:lnTo>
                  <a:lnTo>
                    <a:pt x="324" y="642"/>
                  </a:lnTo>
                  <a:lnTo>
                    <a:pt x="318" y="642"/>
                  </a:lnTo>
                  <a:lnTo>
                    <a:pt x="318" y="636"/>
                  </a:lnTo>
                  <a:lnTo>
                    <a:pt x="312" y="636"/>
                  </a:lnTo>
                  <a:lnTo>
                    <a:pt x="306" y="636"/>
                  </a:lnTo>
                  <a:lnTo>
                    <a:pt x="300" y="636"/>
                  </a:lnTo>
                  <a:lnTo>
                    <a:pt x="294" y="636"/>
                  </a:lnTo>
                  <a:lnTo>
                    <a:pt x="288" y="636"/>
                  </a:lnTo>
                  <a:lnTo>
                    <a:pt x="282" y="636"/>
                  </a:lnTo>
                  <a:lnTo>
                    <a:pt x="282" y="630"/>
                  </a:lnTo>
                  <a:lnTo>
                    <a:pt x="276" y="630"/>
                  </a:lnTo>
                  <a:lnTo>
                    <a:pt x="270" y="630"/>
                  </a:lnTo>
                  <a:lnTo>
                    <a:pt x="270" y="624"/>
                  </a:lnTo>
                  <a:lnTo>
                    <a:pt x="264" y="624"/>
                  </a:lnTo>
                  <a:lnTo>
                    <a:pt x="258" y="618"/>
                  </a:lnTo>
                  <a:lnTo>
                    <a:pt x="252" y="618"/>
                  </a:lnTo>
                  <a:lnTo>
                    <a:pt x="252" y="612"/>
                  </a:lnTo>
                  <a:lnTo>
                    <a:pt x="246" y="606"/>
                  </a:lnTo>
                  <a:lnTo>
                    <a:pt x="240" y="606"/>
                  </a:lnTo>
                  <a:lnTo>
                    <a:pt x="234" y="600"/>
                  </a:lnTo>
                  <a:lnTo>
                    <a:pt x="228" y="600"/>
                  </a:lnTo>
                  <a:lnTo>
                    <a:pt x="228" y="594"/>
                  </a:lnTo>
                  <a:lnTo>
                    <a:pt x="222" y="594"/>
                  </a:lnTo>
                  <a:lnTo>
                    <a:pt x="216" y="594"/>
                  </a:lnTo>
                  <a:lnTo>
                    <a:pt x="210" y="594"/>
                  </a:lnTo>
                  <a:lnTo>
                    <a:pt x="204" y="594"/>
                  </a:lnTo>
                  <a:lnTo>
                    <a:pt x="198" y="594"/>
                  </a:lnTo>
                  <a:lnTo>
                    <a:pt x="192" y="594"/>
                  </a:lnTo>
                  <a:lnTo>
                    <a:pt x="186" y="594"/>
                  </a:lnTo>
                  <a:lnTo>
                    <a:pt x="180" y="588"/>
                  </a:lnTo>
                  <a:lnTo>
                    <a:pt x="180" y="594"/>
                  </a:lnTo>
                  <a:lnTo>
                    <a:pt x="174" y="594"/>
                  </a:lnTo>
                  <a:lnTo>
                    <a:pt x="168" y="594"/>
                  </a:lnTo>
                  <a:lnTo>
                    <a:pt x="168" y="588"/>
                  </a:lnTo>
                  <a:lnTo>
                    <a:pt x="168" y="582"/>
                  </a:lnTo>
                  <a:lnTo>
                    <a:pt x="162" y="576"/>
                  </a:lnTo>
                  <a:lnTo>
                    <a:pt x="156" y="576"/>
                  </a:lnTo>
                  <a:lnTo>
                    <a:pt x="156" y="570"/>
                  </a:lnTo>
                  <a:lnTo>
                    <a:pt x="156" y="564"/>
                  </a:lnTo>
                  <a:lnTo>
                    <a:pt x="156" y="558"/>
                  </a:lnTo>
                  <a:lnTo>
                    <a:pt x="156" y="552"/>
                  </a:lnTo>
                  <a:lnTo>
                    <a:pt x="162" y="552"/>
                  </a:lnTo>
                  <a:lnTo>
                    <a:pt x="162" y="546"/>
                  </a:lnTo>
                  <a:lnTo>
                    <a:pt x="156" y="546"/>
                  </a:lnTo>
                  <a:lnTo>
                    <a:pt x="162" y="546"/>
                  </a:lnTo>
                  <a:lnTo>
                    <a:pt x="162" y="540"/>
                  </a:lnTo>
                  <a:lnTo>
                    <a:pt x="156" y="540"/>
                  </a:lnTo>
                  <a:lnTo>
                    <a:pt x="150" y="540"/>
                  </a:lnTo>
                  <a:lnTo>
                    <a:pt x="144" y="540"/>
                  </a:lnTo>
                  <a:lnTo>
                    <a:pt x="138" y="540"/>
                  </a:lnTo>
                  <a:lnTo>
                    <a:pt x="132" y="540"/>
                  </a:lnTo>
                  <a:lnTo>
                    <a:pt x="132" y="534"/>
                  </a:lnTo>
                  <a:lnTo>
                    <a:pt x="126" y="534"/>
                  </a:lnTo>
                  <a:lnTo>
                    <a:pt x="126" y="528"/>
                  </a:lnTo>
                  <a:lnTo>
                    <a:pt x="120" y="528"/>
                  </a:lnTo>
                  <a:lnTo>
                    <a:pt x="120" y="522"/>
                  </a:lnTo>
                  <a:lnTo>
                    <a:pt x="114" y="516"/>
                  </a:lnTo>
                  <a:lnTo>
                    <a:pt x="114" y="510"/>
                  </a:lnTo>
                  <a:lnTo>
                    <a:pt x="114" y="504"/>
                  </a:lnTo>
                  <a:lnTo>
                    <a:pt x="114" y="498"/>
                  </a:lnTo>
                  <a:lnTo>
                    <a:pt x="108" y="498"/>
                  </a:lnTo>
                  <a:lnTo>
                    <a:pt x="114" y="498"/>
                  </a:lnTo>
                  <a:lnTo>
                    <a:pt x="114" y="492"/>
                  </a:lnTo>
                  <a:lnTo>
                    <a:pt x="108" y="492"/>
                  </a:lnTo>
                  <a:lnTo>
                    <a:pt x="108" y="486"/>
                  </a:lnTo>
                  <a:lnTo>
                    <a:pt x="114" y="486"/>
                  </a:lnTo>
                  <a:lnTo>
                    <a:pt x="114" y="480"/>
                  </a:lnTo>
                  <a:lnTo>
                    <a:pt x="114" y="474"/>
                  </a:lnTo>
                  <a:lnTo>
                    <a:pt x="108" y="474"/>
                  </a:lnTo>
                  <a:lnTo>
                    <a:pt x="102" y="468"/>
                  </a:lnTo>
                  <a:lnTo>
                    <a:pt x="102" y="474"/>
                  </a:lnTo>
                  <a:lnTo>
                    <a:pt x="96" y="468"/>
                  </a:lnTo>
                  <a:lnTo>
                    <a:pt x="96" y="462"/>
                  </a:lnTo>
                  <a:lnTo>
                    <a:pt x="90" y="462"/>
                  </a:lnTo>
                  <a:lnTo>
                    <a:pt x="84" y="462"/>
                  </a:lnTo>
                  <a:lnTo>
                    <a:pt x="90" y="462"/>
                  </a:lnTo>
                  <a:lnTo>
                    <a:pt x="84" y="462"/>
                  </a:lnTo>
                  <a:lnTo>
                    <a:pt x="90" y="462"/>
                  </a:lnTo>
                  <a:lnTo>
                    <a:pt x="90" y="456"/>
                  </a:lnTo>
                  <a:lnTo>
                    <a:pt x="84" y="456"/>
                  </a:lnTo>
                  <a:lnTo>
                    <a:pt x="84" y="450"/>
                  </a:lnTo>
                  <a:lnTo>
                    <a:pt x="78" y="450"/>
                  </a:lnTo>
                  <a:lnTo>
                    <a:pt x="72" y="450"/>
                  </a:lnTo>
                  <a:lnTo>
                    <a:pt x="66" y="444"/>
                  </a:lnTo>
                  <a:lnTo>
                    <a:pt x="66" y="438"/>
                  </a:lnTo>
                  <a:lnTo>
                    <a:pt x="60" y="438"/>
                  </a:lnTo>
                  <a:lnTo>
                    <a:pt x="60" y="432"/>
                  </a:lnTo>
                  <a:lnTo>
                    <a:pt x="60" y="426"/>
                  </a:lnTo>
                  <a:lnTo>
                    <a:pt x="54" y="426"/>
                  </a:lnTo>
                  <a:lnTo>
                    <a:pt x="54" y="420"/>
                  </a:lnTo>
                  <a:lnTo>
                    <a:pt x="48" y="420"/>
                  </a:lnTo>
                  <a:lnTo>
                    <a:pt x="48" y="414"/>
                  </a:lnTo>
                  <a:lnTo>
                    <a:pt x="42" y="414"/>
                  </a:lnTo>
                  <a:lnTo>
                    <a:pt x="42" y="408"/>
                  </a:lnTo>
                  <a:lnTo>
                    <a:pt x="36" y="408"/>
                  </a:lnTo>
                  <a:lnTo>
                    <a:pt x="30" y="408"/>
                  </a:lnTo>
                  <a:lnTo>
                    <a:pt x="24" y="408"/>
                  </a:lnTo>
                  <a:lnTo>
                    <a:pt x="18" y="408"/>
                  </a:lnTo>
                  <a:lnTo>
                    <a:pt x="12" y="408"/>
                  </a:lnTo>
                  <a:lnTo>
                    <a:pt x="12" y="402"/>
                  </a:lnTo>
                  <a:lnTo>
                    <a:pt x="6" y="402"/>
                  </a:lnTo>
                  <a:lnTo>
                    <a:pt x="6" y="408"/>
                  </a:lnTo>
                  <a:lnTo>
                    <a:pt x="6" y="402"/>
                  </a:lnTo>
                  <a:lnTo>
                    <a:pt x="0" y="402"/>
                  </a:lnTo>
                  <a:lnTo>
                    <a:pt x="0" y="396"/>
                  </a:lnTo>
                  <a:lnTo>
                    <a:pt x="6" y="396"/>
                  </a:lnTo>
                  <a:lnTo>
                    <a:pt x="6" y="390"/>
                  </a:lnTo>
                  <a:lnTo>
                    <a:pt x="6" y="384"/>
                  </a:lnTo>
                  <a:lnTo>
                    <a:pt x="12" y="384"/>
                  </a:lnTo>
                  <a:lnTo>
                    <a:pt x="12" y="378"/>
                  </a:lnTo>
                  <a:lnTo>
                    <a:pt x="12" y="372"/>
                  </a:lnTo>
                  <a:lnTo>
                    <a:pt x="12" y="366"/>
                  </a:lnTo>
                  <a:lnTo>
                    <a:pt x="18" y="366"/>
                  </a:lnTo>
                  <a:lnTo>
                    <a:pt x="24" y="366"/>
                  </a:lnTo>
                  <a:lnTo>
                    <a:pt x="30" y="366"/>
                  </a:lnTo>
                  <a:lnTo>
                    <a:pt x="36" y="366"/>
                  </a:lnTo>
                  <a:lnTo>
                    <a:pt x="42" y="366"/>
                  </a:lnTo>
                  <a:lnTo>
                    <a:pt x="42" y="372"/>
                  </a:lnTo>
                  <a:lnTo>
                    <a:pt x="48" y="372"/>
                  </a:lnTo>
                  <a:lnTo>
                    <a:pt x="48" y="366"/>
                  </a:lnTo>
                  <a:lnTo>
                    <a:pt x="54" y="366"/>
                  </a:lnTo>
                  <a:lnTo>
                    <a:pt x="60" y="366"/>
                  </a:lnTo>
                  <a:lnTo>
                    <a:pt x="60" y="360"/>
                  </a:lnTo>
                  <a:lnTo>
                    <a:pt x="66" y="360"/>
                  </a:lnTo>
                  <a:lnTo>
                    <a:pt x="66" y="354"/>
                  </a:lnTo>
                  <a:lnTo>
                    <a:pt x="66" y="348"/>
                  </a:lnTo>
                  <a:lnTo>
                    <a:pt x="66" y="342"/>
                  </a:lnTo>
                  <a:lnTo>
                    <a:pt x="66" y="336"/>
                  </a:lnTo>
                  <a:lnTo>
                    <a:pt x="66" y="330"/>
                  </a:lnTo>
                  <a:lnTo>
                    <a:pt x="66" y="324"/>
                  </a:lnTo>
                  <a:lnTo>
                    <a:pt x="66" y="318"/>
                  </a:lnTo>
                  <a:lnTo>
                    <a:pt x="66" y="312"/>
                  </a:lnTo>
                  <a:lnTo>
                    <a:pt x="66" y="306"/>
                  </a:lnTo>
                  <a:lnTo>
                    <a:pt x="66" y="300"/>
                  </a:lnTo>
                  <a:lnTo>
                    <a:pt x="66" y="294"/>
                  </a:lnTo>
                  <a:lnTo>
                    <a:pt x="66" y="288"/>
                  </a:lnTo>
                  <a:lnTo>
                    <a:pt x="72" y="288"/>
                  </a:lnTo>
                  <a:lnTo>
                    <a:pt x="72" y="282"/>
                  </a:lnTo>
                  <a:lnTo>
                    <a:pt x="72" y="276"/>
                  </a:lnTo>
                  <a:lnTo>
                    <a:pt x="78" y="276"/>
                  </a:lnTo>
                  <a:lnTo>
                    <a:pt x="78" y="270"/>
                  </a:lnTo>
                  <a:lnTo>
                    <a:pt x="78" y="264"/>
                  </a:lnTo>
                  <a:lnTo>
                    <a:pt x="72" y="264"/>
                  </a:lnTo>
                  <a:lnTo>
                    <a:pt x="72" y="258"/>
                  </a:lnTo>
                  <a:lnTo>
                    <a:pt x="72" y="252"/>
                  </a:lnTo>
                  <a:lnTo>
                    <a:pt x="78" y="252"/>
                  </a:lnTo>
                  <a:lnTo>
                    <a:pt x="72" y="252"/>
                  </a:lnTo>
                  <a:lnTo>
                    <a:pt x="72" y="246"/>
                  </a:lnTo>
                  <a:lnTo>
                    <a:pt x="78" y="246"/>
                  </a:lnTo>
                  <a:lnTo>
                    <a:pt x="78" y="240"/>
                  </a:lnTo>
                  <a:lnTo>
                    <a:pt x="84" y="234"/>
                  </a:lnTo>
                  <a:lnTo>
                    <a:pt x="90" y="234"/>
                  </a:lnTo>
                  <a:lnTo>
                    <a:pt x="90" y="228"/>
                  </a:lnTo>
                  <a:lnTo>
                    <a:pt x="96" y="234"/>
                  </a:lnTo>
                  <a:lnTo>
                    <a:pt x="102" y="234"/>
                  </a:lnTo>
                  <a:lnTo>
                    <a:pt x="102" y="240"/>
                  </a:lnTo>
                  <a:lnTo>
                    <a:pt x="108" y="234"/>
                  </a:lnTo>
                  <a:lnTo>
                    <a:pt x="108" y="228"/>
                  </a:lnTo>
                  <a:lnTo>
                    <a:pt x="114" y="228"/>
                  </a:lnTo>
                  <a:lnTo>
                    <a:pt x="108" y="228"/>
                  </a:lnTo>
                  <a:lnTo>
                    <a:pt x="114" y="222"/>
                  </a:lnTo>
                  <a:lnTo>
                    <a:pt x="114" y="216"/>
                  </a:lnTo>
                  <a:lnTo>
                    <a:pt x="114" y="210"/>
                  </a:lnTo>
                  <a:lnTo>
                    <a:pt x="108" y="210"/>
                  </a:lnTo>
                  <a:lnTo>
                    <a:pt x="114" y="204"/>
                  </a:lnTo>
                  <a:lnTo>
                    <a:pt x="114" y="198"/>
                  </a:lnTo>
                  <a:lnTo>
                    <a:pt x="120" y="192"/>
                  </a:lnTo>
                  <a:lnTo>
                    <a:pt x="120" y="186"/>
                  </a:lnTo>
                  <a:lnTo>
                    <a:pt x="114" y="186"/>
                  </a:lnTo>
                  <a:lnTo>
                    <a:pt x="114" y="180"/>
                  </a:lnTo>
                  <a:lnTo>
                    <a:pt x="120" y="180"/>
                  </a:lnTo>
                  <a:lnTo>
                    <a:pt x="120" y="174"/>
                  </a:lnTo>
                  <a:lnTo>
                    <a:pt x="126" y="174"/>
                  </a:lnTo>
                  <a:lnTo>
                    <a:pt x="126" y="168"/>
                  </a:lnTo>
                  <a:lnTo>
                    <a:pt x="132" y="168"/>
                  </a:lnTo>
                  <a:lnTo>
                    <a:pt x="132" y="162"/>
                  </a:lnTo>
                  <a:lnTo>
                    <a:pt x="132" y="156"/>
                  </a:lnTo>
                  <a:lnTo>
                    <a:pt x="138" y="156"/>
                  </a:lnTo>
                  <a:lnTo>
                    <a:pt x="138" y="150"/>
                  </a:lnTo>
                  <a:lnTo>
                    <a:pt x="138" y="144"/>
                  </a:lnTo>
                  <a:lnTo>
                    <a:pt x="144" y="144"/>
                  </a:lnTo>
                  <a:lnTo>
                    <a:pt x="144" y="138"/>
                  </a:lnTo>
                  <a:lnTo>
                    <a:pt x="150" y="132"/>
                  </a:lnTo>
                  <a:lnTo>
                    <a:pt x="150" y="126"/>
                  </a:lnTo>
                  <a:lnTo>
                    <a:pt x="156" y="126"/>
                  </a:lnTo>
                  <a:lnTo>
                    <a:pt x="162" y="126"/>
                  </a:lnTo>
                  <a:lnTo>
                    <a:pt x="168" y="126"/>
                  </a:lnTo>
                  <a:lnTo>
                    <a:pt x="174" y="126"/>
                  </a:lnTo>
                  <a:lnTo>
                    <a:pt x="180" y="126"/>
                  </a:lnTo>
                  <a:lnTo>
                    <a:pt x="180" y="120"/>
                  </a:lnTo>
                  <a:lnTo>
                    <a:pt x="180" y="114"/>
                  </a:lnTo>
                  <a:lnTo>
                    <a:pt x="174" y="114"/>
                  </a:lnTo>
                  <a:lnTo>
                    <a:pt x="180" y="114"/>
                  </a:lnTo>
                  <a:lnTo>
                    <a:pt x="180" y="108"/>
                  </a:lnTo>
                  <a:lnTo>
                    <a:pt x="180" y="102"/>
                  </a:lnTo>
                  <a:lnTo>
                    <a:pt x="180" y="96"/>
                  </a:lnTo>
                  <a:lnTo>
                    <a:pt x="186" y="90"/>
                  </a:lnTo>
                  <a:lnTo>
                    <a:pt x="186" y="84"/>
                  </a:lnTo>
                  <a:lnTo>
                    <a:pt x="186" y="78"/>
                  </a:lnTo>
                  <a:lnTo>
                    <a:pt x="192" y="78"/>
                  </a:lnTo>
                  <a:lnTo>
                    <a:pt x="192" y="72"/>
                  </a:lnTo>
                  <a:lnTo>
                    <a:pt x="192" y="66"/>
                  </a:lnTo>
                  <a:lnTo>
                    <a:pt x="198" y="66"/>
                  </a:lnTo>
                  <a:lnTo>
                    <a:pt x="198" y="60"/>
                  </a:lnTo>
                  <a:lnTo>
                    <a:pt x="192" y="60"/>
                  </a:lnTo>
                  <a:lnTo>
                    <a:pt x="192" y="54"/>
                  </a:lnTo>
                  <a:lnTo>
                    <a:pt x="198" y="48"/>
                  </a:lnTo>
                  <a:lnTo>
                    <a:pt x="198" y="42"/>
                  </a:lnTo>
                  <a:lnTo>
                    <a:pt x="198" y="36"/>
                  </a:lnTo>
                  <a:lnTo>
                    <a:pt x="204" y="36"/>
                  </a:lnTo>
                  <a:lnTo>
                    <a:pt x="210" y="36"/>
                  </a:lnTo>
                  <a:lnTo>
                    <a:pt x="216" y="36"/>
                  </a:lnTo>
                  <a:lnTo>
                    <a:pt x="222" y="36"/>
                  </a:lnTo>
                  <a:lnTo>
                    <a:pt x="228" y="36"/>
                  </a:lnTo>
                  <a:lnTo>
                    <a:pt x="228" y="30"/>
                  </a:lnTo>
                  <a:lnTo>
                    <a:pt x="234" y="30"/>
                  </a:lnTo>
                  <a:lnTo>
                    <a:pt x="234" y="24"/>
                  </a:lnTo>
                  <a:lnTo>
                    <a:pt x="240" y="24"/>
                  </a:lnTo>
                  <a:lnTo>
                    <a:pt x="240" y="30"/>
                  </a:lnTo>
                  <a:lnTo>
                    <a:pt x="240" y="24"/>
                  </a:lnTo>
                  <a:lnTo>
                    <a:pt x="240" y="30"/>
                  </a:lnTo>
                  <a:lnTo>
                    <a:pt x="246" y="30"/>
                  </a:lnTo>
                  <a:lnTo>
                    <a:pt x="246" y="36"/>
                  </a:lnTo>
                  <a:lnTo>
                    <a:pt x="252" y="36"/>
                  </a:lnTo>
                  <a:lnTo>
                    <a:pt x="252" y="42"/>
                  </a:lnTo>
                  <a:lnTo>
                    <a:pt x="252" y="48"/>
                  </a:lnTo>
                  <a:lnTo>
                    <a:pt x="258" y="48"/>
                  </a:lnTo>
                  <a:lnTo>
                    <a:pt x="258" y="42"/>
                  </a:lnTo>
                  <a:lnTo>
                    <a:pt x="258" y="36"/>
                  </a:lnTo>
                  <a:lnTo>
                    <a:pt x="264" y="30"/>
                  </a:lnTo>
                  <a:lnTo>
                    <a:pt x="264" y="24"/>
                  </a:lnTo>
                  <a:lnTo>
                    <a:pt x="270" y="18"/>
                  </a:lnTo>
                  <a:lnTo>
                    <a:pt x="270" y="12"/>
                  </a:lnTo>
                  <a:lnTo>
                    <a:pt x="270" y="6"/>
                  </a:lnTo>
                  <a:lnTo>
                    <a:pt x="276" y="0"/>
                  </a:lnTo>
                  <a:lnTo>
                    <a:pt x="276" y="6"/>
                  </a:lnTo>
                  <a:lnTo>
                    <a:pt x="282" y="6"/>
                  </a:lnTo>
                  <a:lnTo>
                    <a:pt x="282" y="12"/>
                  </a:lnTo>
                  <a:lnTo>
                    <a:pt x="288" y="12"/>
                  </a:lnTo>
                  <a:lnTo>
                    <a:pt x="294" y="12"/>
                  </a:lnTo>
                  <a:lnTo>
                    <a:pt x="294" y="18"/>
                  </a:lnTo>
                  <a:lnTo>
                    <a:pt x="300" y="18"/>
                  </a:lnTo>
                  <a:lnTo>
                    <a:pt x="300" y="24"/>
                  </a:lnTo>
                  <a:lnTo>
                    <a:pt x="306" y="24"/>
                  </a:lnTo>
                  <a:lnTo>
                    <a:pt x="306" y="30"/>
                  </a:lnTo>
                  <a:lnTo>
                    <a:pt x="312" y="30"/>
                  </a:lnTo>
                  <a:lnTo>
                    <a:pt x="318" y="30"/>
                  </a:lnTo>
                  <a:lnTo>
                    <a:pt x="318" y="24"/>
                  </a:lnTo>
                  <a:lnTo>
                    <a:pt x="324" y="24"/>
                  </a:lnTo>
                  <a:lnTo>
                    <a:pt x="330" y="24"/>
                  </a:lnTo>
                  <a:lnTo>
                    <a:pt x="336" y="24"/>
                  </a:lnTo>
                  <a:lnTo>
                    <a:pt x="336" y="18"/>
                  </a:lnTo>
                  <a:lnTo>
                    <a:pt x="342" y="18"/>
                  </a:lnTo>
                  <a:lnTo>
                    <a:pt x="348" y="18"/>
                  </a:lnTo>
                  <a:lnTo>
                    <a:pt x="348" y="24"/>
                  </a:lnTo>
                  <a:lnTo>
                    <a:pt x="348" y="30"/>
                  </a:lnTo>
                  <a:lnTo>
                    <a:pt x="348" y="24"/>
                  </a:lnTo>
                  <a:lnTo>
                    <a:pt x="354" y="24"/>
                  </a:lnTo>
                  <a:lnTo>
                    <a:pt x="360" y="24"/>
                  </a:lnTo>
                  <a:lnTo>
                    <a:pt x="366" y="24"/>
                  </a:lnTo>
                  <a:lnTo>
                    <a:pt x="366" y="18"/>
                  </a:lnTo>
                  <a:lnTo>
                    <a:pt x="366" y="24"/>
                  </a:lnTo>
                  <a:lnTo>
                    <a:pt x="372" y="24"/>
                  </a:lnTo>
                  <a:lnTo>
                    <a:pt x="378" y="24"/>
                  </a:lnTo>
                  <a:lnTo>
                    <a:pt x="384" y="24"/>
                  </a:lnTo>
                  <a:lnTo>
                    <a:pt x="384" y="30"/>
                  </a:lnTo>
                  <a:lnTo>
                    <a:pt x="390" y="30"/>
                  </a:lnTo>
                  <a:lnTo>
                    <a:pt x="390" y="24"/>
                  </a:lnTo>
                  <a:lnTo>
                    <a:pt x="396" y="24"/>
                  </a:lnTo>
                  <a:lnTo>
                    <a:pt x="402" y="24"/>
                  </a:lnTo>
                  <a:lnTo>
                    <a:pt x="402" y="30"/>
                  </a:lnTo>
                  <a:lnTo>
                    <a:pt x="408" y="30"/>
                  </a:lnTo>
                  <a:lnTo>
                    <a:pt x="414" y="30"/>
                  </a:lnTo>
                  <a:lnTo>
                    <a:pt x="414" y="36"/>
                  </a:lnTo>
                  <a:lnTo>
                    <a:pt x="420" y="36"/>
                  </a:lnTo>
                  <a:lnTo>
                    <a:pt x="420" y="42"/>
                  </a:lnTo>
                  <a:lnTo>
                    <a:pt x="426" y="42"/>
                  </a:lnTo>
                  <a:lnTo>
                    <a:pt x="432" y="42"/>
                  </a:lnTo>
                  <a:lnTo>
                    <a:pt x="438" y="42"/>
                  </a:lnTo>
                  <a:lnTo>
                    <a:pt x="438" y="48"/>
                  </a:lnTo>
                  <a:lnTo>
                    <a:pt x="444" y="48"/>
                  </a:lnTo>
                  <a:lnTo>
                    <a:pt x="444" y="54"/>
                  </a:lnTo>
                  <a:lnTo>
                    <a:pt x="450" y="54"/>
                  </a:lnTo>
                  <a:lnTo>
                    <a:pt x="450" y="60"/>
                  </a:lnTo>
                  <a:lnTo>
                    <a:pt x="456" y="66"/>
                  </a:lnTo>
                  <a:lnTo>
                    <a:pt x="456" y="72"/>
                  </a:lnTo>
                  <a:lnTo>
                    <a:pt x="462" y="72"/>
                  </a:lnTo>
                  <a:lnTo>
                    <a:pt x="462" y="78"/>
                  </a:lnTo>
                  <a:lnTo>
                    <a:pt x="468" y="78"/>
                  </a:lnTo>
                  <a:lnTo>
                    <a:pt x="468" y="84"/>
                  </a:lnTo>
                  <a:lnTo>
                    <a:pt x="474" y="84"/>
                  </a:lnTo>
                  <a:lnTo>
                    <a:pt x="480" y="90"/>
                  </a:lnTo>
                  <a:lnTo>
                    <a:pt x="486" y="90"/>
                  </a:lnTo>
                  <a:lnTo>
                    <a:pt x="486" y="96"/>
                  </a:lnTo>
                  <a:lnTo>
                    <a:pt x="492" y="96"/>
                  </a:lnTo>
                  <a:lnTo>
                    <a:pt x="492" y="102"/>
                  </a:lnTo>
                  <a:lnTo>
                    <a:pt x="498" y="108"/>
                  </a:lnTo>
                  <a:lnTo>
                    <a:pt x="498" y="114"/>
                  </a:lnTo>
                  <a:lnTo>
                    <a:pt x="504" y="120"/>
                  </a:lnTo>
                  <a:lnTo>
                    <a:pt x="510" y="120"/>
                  </a:lnTo>
                  <a:lnTo>
                    <a:pt x="510" y="126"/>
                  </a:lnTo>
                  <a:lnTo>
                    <a:pt x="516" y="126"/>
                  </a:lnTo>
                  <a:lnTo>
                    <a:pt x="516" y="132"/>
                  </a:lnTo>
                  <a:lnTo>
                    <a:pt x="522" y="132"/>
                  </a:lnTo>
                  <a:lnTo>
                    <a:pt x="522" y="138"/>
                  </a:lnTo>
                  <a:lnTo>
                    <a:pt x="528" y="138"/>
                  </a:lnTo>
                  <a:lnTo>
                    <a:pt x="522" y="144"/>
                  </a:lnTo>
                  <a:lnTo>
                    <a:pt x="522" y="150"/>
                  </a:lnTo>
                  <a:lnTo>
                    <a:pt x="516" y="150"/>
                  </a:lnTo>
                  <a:lnTo>
                    <a:pt x="516" y="156"/>
                  </a:lnTo>
                  <a:lnTo>
                    <a:pt x="510" y="156"/>
                  </a:lnTo>
                  <a:lnTo>
                    <a:pt x="510" y="162"/>
                  </a:lnTo>
                  <a:lnTo>
                    <a:pt x="510" y="168"/>
                  </a:lnTo>
                  <a:lnTo>
                    <a:pt x="504" y="168"/>
                  </a:lnTo>
                  <a:lnTo>
                    <a:pt x="504" y="174"/>
                  </a:lnTo>
                  <a:lnTo>
                    <a:pt x="498" y="174"/>
                  </a:lnTo>
                  <a:lnTo>
                    <a:pt x="498" y="180"/>
                  </a:lnTo>
                  <a:lnTo>
                    <a:pt x="492" y="180"/>
                  </a:lnTo>
                  <a:lnTo>
                    <a:pt x="492" y="186"/>
                  </a:lnTo>
                  <a:lnTo>
                    <a:pt x="492" y="192"/>
                  </a:lnTo>
                  <a:lnTo>
                    <a:pt x="492" y="198"/>
                  </a:lnTo>
                  <a:lnTo>
                    <a:pt x="492" y="204"/>
                  </a:lnTo>
                  <a:lnTo>
                    <a:pt x="492" y="210"/>
                  </a:lnTo>
                  <a:lnTo>
                    <a:pt x="492" y="216"/>
                  </a:lnTo>
                  <a:lnTo>
                    <a:pt x="492" y="222"/>
                  </a:lnTo>
                  <a:lnTo>
                    <a:pt x="492" y="228"/>
                  </a:lnTo>
                  <a:lnTo>
                    <a:pt x="498" y="228"/>
                  </a:lnTo>
                  <a:lnTo>
                    <a:pt x="504" y="228"/>
                  </a:lnTo>
                  <a:lnTo>
                    <a:pt x="510" y="228"/>
                  </a:lnTo>
                  <a:lnTo>
                    <a:pt x="510" y="222"/>
                  </a:lnTo>
                  <a:lnTo>
                    <a:pt x="516" y="222"/>
                  </a:lnTo>
                  <a:lnTo>
                    <a:pt x="516" y="228"/>
                  </a:lnTo>
                  <a:lnTo>
                    <a:pt x="516" y="222"/>
                  </a:lnTo>
                  <a:lnTo>
                    <a:pt x="522" y="222"/>
                  </a:lnTo>
                  <a:lnTo>
                    <a:pt x="528" y="222"/>
                  </a:lnTo>
                  <a:lnTo>
                    <a:pt x="534" y="222"/>
                  </a:lnTo>
                  <a:lnTo>
                    <a:pt x="540" y="216"/>
                  </a:lnTo>
                  <a:lnTo>
                    <a:pt x="540" y="222"/>
                  </a:lnTo>
                  <a:lnTo>
                    <a:pt x="546" y="222"/>
                  </a:lnTo>
                  <a:lnTo>
                    <a:pt x="552" y="222"/>
                  </a:lnTo>
                  <a:lnTo>
                    <a:pt x="558" y="222"/>
                  </a:lnTo>
                  <a:lnTo>
                    <a:pt x="552" y="228"/>
                  </a:lnTo>
                  <a:lnTo>
                    <a:pt x="552" y="234"/>
                  </a:lnTo>
                  <a:lnTo>
                    <a:pt x="546" y="234"/>
                  </a:lnTo>
                  <a:lnTo>
                    <a:pt x="546" y="240"/>
                  </a:lnTo>
                  <a:lnTo>
                    <a:pt x="540" y="246"/>
                  </a:lnTo>
                  <a:lnTo>
                    <a:pt x="540" y="252"/>
                  </a:lnTo>
                  <a:lnTo>
                    <a:pt x="546" y="252"/>
                  </a:lnTo>
                  <a:lnTo>
                    <a:pt x="546" y="258"/>
                  </a:lnTo>
                  <a:lnTo>
                    <a:pt x="546" y="264"/>
                  </a:lnTo>
                  <a:lnTo>
                    <a:pt x="552" y="264"/>
                  </a:lnTo>
                  <a:lnTo>
                    <a:pt x="552" y="270"/>
                  </a:lnTo>
                  <a:lnTo>
                    <a:pt x="558" y="276"/>
                  </a:lnTo>
                  <a:lnTo>
                    <a:pt x="558" y="282"/>
                  </a:lnTo>
                  <a:lnTo>
                    <a:pt x="564" y="282"/>
                  </a:lnTo>
                  <a:lnTo>
                    <a:pt x="564" y="288"/>
                  </a:lnTo>
                  <a:lnTo>
                    <a:pt x="570" y="288"/>
                  </a:lnTo>
                  <a:lnTo>
                    <a:pt x="576" y="294"/>
                  </a:lnTo>
                  <a:lnTo>
                    <a:pt x="576" y="300"/>
                  </a:lnTo>
                  <a:lnTo>
                    <a:pt x="576" y="306"/>
                  </a:lnTo>
                  <a:lnTo>
                    <a:pt x="582" y="306"/>
                  </a:lnTo>
                  <a:lnTo>
                    <a:pt x="582" y="312"/>
                  </a:lnTo>
                  <a:lnTo>
                    <a:pt x="588" y="312"/>
                  </a:lnTo>
                  <a:lnTo>
                    <a:pt x="588" y="318"/>
                  </a:lnTo>
                  <a:lnTo>
                    <a:pt x="594" y="318"/>
                  </a:lnTo>
                  <a:lnTo>
                    <a:pt x="600" y="318"/>
                  </a:lnTo>
                  <a:lnTo>
                    <a:pt x="600" y="324"/>
                  </a:lnTo>
                  <a:lnTo>
                    <a:pt x="606" y="324"/>
                  </a:lnTo>
                  <a:lnTo>
                    <a:pt x="606" y="330"/>
                  </a:lnTo>
                  <a:lnTo>
                    <a:pt x="612" y="336"/>
                  </a:lnTo>
                  <a:lnTo>
                    <a:pt x="618" y="336"/>
                  </a:lnTo>
                  <a:lnTo>
                    <a:pt x="624" y="342"/>
                  </a:lnTo>
                  <a:lnTo>
                    <a:pt x="630" y="342"/>
                  </a:lnTo>
                  <a:lnTo>
                    <a:pt x="636" y="342"/>
                  </a:lnTo>
                  <a:lnTo>
                    <a:pt x="642" y="348"/>
                  </a:lnTo>
                  <a:lnTo>
                    <a:pt x="648" y="348"/>
                  </a:lnTo>
                  <a:lnTo>
                    <a:pt x="654" y="348"/>
                  </a:lnTo>
                  <a:lnTo>
                    <a:pt x="660" y="354"/>
                  </a:lnTo>
                  <a:lnTo>
                    <a:pt x="666" y="354"/>
                  </a:lnTo>
                  <a:lnTo>
                    <a:pt x="672" y="354"/>
                  </a:lnTo>
                  <a:lnTo>
                    <a:pt x="678" y="360"/>
                  </a:lnTo>
                  <a:lnTo>
                    <a:pt x="684" y="360"/>
                  </a:lnTo>
                  <a:lnTo>
                    <a:pt x="696" y="366"/>
                  </a:lnTo>
                  <a:lnTo>
                    <a:pt x="702" y="366"/>
                  </a:lnTo>
                  <a:lnTo>
                    <a:pt x="708" y="366"/>
                  </a:lnTo>
                  <a:lnTo>
                    <a:pt x="714" y="372"/>
                  </a:lnTo>
                  <a:lnTo>
                    <a:pt x="720" y="372"/>
                  </a:lnTo>
                  <a:lnTo>
                    <a:pt x="726" y="372"/>
                  </a:lnTo>
                  <a:lnTo>
                    <a:pt x="732" y="378"/>
                  </a:lnTo>
                  <a:lnTo>
                    <a:pt x="738" y="378"/>
                  </a:lnTo>
                  <a:lnTo>
                    <a:pt x="744" y="378"/>
                  </a:lnTo>
                  <a:lnTo>
                    <a:pt x="750" y="384"/>
                  </a:lnTo>
                  <a:lnTo>
                    <a:pt x="756" y="384"/>
                  </a:lnTo>
                  <a:lnTo>
                    <a:pt x="762" y="384"/>
                  </a:lnTo>
                  <a:lnTo>
                    <a:pt x="768" y="390"/>
                  </a:lnTo>
                  <a:lnTo>
                    <a:pt x="774" y="390"/>
                  </a:lnTo>
                  <a:lnTo>
                    <a:pt x="780" y="390"/>
                  </a:lnTo>
                  <a:lnTo>
                    <a:pt x="786" y="390"/>
                  </a:lnTo>
                  <a:lnTo>
                    <a:pt x="792" y="390"/>
                  </a:lnTo>
                  <a:lnTo>
                    <a:pt x="798" y="390"/>
                  </a:lnTo>
                  <a:lnTo>
                    <a:pt x="804" y="390"/>
                  </a:lnTo>
                  <a:lnTo>
                    <a:pt x="810" y="390"/>
                  </a:lnTo>
                  <a:lnTo>
                    <a:pt x="816" y="390"/>
                  </a:lnTo>
                  <a:lnTo>
                    <a:pt x="822" y="390"/>
                  </a:lnTo>
                  <a:lnTo>
                    <a:pt x="828" y="390"/>
                  </a:lnTo>
                  <a:lnTo>
                    <a:pt x="834" y="390"/>
                  </a:lnTo>
                  <a:lnTo>
                    <a:pt x="810" y="420"/>
                  </a:lnTo>
                  <a:lnTo>
                    <a:pt x="798" y="432"/>
                  </a:lnTo>
                  <a:lnTo>
                    <a:pt x="774" y="456"/>
                  </a:lnTo>
                  <a:lnTo>
                    <a:pt x="768" y="462"/>
                  </a:lnTo>
                  <a:lnTo>
                    <a:pt x="756" y="474"/>
                  </a:lnTo>
                  <a:lnTo>
                    <a:pt x="750" y="480"/>
                  </a:lnTo>
                  <a:lnTo>
                    <a:pt x="702" y="534"/>
                  </a:lnTo>
                  <a:lnTo>
                    <a:pt x="672" y="558"/>
                  </a:lnTo>
                  <a:lnTo>
                    <a:pt x="672" y="564"/>
                  </a:lnTo>
                  <a:lnTo>
                    <a:pt x="666" y="564"/>
                  </a:lnTo>
                  <a:lnTo>
                    <a:pt x="648" y="564"/>
                  </a:lnTo>
                  <a:lnTo>
                    <a:pt x="630" y="564"/>
                  </a:lnTo>
                  <a:lnTo>
                    <a:pt x="618" y="564"/>
                  </a:lnTo>
                  <a:lnTo>
                    <a:pt x="612" y="564"/>
                  </a:lnTo>
                  <a:lnTo>
                    <a:pt x="606" y="564"/>
                  </a:lnTo>
                  <a:lnTo>
                    <a:pt x="594" y="570"/>
                  </a:lnTo>
                  <a:lnTo>
                    <a:pt x="588" y="570"/>
                  </a:lnTo>
                  <a:lnTo>
                    <a:pt x="582" y="570"/>
                  </a:lnTo>
                  <a:lnTo>
                    <a:pt x="576" y="576"/>
                  </a:lnTo>
                  <a:lnTo>
                    <a:pt x="570" y="576"/>
                  </a:lnTo>
                  <a:lnTo>
                    <a:pt x="570" y="582"/>
                  </a:lnTo>
                  <a:lnTo>
                    <a:pt x="564" y="582"/>
                  </a:lnTo>
                  <a:lnTo>
                    <a:pt x="558" y="582"/>
                  </a:lnTo>
                  <a:lnTo>
                    <a:pt x="558" y="588"/>
                  </a:lnTo>
                  <a:lnTo>
                    <a:pt x="558" y="594"/>
                  </a:lnTo>
                  <a:lnTo>
                    <a:pt x="552" y="594"/>
                  </a:lnTo>
                  <a:lnTo>
                    <a:pt x="552" y="600"/>
                  </a:lnTo>
                  <a:lnTo>
                    <a:pt x="546" y="600"/>
                  </a:lnTo>
                  <a:lnTo>
                    <a:pt x="540" y="600"/>
                  </a:lnTo>
                  <a:lnTo>
                    <a:pt x="540" y="606"/>
                  </a:lnTo>
                  <a:lnTo>
                    <a:pt x="534" y="606"/>
                  </a:lnTo>
                  <a:lnTo>
                    <a:pt x="528" y="606"/>
                  </a:lnTo>
                  <a:lnTo>
                    <a:pt x="522" y="606"/>
                  </a:lnTo>
                  <a:lnTo>
                    <a:pt x="516" y="606"/>
                  </a:lnTo>
                  <a:lnTo>
                    <a:pt x="510" y="606"/>
                  </a:lnTo>
                  <a:lnTo>
                    <a:pt x="504" y="606"/>
                  </a:lnTo>
                  <a:lnTo>
                    <a:pt x="504" y="612"/>
                  </a:lnTo>
                  <a:lnTo>
                    <a:pt x="498" y="612"/>
                  </a:lnTo>
                  <a:lnTo>
                    <a:pt x="498" y="618"/>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3" name="Freeform 33"/>
            <p:cNvSpPr>
              <a:spLocks/>
            </p:cNvSpPr>
            <p:nvPr>
              <p:custDataLst>
                <p:tags r:id="rId31"/>
              </p:custDataLst>
            </p:nvPr>
          </p:nvSpPr>
          <p:spPr bwMode="gray">
            <a:xfrm>
              <a:off x="2792124" y="3410819"/>
              <a:ext cx="277749" cy="278547"/>
            </a:xfrm>
            <a:custGeom>
              <a:avLst/>
              <a:gdLst>
                <a:gd name="T0" fmla="*/ 79935 w 306"/>
                <a:gd name="T1" fmla="*/ 103219 h 318"/>
                <a:gd name="T2" fmla="*/ 71268 w 306"/>
                <a:gd name="T3" fmla="*/ 103219 h 318"/>
                <a:gd name="T4" fmla="*/ 63563 w 306"/>
                <a:gd name="T5" fmla="*/ 103219 h 318"/>
                <a:gd name="T6" fmla="*/ 54896 w 306"/>
                <a:gd name="T7" fmla="*/ 103219 h 318"/>
                <a:gd name="T8" fmla="*/ 46227 w 306"/>
                <a:gd name="T9" fmla="*/ 103219 h 318"/>
                <a:gd name="T10" fmla="*/ 37560 w 306"/>
                <a:gd name="T11" fmla="*/ 103219 h 318"/>
                <a:gd name="T12" fmla="*/ 29855 w 306"/>
                <a:gd name="T13" fmla="*/ 103219 h 318"/>
                <a:gd name="T14" fmla="*/ 23114 w 306"/>
                <a:gd name="T15" fmla="*/ 105167 h 318"/>
                <a:gd name="T16" fmla="*/ 14446 w 306"/>
                <a:gd name="T17" fmla="*/ 105167 h 318"/>
                <a:gd name="T18" fmla="*/ 12520 w 306"/>
                <a:gd name="T19" fmla="*/ 111983 h 318"/>
                <a:gd name="T20" fmla="*/ 8668 w 306"/>
                <a:gd name="T21" fmla="*/ 111983 h 318"/>
                <a:gd name="T22" fmla="*/ 3852 w 306"/>
                <a:gd name="T23" fmla="*/ 111983 h 318"/>
                <a:gd name="T24" fmla="*/ 1926 w 306"/>
                <a:gd name="T25" fmla="*/ 107115 h 318"/>
                <a:gd name="T26" fmla="*/ 1926 w 306"/>
                <a:gd name="T27" fmla="*/ 105167 h 318"/>
                <a:gd name="T28" fmla="*/ 1926 w 306"/>
                <a:gd name="T29" fmla="*/ 97377 h 318"/>
                <a:gd name="T30" fmla="*/ 3852 w 306"/>
                <a:gd name="T31" fmla="*/ 87639 h 318"/>
                <a:gd name="T32" fmla="*/ 3852 w 306"/>
                <a:gd name="T33" fmla="*/ 79849 h 318"/>
                <a:gd name="T34" fmla="*/ 8668 w 306"/>
                <a:gd name="T35" fmla="*/ 74980 h 318"/>
                <a:gd name="T36" fmla="*/ 8668 w 306"/>
                <a:gd name="T37" fmla="*/ 67190 h 318"/>
                <a:gd name="T38" fmla="*/ 14446 w 306"/>
                <a:gd name="T39" fmla="*/ 64269 h 318"/>
                <a:gd name="T40" fmla="*/ 17335 w 306"/>
                <a:gd name="T41" fmla="*/ 60374 h 318"/>
                <a:gd name="T42" fmla="*/ 23114 w 306"/>
                <a:gd name="T43" fmla="*/ 56478 h 318"/>
                <a:gd name="T44" fmla="*/ 26966 w 306"/>
                <a:gd name="T45" fmla="*/ 49662 h 318"/>
                <a:gd name="T46" fmla="*/ 33707 w 306"/>
                <a:gd name="T47" fmla="*/ 42846 h 318"/>
                <a:gd name="T48" fmla="*/ 31782 w 306"/>
                <a:gd name="T49" fmla="*/ 38950 h 318"/>
                <a:gd name="T50" fmla="*/ 26003 w 306"/>
                <a:gd name="T51" fmla="*/ 37003 h 318"/>
                <a:gd name="T52" fmla="*/ 26003 w 306"/>
                <a:gd name="T53" fmla="*/ 32134 h 318"/>
                <a:gd name="T54" fmla="*/ 26966 w 306"/>
                <a:gd name="T55" fmla="*/ 26291 h 318"/>
                <a:gd name="T56" fmla="*/ 26003 w 306"/>
                <a:gd name="T57" fmla="*/ 23371 h 318"/>
                <a:gd name="T58" fmla="*/ 26966 w 306"/>
                <a:gd name="T59" fmla="*/ 17528 h 318"/>
                <a:gd name="T60" fmla="*/ 26003 w 306"/>
                <a:gd name="T61" fmla="*/ 14606 h 318"/>
                <a:gd name="T62" fmla="*/ 29855 w 306"/>
                <a:gd name="T63" fmla="*/ 8764 h 318"/>
                <a:gd name="T64" fmla="*/ 37560 w 306"/>
                <a:gd name="T65" fmla="*/ 8764 h 318"/>
                <a:gd name="T66" fmla="*/ 42375 w 306"/>
                <a:gd name="T67" fmla="*/ 8764 h 318"/>
                <a:gd name="T68" fmla="*/ 46227 w 306"/>
                <a:gd name="T69" fmla="*/ 8764 h 318"/>
                <a:gd name="T70" fmla="*/ 51043 w 306"/>
                <a:gd name="T71" fmla="*/ 12659 h 318"/>
                <a:gd name="T72" fmla="*/ 56821 w 306"/>
                <a:gd name="T73" fmla="*/ 8764 h 318"/>
                <a:gd name="T74" fmla="*/ 65489 w 306"/>
                <a:gd name="T75" fmla="*/ 8764 h 318"/>
                <a:gd name="T76" fmla="*/ 71268 w 306"/>
                <a:gd name="T77" fmla="*/ 8764 h 318"/>
                <a:gd name="T78" fmla="*/ 79935 w 306"/>
                <a:gd name="T79" fmla="*/ 8764 h 318"/>
                <a:gd name="T80" fmla="*/ 86676 w 306"/>
                <a:gd name="T81" fmla="*/ 0 h 318"/>
                <a:gd name="T82" fmla="*/ 90529 w 306"/>
                <a:gd name="T83" fmla="*/ 3895 h 318"/>
                <a:gd name="T84" fmla="*/ 93418 w 306"/>
                <a:gd name="T85" fmla="*/ 6816 h 318"/>
                <a:gd name="T86" fmla="*/ 93418 w 306"/>
                <a:gd name="T87" fmla="*/ 10712 h 318"/>
                <a:gd name="T88" fmla="*/ 97270 w 306"/>
                <a:gd name="T89" fmla="*/ 10712 h 318"/>
                <a:gd name="T90" fmla="*/ 95345 w 306"/>
                <a:gd name="T91" fmla="*/ 17528 h 318"/>
                <a:gd name="T92" fmla="*/ 99197 w 306"/>
                <a:gd name="T93" fmla="*/ 21423 h 318"/>
                <a:gd name="T94" fmla="*/ 101123 w 306"/>
                <a:gd name="T95" fmla="*/ 28240 h 318"/>
                <a:gd name="T96" fmla="*/ 104975 w 306"/>
                <a:gd name="T97" fmla="*/ 32134 h 318"/>
                <a:gd name="T98" fmla="*/ 104975 w 306"/>
                <a:gd name="T99" fmla="*/ 40898 h 318"/>
                <a:gd name="T100" fmla="*/ 107865 w 306"/>
                <a:gd name="T101" fmla="*/ 49662 h 318"/>
                <a:gd name="T102" fmla="*/ 104012 w 306"/>
                <a:gd name="T103" fmla="*/ 53557 h 318"/>
                <a:gd name="T104" fmla="*/ 101123 w 306"/>
                <a:gd name="T105" fmla="*/ 60374 h 318"/>
                <a:gd name="T106" fmla="*/ 97270 w 306"/>
                <a:gd name="T107" fmla="*/ 64269 h 318"/>
                <a:gd name="T108" fmla="*/ 93418 w 306"/>
                <a:gd name="T109" fmla="*/ 69137 h 318"/>
                <a:gd name="T110" fmla="*/ 90529 w 306"/>
                <a:gd name="T111" fmla="*/ 74980 h 318"/>
                <a:gd name="T112" fmla="*/ 88603 w 306"/>
                <a:gd name="T113" fmla="*/ 77902 h 318"/>
                <a:gd name="T114" fmla="*/ 86676 w 306"/>
                <a:gd name="T115" fmla="*/ 83744 h 318"/>
                <a:gd name="T116" fmla="*/ 86676 w 306"/>
                <a:gd name="T117" fmla="*/ 92508 h 318"/>
                <a:gd name="T118" fmla="*/ 86676 w 306"/>
                <a:gd name="T119" fmla="*/ 101272 h 3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 h="318">
                  <a:moveTo>
                    <a:pt x="246" y="288"/>
                  </a:moveTo>
                  <a:lnTo>
                    <a:pt x="240" y="288"/>
                  </a:lnTo>
                  <a:lnTo>
                    <a:pt x="234" y="288"/>
                  </a:lnTo>
                  <a:lnTo>
                    <a:pt x="228" y="288"/>
                  </a:lnTo>
                  <a:lnTo>
                    <a:pt x="222" y="288"/>
                  </a:lnTo>
                  <a:lnTo>
                    <a:pt x="216" y="288"/>
                  </a:lnTo>
                  <a:lnTo>
                    <a:pt x="210" y="288"/>
                  </a:lnTo>
                  <a:lnTo>
                    <a:pt x="204" y="288"/>
                  </a:lnTo>
                  <a:lnTo>
                    <a:pt x="198" y="288"/>
                  </a:lnTo>
                  <a:lnTo>
                    <a:pt x="192" y="288"/>
                  </a:lnTo>
                  <a:lnTo>
                    <a:pt x="186" y="288"/>
                  </a:lnTo>
                  <a:lnTo>
                    <a:pt x="180" y="288"/>
                  </a:lnTo>
                  <a:lnTo>
                    <a:pt x="174" y="288"/>
                  </a:lnTo>
                  <a:lnTo>
                    <a:pt x="168" y="288"/>
                  </a:lnTo>
                  <a:lnTo>
                    <a:pt x="162" y="288"/>
                  </a:lnTo>
                  <a:lnTo>
                    <a:pt x="156" y="288"/>
                  </a:lnTo>
                  <a:lnTo>
                    <a:pt x="150" y="288"/>
                  </a:lnTo>
                  <a:lnTo>
                    <a:pt x="144" y="288"/>
                  </a:lnTo>
                  <a:lnTo>
                    <a:pt x="138" y="288"/>
                  </a:lnTo>
                  <a:lnTo>
                    <a:pt x="132" y="288"/>
                  </a:lnTo>
                  <a:lnTo>
                    <a:pt x="126" y="288"/>
                  </a:lnTo>
                  <a:lnTo>
                    <a:pt x="120" y="288"/>
                  </a:lnTo>
                  <a:lnTo>
                    <a:pt x="114" y="288"/>
                  </a:lnTo>
                  <a:lnTo>
                    <a:pt x="108" y="288"/>
                  </a:lnTo>
                  <a:lnTo>
                    <a:pt x="102" y="288"/>
                  </a:lnTo>
                  <a:lnTo>
                    <a:pt x="96" y="288"/>
                  </a:lnTo>
                  <a:lnTo>
                    <a:pt x="90" y="288"/>
                  </a:lnTo>
                  <a:lnTo>
                    <a:pt x="84" y="288"/>
                  </a:lnTo>
                  <a:lnTo>
                    <a:pt x="78" y="288"/>
                  </a:lnTo>
                  <a:lnTo>
                    <a:pt x="72" y="288"/>
                  </a:lnTo>
                  <a:lnTo>
                    <a:pt x="66" y="288"/>
                  </a:lnTo>
                  <a:lnTo>
                    <a:pt x="66" y="294"/>
                  </a:lnTo>
                  <a:lnTo>
                    <a:pt x="60" y="294"/>
                  </a:lnTo>
                  <a:lnTo>
                    <a:pt x="54" y="294"/>
                  </a:lnTo>
                  <a:lnTo>
                    <a:pt x="48" y="294"/>
                  </a:lnTo>
                  <a:lnTo>
                    <a:pt x="42" y="294"/>
                  </a:lnTo>
                  <a:lnTo>
                    <a:pt x="42" y="300"/>
                  </a:lnTo>
                  <a:lnTo>
                    <a:pt x="42" y="306"/>
                  </a:lnTo>
                  <a:lnTo>
                    <a:pt x="36" y="306"/>
                  </a:lnTo>
                  <a:lnTo>
                    <a:pt x="36" y="312"/>
                  </a:lnTo>
                  <a:lnTo>
                    <a:pt x="36" y="306"/>
                  </a:lnTo>
                  <a:lnTo>
                    <a:pt x="36" y="312"/>
                  </a:lnTo>
                  <a:lnTo>
                    <a:pt x="30" y="312"/>
                  </a:lnTo>
                  <a:lnTo>
                    <a:pt x="24" y="312"/>
                  </a:lnTo>
                  <a:lnTo>
                    <a:pt x="24" y="318"/>
                  </a:lnTo>
                  <a:lnTo>
                    <a:pt x="18" y="312"/>
                  </a:lnTo>
                  <a:lnTo>
                    <a:pt x="18" y="306"/>
                  </a:lnTo>
                  <a:lnTo>
                    <a:pt x="12" y="312"/>
                  </a:lnTo>
                  <a:lnTo>
                    <a:pt x="12" y="306"/>
                  </a:lnTo>
                  <a:lnTo>
                    <a:pt x="6" y="312"/>
                  </a:lnTo>
                  <a:lnTo>
                    <a:pt x="6" y="306"/>
                  </a:lnTo>
                  <a:lnTo>
                    <a:pt x="6" y="300"/>
                  </a:lnTo>
                  <a:lnTo>
                    <a:pt x="0" y="300"/>
                  </a:lnTo>
                  <a:lnTo>
                    <a:pt x="6" y="300"/>
                  </a:lnTo>
                  <a:lnTo>
                    <a:pt x="0" y="294"/>
                  </a:lnTo>
                  <a:lnTo>
                    <a:pt x="6" y="294"/>
                  </a:lnTo>
                  <a:lnTo>
                    <a:pt x="6" y="288"/>
                  </a:lnTo>
                  <a:lnTo>
                    <a:pt x="6" y="282"/>
                  </a:lnTo>
                  <a:lnTo>
                    <a:pt x="6" y="276"/>
                  </a:lnTo>
                  <a:lnTo>
                    <a:pt x="6" y="270"/>
                  </a:lnTo>
                  <a:lnTo>
                    <a:pt x="6" y="264"/>
                  </a:lnTo>
                  <a:lnTo>
                    <a:pt x="6" y="258"/>
                  </a:lnTo>
                  <a:lnTo>
                    <a:pt x="6" y="252"/>
                  </a:lnTo>
                  <a:lnTo>
                    <a:pt x="12" y="246"/>
                  </a:lnTo>
                  <a:lnTo>
                    <a:pt x="12" y="240"/>
                  </a:lnTo>
                  <a:lnTo>
                    <a:pt x="12" y="234"/>
                  </a:lnTo>
                  <a:lnTo>
                    <a:pt x="12" y="228"/>
                  </a:lnTo>
                  <a:lnTo>
                    <a:pt x="12" y="222"/>
                  </a:lnTo>
                  <a:lnTo>
                    <a:pt x="18" y="222"/>
                  </a:lnTo>
                  <a:lnTo>
                    <a:pt x="18" y="216"/>
                  </a:lnTo>
                  <a:lnTo>
                    <a:pt x="18" y="210"/>
                  </a:lnTo>
                  <a:lnTo>
                    <a:pt x="24" y="210"/>
                  </a:lnTo>
                  <a:lnTo>
                    <a:pt x="24" y="204"/>
                  </a:lnTo>
                  <a:lnTo>
                    <a:pt x="24" y="198"/>
                  </a:lnTo>
                  <a:lnTo>
                    <a:pt x="24" y="192"/>
                  </a:lnTo>
                  <a:lnTo>
                    <a:pt x="24" y="186"/>
                  </a:lnTo>
                  <a:lnTo>
                    <a:pt x="30" y="186"/>
                  </a:lnTo>
                  <a:lnTo>
                    <a:pt x="36" y="186"/>
                  </a:lnTo>
                  <a:lnTo>
                    <a:pt x="36" y="180"/>
                  </a:lnTo>
                  <a:lnTo>
                    <a:pt x="42" y="180"/>
                  </a:lnTo>
                  <a:lnTo>
                    <a:pt x="36" y="180"/>
                  </a:lnTo>
                  <a:lnTo>
                    <a:pt x="42" y="174"/>
                  </a:lnTo>
                  <a:lnTo>
                    <a:pt x="42" y="168"/>
                  </a:lnTo>
                  <a:lnTo>
                    <a:pt x="48" y="168"/>
                  </a:lnTo>
                  <a:lnTo>
                    <a:pt x="54" y="168"/>
                  </a:lnTo>
                  <a:lnTo>
                    <a:pt x="54" y="162"/>
                  </a:lnTo>
                  <a:lnTo>
                    <a:pt x="60" y="156"/>
                  </a:lnTo>
                  <a:lnTo>
                    <a:pt x="66" y="156"/>
                  </a:lnTo>
                  <a:lnTo>
                    <a:pt x="66" y="150"/>
                  </a:lnTo>
                  <a:lnTo>
                    <a:pt x="72" y="144"/>
                  </a:lnTo>
                  <a:lnTo>
                    <a:pt x="78" y="144"/>
                  </a:lnTo>
                  <a:lnTo>
                    <a:pt x="78" y="138"/>
                  </a:lnTo>
                  <a:lnTo>
                    <a:pt x="84" y="138"/>
                  </a:lnTo>
                  <a:lnTo>
                    <a:pt x="84" y="132"/>
                  </a:lnTo>
                  <a:lnTo>
                    <a:pt x="90" y="126"/>
                  </a:lnTo>
                  <a:lnTo>
                    <a:pt x="96" y="120"/>
                  </a:lnTo>
                  <a:lnTo>
                    <a:pt x="102" y="114"/>
                  </a:lnTo>
                  <a:lnTo>
                    <a:pt x="96" y="114"/>
                  </a:lnTo>
                  <a:lnTo>
                    <a:pt x="96" y="108"/>
                  </a:lnTo>
                  <a:lnTo>
                    <a:pt x="90" y="108"/>
                  </a:lnTo>
                  <a:lnTo>
                    <a:pt x="84" y="108"/>
                  </a:lnTo>
                  <a:lnTo>
                    <a:pt x="84" y="102"/>
                  </a:lnTo>
                  <a:lnTo>
                    <a:pt x="78" y="102"/>
                  </a:lnTo>
                  <a:lnTo>
                    <a:pt x="72" y="102"/>
                  </a:lnTo>
                  <a:lnTo>
                    <a:pt x="72" y="96"/>
                  </a:lnTo>
                  <a:lnTo>
                    <a:pt x="66" y="96"/>
                  </a:lnTo>
                  <a:lnTo>
                    <a:pt x="66" y="90"/>
                  </a:lnTo>
                  <a:lnTo>
                    <a:pt x="72" y="90"/>
                  </a:lnTo>
                  <a:lnTo>
                    <a:pt x="72" y="84"/>
                  </a:lnTo>
                  <a:lnTo>
                    <a:pt x="72" y="78"/>
                  </a:lnTo>
                  <a:lnTo>
                    <a:pt x="78" y="78"/>
                  </a:lnTo>
                  <a:lnTo>
                    <a:pt x="78" y="72"/>
                  </a:lnTo>
                  <a:lnTo>
                    <a:pt x="72" y="72"/>
                  </a:lnTo>
                  <a:lnTo>
                    <a:pt x="72" y="66"/>
                  </a:lnTo>
                  <a:lnTo>
                    <a:pt x="66" y="66"/>
                  </a:lnTo>
                  <a:lnTo>
                    <a:pt x="72" y="66"/>
                  </a:lnTo>
                  <a:lnTo>
                    <a:pt x="72" y="60"/>
                  </a:lnTo>
                  <a:lnTo>
                    <a:pt x="72" y="54"/>
                  </a:lnTo>
                  <a:lnTo>
                    <a:pt x="72" y="48"/>
                  </a:lnTo>
                  <a:lnTo>
                    <a:pt x="78" y="48"/>
                  </a:lnTo>
                  <a:lnTo>
                    <a:pt x="78" y="42"/>
                  </a:lnTo>
                  <a:lnTo>
                    <a:pt x="78" y="36"/>
                  </a:lnTo>
                  <a:lnTo>
                    <a:pt x="78" y="42"/>
                  </a:lnTo>
                  <a:lnTo>
                    <a:pt x="72" y="42"/>
                  </a:lnTo>
                  <a:lnTo>
                    <a:pt x="78" y="36"/>
                  </a:lnTo>
                  <a:lnTo>
                    <a:pt x="78" y="30"/>
                  </a:lnTo>
                  <a:lnTo>
                    <a:pt x="84" y="30"/>
                  </a:lnTo>
                  <a:lnTo>
                    <a:pt x="84" y="24"/>
                  </a:lnTo>
                  <a:lnTo>
                    <a:pt x="90" y="24"/>
                  </a:lnTo>
                  <a:lnTo>
                    <a:pt x="96" y="24"/>
                  </a:lnTo>
                  <a:lnTo>
                    <a:pt x="102" y="24"/>
                  </a:lnTo>
                  <a:lnTo>
                    <a:pt x="108" y="24"/>
                  </a:lnTo>
                  <a:lnTo>
                    <a:pt x="108" y="30"/>
                  </a:lnTo>
                  <a:lnTo>
                    <a:pt x="114" y="30"/>
                  </a:lnTo>
                  <a:lnTo>
                    <a:pt x="120" y="30"/>
                  </a:lnTo>
                  <a:lnTo>
                    <a:pt x="120" y="24"/>
                  </a:lnTo>
                  <a:lnTo>
                    <a:pt x="126" y="24"/>
                  </a:lnTo>
                  <a:lnTo>
                    <a:pt x="126" y="18"/>
                  </a:lnTo>
                  <a:lnTo>
                    <a:pt x="126" y="24"/>
                  </a:lnTo>
                  <a:lnTo>
                    <a:pt x="132" y="24"/>
                  </a:lnTo>
                  <a:lnTo>
                    <a:pt x="132" y="30"/>
                  </a:lnTo>
                  <a:lnTo>
                    <a:pt x="138" y="30"/>
                  </a:lnTo>
                  <a:lnTo>
                    <a:pt x="138" y="36"/>
                  </a:lnTo>
                  <a:lnTo>
                    <a:pt x="144" y="36"/>
                  </a:lnTo>
                  <a:lnTo>
                    <a:pt x="150" y="36"/>
                  </a:lnTo>
                  <a:lnTo>
                    <a:pt x="150" y="30"/>
                  </a:lnTo>
                  <a:lnTo>
                    <a:pt x="156" y="30"/>
                  </a:lnTo>
                  <a:lnTo>
                    <a:pt x="162" y="24"/>
                  </a:lnTo>
                  <a:lnTo>
                    <a:pt x="168" y="24"/>
                  </a:lnTo>
                  <a:lnTo>
                    <a:pt x="174" y="24"/>
                  </a:lnTo>
                  <a:lnTo>
                    <a:pt x="180" y="24"/>
                  </a:lnTo>
                  <a:lnTo>
                    <a:pt x="186" y="24"/>
                  </a:lnTo>
                  <a:lnTo>
                    <a:pt x="186" y="18"/>
                  </a:lnTo>
                  <a:lnTo>
                    <a:pt x="192" y="18"/>
                  </a:lnTo>
                  <a:lnTo>
                    <a:pt x="198" y="18"/>
                  </a:lnTo>
                  <a:lnTo>
                    <a:pt x="204" y="24"/>
                  </a:lnTo>
                  <a:lnTo>
                    <a:pt x="210" y="24"/>
                  </a:lnTo>
                  <a:lnTo>
                    <a:pt x="216" y="24"/>
                  </a:lnTo>
                  <a:lnTo>
                    <a:pt x="222" y="24"/>
                  </a:lnTo>
                  <a:lnTo>
                    <a:pt x="228" y="24"/>
                  </a:lnTo>
                  <a:lnTo>
                    <a:pt x="228" y="18"/>
                  </a:lnTo>
                  <a:lnTo>
                    <a:pt x="234" y="12"/>
                  </a:lnTo>
                  <a:lnTo>
                    <a:pt x="240" y="6"/>
                  </a:lnTo>
                  <a:lnTo>
                    <a:pt x="246" y="0"/>
                  </a:lnTo>
                  <a:lnTo>
                    <a:pt x="252" y="0"/>
                  </a:lnTo>
                  <a:lnTo>
                    <a:pt x="252" y="6"/>
                  </a:lnTo>
                  <a:lnTo>
                    <a:pt x="252" y="12"/>
                  </a:lnTo>
                  <a:lnTo>
                    <a:pt x="258" y="12"/>
                  </a:lnTo>
                  <a:lnTo>
                    <a:pt x="258" y="18"/>
                  </a:lnTo>
                  <a:lnTo>
                    <a:pt x="252" y="18"/>
                  </a:lnTo>
                  <a:lnTo>
                    <a:pt x="258" y="18"/>
                  </a:lnTo>
                  <a:lnTo>
                    <a:pt x="264" y="18"/>
                  </a:lnTo>
                  <a:lnTo>
                    <a:pt x="258" y="18"/>
                  </a:lnTo>
                  <a:lnTo>
                    <a:pt x="258" y="24"/>
                  </a:lnTo>
                  <a:lnTo>
                    <a:pt x="264" y="24"/>
                  </a:lnTo>
                  <a:lnTo>
                    <a:pt x="264" y="30"/>
                  </a:lnTo>
                  <a:lnTo>
                    <a:pt x="264" y="24"/>
                  </a:lnTo>
                  <a:lnTo>
                    <a:pt x="270" y="24"/>
                  </a:lnTo>
                  <a:lnTo>
                    <a:pt x="270" y="30"/>
                  </a:lnTo>
                  <a:lnTo>
                    <a:pt x="276" y="30"/>
                  </a:lnTo>
                  <a:lnTo>
                    <a:pt x="276" y="36"/>
                  </a:lnTo>
                  <a:lnTo>
                    <a:pt x="270" y="36"/>
                  </a:lnTo>
                  <a:lnTo>
                    <a:pt x="270" y="42"/>
                  </a:lnTo>
                  <a:lnTo>
                    <a:pt x="270" y="48"/>
                  </a:lnTo>
                  <a:lnTo>
                    <a:pt x="276" y="48"/>
                  </a:lnTo>
                  <a:lnTo>
                    <a:pt x="276" y="54"/>
                  </a:lnTo>
                  <a:lnTo>
                    <a:pt x="276" y="60"/>
                  </a:lnTo>
                  <a:lnTo>
                    <a:pt x="282" y="60"/>
                  </a:lnTo>
                  <a:lnTo>
                    <a:pt x="282" y="66"/>
                  </a:lnTo>
                  <a:lnTo>
                    <a:pt x="282" y="72"/>
                  </a:lnTo>
                  <a:lnTo>
                    <a:pt x="288" y="72"/>
                  </a:lnTo>
                  <a:lnTo>
                    <a:pt x="288" y="78"/>
                  </a:lnTo>
                  <a:lnTo>
                    <a:pt x="294" y="78"/>
                  </a:lnTo>
                  <a:lnTo>
                    <a:pt x="294" y="84"/>
                  </a:lnTo>
                  <a:lnTo>
                    <a:pt x="294" y="90"/>
                  </a:lnTo>
                  <a:lnTo>
                    <a:pt x="300" y="90"/>
                  </a:lnTo>
                  <a:lnTo>
                    <a:pt x="300" y="96"/>
                  </a:lnTo>
                  <a:lnTo>
                    <a:pt x="300" y="102"/>
                  </a:lnTo>
                  <a:lnTo>
                    <a:pt x="300" y="108"/>
                  </a:lnTo>
                  <a:lnTo>
                    <a:pt x="300" y="114"/>
                  </a:lnTo>
                  <a:lnTo>
                    <a:pt x="306" y="120"/>
                  </a:lnTo>
                  <a:lnTo>
                    <a:pt x="306" y="126"/>
                  </a:lnTo>
                  <a:lnTo>
                    <a:pt x="306" y="132"/>
                  </a:lnTo>
                  <a:lnTo>
                    <a:pt x="306" y="138"/>
                  </a:lnTo>
                  <a:lnTo>
                    <a:pt x="306" y="144"/>
                  </a:lnTo>
                  <a:lnTo>
                    <a:pt x="300" y="144"/>
                  </a:lnTo>
                  <a:lnTo>
                    <a:pt x="300" y="150"/>
                  </a:lnTo>
                  <a:lnTo>
                    <a:pt x="294" y="150"/>
                  </a:lnTo>
                  <a:lnTo>
                    <a:pt x="294" y="156"/>
                  </a:lnTo>
                  <a:lnTo>
                    <a:pt x="294" y="162"/>
                  </a:lnTo>
                  <a:lnTo>
                    <a:pt x="294" y="168"/>
                  </a:lnTo>
                  <a:lnTo>
                    <a:pt x="288" y="168"/>
                  </a:lnTo>
                  <a:lnTo>
                    <a:pt x="282" y="168"/>
                  </a:lnTo>
                  <a:lnTo>
                    <a:pt x="282" y="174"/>
                  </a:lnTo>
                  <a:lnTo>
                    <a:pt x="276" y="174"/>
                  </a:lnTo>
                  <a:lnTo>
                    <a:pt x="276" y="180"/>
                  </a:lnTo>
                  <a:lnTo>
                    <a:pt x="276" y="186"/>
                  </a:lnTo>
                  <a:lnTo>
                    <a:pt x="270" y="186"/>
                  </a:lnTo>
                  <a:lnTo>
                    <a:pt x="270" y="192"/>
                  </a:lnTo>
                  <a:lnTo>
                    <a:pt x="264" y="192"/>
                  </a:lnTo>
                  <a:lnTo>
                    <a:pt x="264" y="198"/>
                  </a:lnTo>
                  <a:lnTo>
                    <a:pt x="258" y="198"/>
                  </a:lnTo>
                  <a:lnTo>
                    <a:pt x="258" y="204"/>
                  </a:lnTo>
                  <a:lnTo>
                    <a:pt x="258" y="210"/>
                  </a:lnTo>
                  <a:lnTo>
                    <a:pt x="252" y="210"/>
                  </a:lnTo>
                  <a:lnTo>
                    <a:pt x="258" y="210"/>
                  </a:lnTo>
                  <a:lnTo>
                    <a:pt x="252" y="210"/>
                  </a:lnTo>
                  <a:lnTo>
                    <a:pt x="252" y="216"/>
                  </a:lnTo>
                  <a:lnTo>
                    <a:pt x="252" y="222"/>
                  </a:lnTo>
                  <a:lnTo>
                    <a:pt x="246" y="222"/>
                  </a:lnTo>
                  <a:lnTo>
                    <a:pt x="246" y="228"/>
                  </a:lnTo>
                  <a:lnTo>
                    <a:pt x="246" y="234"/>
                  </a:lnTo>
                  <a:lnTo>
                    <a:pt x="246" y="240"/>
                  </a:lnTo>
                  <a:lnTo>
                    <a:pt x="246" y="246"/>
                  </a:lnTo>
                  <a:lnTo>
                    <a:pt x="246" y="252"/>
                  </a:lnTo>
                  <a:lnTo>
                    <a:pt x="246" y="258"/>
                  </a:lnTo>
                  <a:lnTo>
                    <a:pt x="246" y="264"/>
                  </a:lnTo>
                  <a:lnTo>
                    <a:pt x="246" y="270"/>
                  </a:lnTo>
                  <a:lnTo>
                    <a:pt x="246" y="276"/>
                  </a:lnTo>
                  <a:lnTo>
                    <a:pt x="246" y="282"/>
                  </a:lnTo>
                  <a:lnTo>
                    <a:pt x="246" y="288"/>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4" name="Freeform 34"/>
            <p:cNvSpPr>
              <a:spLocks noEditPoints="1"/>
            </p:cNvSpPr>
            <p:nvPr>
              <p:custDataLst>
                <p:tags r:id="rId32"/>
              </p:custDataLst>
            </p:nvPr>
          </p:nvSpPr>
          <p:spPr bwMode="gray">
            <a:xfrm>
              <a:off x="3370962" y="3028237"/>
              <a:ext cx="532157" cy="665603"/>
            </a:xfrm>
            <a:custGeom>
              <a:avLst/>
              <a:gdLst>
                <a:gd name="T0" fmla="*/ 1946 w 582"/>
                <a:gd name="T1" fmla="*/ 255544 h 762"/>
                <a:gd name="T2" fmla="*/ 0 w 582"/>
                <a:gd name="T3" fmla="*/ 238120 h 762"/>
                <a:gd name="T4" fmla="*/ 0 w 582"/>
                <a:gd name="T5" fmla="*/ 218761 h 762"/>
                <a:gd name="T6" fmla="*/ 0 w 582"/>
                <a:gd name="T7" fmla="*/ 199402 h 762"/>
                <a:gd name="T8" fmla="*/ 3893 w 582"/>
                <a:gd name="T9" fmla="*/ 179074 h 762"/>
                <a:gd name="T10" fmla="*/ 17519 w 582"/>
                <a:gd name="T11" fmla="*/ 163587 h 762"/>
                <a:gd name="T12" fmla="*/ 30172 w 582"/>
                <a:gd name="T13" fmla="*/ 154875 h 762"/>
                <a:gd name="T14" fmla="*/ 40879 w 582"/>
                <a:gd name="T15" fmla="*/ 146163 h 762"/>
                <a:gd name="T16" fmla="*/ 60345 w 582"/>
                <a:gd name="T17" fmla="*/ 140355 h 762"/>
                <a:gd name="T18" fmla="*/ 111930 w 582"/>
                <a:gd name="T19" fmla="*/ 108413 h 762"/>
                <a:gd name="T20" fmla="*/ 131395 w 582"/>
                <a:gd name="T21" fmla="*/ 78406 h 762"/>
                <a:gd name="T22" fmla="*/ 111930 w 582"/>
                <a:gd name="T23" fmla="*/ 76469 h 762"/>
                <a:gd name="T24" fmla="*/ 92464 w 582"/>
                <a:gd name="T25" fmla="*/ 70662 h 762"/>
                <a:gd name="T26" fmla="*/ 71051 w 582"/>
                <a:gd name="T27" fmla="*/ 63886 h 762"/>
                <a:gd name="T28" fmla="*/ 56452 w 582"/>
                <a:gd name="T29" fmla="*/ 53238 h 762"/>
                <a:gd name="T30" fmla="*/ 44772 w 582"/>
                <a:gd name="T31" fmla="*/ 42591 h 762"/>
                <a:gd name="T32" fmla="*/ 36985 w 582"/>
                <a:gd name="T33" fmla="*/ 30007 h 762"/>
                <a:gd name="T34" fmla="*/ 42826 w 582"/>
                <a:gd name="T35" fmla="*/ 17424 h 762"/>
                <a:gd name="T36" fmla="*/ 51585 w 582"/>
                <a:gd name="T37" fmla="*/ 12583 h 762"/>
                <a:gd name="T38" fmla="*/ 56452 w 582"/>
                <a:gd name="T39" fmla="*/ 23232 h 762"/>
                <a:gd name="T40" fmla="*/ 71051 w 582"/>
                <a:gd name="T41" fmla="*/ 31943 h 762"/>
                <a:gd name="T42" fmla="*/ 83704 w 582"/>
                <a:gd name="T43" fmla="*/ 30007 h 762"/>
                <a:gd name="T44" fmla="*/ 96357 w 582"/>
                <a:gd name="T45" fmla="*/ 23232 h 762"/>
                <a:gd name="T46" fmla="*/ 113876 w 582"/>
                <a:gd name="T47" fmla="*/ 23232 h 762"/>
                <a:gd name="T48" fmla="*/ 126529 w 582"/>
                <a:gd name="T49" fmla="*/ 17424 h 762"/>
                <a:gd name="T50" fmla="*/ 144049 w 582"/>
                <a:gd name="T51" fmla="*/ 14520 h 762"/>
                <a:gd name="T52" fmla="*/ 158648 w 582"/>
                <a:gd name="T53" fmla="*/ 14520 h 762"/>
                <a:gd name="T54" fmla="*/ 176168 w 582"/>
                <a:gd name="T55" fmla="*/ 10648 h 762"/>
                <a:gd name="T56" fmla="*/ 188821 w 582"/>
                <a:gd name="T57" fmla="*/ 3872 h 762"/>
                <a:gd name="T58" fmla="*/ 199527 w 582"/>
                <a:gd name="T59" fmla="*/ 1936 h 762"/>
                <a:gd name="T60" fmla="*/ 201474 w 582"/>
                <a:gd name="T61" fmla="*/ 10648 h 762"/>
                <a:gd name="T62" fmla="*/ 204394 w 582"/>
                <a:gd name="T63" fmla="*/ 26135 h 762"/>
                <a:gd name="T64" fmla="*/ 204394 w 582"/>
                <a:gd name="T65" fmla="*/ 30007 h 762"/>
                <a:gd name="T66" fmla="*/ 199527 w 582"/>
                <a:gd name="T67" fmla="*/ 31943 h 762"/>
                <a:gd name="T68" fmla="*/ 195633 w 582"/>
                <a:gd name="T69" fmla="*/ 48399 h 762"/>
                <a:gd name="T70" fmla="*/ 191740 w 582"/>
                <a:gd name="T71" fmla="*/ 60014 h 762"/>
                <a:gd name="T72" fmla="*/ 184928 w 582"/>
                <a:gd name="T73" fmla="*/ 71630 h 762"/>
                <a:gd name="T74" fmla="*/ 178114 w 582"/>
                <a:gd name="T75" fmla="*/ 80341 h 762"/>
                <a:gd name="T76" fmla="*/ 172275 w 582"/>
                <a:gd name="T77" fmla="*/ 95829 h 762"/>
                <a:gd name="T78" fmla="*/ 163514 w 582"/>
                <a:gd name="T79" fmla="*/ 106477 h 762"/>
                <a:gd name="T80" fmla="*/ 158648 w 582"/>
                <a:gd name="T81" fmla="*/ 120996 h 762"/>
                <a:gd name="T82" fmla="*/ 147942 w 582"/>
                <a:gd name="T83" fmla="*/ 135516 h 762"/>
                <a:gd name="T84" fmla="*/ 140156 w 582"/>
                <a:gd name="T85" fmla="*/ 151004 h 762"/>
                <a:gd name="T86" fmla="*/ 128476 w 582"/>
                <a:gd name="T87" fmla="*/ 161651 h 762"/>
                <a:gd name="T88" fmla="*/ 113876 w 582"/>
                <a:gd name="T89" fmla="*/ 176170 h 762"/>
                <a:gd name="T90" fmla="*/ 105117 w 582"/>
                <a:gd name="T91" fmla="*/ 186818 h 762"/>
                <a:gd name="T92" fmla="*/ 92464 w 582"/>
                <a:gd name="T93" fmla="*/ 195529 h 762"/>
                <a:gd name="T94" fmla="*/ 79811 w 582"/>
                <a:gd name="T95" fmla="*/ 202305 h 762"/>
                <a:gd name="T96" fmla="*/ 67158 w 582"/>
                <a:gd name="T97" fmla="*/ 210049 h 762"/>
                <a:gd name="T98" fmla="*/ 56452 w 582"/>
                <a:gd name="T99" fmla="*/ 218761 h 762"/>
                <a:gd name="T100" fmla="*/ 44772 w 582"/>
                <a:gd name="T101" fmla="*/ 229408 h 762"/>
                <a:gd name="T102" fmla="*/ 32119 w 582"/>
                <a:gd name="T103" fmla="*/ 241992 h 762"/>
                <a:gd name="T104" fmla="*/ 23359 w 582"/>
                <a:gd name="T105" fmla="*/ 255544 h 762"/>
                <a:gd name="T106" fmla="*/ 19466 w 582"/>
                <a:gd name="T107" fmla="*/ 257480 h 762"/>
                <a:gd name="T108" fmla="*/ 17519 w 582"/>
                <a:gd name="T109" fmla="*/ 261352 h 762"/>
                <a:gd name="T110" fmla="*/ 23359 w 582"/>
                <a:gd name="T111" fmla="*/ 252640 h 762"/>
                <a:gd name="T112" fmla="*/ 26279 w 582"/>
                <a:gd name="T113" fmla="*/ 250704 h 762"/>
                <a:gd name="T114" fmla="*/ 32119 w 582"/>
                <a:gd name="T115" fmla="*/ 246832 h 7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82" h="762">
                  <a:moveTo>
                    <a:pt x="36" y="762"/>
                  </a:moveTo>
                  <a:lnTo>
                    <a:pt x="30" y="756"/>
                  </a:lnTo>
                  <a:lnTo>
                    <a:pt x="30" y="750"/>
                  </a:lnTo>
                  <a:lnTo>
                    <a:pt x="24" y="750"/>
                  </a:lnTo>
                  <a:lnTo>
                    <a:pt x="24" y="744"/>
                  </a:lnTo>
                  <a:lnTo>
                    <a:pt x="18" y="738"/>
                  </a:lnTo>
                  <a:lnTo>
                    <a:pt x="12" y="732"/>
                  </a:lnTo>
                  <a:lnTo>
                    <a:pt x="6" y="726"/>
                  </a:lnTo>
                  <a:lnTo>
                    <a:pt x="6" y="720"/>
                  </a:lnTo>
                  <a:lnTo>
                    <a:pt x="0" y="720"/>
                  </a:lnTo>
                  <a:lnTo>
                    <a:pt x="0" y="714"/>
                  </a:lnTo>
                  <a:lnTo>
                    <a:pt x="0" y="708"/>
                  </a:lnTo>
                  <a:lnTo>
                    <a:pt x="0" y="702"/>
                  </a:lnTo>
                  <a:lnTo>
                    <a:pt x="0" y="696"/>
                  </a:lnTo>
                  <a:lnTo>
                    <a:pt x="0" y="690"/>
                  </a:lnTo>
                  <a:lnTo>
                    <a:pt x="0" y="684"/>
                  </a:lnTo>
                  <a:lnTo>
                    <a:pt x="0" y="678"/>
                  </a:lnTo>
                  <a:lnTo>
                    <a:pt x="0" y="672"/>
                  </a:lnTo>
                  <a:lnTo>
                    <a:pt x="0" y="666"/>
                  </a:lnTo>
                  <a:lnTo>
                    <a:pt x="0" y="660"/>
                  </a:lnTo>
                  <a:lnTo>
                    <a:pt x="0" y="654"/>
                  </a:lnTo>
                  <a:lnTo>
                    <a:pt x="0" y="648"/>
                  </a:lnTo>
                  <a:lnTo>
                    <a:pt x="0" y="642"/>
                  </a:lnTo>
                  <a:lnTo>
                    <a:pt x="0" y="636"/>
                  </a:lnTo>
                  <a:lnTo>
                    <a:pt x="0" y="630"/>
                  </a:lnTo>
                  <a:lnTo>
                    <a:pt x="0" y="624"/>
                  </a:lnTo>
                  <a:lnTo>
                    <a:pt x="0" y="618"/>
                  </a:lnTo>
                  <a:lnTo>
                    <a:pt x="0" y="612"/>
                  </a:lnTo>
                  <a:lnTo>
                    <a:pt x="0" y="606"/>
                  </a:lnTo>
                  <a:lnTo>
                    <a:pt x="0" y="600"/>
                  </a:lnTo>
                  <a:lnTo>
                    <a:pt x="0" y="594"/>
                  </a:lnTo>
                  <a:lnTo>
                    <a:pt x="0" y="588"/>
                  </a:lnTo>
                  <a:lnTo>
                    <a:pt x="0" y="582"/>
                  </a:lnTo>
                  <a:lnTo>
                    <a:pt x="0" y="576"/>
                  </a:lnTo>
                  <a:lnTo>
                    <a:pt x="0" y="570"/>
                  </a:lnTo>
                  <a:lnTo>
                    <a:pt x="0" y="564"/>
                  </a:lnTo>
                  <a:lnTo>
                    <a:pt x="0" y="558"/>
                  </a:lnTo>
                  <a:lnTo>
                    <a:pt x="0" y="552"/>
                  </a:lnTo>
                  <a:lnTo>
                    <a:pt x="0" y="546"/>
                  </a:lnTo>
                  <a:lnTo>
                    <a:pt x="0" y="540"/>
                  </a:lnTo>
                  <a:lnTo>
                    <a:pt x="0" y="528"/>
                  </a:lnTo>
                  <a:lnTo>
                    <a:pt x="0" y="522"/>
                  </a:lnTo>
                  <a:lnTo>
                    <a:pt x="0" y="516"/>
                  </a:lnTo>
                  <a:lnTo>
                    <a:pt x="6" y="510"/>
                  </a:lnTo>
                  <a:lnTo>
                    <a:pt x="12" y="504"/>
                  </a:lnTo>
                  <a:lnTo>
                    <a:pt x="18" y="498"/>
                  </a:lnTo>
                  <a:lnTo>
                    <a:pt x="24" y="498"/>
                  </a:lnTo>
                  <a:lnTo>
                    <a:pt x="24" y="492"/>
                  </a:lnTo>
                  <a:lnTo>
                    <a:pt x="30" y="486"/>
                  </a:lnTo>
                  <a:lnTo>
                    <a:pt x="30" y="480"/>
                  </a:lnTo>
                  <a:lnTo>
                    <a:pt x="36" y="474"/>
                  </a:lnTo>
                  <a:lnTo>
                    <a:pt x="42" y="468"/>
                  </a:lnTo>
                  <a:lnTo>
                    <a:pt x="42" y="462"/>
                  </a:lnTo>
                  <a:lnTo>
                    <a:pt x="48" y="462"/>
                  </a:lnTo>
                  <a:lnTo>
                    <a:pt x="48" y="456"/>
                  </a:lnTo>
                  <a:lnTo>
                    <a:pt x="54" y="450"/>
                  </a:lnTo>
                  <a:lnTo>
                    <a:pt x="54" y="444"/>
                  </a:lnTo>
                  <a:lnTo>
                    <a:pt x="60" y="444"/>
                  </a:lnTo>
                  <a:lnTo>
                    <a:pt x="60" y="438"/>
                  </a:lnTo>
                  <a:lnTo>
                    <a:pt x="66" y="438"/>
                  </a:lnTo>
                  <a:lnTo>
                    <a:pt x="72" y="438"/>
                  </a:lnTo>
                  <a:lnTo>
                    <a:pt x="78" y="438"/>
                  </a:lnTo>
                  <a:lnTo>
                    <a:pt x="84" y="438"/>
                  </a:lnTo>
                  <a:lnTo>
                    <a:pt x="90" y="438"/>
                  </a:lnTo>
                  <a:lnTo>
                    <a:pt x="96" y="438"/>
                  </a:lnTo>
                  <a:lnTo>
                    <a:pt x="96" y="432"/>
                  </a:lnTo>
                  <a:lnTo>
                    <a:pt x="102" y="432"/>
                  </a:lnTo>
                  <a:lnTo>
                    <a:pt x="108" y="432"/>
                  </a:lnTo>
                  <a:lnTo>
                    <a:pt x="108" y="426"/>
                  </a:lnTo>
                  <a:lnTo>
                    <a:pt x="114" y="426"/>
                  </a:lnTo>
                  <a:lnTo>
                    <a:pt x="114" y="420"/>
                  </a:lnTo>
                  <a:lnTo>
                    <a:pt x="114" y="414"/>
                  </a:lnTo>
                  <a:lnTo>
                    <a:pt x="120" y="414"/>
                  </a:lnTo>
                  <a:lnTo>
                    <a:pt x="126" y="414"/>
                  </a:lnTo>
                  <a:lnTo>
                    <a:pt x="126" y="408"/>
                  </a:lnTo>
                  <a:lnTo>
                    <a:pt x="132" y="408"/>
                  </a:lnTo>
                  <a:lnTo>
                    <a:pt x="138" y="402"/>
                  </a:lnTo>
                  <a:lnTo>
                    <a:pt x="144" y="402"/>
                  </a:lnTo>
                  <a:lnTo>
                    <a:pt x="150" y="402"/>
                  </a:lnTo>
                  <a:lnTo>
                    <a:pt x="162" y="396"/>
                  </a:lnTo>
                  <a:lnTo>
                    <a:pt x="168" y="396"/>
                  </a:lnTo>
                  <a:lnTo>
                    <a:pt x="174" y="396"/>
                  </a:lnTo>
                  <a:lnTo>
                    <a:pt x="186" y="396"/>
                  </a:lnTo>
                  <a:lnTo>
                    <a:pt x="204" y="396"/>
                  </a:lnTo>
                  <a:lnTo>
                    <a:pt x="222" y="396"/>
                  </a:lnTo>
                  <a:lnTo>
                    <a:pt x="228" y="396"/>
                  </a:lnTo>
                  <a:lnTo>
                    <a:pt x="228" y="390"/>
                  </a:lnTo>
                  <a:lnTo>
                    <a:pt x="258" y="366"/>
                  </a:lnTo>
                  <a:lnTo>
                    <a:pt x="306" y="312"/>
                  </a:lnTo>
                  <a:lnTo>
                    <a:pt x="312" y="306"/>
                  </a:lnTo>
                  <a:lnTo>
                    <a:pt x="324" y="294"/>
                  </a:lnTo>
                  <a:lnTo>
                    <a:pt x="330" y="288"/>
                  </a:lnTo>
                  <a:lnTo>
                    <a:pt x="354" y="264"/>
                  </a:lnTo>
                  <a:lnTo>
                    <a:pt x="366" y="252"/>
                  </a:lnTo>
                  <a:lnTo>
                    <a:pt x="390" y="222"/>
                  </a:lnTo>
                  <a:lnTo>
                    <a:pt x="384" y="222"/>
                  </a:lnTo>
                  <a:lnTo>
                    <a:pt x="378" y="222"/>
                  </a:lnTo>
                  <a:lnTo>
                    <a:pt x="372" y="222"/>
                  </a:lnTo>
                  <a:lnTo>
                    <a:pt x="366" y="222"/>
                  </a:lnTo>
                  <a:lnTo>
                    <a:pt x="360" y="222"/>
                  </a:lnTo>
                  <a:lnTo>
                    <a:pt x="354" y="222"/>
                  </a:lnTo>
                  <a:lnTo>
                    <a:pt x="348" y="222"/>
                  </a:lnTo>
                  <a:lnTo>
                    <a:pt x="342" y="222"/>
                  </a:lnTo>
                  <a:lnTo>
                    <a:pt x="336" y="222"/>
                  </a:lnTo>
                  <a:lnTo>
                    <a:pt x="330" y="222"/>
                  </a:lnTo>
                  <a:lnTo>
                    <a:pt x="324" y="222"/>
                  </a:lnTo>
                  <a:lnTo>
                    <a:pt x="318" y="216"/>
                  </a:lnTo>
                  <a:lnTo>
                    <a:pt x="312" y="216"/>
                  </a:lnTo>
                  <a:lnTo>
                    <a:pt x="306" y="216"/>
                  </a:lnTo>
                  <a:lnTo>
                    <a:pt x="300" y="210"/>
                  </a:lnTo>
                  <a:lnTo>
                    <a:pt x="294" y="210"/>
                  </a:lnTo>
                  <a:lnTo>
                    <a:pt x="288" y="210"/>
                  </a:lnTo>
                  <a:lnTo>
                    <a:pt x="282" y="204"/>
                  </a:lnTo>
                  <a:lnTo>
                    <a:pt x="276" y="204"/>
                  </a:lnTo>
                  <a:lnTo>
                    <a:pt x="270" y="204"/>
                  </a:lnTo>
                  <a:lnTo>
                    <a:pt x="264" y="198"/>
                  </a:lnTo>
                  <a:lnTo>
                    <a:pt x="258" y="198"/>
                  </a:lnTo>
                  <a:lnTo>
                    <a:pt x="252" y="198"/>
                  </a:lnTo>
                  <a:lnTo>
                    <a:pt x="240" y="192"/>
                  </a:lnTo>
                  <a:lnTo>
                    <a:pt x="234" y="192"/>
                  </a:lnTo>
                  <a:lnTo>
                    <a:pt x="228" y="186"/>
                  </a:lnTo>
                  <a:lnTo>
                    <a:pt x="222" y="186"/>
                  </a:lnTo>
                  <a:lnTo>
                    <a:pt x="216" y="186"/>
                  </a:lnTo>
                  <a:lnTo>
                    <a:pt x="210" y="180"/>
                  </a:lnTo>
                  <a:lnTo>
                    <a:pt x="204" y="180"/>
                  </a:lnTo>
                  <a:lnTo>
                    <a:pt x="198" y="180"/>
                  </a:lnTo>
                  <a:lnTo>
                    <a:pt x="192" y="174"/>
                  </a:lnTo>
                  <a:lnTo>
                    <a:pt x="186" y="174"/>
                  </a:lnTo>
                  <a:lnTo>
                    <a:pt x="180" y="174"/>
                  </a:lnTo>
                  <a:lnTo>
                    <a:pt x="174" y="168"/>
                  </a:lnTo>
                  <a:lnTo>
                    <a:pt x="168" y="168"/>
                  </a:lnTo>
                  <a:lnTo>
                    <a:pt x="162" y="162"/>
                  </a:lnTo>
                  <a:lnTo>
                    <a:pt x="162" y="156"/>
                  </a:lnTo>
                  <a:lnTo>
                    <a:pt x="156" y="156"/>
                  </a:lnTo>
                  <a:lnTo>
                    <a:pt x="156" y="150"/>
                  </a:lnTo>
                  <a:lnTo>
                    <a:pt x="150" y="150"/>
                  </a:lnTo>
                  <a:lnTo>
                    <a:pt x="144" y="150"/>
                  </a:lnTo>
                  <a:lnTo>
                    <a:pt x="144" y="144"/>
                  </a:lnTo>
                  <a:lnTo>
                    <a:pt x="138" y="144"/>
                  </a:lnTo>
                  <a:lnTo>
                    <a:pt x="138" y="138"/>
                  </a:lnTo>
                  <a:lnTo>
                    <a:pt x="132" y="138"/>
                  </a:lnTo>
                  <a:lnTo>
                    <a:pt x="132" y="132"/>
                  </a:lnTo>
                  <a:lnTo>
                    <a:pt x="132" y="126"/>
                  </a:lnTo>
                  <a:lnTo>
                    <a:pt x="126" y="120"/>
                  </a:lnTo>
                  <a:lnTo>
                    <a:pt x="120" y="120"/>
                  </a:lnTo>
                  <a:lnTo>
                    <a:pt x="120" y="114"/>
                  </a:lnTo>
                  <a:lnTo>
                    <a:pt x="114" y="114"/>
                  </a:lnTo>
                  <a:lnTo>
                    <a:pt x="114" y="108"/>
                  </a:lnTo>
                  <a:lnTo>
                    <a:pt x="108" y="102"/>
                  </a:lnTo>
                  <a:lnTo>
                    <a:pt x="108" y="96"/>
                  </a:lnTo>
                  <a:lnTo>
                    <a:pt x="102" y="96"/>
                  </a:lnTo>
                  <a:lnTo>
                    <a:pt x="102" y="90"/>
                  </a:lnTo>
                  <a:lnTo>
                    <a:pt x="102" y="84"/>
                  </a:lnTo>
                  <a:lnTo>
                    <a:pt x="96" y="84"/>
                  </a:lnTo>
                  <a:lnTo>
                    <a:pt x="96" y="78"/>
                  </a:lnTo>
                  <a:lnTo>
                    <a:pt x="102" y="72"/>
                  </a:lnTo>
                  <a:lnTo>
                    <a:pt x="102" y="66"/>
                  </a:lnTo>
                  <a:lnTo>
                    <a:pt x="108" y="66"/>
                  </a:lnTo>
                  <a:lnTo>
                    <a:pt x="108" y="60"/>
                  </a:lnTo>
                  <a:lnTo>
                    <a:pt x="114" y="54"/>
                  </a:lnTo>
                  <a:lnTo>
                    <a:pt x="114" y="48"/>
                  </a:lnTo>
                  <a:lnTo>
                    <a:pt x="120" y="48"/>
                  </a:lnTo>
                  <a:lnTo>
                    <a:pt x="120" y="42"/>
                  </a:lnTo>
                  <a:lnTo>
                    <a:pt x="120" y="36"/>
                  </a:lnTo>
                  <a:lnTo>
                    <a:pt x="126" y="36"/>
                  </a:lnTo>
                  <a:lnTo>
                    <a:pt x="126" y="30"/>
                  </a:lnTo>
                  <a:lnTo>
                    <a:pt x="132" y="30"/>
                  </a:lnTo>
                  <a:lnTo>
                    <a:pt x="138" y="36"/>
                  </a:lnTo>
                  <a:lnTo>
                    <a:pt x="144" y="36"/>
                  </a:lnTo>
                  <a:lnTo>
                    <a:pt x="138" y="36"/>
                  </a:lnTo>
                  <a:lnTo>
                    <a:pt x="144" y="36"/>
                  </a:lnTo>
                  <a:lnTo>
                    <a:pt x="144" y="42"/>
                  </a:lnTo>
                  <a:lnTo>
                    <a:pt x="144" y="48"/>
                  </a:lnTo>
                  <a:lnTo>
                    <a:pt x="144" y="42"/>
                  </a:lnTo>
                  <a:lnTo>
                    <a:pt x="144" y="48"/>
                  </a:lnTo>
                  <a:lnTo>
                    <a:pt x="150" y="48"/>
                  </a:lnTo>
                  <a:lnTo>
                    <a:pt x="150" y="54"/>
                  </a:lnTo>
                  <a:lnTo>
                    <a:pt x="150" y="60"/>
                  </a:lnTo>
                  <a:lnTo>
                    <a:pt x="156" y="60"/>
                  </a:lnTo>
                  <a:lnTo>
                    <a:pt x="156" y="66"/>
                  </a:lnTo>
                  <a:lnTo>
                    <a:pt x="162" y="66"/>
                  </a:lnTo>
                  <a:lnTo>
                    <a:pt x="168" y="72"/>
                  </a:lnTo>
                  <a:lnTo>
                    <a:pt x="174" y="78"/>
                  </a:lnTo>
                  <a:lnTo>
                    <a:pt x="180" y="78"/>
                  </a:lnTo>
                  <a:lnTo>
                    <a:pt x="180" y="84"/>
                  </a:lnTo>
                  <a:lnTo>
                    <a:pt x="186" y="84"/>
                  </a:lnTo>
                  <a:lnTo>
                    <a:pt x="186" y="90"/>
                  </a:lnTo>
                  <a:lnTo>
                    <a:pt x="192" y="90"/>
                  </a:lnTo>
                  <a:lnTo>
                    <a:pt x="198" y="90"/>
                  </a:lnTo>
                  <a:lnTo>
                    <a:pt x="204" y="90"/>
                  </a:lnTo>
                  <a:lnTo>
                    <a:pt x="210" y="90"/>
                  </a:lnTo>
                  <a:lnTo>
                    <a:pt x="216" y="90"/>
                  </a:lnTo>
                  <a:lnTo>
                    <a:pt x="222" y="90"/>
                  </a:lnTo>
                  <a:lnTo>
                    <a:pt x="228" y="90"/>
                  </a:lnTo>
                  <a:lnTo>
                    <a:pt x="228" y="84"/>
                  </a:lnTo>
                  <a:lnTo>
                    <a:pt x="222" y="84"/>
                  </a:lnTo>
                  <a:lnTo>
                    <a:pt x="228" y="84"/>
                  </a:lnTo>
                  <a:lnTo>
                    <a:pt x="234" y="84"/>
                  </a:lnTo>
                  <a:lnTo>
                    <a:pt x="240" y="78"/>
                  </a:lnTo>
                  <a:lnTo>
                    <a:pt x="246" y="72"/>
                  </a:lnTo>
                  <a:lnTo>
                    <a:pt x="252" y="72"/>
                  </a:lnTo>
                  <a:lnTo>
                    <a:pt x="258" y="72"/>
                  </a:lnTo>
                  <a:lnTo>
                    <a:pt x="258" y="66"/>
                  </a:lnTo>
                  <a:lnTo>
                    <a:pt x="264" y="66"/>
                  </a:lnTo>
                  <a:lnTo>
                    <a:pt x="270" y="66"/>
                  </a:lnTo>
                  <a:lnTo>
                    <a:pt x="270" y="60"/>
                  </a:lnTo>
                  <a:lnTo>
                    <a:pt x="270" y="66"/>
                  </a:lnTo>
                  <a:lnTo>
                    <a:pt x="276" y="66"/>
                  </a:lnTo>
                  <a:lnTo>
                    <a:pt x="282" y="66"/>
                  </a:lnTo>
                  <a:lnTo>
                    <a:pt x="288" y="66"/>
                  </a:lnTo>
                  <a:lnTo>
                    <a:pt x="294" y="66"/>
                  </a:lnTo>
                  <a:lnTo>
                    <a:pt x="300" y="72"/>
                  </a:lnTo>
                  <a:lnTo>
                    <a:pt x="306" y="72"/>
                  </a:lnTo>
                  <a:lnTo>
                    <a:pt x="312" y="72"/>
                  </a:lnTo>
                  <a:lnTo>
                    <a:pt x="318" y="72"/>
                  </a:lnTo>
                  <a:lnTo>
                    <a:pt x="318" y="66"/>
                  </a:lnTo>
                  <a:lnTo>
                    <a:pt x="324" y="66"/>
                  </a:lnTo>
                  <a:lnTo>
                    <a:pt x="330" y="66"/>
                  </a:lnTo>
                  <a:lnTo>
                    <a:pt x="330" y="60"/>
                  </a:lnTo>
                  <a:lnTo>
                    <a:pt x="336" y="60"/>
                  </a:lnTo>
                  <a:lnTo>
                    <a:pt x="342" y="60"/>
                  </a:lnTo>
                  <a:lnTo>
                    <a:pt x="342" y="54"/>
                  </a:lnTo>
                  <a:lnTo>
                    <a:pt x="348" y="54"/>
                  </a:lnTo>
                  <a:lnTo>
                    <a:pt x="348" y="48"/>
                  </a:lnTo>
                  <a:lnTo>
                    <a:pt x="354" y="48"/>
                  </a:lnTo>
                  <a:lnTo>
                    <a:pt x="360" y="48"/>
                  </a:lnTo>
                  <a:lnTo>
                    <a:pt x="366" y="48"/>
                  </a:lnTo>
                  <a:lnTo>
                    <a:pt x="372" y="48"/>
                  </a:lnTo>
                  <a:lnTo>
                    <a:pt x="378" y="48"/>
                  </a:lnTo>
                  <a:lnTo>
                    <a:pt x="384" y="48"/>
                  </a:lnTo>
                  <a:lnTo>
                    <a:pt x="390" y="48"/>
                  </a:lnTo>
                  <a:lnTo>
                    <a:pt x="396" y="48"/>
                  </a:lnTo>
                  <a:lnTo>
                    <a:pt x="402" y="48"/>
                  </a:lnTo>
                  <a:lnTo>
                    <a:pt x="402" y="42"/>
                  </a:lnTo>
                  <a:lnTo>
                    <a:pt x="408" y="42"/>
                  </a:lnTo>
                  <a:lnTo>
                    <a:pt x="414" y="42"/>
                  </a:lnTo>
                  <a:lnTo>
                    <a:pt x="420" y="42"/>
                  </a:lnTo>
                  <a:lnTo>
                    <a:pt x="420" y="36"/>
                  </a:lnTo>
                  <a:lnTo>
                    <a:pt x="426" y="36"/>
                  </a:lnTo>
                  <a:lnTo>
                    <a:pt x="432" y="36"/>
                  </a:lnTo>
                  <a:lnTo>
                    <a:pt x="438" y="36"/>
                  </a:lnTo>
                  <a:lnTo>
                    <a:pt x="438" y="42"/>
                  </a:lnTo>
                  <a:lnTo>
                    <a:pt x="444" y="42"/>
                  </a:lnTo>
                  <a:lnTo>
                    <a:pt x="450" y="42"/>
                  </a:lnTo>
                  <a:lnTo>
                    <a:pt x="456" y="42"/>
                  </a:lnTo>
                  <a:lnTo>
                    <a:pt x="456" y="36"/>
                  </a:lnTo>
                  <a:lnTo>
                    <a:pt x="462" y="36"/>
                  </a:lnTo>
                  <a:lnTo>
                    <a:pt x="468" y="36"/>
                  </a:lnTo>
                  <a:lnTo>
                    <a:pt x="474" y="36"/>
                  </a:lnTo>
                  <a:lnTo>
                    <a:pt x="480" y="30"/>
                  </a:lnTo>
                  <a:lnTo>
                    <a:pt x="486" y="30"/>
                  </a:lnTo>
                  <a:lnTo>
                    <a:pt x="492" y="30"/>
                  </a:lnTo>
                  <a:lnTo>
                    <a:pt x="498" y="30"/>
                  </a:lnTo>
                  <a:lnTo>
                    <a:pt x="498" y="24"/>
                  </a:lnTo>
                  <a:lnTo>
                    <a:pt x="504" y="24"/>
                  </a:lnTo>
                  <a:lnTo>
                    <a:pt x="510" y="24"/>
                  </a:lnTo>
                  <a:lnTo>
                    <a:pt x="516" y="24"/>
                  </a:lnTo>
                  <a:lnTo>
                    <a:pt x="522" y="24"/>
                  </a:lnTo>
                  <a:lnTo>
                    <a:pt x="522" y="18"/>
                  </a:lnTo>
                  <a:lnTo>
                    <a:pt x="528" y="18"/>
                  </a:lnTo>
                  <a:lnTo>
                    <a:pt x="528" y="12"/>
                  </a:lnTo>
                  <a:lnTo>
                    <a:pt x="534" y="12"/>
                  </a:lnTo>
                  <a:lnTo>
                    <a:pt x="534" y="6"/>
                  </a:lnTo>
                  <a:lnTo>
                    <a:pt x="534" y="12"/>
                  </a:lnTo>
                  <a:lnTo>
                    <a:pt x="534" y="6"/>
                  </a:lnTo>
                  <a:lnTo>
                    <a:pt x="540" y="0"/>
                  </a:lnTo>
                  <a:lnTo>
                    <a:pt x="546" y="0"/>
                  </a:lnTo>
                  <a:lnTo>
                    <a:pt x="552" y="0"/>
                  </a:lnTo>
                  <a:lnTo>
                    <a:pt x="558" y="0"/>
                  </a:lnTo>
                  <a:lnTo>
                    <a:pt x="558" y="6"/>
                  </a:lnTo>
                  <a:lnTo>
                    <a:pt x="564" y="6"/>
                  </a:lnTo>
                  <a:lnTo>
                    <a:pt x="570" y="6"/>
                  </a:lnTo>
                  <a:lnTo>
                    <a:pt x="576" y="6"/>
                  </a:lnTo>
                  <a:lnTo>
                    <a:pt x="576" y="12"/>
                  </a:lnTo>
                  <a:lnTo>
                    <a:pt x="576" y="18"/>
                  </a:lnTo>
                  <a:lnTo>
                    <a:pt x="570" y="18"/>
                  </a:lnTo>
                  <a:lnTo>
                    <a:pt x="570" y="24"/>
                  </a:lnTo>
                  <a:lnTo>
                    <a:pt x="564" y="24"/>
                  </a:lnTo>
                  <a:lnTo>
                    <a:pt x="564" y="30"/>
                  </a:lnTo>
                  <a:lnTo>
                    <a:pt x="564" y="36"/>
                  </a:lnTo>
                  <a:lnTo>
                    <a:pt x="564" y="42"/>
                  </a:lnTo>
                  <a:lnTo>
                    <a:pt x="564" y="48"/>
                  </a:lnTo>
                  <a:lnTo>
                    <a:pt x="570" y="48"/>
                  </a:lnTo>
                  <a:lnTo>
                    <a:pt x="564" y="54"/>
                  </a:lnTo>
                  <a:lnTo>
                    <a:pt x="564" y="60"/>
                  </a:lnTo>
                  <a:lnTo>
                    <a:pt x="564" y="66"/>
                  </a:lnTo>
                  <a:lnTo>
                    <a:pt x="564" y="72"/>
                  </a:lnTo>
                  <a:lnTo>
                    <a:pt x="570" y="72"/>
                  </a:lnTo>
                  <a:lnTo>
                    <a:pt x="570" y="78"/>
                  </a:lnTo>
                  <a:lnTo>
                    <a:pt x="564" y="78"/>
                  </a:lnTo>
                  <a:lnTo>
                    <a:pt x="564" y="84"/>
                  </a:lnTo>
                  <a:lnTo>
                    <a:pt x="558" y="84"/>
                  </a:lnTo>
                  <a:lnTo>
                    <a:pt x="564" y="90"/>
                  </a:lnTo>
                  <a:lnTo>
                    <a:pt x="558" y="90"/>
                  </a:lnTo>
                  <a:lnTo>
                    <a:pt x="564" y="90"/>
                  </a:lnTo>
                  <a:lnTo>
                    <a:pt x="570" y="90"/>
                  </a:lnTo>
                  <a:lnTo>
                    <a:pt x="570" y="84"/>
                  </a:lnTo>
                  <a:lnTo>
                    <a:pt x="570" y="78"/>
                  </a:lnTo>
                  <a:lnTo>
                    <a:pt x="570" y="84"/>
                  </a:lnTo>
                  <a:lnTo>
                    <a:pt x="576" y="84"/>
                  </a:lnTo>
                  <a:lnTo>
                    <a:pt x="582" y="84"/>
                  </a:lnTo>
                  <a:lnTo>
                    <a:pt x="582" y="90"/>
                  </a:lnTo>
                  <a:lnTo>
                    <a:pt x="576" y="90"/>
                  </a:lnTo>
                  <a:lnTo>
                    <a:pt x="570" y="90"/>
                  </a:lnTo>
                  <a:lnTo>
                    <a:pt x="564" y="90"/>
                  </a:lnTo>
                  <a:lnTo>
                    <a:pt x="558" y="90"/>
                  </a:lnTo>
                  <a:lnTo>
                    <a:pt x="552" y="96"/>
                  </a:lnTo>
                  <a:lnTo>
                    <a:pt x="552" y="102"/>
                  </a:lnTo>
                  <a:lnTo>
                    <a:pt x="552" y="108"/>
                  </a:lnTo>
                  <a:lnTo>
                    <a:pt x="552" y="114"/>
                  </a:lnTo>
                  <a:lnTo>
                    <a:pt x="552" y="120"/>
                  </a:lnTo>
                  <a:lnTo>
                    <a:pt x="552" y="126"/>
                  </a:lnTo>
                  <a:lnTo>
                    <a:pt x="552" y="132"/>
                  </a:lnTo>
                  <a:lnTo>
                    <a:pt x="546" y="132"/>
                  </a:lnTo>
                  <a:lnTo>
                    <a:pt x="546" y="138"/>
                  </a:lnTo>
                  <a:lnTo>
                    <a:pt x="552" y="138"/>
                  </a:lnTo>
                  <a:lnTo>
                    <a:pt x="552" y="144"/>
                  </a:lnTo>
                  <a:lnTo>
                    <a:pt x="546" y="144"/>
                  </a:lnTo>
                  <a:lnTo>
                    <a:pt x="546" y="150"/>
                  </a:lnTo>
                  <a:lnTo>
                    <a:pt x="546" y="156"/>
                  </a:lnTo>
                  <a:lnTo>
                    <a:pt x="540" y="156"/>
                  </a:lnTo>
                  <a:lnTo>
                    <a:pt x="540" y="162"/>
                  </a:lnTo>
                  <a:lnTo>
                    <a:pt x="540" y="168"/>
                  </a:lnTo>
                  <a:lnTo>
                    <a:pt x="534" y="168"/>
                  </a:lnTo>
                  <a:lnTo>
                    <a:pt x="534" y="174"/>
                  </a:lnTo>
                  <a:lnTo>
                    <a:pt x="528" y="174"/>
                  </a:lnTo>
                  <a:lnTo>
                    <a:pt x="528" y="180"/>
                  </a:lnTo>
                  <a:lnTo>
                    <a:pt x="528" y="186"/>
                  </a:lnTo>
                  <a:lnTo>
                    <a:pt x="522" y="186"/>
                  </a:lnTo>
                  <a:lnTo>
                    <a:pt x="522" y="192"/>
                  </a:lnTo>
                  <a:lnTo>
                    <a:pt x="522" y="198"/>
                  </a:lnTo>
                  <a:lnTo>
                    <a:pt x="516" y="198"/>
                  </a:lnTo>
                  <a:lnTo>
                    <a:pt x="516" y="204"/>
                  </a:lnTo>
                  <a:lnTo>
                    <a:pt x="510" y="204"/>
                  </a:lnTo>
                  <a:lnTo>
                    <a:pt x="510" y="210"/>
                  </a:lnTo>
                  <a:lnTo>
                    <a:pt x="510" y="216"/>
                  </a:lnTo>
                  <a:lnTo>
                    <a:pt x="504" y="216"/>
                  </a:lnTo>
                  <a:lnTo>
                    <a:pt x="504" y="222"/>
                  </a:lnTo>
                  <a:lnTo>
                    <a:pt x="498" y="222"/>
                  </a:lnTo>
                  <a:lnTo>
                    <a:pt x="498" y="228"/>
                  </a:lnTo>
                  <a:lnTo>
                    <a:pt x="492" y="228"/>
                  </a:lnTo>
                  <a:lnTo>
                    <a:pt x="498" y="228"/>
                  </a:lnTo>
                  <a:lnTo>
                    <a:pt x="492" y="228"/>
                  </a:lnTo>
                  <a:lnTo>
                    <a:pt x="492" y="234"/>
                  </a:lnTo>
                  <a:lnTo>
                    <a:pt x="492" y="240"/>
                  </a:lnTo>
                  <a:lnTo>
                    <a:pt x="492" y="246"/>
                  </a:lnTo>
                  <a:lnTo>
                    <a:pt x="492" y="252"/>
                  </a:lnTo>
                  <a:lnTo>
                    <a:pt x="486" y="252"/>
                  </a:lnTo>
                  <a:lnTo>
                    <a:pt x="486" y="258"/>
                  </a:lnTo>
                  <a:lnTo>
                    <a:pt x="480" y="264"/>
                  </a:lnTo>
                  <a:lnTo>
                    <a:pt x="480" y="270"/>
                  </a:lnTo>
                  <a:lnTo>
                    <a:pt x="474" y="270"/>
                  </a:lnTo>
                  <a:lnTo>
                    <a:pt x="474" y="276"/>
                  </a:lnTo>
                  <a:lnTo>
                    <a:pt x="468" y="276"/>
                  </a:lnTo>
                  <a:lnTo>
                    <a:pt x="468" y="282"/>
                  </a:lnTo>
                  <a:lnTo>
                    <a:pt x="468" y="288"/>
                  </a:lnTo>
                  <a:lnTo>
                    <a:pt x="462" y="288"/>
                  </a:lnTo>
                  <a:lnTo>
                    <a:pt x="462" y="294"/>
                  </a:lnTo>
                  <a:lnTo>
                    <a:pt x="462" y="300"/>
                  </a:lnTo>
                  <a:lnTo>
                    <a:pt x="456" y="300"/>
                  </a:lnTo>
                  <a:lnTo>
                    <a:pt x="456" y="306"/>
                  </a:lnTo>
                  <a:lnTo>
                    <a:pt x="456" y="312"/>
                  </a:lnTo>
                  <a:lnTo>
                    <a:pt x="450" y="312"/>
                  </a:lnTo>
                  <a:lnTo>
                    <a:pt x="450" y="318"/>
                  </a:lnTo>
                  <a:lnTo>
                    <a:pt x="450" y="324"/>
                  </a:lnTo>
                  <a:lnTo>
                    <a:pt x="450" y="330"/>
                  </a:lnTo>
                  <a:lnTo>
                    <a:pt x="450" y="336"/>
                  </a:lnTo>
                  <a:lnTo>
                    <a:pt x="444" y="336"/>
                  </a:lnTo>
                  <a:lnTo>
                    <a:pt x="444" y="342"/>
                  </a:lnTo>
                  <a:lnTo>
                    <a:pt x="438" y="348"/>
                  </a:lnTo>
                  <a:lnTo>
                    <a:pt x="438" y="354"/>
                  </a:lnTo>
                  <a:lnTo>
                    <a:pt x="432" y="360"/>
                  </a:lnTo>
                  <a:lnTo>
                    <a:pt x="432" y="366"/>
                  </a:lnTo>
                  <a:lnTo>
                    <a:pt x="426" y="366"/>
                  </a:lnTo>
                  <a:lnTo>
                    <a:pt x="426" y="372"/>
                  </a:lnTo>
                  <a:lnTo>
                    <a:pt x="420" y="372"/>
                  </a:lnTo>
                  <a:lnTo>
                    <a:pt x="420" y="378"/>
                  </a:lnTo>
                  <a:lnTo>
                    <a:pt x="414" y="384"/>
                  </a:lnTo>
                  <a:lnTo>
                    <a:pt x="408" y="390"/>
                  </a:lnTo>
                  <a:lnTo>
                    <a:pt x="408" y="396"/>
                  </a:lnTo>
                  <a:lnTo>
                    <a:pt x="402" y="396"/>
                  </a:lnTo>
                  <a:lnTo>
                    <a:pt x="402" y="402"/>
                  </a:lnTo>
                  <a:lnTo>
                    <a:pt x="396" y="408"/>
                  </a:lnTo>
                  <a:lnTo>
                    <a:pt x="396" y="414"/>
                  </a:lnTo>
                  <a:lnTo>
                    <a:pt x="396" y="420"/>
                  </a:lnTo>
                  <a:lnTo>
                    <a:pt x="390" y="420"/>
                  </a:lnTo>
                  <a:lnTo>
                    <a:pt x="390" y="426"/>
                  </a:lnTo>
                  <a:lnTo>
                    <a:pt x="384" y="426"/>
                  </a:lnTo>
                  <a:lnTo>
                    <a:pt x="384" y="432"/>
                  </a:lnTo>
                  <a:lnTo>
                    <a:pt x="378" y="432"/>
                  </a:lnTo>
                  <a:lnTo>
                    <a:pt x="378" y="438"/>
                  </a:lnTo>
                  <a:lnTo>
                    <a:pt x="372" y="438"/>
                  </a:lnTo>
                  <a:lnTo>
                    <a:pt x="372" y="444"/>
                  </a:lnTo>
                  <a:lnTo>
                    <a:pt x="366" y="444"/>
                  </a:lnTo>
                  <a:lnTo>
                    <a:pt x="366" y="450"/>
                  </a:lnTo>
                  <a:lnTo>
                    <a:pt x="360" y="456"/>
                  </a:lnTo>
                  <a:lnTo>
                    <a:pt x="354" y="462"/>
                  </a:lnTo>
                  <a:lnTo>
                    <a:pt x="348" y="468"/>
                  </a:lnTo>
                  <a:lnTo>
                    <a:pt x="342" y="474"/>
                  </a:lnTo>
                  <a:lnTo>
                    <a:pt x="336" y="480"/>
                  </a:lnTo>
                  <a:lnTo>
                    <a:pt x="330" y="486"/>
                  </a:lnTo>
                  <a:lnTo>
                    <a:pt x="330" y="492"/>
                  </a:lnTo>
                  <a:lnTo>
                    <a:pt x="324" y="492"/>
                  </a:lnTo>
                  <a:lnTo>
                    <a:pt x="324" y="498"/>
                  </a:lnTo>
                  <a:lnTo>
                    <a:pt x="318" y="498"/>
                  </a:lnTo>
                  <a:lnTo>
                    <a:pt x="318" y="504"/>
                  </a:lnTo>
                  <a:lnTo>
                    <a:pt x="312" y="504"/>
                  </a:lnTo>
                  <a:lnTo>
                    <a:pt x="312" y="510"/>
                  </a:lnTo>
                  <a:lnTo>
                    <a:pt x="306" y="510"/>
                  </a:lnTo>
                  <a:lnTo>
                    <a:pt x="306" y="516"/>
                  </a:lnTo>
                  <a:lnTo>
                    <a:pt x="300" y="516"/>
                  </a:lnTo>
                  <a:lnTo>
                    <a:pt x="300" y="522"/>
                  </a:lnTo>
                  <a:lnTo>
                    <a:pt x="294" y="522"/>
                  </a:lnTo>
                  <a:lnTo>
                    <a:pt x="294" y="528"/>
                  </a:lnTo>
                  <a:lnTo>
                    <a:pt x="288" y="528"/>
                  </a:lnTo>
                  <a:lnTo>
                    <a:pt x="288" y="534"/>
                  </a:lnTo>
                  <a:lnTo>
                    <a:pt x="282" y="534"/>
                  </a:lnTo>
                  <a:lnTo>
                    <a:pt x="282" y="540"/>
                  </a:lnTo>
                  <a:lnTo>
                    <a:pt x="276" y="540"/>
                  </a:lnTo>
                  <a:lnTo>
                    <a:pt x="270" y="540"/>
                  </a:lnTo>
                  <a:lnTo>
                    <a:pt x="270" y="546"/>
                  </a:lnTo>
                  <a:lnTo>
                    <a:pt x="264" y="546"/>
                  </a:lnTo>
                  <a:lnTo>
                    <a:pt x="258" y="552"/>
                  </a:lnTo>
                  <a:lnTo>
                    <a:pt x="252" y="552"/>
                  </a:lnTo>
                  <a:lnTo>
                    <a:pt x="252" y="558"/>
                  </a:lnTo>
                  <a:lnTo>
                    <a:pt x="246" y="558"/>
                  </a:lnTo>
                  <a:lnTo>
                    <a:pt x="240" y="558"/>
                  </a:lnTo>
                  <a:lnTo>
                    <a:pt x="240" y="564"/>
                  </a:lnTo>
                  <a:lnTo>
                    <a:pt x="234" y="564"/>
                  </a:lnTo>
                  <a:lnTo>
                    <a:pt x="228" y="564"/>
                  </a:lnTo>
                  <a:lnTo>
                    <a:pt x="228" y="570"/>
                  </a:lnTo>
                  <a:lnTo>
                    <a:pt x="222" y="570"/>
                  </a:lnTo>
                  <a:lnTo>
                    <a:pt x="216" y="570"/>
                  </a:lnTo>
                  <a:lnTo>
                    <a:pt x="216" y="576"/>
                  </a:lnTo>
                  <a:lnTo>
                    <a:pt x="210" y="576"/>
                  </a:lnTo>
                  <a:lnTo>
                    <a:pt x="210" y="582"/>
                  </a:lnTo>
                  <a:lnTo>
                    <a:pt x="204" y="582"/>
                  </a:lnTo>
                  <a:lnTo>
                    <a:pt x="198" y="588"/>
                  </a:lnTo>
                  <a:lnTo>
                    <a:pt x="192" y="588"/>
                  </a:lnTo>
                  <a:lnTo>
                    <a:pt x="192" y="594"/>
                  </a:lnTo>
                  <a:lnTo>
                    <a:pt x="186" y="594"/>
                  </a:lnTo>
                  <a:lnTo>
                    <a:pt x="186" y="600"/>
                  </a:lnTo>
                  <a:lnTo>
                    <a:pt x="180" y="600"/>
                  </a:lnTo>
                  <a:lnTo>
                    <a:pt x="180" y="606"/>
                  </a:lnTo>
                  <a:lnTo>
                    <a:pt x="174" y="606"/>
                  </a:lnTo>
                  <a:lnTo>
                    <a:pt x="174" y="612"/>
                  </a:lnTo>
                  <a:lnTo>
                    <a:pt x="168" y="612"/>
                  </a:lnTo>
                  <a:lnTo>
                    <a:pt x="168" y="618"/>
                  </a:lnTo>
                  <a:lnTo>
                    <a:pt x="162" y="618"/>
                  </a:lnTo>
                  <a:lnTo>
                    <a:pt x="156" y="618"/>
                  </a:lnTo>
                  <a:lnTo>
                    <a:pt x="156" y="624"/>
                  </a:lnTo>
                  <a:lnTo>
                    <a:pt x="150" y="624"/>
                  </a:lnTo>
                  <a:lnTo>
                    <a:pt x="150" y="630"/>
                  </a:lnTo>
                  <a:lnTo>
                    <a:pt x="144" y="630"/>
                  </a:lnTo>
                  <a:lnTo>
                    <a:pt x="144" y="636"/>
                  </a:lnTo>
                  <a:lnTo>
                    <a:pt x="138" y="636"/>
                  </a:lnTo>
                  <a:lnTo>
                    <a:pt x="138" y="642"/>
                  </a:lnTo>
                  <a:lnTo>
                    <a:pt x="132" y="648"/>
                  </a:lnTo>
                  <a:lnTo>
                    <a:pt x="126" y="648"/>
                  </a:lnTo>
                  <a:lnTo>
                    <a:pt x="126" y="654"/>
                  </a:lnTo>
                  <a:lnTo>
                    <a:pt x="120" y="654"/>
                  </a:lnTo>
                  <a:lnTo>
                    <a:pt x="120" y="660"/>
                  </a:lnTo>
                  <a:lnTo>
                    <a:pt x="114" y="660"/>
                  </a:lnTo>
                  <a:lnTo>
                    <a:pt x="114" y="666"/>
                  </a:lnTo>
                  <a:lnTo>
                    <a:pt x="108" y="672"/>
                  </a:lnTo>
                  <a:lnTo>
                    <a:pt x="102" y="678"/>
                  </a:lnTo>
                  <a:lnTo>
                    <a:pt x="96" y="684"/>
                  </a:lnTo>
                  <a:lnTo>
                    <a:pt x="90" y="684"/>
                  </a:lnTo>
                  <a:lnTo>
                    <a:pt x="90" y="690"/>
                  </a:lnTo>
                  <a:lnTo>
                    <a:pt x="84" y="696"/>
                  </a:lnTo>
                  <a:lnTo>
                    <a:pt x="84" y="702"/>
                  </a:lnTo>
                  <a:lnTo>
                    <a:pt x="78" y="702"/>
                  </a:lnTo>
                  <a:lnTo>
                    <a:pt x="78" y="708"/>
                  </a:lnTo>
                  <a:lnTo>
                    <a:pt x="72" y="708"/>
                  </a:lnTo>
                  <a:lnTo>
                    <a:pt x="72" y="714"/>
                  </a:lnTo>
                  <a:lnTo>
                    <a:pt x="66" y="714"/>
                  </a:lnTo>
                  <a:lnTo>
                    <a:pt x="66" y="720"/>
                  </a:lnTo>
                  <a:lnTo>
                    <a:pt x="60" y="720"/>
                  </a:lnTo>
                  <a:lnTo>
                    <a:pt x="60" y="714"/>
                  </a:lnTo>
                  <a:lnTo>
                    <a:pt x="66" y="714"/>
                  </a:lnTo>
                  <a:lnTo>
                    <a:pt x="60" y="714"/>
                  </a:lnTo>
                  <a:lnTo>
                    <a:pt x="60" y="720"/>
                  </a:lnTo>
                  <a:lnTo>
                    <a:pt x="66" y="720"/>
                  </a:lnTo>
                  <a:lnTo>
                    <a:pt x="60" y="720"/>
                  </a:lnTo>
                  <a:lnTo>
                    <a:pt x="60" y="726"/>
                  </a:lnTo>
                  <a:lnTo>
                    <a:pt x="54" y="726"/>
                  </a:lnTo>
                  <a:lnTo>
                    <a:pt x="60" y="726"/>
                  </a:lnTo>
                  <a:lnTo>
                    <a:pt x="54" y="726"/>
                  </a:lnTo>
                  <a:lnTo>
                    <a:pt x="60" y="720"/>
                  </a:lnTo>
                  <a:lnTo>
                    <a:pt x="54" y="720"/>
                  </a:lnTo>
                  <a:lnTo>
                    <a:pt x="54" y="726"/>
                  </a:lnTo>
                  <a:lnTo>
                    <a:pt x="60" y="726"/>
                  </a:lnTo>
                  <a:lnTo>
                    <a:pt x="54" y="732"/>
                  </a:lnTo>
                  <a:lnTo>
                    <a:pt x="54" y="738"/>
                  </a:lnTo>
                  <a:lnTo>
                    <a:pt x="48" y="738"/>
                  </a:lnTo>
                  <a:lnTo>
                    <a:pt x="48" y="732"/>
                  </a:lnTo>
                  <a:lnTo>
                    <a:pt x="48" y="738"/>
                  </a:lnTo>
                  <a:lnTo>
                    <a:pt x="42" y="738"/>
                  </a:lnTo>
                  <a:lnTo>
                    <a:pt x="48" y="738"/>
                  </a:lnTo>
                  <a:lnTo>
                    <a:pt x="48" y="744"/>
                  </a:lnTo>
                  <a:lnTo>
                    <a:pt x="42" y="750"/>
                  </a:lnTo>
                  <a:lnTo>
                    <a:pt x="42" y="756"/>
                  </a:lnTo>
                  <a:lnTo>
                    <a:pt x="36" y="762"/>
                  </a:lnTo>
                  <a:close/>
                  <a:moveTo>
                    <a:pt x="66" y="714"/>
                  </a:moveTo>
                  <a:lnTo>
                    <a:pt x="72" y="714"/>
                  </a:lnTo>
                  <a:lnTo>
                    <a:pt x="72" y="720"/>
                  </a:lnTo>
                  <a:lnTo>
                    <a:pt x="66" y="720"/>
                  </a:lnTo>
                  <a:lnTo>
                    <a:pt x="66" y="714"/>
                  </a:lnTo>
                  <a:close/>
                  <a:moveTo>
                    <a:pt x="54" y="732"/>
                  </a:moveTo>
                  <a:lnTo>
                    <a:pt x="54" y="738"/>
                  </a:lnTo>
                  <a:lnTo>
                    <a:pt x="55" y="738"/>
                  </a:lnTo>
                  <a:lnTo>
                    <a:pt x="54" y="732"/>
                  </a:lnTo>
                  <a:close/>
                  <a:moveTo>
                    <a:pt x="72" y="708"/>
                  </a:moveTo>
                  <a:lnTo>
                    <a:pt x="78" y="708"/>
                  </a:lnTo>
                  <a:lnTo>
                    <a:pt x="78" y="714"/>
                  </a:lnTo>
                  <a:lnTo>
                    <a:pt x="72" y="714"/>
                  </a:lnTo>
                  <a:lnTo>
                    <a:pt x="72" y="708"/>
                  </a:lnTo>
                  <a:close/>
                  <a:moveTo>
                    <a:pt x="54" y="732"/>
                  </a:moveTo>
                  <a:lnTo>
                    <a:pt x="60" y="732"/>
                  </a:lnTo>
                  <a:lnTo>
                    <a:pt x="54" y="732"/>
                  </a:lnTo>
                  <a:close/>
                  <a:moveTo>
                    <a:pt x="90" y="690"/>
                  </a:moveTo>
                  <a:lnTo>
                    <a:pt x="90" y="696"/>
                  </a:lnTo>
                  <a:lnTo>
                    <a:pt x="91" y="696"/>
                  </a:lnTo>
                  <a:lnTo>
                    <a:pt x="90" y="690"/>
                  </a:lnTo>
                  <a:close/>
                  <a:moveTo>
                    <a:pt x="138" y="24"/>
                  </a:moveTo>
                  <a:lnTo>
                    <a:pt x="138" y="30"/>
                  </a:lnTo>
                  <a:lnTo>
                    <a:pt x="139" y="30"/>
                  </a:lnTo>
                  <a:lnTo>
                    <a:pt x="138" y="2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5" name="Freeform 35"/>
            <p:cNvSpPr>
              <a:spLocks noEditPoints="1"/>
            </p:cNvSpPr>
            <p:nvPr>
              <p:custDataLst>
                <p:tags r:id="rId33"/>
              </p:custDataLst>
            </p:nvPr>
          </p:nvSpPr>
          <p:spPr bwMode="gray">
            <a:xfrm>
              <a:off x="2545885" y="1989001"/>
              <a:ext cx="563667" cy="539194"/>
            </a:xfrm>
            <a:custGeom>
              <a:avLst/>
              <a:gdLst>
                <a:gd name="T0" fmla="*/ 199555 w 618"/>
                <a:gd name="T1" fmla="*/ 44489 h 618"/>
                <a:gd name="T2" fmla="*/ 198586 w 618"/>
                <a:gd name="T3" fmla="*/ 61898 h 618"/>
                <a:gd name="T4" fmla="*/ 193742 w 618"/>
                <a:gd name="T5" fmla="*/ 81241 h 618"/>
                <a:gd name="T6" fmla="*/ 185024 w 618"/>
                <a:gd name="T7" fmla="*/ 87044 h 618"/>
                <a:gd name="T8" fmla="*/ 172431 w 618"/>
                <a:gd name="T9" fmla="*/ 71569 h 618"/>
                <a:gd name="T10" fmla="*/ 163713 w 618"/>
                <a:gd name="T11" fmla="*/ 55127 h 618"/>
                <a:gd name="T12" fmla="*/ 154995 w 618"/>
                <a:gd name="T13" fmla="*/ 37719 h 618"/>
                <a:gd name="T14" fmla="*/ 154995 w 618"/>
                <a:gd name="T15" fmla="*/ 53193 h 618"/>
                <a:gd name="T16" fmla="*/ 163713 w 618"/>
                <a:gd name="T17" fmla="*/ 70602 h 618"/>
                <a:gd name="T18" fmla="*/ 172431 w 618"/>
                <a:gd name="T19" fmla="*/ 83175 h 618"/>
                <a:gd name="T20" fmla="*/ 174368 w 618"/>
                <a:gd name="T21" fmla="*/ 89945 h 618"/>
                <a:gd name="T22" fmla="*/ 183087 w 618"/>
                <a:gd name="T23" fmla="*/ 104453 h 618"/>
                <a:gd name="T24" fmla="*/ 187931 w 618"/>
                <a:gd name="T25" fmla="*/ 118960 h 618"/>
                <a:gd name="T26" fmla="*/ 198586 w 618"/>
                <a:gd name="T27" fmla="*/ 138303 h 618"/>
                <a:gd name="T28" fmla="*/ 204399 w 618"/>
                <a:gd name="T29" fmla="*/ 152810 h 618"/>
                <a:gd name="T30" fmla="*/ 215055 w 618"/>
                <a:gd name="T31" fmla="*/ 168284 h 618"/>
                <a:gd name="T32" fmla="*/ 213117 w 618"/>
                <a:gd name="T33" fmla="*/ 174088 h 618"/>
                <a:gd name="T34" fmla="*/ 215055 w 618"/>
                <a:gd name="T35" fmla="*/ 180858 h 618"/>
                <a:gd name="T36" fmla="*/ 213117 w 618"/>
                <a:gd name="T37" fmla="*/ 191496 h 618"/>
                <a:gd name="T38" fmla="*/ 199555 w 618"/>
                <a:gd name="T39" fmla="*/ 199234 h 618"/>
                <a:gd name="T40" fmla="*/ 185024 w 618"/>
                <a:gd name="T41" fmla="*/ 214708 h 618"/>
                <a:gd name="T42" fmla="*/ 134651 w 618"/>
                <a:gd name="T43" fmla="*/ 212773 h 618"/>
                <a:gd name="T44" fmla="*/ 6781 w 618"/>
                <a:gd name="T45" fmla="*/ 76405 h 618"/>
                <a:gd name="T46" fmla="*/ 3875 w 618"/>
                <a:gd name="T47" fmla="*/ 51259 h 618"/>
                <a:gd name="T48" fmla="*/ 3875 w 618"/>
                <a:gd name="T49" fmla="*/ 27080 h 618"/>
                <a:gd name="T50" fmla="*/ 3875 w 618"/>
                <a:gd name="T51" fmla="*/ 6770 h 618"/>
                <a:gd name="T52" fmla="*/ 21311 w 618"/>
                <a:gd name="T53" fmla="*/ 1934 h 618"/>
                <a:gd name="T54" fmla="*/ 42624 w 618"/>
                <a:gd name="T55" fmla="*/ 3868 h 618"/>
                <a:gd name="T56" fmla="*/ 63935 w 618"/>
                <a:gd name="T57" fmla="*/ 8704 h 618"/>
                <a:gd name="T58" fmla="*/ 81372 w 618"/>
                <a:gd name="T59" fmla="*/ 17409 h 618"/>
                <a:gd name="T60" fmla="*/ 97840 w 618"/>
                <a:gd name="T61" fmla="*/ 12573 h 618"/>
                <a:gd name="T62" fmla="*/ 115277 w 618"/>
                <a:gd name="T63" fmla="*/ 3868 h 618"/>
                <a:gd name="T64" fmla="*/ 119152 w 618"/>
                <a:gd name="T65" fmla="*/ 6770 h 618"/>
                <a:gd name="T66" fmla="*/ 125932 w 618"/>
                <a:gd name="T67" fmla="*/ 3868 h 618"/>
                <a:gd name="T68" fmla="*/ 138526 w 618"/>
                <a:gd name="T69" fmla="*/ 3868 h 618"/>
                <a:gd name="T70" fmla="*/ 149182 w 618"/>
                <a:gd name="T71" fmla="*/ 8704 h 618"/>
                <a:gd name="T72" fmla="*/ 142401 w 618"/>
                <a:gd name="T73" fmla="*/ 6770 h 618"/>
                <a:gd name="T74" fmla="*/ 140464 w 618"/>
                <a:gd name="T75" fmla="*/ 8704 h 618"/>
                <a:gd name="T76" fmla="*/ 147245 w 618"/>
                <a:gd name="T77" fmla="*/ 12573 h 618"/>
                <a:gd name="T78" fmla="*/ 151120 w 618"/>
                <a:gd name="T79" fmla="*/ 8704 h 618"/>
                <a:gd name="T80" fmla="*/ 154995 w 618"/>
                <a:gd name="T81" fmla="*/ 12573 h 618"/>
                <a:gd name="T82" fmla="*/ 159838 w 618"/>
                <a:gd name="T83" fmla="*/ 14508 h 618"/>
                <a:gd name="T84" fmla="*/ 165650 w 618"/>
                <a:gd name="T85" fmla="*/ 10638 h 618"/>
                <a:gd name="T86" fmla="*/ 170494 w 618"/>
                <a:gd name="T87" fmla="*/ 12573 h 618"/>
                <a:gd name="T88" fmla="*/ 185024 w 618"/>
                <a:gd name="T89" fmla="*/ 10638 h 618"/>
                <a:gd name="T90" fmla="*/ 168556 w 618"/>
                <a:gd name="T91" fmla="*/ 10638 h 618"/>
                <a:gd name="T92" fmla="*/ 144338 w 618"/>
                <a:gd name="T93" fmla="*/ 8704 h 618"/>
                <a:gd name="T94" fmla="*/ 174368 w 618"/>
                <a:gd name="T95" fmla="*/ 10638 h 618"/>
                <a:gd name="T96" fmla="*/ 179212 w 618"/>
                <a:gd name="T97" fmla="*/ 89945 h 618"/>
                <a:gd name="T98" fmla="*/ 143370 w 618"/>
                <a:gd name="T99" fmla="*/ 3868 h 618"/>
                <a:gd name="T100" fmla="*/ 176306 w 618"/>
                <a:gd name="T101" fmla="*/ 89945 h 618"/>
                <a:gd name="T102" fmla="*/ 176306 w 618"/>
                <a:gd name="T103" fmla="*/ 89945 h 618"/>
                <a:gd name="T104" fmla="*/ 147245 w 618"/>
                <a:gd name="T105" fmla="*/ 8704 h 618"/>
                <a:gd name="T106" fmla="*/ 144338 w 618"/>
                <a:gd name="T107" fmla="*/ 8704 h 618"/>
                <a:gd name="T108" fmla="*/ 181149 w 618"/>
                <a:gd name="T109" fmla="*/ 89945 h 618"/>
                <a:gd name="T110" fmla="*/ 179212 w 618"/>
                <a:gd name="T111" fmla="*/ 89945 h 618"/>
                <a:gd name="T112" fmla="*/ 179212 w 618"/>
                <a:gd name="T113" fmla="*/ 93814 h 618"/>
                <a:gd name="T114" fmla="*/ 213117 w 618"/>
                <a:gd name="T115" fmla="*/ 174088 h 618"/>
                <a:gd name="T116" fmla="*/ 147245 w 618"/>
                <a:gd name="T117" fmla="*/ 8704 h 6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18" h="618">
                  <a:moveTo>
                    <a:pt x="534" y="24"/>
                  </a:moveTo>
                  <a:lnTo>
                    <a:pt x="534" y="30"/>
                  </a:lnTo>
                  <a:lnTo>
                    <a:pt x="540" y="42"/>
                  </a:lnTo>
                  <a:lnTo>
                    <a:pt x="540" y="54"/>
                  </a:lnTo>
                  <a:lnTo>
                    <a:pt x="546" y="66"/>
                  </a:lnTo>
                  <a:lnTo>
                    <a:pt x="546" y="72"/>
                  </a:lnTo>
                  <a:lnTo>
                    <a:pt x="552" y="78"/>
                  </a:lnTo>
                  <a:lnTo>
                    <a:pt x="552" y="84"/>
                  </a:lnTo>
                  <a:lnTo>
                    <a:pt x="552" y="90"/>
                  </a:lnTo>
                  <a:lnTo>
                    <a:pt x="558" y="102"/>
                  </a:lnTo>
                  <a:lnTo>
                    <a:pt x="564" y="108"/>
                  </a:lnTo>
                  <a:lnTo>
                    <a:pt x="564" y="126"/>
                  </a:lnTo>
                  <a:lnTo>
                    <a:pt x="570" y="132"/>
                  </a:lnTo>
                  <a:lnTo>
                    <a:pt x="570" y="138"/>
                  </a:lnTo>
                  <a:lnTo>
                    <a:pt x="570" y="144"/>
                  </a:lnTo>
                  <a:lnTo>
                    <a:pt x="564" y="144"/>
                  </a:lnTo>
                  <a:lnTo>
                    <a:pt x="564" y="150"/>
                  </a:lnTo>
                  <a:lnTo>
                    <a:pt x="558" y="150"/>
                  </a:lnTo>
                  <a:lnTo>
                    <a:pt x="558" y="156"/>
                  </a:lnTo>
                  <a:lnTo>
                    <a:pt x="558" y="162"/>
                  </a:lnTo>
                  <a:lnTo>
                    <a:pt x="558" y="168"/>
                  </a:lnTo>
                  <a:lnTo>
                    <a:pt x="558" y="174"/>
                  </a:lnTo>
                  <a:lnTo>
                    <a:pt x="552" y="174"/>
                  </a:lnTo>
                  <a:lnTo>
                    <a:pt x="558" y="174"/>
                  </a:lnTo>
                  <a:lnTo>
                    <a:pt x="558" y="180"/>
                  </a:lnTo>
                  <a:lnTo>
                    <a:pt x="552" y="180"/>
                  </a:lnTo>
                  <a:lnTo>
                    <a:pt x="552" y="186"/>
                  </a:lnTo>
                  <a:lnTo>
                    <a:pt x="552" y="192"/>
                  </a:lnTo>
                  <a:lnTo>
                    <a:pt x="552" y="198"/>
                  </a:lnTo>
                  <a:lnTo>
                    <a:pt x="546" y="198"/>
                  </a:lnTo>
                  <a:lnTo>
                    <a:pt x="546" y="204"/>
                  </a:lnTo>
                  <a:lnTo>
                    <a:pt x="546" y="210"/>
                  </a:lnTo>
                  <a:lnTo>
                    <a:pt x="540" y="216"/>
                  </a:lnTo>
                  <a:lnTo>
                    <a:pt x="540" y="222"/>
                  </a:lnTo>
                  <a:lnTo>
                    <a:pt x="546" y="222"/>
                  </a:lnTo>
                  <a:lnTo>
                    <a:pt x="546" y="228"/>
                  </a:lnTo>
                  <a:lnTo>
                    <a:pt x="546" y="234"/>
                  </a:lnTo>
                  <a:lnTo>
                    <a:pt x="540" y="234"/>
                  </a:lnTo>
                  <a:lnTo>
                    <a:pt x="546" y="234"/>
                  </a:lnTo>
                  <a:lnTo>
                    <a:pt x="540" y="234"/>
                  </a:lnTo>
                  <a:lnTo>
                    <a:pt x="540" y="240"/>
                  </a:lnTo>
                  <a:lnTo>
                    <a:pt x="540" y="246"/>
                  </a:lnTo>
                  <a:lnTo>
                    <a:pt x="534" y="246"/>
                  </a:lnTo>
                  <a:lnTo>
                    <a:pt x="528" y="246"/>
                  </a:lnTo>
                  <a:lnTo>
                    <a:pt x="534" y="252"/>
                  </a:lnTo>
                  <a:lnTo>
                    <a:pt x="528" y="252"/>
                  </a:lnTo>
                  <a:lnTo>
                    <a:pt x="528" y="246"/>
                  </a:lnTo>
                  <a:lnTo>
                    <a:pt x="522" y="246"/>
                  </a:lnTo>
                  <a:lnTo>
                    <a:pt x="516" y="240"/>
                  </a:lnTo>
                  <a:lnTo>
                    <a:pt x="510" y="240"/>
                  </a:lnTo>
                  <a:lnTo>
                    <a:pt x="510" y="234"/>
                  </a:lnTo>
                  <a:lnTo>
                    <a:pt x="504" y="234"/>
                  </a:lnTo>
                  <a:lnTo>
                    <a:pt x="504" y="228"/>
                  </a:lnTo>
                  <a:lnTo>
                    <a:pt x="498" y="228"/>
                  </a:lnTo>
                  <a:lnTo>
                    <a:pt x="498" y="222"/>
                  </a:lnTo>
                  <a:lnTo>
                    <a:pt x="498" y="216"/>
                  </a:lnTo>
                  <a:lnTo>
                    <a:pt x="492" y="216"/>
                  </a:lnTo>
                  <a:lnTo>
                    <a:pt x="492" y="210"/>
                  </a:lnTo>
                  <a:lnTo>
                    <a:pt x="486" y="210"/>
                  </a:lnTo>
                  <a:lnTo>
                    <a:pt x="486" y="204"/>
                  </a:lnTo>
                  <a:lnTo>
                    <a:pt x="480" y="204"/>
                  </a:lnTo>
                  <a:lnTo>
                    <a:pt x="480" y="198"/>
                  </a:lnTo>
                  <a:lnTo>
                    <a:pt x="474" y="198"/>
                  </a:lnTo>
                  <a:lnTo>
                    <a:pt x="474" y="192"/>
                  </a:lnTo>
                  <a:lnTo>
                    <a:pt x="474" y="186"/>
                  </a:lnTo>
                  <a:lnTo>
                    <a:pt x="474" y="180"/>
                  </a:lnTo>
                  <a:lnTo>
                    <a:pt x="474" y="174"/>
                  </a:lnTo>
                  <a:lnTo>
                    <a:pt x="474" y="168"/>
                  </a:lnTo>
                  <a:lnTo>
                    <a:pt x="468" y="168"/>
                  </a:lnTo>
                  <a:lnTo>
                    <a:pt x="468" y="162"/>
                  </a:lnTo>
                  <a:lnTo>
                    <a:pt x="462" y="162"/>
                  </a:lnTo>
                  <a:lnTo>
                    <a:pt x="462" y="156"/>
                  </a:lnTo>
                  <a:lnTo>
                    <a:pt x="456" y="156"/>
                  </a:lnTo>
                  <a:lnTo>
                    <a:pt x="456" y="150"/>
                  </a:lnTo>
                  <a:lnTo>
                    <a:pt x="456" y="144"/>
                  </a:lnTo>
                  <a:lnTo>
                    <a:pt x="450" y="144"/>
                  </a:lnTo>
                  <a:lnTo>
                    <a:pt x="450" y="138"/>
                  </a:lnTo>
                  <a:lnTo>
                    <a:pt x="450" y="132"/>
                  </a:lnTo>
                  <a:lnTo>
                    <a:pt x="444" y="132"/>
                  </a:lnTo>
                  <a:lnTo>
                    <a:pt x="444" y="126"/>
                  </a:lnTo>
                  <a:lnTo>
                    <a:pt x="444" y="120"/>
                  </a:lnTo>
                  <a:lnTo>
                    <a:pt x="444" y="114"/>
                  </a:lnTo>
                  <a:lnTo>
                    <a:pt x="438" y="114"/>
                  </a:lnTo>
                  <a:lnTo>
                    <a:pt x="438" y="108"/>
                  </a:lnTo>
                  <a:lnTo>
                    <a:pt x="432" y="114"/>
                  </a:lnTo>
                  <a:lnTo>
                    <a:pt x="438" y="114"/>
                  </a:lnTo>
                  <a:lnTo>
                    <a:pt x="438" y="120"/>
                  </a:lnTo>
                  <a:lnTo>
                    <a:pt x="432" y="120"/>
                  </a:lnTo>
                  <a:lnTo>
                    <a:pt x="432" y="126"/>
                  </a:lnTo>
                  <a:lnTo>
                    <a:pt x="426" y="126"/>
                  </a:lnTo>
                  <a:lnTo>
                    <a:pt x="426" y="132"/>
                  </a:lnTo>
                  <a:lnTo>
                    <a:pt x="426" y="138"/>
                  </a:lnTo>
                  <a:lnTo>
                    <a:pt x="432" y="138"/>
                  </a:lnTo>
                  <a:lnTo>
                    <a:pt x="432" y="144"/>
                  </a:lnTo>
                  <a:lnTo>
                    <a:pt x="438" y="144"/>
                  </a:lnTo>
                  <a:lnTo>
                    <a:pt x="438" y="150"/>
                  </a:lnTo>
                  <a:lnTo>
                    <a:pt x="444" y="150"/>
                  </a:lnTo>
                  <a:lnTo>
                    <a:pt x="444" y="156"/>
                  </a:lnTo>
                  <a:lnTo>
                    <a:pt x="444" y="162"/>
                  </a:lnTo>
                  <a:lnTo>
                    <a:pt x="444" y="168"/>
                  </a:lnTo>
                  <a:lnTo>
                    <a:pt x="444" y="174"/>
                  </a:lnTo>
                  <a:lnTo>
                    <a:pt x="444" y="180"/>
                  </a:lnTo>
                  <a:lnTo>
                    <a:pt x="450" y="180"/>
                  </a:lnTo>
                  <a:lnTo>
                    <a:pt x="450" y="186"/>
                  </a:lnTo>
                  <a:lnTo>
                    <a:pt x="456" y="186"/>
                  </a:lnTo>
                  <a:lnTo>
                    <a:pt x="456" y="192"/>
                  </a:lnTo>
                  <a:lnTo>
                    <a:pt x="456" y="198"/>
                  </a:lnTo>
                  <a:lnTo>
                    <a:pt x="462" y="198"/>
                  </a:lnTo>
                  <a:lnTo>
                    <a:pt x="462" y="204"/>
                  </a:lnTo>
                  <a:lnTo>
                    <a:pt x="468" y="204"/>
                  </a:lnTo>
                  <a:lnTo>
                    <a:pt x="468" y="210"/>
                  </a:lnTo>
                  <a:lnTo>
                    <a:pt x="468" y="216"/>
                  </a:lnTo>
                  <a:lnTo>
                    <a:pt x="474" y="216"/>
                  </a:lnTo>
                  <a:lnTo>
                    <a:pt x="474" y="222"/>
                  </a:lnTo>
                  <a:lnTo>
                    <a:pt x="480" y="222"/>
                  </a:lnTo>
                  <a:lnTo>
                    <a:pt x="474" y="222"/>
                  </a:lnTo>
                  <a:lnTo>
                    <a:pt x="474" y="228"/>
                  </a:lnTo>
                  <a:lnTo>
                    <a:pt x="480" y="228"/>
                  </a:lnTo>
                  <a:lnTo>
                    <a:pt x="480" y="234"/>
                  </a:lnTo>
                  <a:lnTo>
                    <a:pt x="486" y="234"/>
                  </a:lnTo>
                  <a:lnTo>
                    <a:pt x="492" y="234"/>
                  </a:lnTo>
                  <a:lnTo>
                    <a:pt x="492" y="240"/>
                  </a:lnTo>
                  <a:lnTo>
                    <a:pt x="492" y="246"/>
                  </a:lnTo>
                  <a:lnTo>
                    <a:pt x="498" y="246"/>
                  </a:lnTo>
                  <a:lnTo>
                    <a:pt x="492" y="246"/>
                  </a:lnTo>
                  <a:lnTo>
                    <a:pt x="492" y="252"/>
                  </a:lnTo>
                  <a:lnTo>
                    <a:pt x="498" y="252"/>
                  </a:lnTo>
                  <a:lnTo>
                    <a:pt x="498" y="258"/>
                  </a:lnTo>
                  <a:lnTo>
                    <a:pt x="492" y="258"/>
                  </a:lnTo>
                  <a:lnTo>
                    <a:pt x="498" y="258"/>
                  </a:lnTo>
                  <a:lnTo>
                    <a:pt x="492" y="258"/>
                  </a:lnTo>
                  <a:lnTo>
                    <a:pt x="492" y="252"/>
                  </a:lnTo>
                  <a:lnTo>
                    <a:pt x="492" y="258"/>
                  </a:lnTo>
                  <a:lnTo>
                    <a:pt x="498" y="264"/>
                  </a:lnTo>
                  <a:lnTo>
                    <a:pt x="492" y="264"/>
                  </a:lnTo>
                  <a:lnTo>
                    <a:pt x="498" y="264"/>
                  </a:lnTo>
                  <a:lnTo>
                    <a:pt x="498" y="270"/>
                  </a:lnTo>
                  <a:lnTo>
                    <a:pt x="504" y="270"/>
                  </a:lnTo>
                  <a:lnTo>
                    <a:pt x="504" y="276"/>
                  </a:lnTo>
                  <a:lnTo>
                    <a:pt x="504" y="282"/>
                  </a:lnTo>
                  <a:lnTo>
                    <a:pt x="510" y="282"/>
                  </a:lnTo>
                  <a:lnTo>
                    <a:pt x="510" y="288"/>
                  </a:lnTo>
                  <a:lnTo>
                    <a:pt x="510" y="294"/>
                  </a:lnTo>
                  <a:lnTo>
                    <a:pt x="516" y="294"/>
                  </a:lnTo>
                  <a:lnTo>
                    <a:pt x="510" y="294"/>
                  </a:lnTo>
                  <a:lnTo>
                    <a:pt x="516" y="294"/>
                  </a:lnTo>
                  <a:lnTo>
                    <a:pt x="516" y="300"/>
                  </a:lnTo>
                  <a:lnTo>
                    <a:pt x="516" y="306"/>
                  </a:lnTo>
                  <a:lnTo>
                    <a:pt x="522" y="306"/>
                  </a:lnTo>
                  <a:lnTo>
                    <a:pt x="516" y="306"/>
                  </a:lnTo>
                  <a:lnTo>
                    <a:pt x="516" y="312"/>
                  </a:lnTo>
                  <a:lnTo>
                    <a:pt x="516" y="318"/>
                  </a:lnTo>
                  <a:lnTo>
                    <a:pt x="522" y="324"/>
                  </a:lnTo>
                  <a:lnTo>
                    <a:pt x="522" y="330"/>
                  </a:lnTo>
                  <a:lnTo>
                    <a:pt x="522" y="336"/>
                  </a:lnTo>
                  <a:lnTo>
                    <a:pt x="528" y="336"/>
                  </a:lnTo>
                  <a:lnTo>
                    <a:pt x="528" y="342"/>
                  </a:lnTo>
                  <a:lnTo>
                    <a:pt x="534" y="348"/>
                  </a:lnTo>
                  <a:lnTo>
                    <a:pt x="534" y="354"/>
                  </a:lnTo>
                  <a:lnTo>
                    <a:pt x="540" y="360"/>
                  </a:lnTo>
                  <a:lnTo>
                    <a:pt x="540" y="366"/>
                  </a:lnTo>
                  <a:lnTo>
                    <a:pt x="546" y="366"/>
                  </a:lnTo>
                  <a:lnTo>
                    <a:pt x="546" y="372"/>
                  </a:lnTo>
                  <a:lnTo>
                    <a:pt x="552" y="378"/>
                  </a:lnTo>
                  <a:lnTo>
                    <a:pt x="552" y="384"/>
                  </a:lnTo>
                  <a:lnTo>
                    <a:pt x="558" y="390"/>
                  </a:lnTo>
                  <a:lnTo>
                    <a:pt x="552" y="390"/>
                  </a:lnTo>
                  <a:lnTo>
                    <a:pt x="558" y="390"/>
                  </a:lnTo>
                  <a:lnTo>
                    <a:pt x="558" y="396"/>
                  </a:lnTo>
                  <a:lnTo>
                    <a:pt x="558" y="402"/>
                  </a:lnTo>
                  <a:lnTo>
                    <a:pt x="564" y="402"/>
                  </a:lnTo>
                  <a:lnTo>
                    <a:pt x="564" y="408"/>
                  </a:lnTo>
                  <a:lnTo>
                    <a:pt x="564" y="414"/>
                  </a:lnTo>
                  <a:lnTo>
                    <a:pt x="570" y="414"/>
                  </a:lnTo>
                  <a:lnTo>
                    <a:pt x="570" y="420"/>
                  </a:lnTo>
                  <a:lnTo>
                    <a:pt x="570" y="426"/>
                  </a:lnTo>
                  <a:lnTo>
                    <a:pt x="576" y="426"/>
                  </a:lnTo>
                  <a:lnTo>
                    <a:pt x="570" y="426"/>
                  </a:lnTo>
                  <a:lnTo>
                    <a:pt x="576" y="426"/>
                  </a:lnTo>
                  <a:lnTo>
                    <a:pt x="576" y="432"/>
                  </a:lnTo>
                  <a:lnTo>
                    <a:pt x="576" y="438"/>
                  </a:lnTo>
                  <a:lnTo>
                    <a:pt x="582" y="438"/>
                  </a:lnTo>
                  <a:lnTo>
                    <a:pt x="582" y="444"/>
                  </a:lnTo>
                  <a:lnTo>
                    <a:pt x="582" y="450"/>
                  </a:lnTo>
                  <a:lnTo>
                    <a:pt x="582" y="456"/>
                  </a:lnTo>
                  <a:lnTo>
                    <a:pt x="588" y="456"/>
                  </a:lnTo>
                  <a:lnTo>
                    <a:pt x="588" y="462"/>
                  </a:lnTo>
                  <a:lnTo>
                    <a:pt x="594" y="462"/>
                  </a:lnTo>
                  <a:lnTo>
                    <a:pt x="594" y="468"/>
                  </a:lnTo>
                  <a:lnTo>
                    <a:pt x="600" y="468"/>
                  </a:lnTo>
                  <a:lnTo>
                    <a:pt x="600" y="474"/>
                  </a:lnTo>
                  <a:lnTo>
                    <a:pt x="606" y="474"/>
                  </a:lnTo>
                  <a:lnTo>
                    <a:pt x="600" y="474"/>
                  </a:lnTo>
                  <a:lnTo>
                    <a:pt x="606" y="474"/>
                  </a:lnTo>
                  <a:lnTo>
                    <a:pt x="606" y="480"/>
                  </a:lnTo>
                  <a:lnTo>
                    <a:pt x="612" y="480"/>
                  </a:lnTo>
                  <a:lnTo>
                    <a:pt x="612" y="486"/>
                  </a:lnTo>
                  <a:lnTo>
                    <a:pt x="618" y="486"/>
                  </a:lnTo>
                  <a:lnTo>
                    <a:pt x="618" y="492"/>
                  </a:lnTo>
                  <a:lnTo>
                    <a:pt x="618" y="486"/>
                  </a:lnTo>
                  <a:lnTo>
                    <a:pt x="612" y="486"/>
                  </a:lnTo>
                  <a:lnTo>
                    <a:pt x="606" y="486"/>
                  </a:lnTo>
                  <a:lnTo>
                    <a:pt x="600" y="486"/>
                  </a:lnTo>
                  <a:lnTo>
                    <a:pt x="600" y="492"/>
                  </a:lnTo>
                  <a:lnTo>
                    <a:pt x="600" y="498"/>
                  </a:lnTo>
                  <a:lnTo>
                    <a:pt x="600" y="492"/>
                  </a:lnTo>
                  <a:lnTo>
                    <a:pt x="600" y="498"/>
                  </a:lnTo>
                  <a:lnTo>
                    <a:pt x="606" y="498"/>
                  </a:lnTo>
                  <a:lnTo>
                    <a:pt x="600" y="498"/>
                  </a:lnTo>
                  <a:lnTo>
                    <a:pt x="606" y="498"/>
                  </a:lnTo>
                  <a:lnTo>
                    <a:pt x="606" y="504"/>
                  </a:lnTo>
                  <a:lnTo>
                    <a:pt x="600" y="504"/>
                  </a:lnTo>
                  <a:lnTo>
                    <a:pt x="600" y="510"/>
                  </a:lnTo>
                  <a:lnTo>
                    <a:pt x="606" y="510"/>
                  </a:lnTo>
                  <a:lnTo>
                    <a:pt x="606" y="504"/>
                  </a:lnTo>
                  <a:lnTo>
                    <a:pt x="606" y="510"/>
                  </a:lnTo>
                  <a:lnTo>
                    <a:pt x="600" y="510"/>
                  </a:lnTo>
                  <a:lnTo>
                    <a:pt x="606" y="510"/>
                  </a:lnTo>
                  <a:lnTo>
                    <a:pt x="600" y="510"/>
                  </a:lnTo>
                  <a:lnTo>
                    <a:pt x="600" y="516"/>
                  </a:lnTo>
                  <a:lnTo>
                    <a:pt x="606" y="516"/>
                  </a:lnTo>
                  <a:lnTo>
                    <a:pt x="606" y="522"/>
                  </a:lnTo>
                  <a:lnTo>
                    <a:pt x="606" y="528"/>
                  </a:lnTo>
                  <a:lnTo>
                    <a:pt x="606" y="534"/>
                  </a:lnTo>
                  <a:lnTo>
                    <a:pt x="612" y="534"/>
                  </a:lnTo>
                  <a:lnTo>
                    <a:pt x="606" y="534"/>
                  </a:lnTo>
                  <a:lnTo>
                    <a:pt x="606" y="540"/>
                  </a:lnTo>
                  <a:lnTo>
                    <a:pt x="600" y="540"/>
                  </a:lnTo>
                  <a:lnTo>
                    <a:pt x="600" y="546"/>
                  </a:lnTo>
                  <a:lnTo>
                    <a:pt x="594" y="546"/>
                  </a:lnTo>
                  <a:lnTo>
                    <a:pt x="594" y="552"/>
                  </a:lnTo>
                  <a:lnTo>
                    <a:pt x="588" y="552"/>
                  </a:lnTo>
                  <a:lnTo>
                    <a:pt x="588" y="558"/>
                  </a:lnTo>
                  <a:lnTo>
                    <a:pt x="582" y="558"/>
                  </a:lnTo>
                  <a:lnTo>
                    <a:pt x="582" y="552"/>
                  </a:lnTo>
                  <a:lnTo>
                    <a:pt x="576" y="552"/>
                  </a:lnTo>
                  <a:lnTo>
                    <a:pt x="570" y="552"/>
                  </a:lnTo>
                  <a:lnTo>
                    <a:pt x="570" y="558"/>
                  </a:lnTo>
                  <a:lnTo>
                    <a:pt x="570" y="564"/>
                  </a:lnTo>
                  <a:lnTo>
                    <a:pt x="564" y="564"/>
                  </a:lnTo>
                  <a:lnTo>
                    <a:pt x="564" y="570"/>
                  </a:lnTo>
                  <a:lnTo>
                    <a:pt x="564" y="576"/>
                  </a:lnTo>
                  <a:lnTo>
                    <a:pt x="558" y="582"/>
                  </a:lnTo>
                  <a:lnTo>
                    <a:pt x="558" y="588"/>
                  </a:lnTo>
                  <a:lnTo>
                    <a:pt x="552" y="588"/>
                  </a:lnTo>
                  <a:lnTo>
                    <a:pt x="546" y="588"/>
                  </a:lnTo>
                  <a:lnTo>
                    <a:pt x="540" y="588"/>
                  </a:lnTo>
                  <a:lnTo>
                    <a:pt x="534" y="588"/>
                  </a:lnTo>
                  <a:lnTo>
                    <a:pt x="528" y="588"/>
                  </a:lnTo>
                  <a:lnTo>
                    <a:pt x="528" y="594"/>
                  </a:lnTo>
                  <a:lnTo>
                    <a:pt x="528" y="600"/>
                  </a:lnTo>
                  <a:lnTo>
                    <a:pt x="522" y="606"/>
                  </a:lnTo>
                  <a:lnTo>
                    <a:pt x="522" y="612"/>
                  </a:lnTo>
                  <a:lnTo>
                    <a:pt x="522" y="618"/>
                  </a:lnTo>
                  <a:lnTo>
                    <a:pt x="516" y="618"/>
                  </a:lnTo>
                  <a:lnTo>
                    <a:pt x="510" y="618"/>
                  </a:lnTo>
                  <a:lnTo>
                    <a:pt x="504" y="618"/>
                  </a:lnTo>
                  <a:lnTo>
                    <a:pt x="498" y="618"/>
                  </a:lnTo>
                  <a:lnTo>
                    <a:pt x="492" y="618"/>
                  </a:lnTo>
                  <a:lnTo>
                    <a:pt x="474" y="600"/>
                  </a:lnTo>
                  <a:lnTo>
                    <a:pt x="432" y="606"/>
                  </a:lnTo>
                  <a:lnTo>
                    <a:pt x="378" y="606"/>
                  </a:lnTo>
                  <a:lnTo>
                    <a:pt x="372" y="600"/>
                  </a:lnTo>
                  <a:lnTo>
                    <a:pt x="378" y="600"/>
                  </a:lnTo>
                  <a:lnTo>
                    <a:pt x="378" y="594"/>
                  </a:lnTo>
                  <a:lnTo>
                    <a:pt x="378" y="588"/>
                  </a:lnTo>
                  <a:lnTo>
                    <a:pt x="378" y="594"/>
                  </a:lnTo>
                  <a:lnTo>
                    <a:pt x="372" y="594"/>
                  </a:lnTo>
                  <a:lnTo>
                    <a:pt x="372" y="600"/>
                  </a:lnTo>
                  <a:lnTo>
                    <a:pt x="372" y="606"/>
                  </a:lnTo>
                  <a:lnTo>
                    <a:pt x="18" y="606"/>
                  </a:lnTo>
                  <a:lnTo>
                    <a:pt x="18" y="258"/>
                  </a:lnTo>
                  <a:lnTo>
                    <a:pt x="18" y="234"/>
                  </a:lnTo>
                  <a:lnTo>
                    <a:pt x="18" y="228"/>
                  </a:lnTo>
                  <a:lnTo>
                    <a:pt x="18" y="222"/>
                  </a:lnTo>
                  <a:lnTo>
                    <a:pt x="18" y="216"/>
                  </a:lnTo>
                  <a:lnTo>
                    <a:pt x="18" y="210"/>
                  </a:lnTo>
                  <a:lnTo>
                    <a:pt x="18" y="204"/>
                  </a:lnTo>
                  <a:lnTo>
                    <a:pt x="18" y="198"/>
                  </a:lnTo>
                  <a:lnTo>
                    <a:pt x="18" y="192"/>
                  </a:lnTo>
                  <a:lnTo>
                    <a:pt x="18" y="186"/>
                  </a:lnTo>
                  <a:lnTo>
                    <a:pt x="18" y="180"/>
                  </a:lnTo>
                  <a:lnTo>
                    <a:pt x="18" y="174"/>
                  </a:lnTo>
                  <a:lnTo>
                    <a:pt x="18" y="168"/>
                  </a:lnTo>
                  <a:lnTo>
                    <a:pt x="18" y="162"/>
                  </a:lnTo>
                  <a:lnTo>
                    <a:pt x="18" y="156"/>
                  </a:lnTo>
                  <a:lnTo>
                    <a:pt x="18" y="150"/>
                  </a:lnTo>
                  <a:lnTo>
                    <a:pt x="12" y="144"/>
                  </a:lnTo>
                  <a:lnTo>
                    <a:pt x="12" y="138"/>
                  </a:lnTo>
                  <a:lnTo>
                    <a:pt x="12" y="132"/>
                  </a:lnTo>
                  <a:lnTo>
                    <a:pt x="12" y="126"/>
                  </a:lnTo>
                  <a:lnTo>
                    <a:pt x="6" y="120"/>
                  </a:lnTo>
                  <a:lnTo>
                    <a:pt x="6" y="114"/>
                  </a:lnTo>
                  <a:lnTo>
                    <a:pt x="6" y="108"/>
                  </a:lnTo>
                  <a:lnTo>
                    <a:pt x="6" y="102"/>
                  </a:lnTo>
                  <a:lnTo>
                    <a:pt x="0" y="96"/>
                  </a:lnTo>
                  <a:lnTo>
                    <a:pt x="6" y="90"/>
                  </a:lnTo>
                  <a:lnTo>
                    <a:pt x="6" y="84"/>
                  </a:lnTo>
                  <a:lnTo>
                    <a:pt x="12" y="84"/>
                  </a:lnTo>
                  <a:lnTo>
                    <a:pt x="12" y="78"/>
                  </a:lnTo>
                  <a:lnTo>
                    <a:pt x="12" y="72"/>
                  </a:lnTo>
                  <a:lnTo>
                    <a:pt x="18" y="72"/>
                  </a:lnTo>
                  <a:lnTo>
                    <a:pt x="18" y="66"/>
                  </a:lnTo>
                  <a:lnTo>
                    <a:pt x="18" y="60"/>
                  </a:lnTo>
                  <a:lnTo>
                    <a:pt x="18" y="54"/>
                  </a:lnTo>
                  <a:lnTo>
                    <a:pt x="18" y="48"/>
                  </a:lnTo>
                  <a:lnTo>
                    <a:pt x="18" y="42"/>
                  </a:lnTo>
                  <a:lnTo>
                    <a:pt x="12" y="42"/>
                  </a:lnTo>
                  <a:lnTo>
                    <a:pt x="12" y="36"/>
                  </a:lnTo>
                  <a:lnTo>
                    <a:pt x="12" y="30"/>
                  </a:lnTo>
                  <a:lnTo>
                    <a:pt x="12" y="24"/>
                  </a:lnTo>
                  <a:lnTo>
                    <a:pt x="12" y="18"/>
                  </a:lnTo>
                  <a:lnTo>
                    <a:pt x="12" y="12"/>
                  </a:lnTo>
                  <a:lnTo>
                    <a:pt x="18" y="12"/>
                  </a:lnTo>
                  <a:lnTo>
                    <a:pt x="24" y="6"/>
                  </a:lnTo>
                  <a:lnTo>
                    <a:pt x="24" y="0"/>
                  </a:lnTo>
                  <a:lnTo>
                    <a:pt x="30" y="6"/>
                  </a:lnTo>
                  <a:lnTo>
                    <a:pt x="30" y="12"/>
                  </a:lnTo>
                  <a:lnTo>
                    <a:pt x="36" y="12"/>
                  </a:lnTo>
                  <a:lnTo>
                    <a:pt x="42" y="12"/>
                  </a:lnTo>
                  <a:lnTo>
                    <a:pt x="48" y="12"/>
                  </a:lnTo>
                  <a:lnTo>
                    <a:pt x="48" y="6"/>
                  </a:lnTo>
                  <a:lnTo>
                    <a:pt x="54" y="6"/>
                  </a:lnTo>
                  <a:lnTo>
                    <a:pt x="60" y="6"/>
                  </a:lnTo>
                  <a:lnTo>
                    <a:pt x="66" y="0"/>
                  </a:lnTo>
                  <a:lnTo>
                    <a:pt x="72" y="0"/>
                  </a:lnTo>
                  <a:lnTo>
                    <a:pt x="72" y="6"/>
                  </a:lnTo>
                  <a:lnTo>
                    <a:pt x="78" y="6"/>
                  </a:lnTo>
                  <a:lnTo>
                    <a:pt x="84" y="6"/>
                  </a:lnTo>
                  <a:lnTo>
                    <a:pt x="90" y="6"/>
                  </a:lnTo>
                  <a:lnTo>
                    <a:pt x="96" y="6"/>
                  </a:lnTo>
                  <a:lnTo>
                    <a:pt x="96" y="12"/>
                  </a:lnTo>
                  <a:lnTo>
                    <a:pt x="102" y="12"/>
                  </a:lnTo>
                  <a:lnTo>
                    <a:pt x="108" y="12"/>
                  </a:lnTo>
                  <a:lnTo>
                    <a:pt x="114" y="12"/>
                  </a:lnTo>
                  <a:lnTo>
                    <a:pt x="120" y="12"/>
                  </a:lnTo>
                  <a:lnTo>
                    <a:pt x="126" y="12"/>
                  </a:lnTo>
                  <a:lnTo>
                    <a:pt x="132" y="18"/>
                  </a:lnTo>
                  <a:lnTo>
                    <a:pt x="138" y="18"/>
                  </a:lnTo>
                  <a:lnTo>
                    <a:pt x="144" y="18"/>
                  </a:lnTo>
                  <a:lnTo>
                    <a:pt x="150" y="18"/>
                  </a:lnTo>
                  <a:lnTo>
                    <a:pt x="150" y="24"/>
                  </a:lnTo>
                  <a:lnTo>
                    <a:pt x="150" y="30"/>
                  </a:lnTo>
                  <a:lnTo>
                    <a:pt x="156" y="30"/>
                  </a:lnTo>
                  <a:lnTo>
                    <a:pt x="162" y="30"/>
                  </a:lnTo>
                  <a:lnTo>
                    <a:pt x="168" y="30"/>
                  </a:lnTo>
                  <a:lnTo>
                    <a:pt x="174" y="30"/>
                  </a:lnTo>
                  <a:lnTo>
                    <a:pt x="180" y="24"/>
                  </a:lnTo>
                  <a:lnTo>
                    <a:pt x="180" y="30"/>
                  </a:lnTo>
                  <a:lnTo>
                    <a:pt x="180" y="36"/>
                  </a:lnTo>
                  <a:lnTo>
                    <a:pt x="186" y="36"/>
                  </a:lnTo>
                  <a:lnTo>
                    <a:pt x="192" y="36"/>
                  </a:lnTo>
                  <a:lnTo>
                    <a:pt x="198" y="36"/>
                  </a:lnTo>
                  <a:lnTo>
                    <a:pt x="204" y="36"/>
                  </a:lnTo>
                  <a:lnTo>
                    <a:pt x="210" y="36"/>
                  </a:lnTo>
                  <a:lnTo>
                    <a:pt x="210" y="42"/>
                  </a:lnTo>
                  <a:lnTo>
                    <a:pt x="216" y="42"/>
                  </a:lnTo>
                  <a:lnTo>
                    <a:pt x="222" y="42"/>
                  </a:lnTo>
                  <a:lnTo>
                    <a:pt x="228" y="42"/>
                  </a:lnTo>
                  <a:lnTo>
                    <a:pt x="228" y="48"/>
                  </a:lnTo>
                  <a:lnTo>
                    <a:pt x="234" y="48"/>
                  </a:lnTo>
                  <a:lnTo>
                    <a:pt x="234" y="54"/>
                  </a:lnTo>
                  <a:lnTo>
                    <a:pt x="240" y="54"/>
                  </a:lnTo>
                  <a:lnTo>
                    <a:pt x="246" y="54"/>
                  </a:lnTo>
                  <a:lnTo>
                    <a:pt x="252" y="54"/>
                  </a:lnTo>
                  <a:lnTo>
                    <a:pt x="258" y="54"/>
                  </a:lnTo>
                  <a:lnTo>
                    <a:pt x="258" y="48"/>
                  </a:lnTo>
                  <a:lnTo>
                    <a:pt x="264" y="48"/>
                  </a:lnTo>
                  <a:lnTo>
                    <a:pt x="270" y="48"/>
                  </a:lnTo>
                  <a:lnTo>
                    <a:pt x="270" y="42"/>
                  </a:lnTo>
                  <a:lnTo>
                    <a:pt x="276" y="42"/>
                  </a:lnTo>
                  <a:lnTo>
                    <a:pt x="276" y="36"/>
                  </a:lnTo>
                  <a:lnTo>
                    <a:pt x="282" y="36"/>
                  </a:lnTo>
                  <a:lnTo>
                    <a:pt x="288" y="36"/>
                  </a:lnTo>
                  <a:lnTo>
                    <a:pt x="288" y="30"/>
                  </a:lnTo>
                  <a:lnTo>
                    <a:pt x="294" y="30"/>
                  </a:lnTo>
                  <a:lnTo>
                    <a:pt x="294" y="24"/>
                  </a:lnTo>
                  <a:lnTo>
                    <a:pt x="300" y="24"/>
                  </a:lnTo>
                  <a:lnTo>
                    <a:pt x="306" y="24"/>
                  </a:lnTo>
                  <a:lnTo>
                    <a:pt x="312" y="24"/>
                  </a:lnTo>
                  <a:lnTo>
                    <a:pt x="312" y="18"/>
                  </a:lnTo>
                  <a:lnTo>
                    <a:pt x="318" y="18"/>
                  </a:lnTo>
                  <a:lnTo>
                    <a:pt x="318" y="12"/>
                  </a:lnTo>
                  <a:lnTo>
                    <a:pt x="324" y="12"/>
                  </a:lnTo>
                  <a:lnTo>
                    <a:pt x="330" y="12"/>
                  </a:lnTo>
                  <a:lnTo>
                    <a:pt x="336" y="12"/>
                  </a:lnTo>
                  <a:lnTo>
                    <a:pt x="342" y="6"/>
                  </a:lnTo>
                  <a:lnTo>
                    <a:pt x="348" y="6"/>
                  </a:lnTo>
                  <a:lnTo>
                    <a:pt x="342" y="6"/>
                  </a:lnTo>
                  <a:lnTo>
                    <a:pt x="342" y="12"/>
                  </a:lnTo>
                  <a:lnTo>
                    <a:pt x="336" y="12"/>
                  </a:lnTo>
                  <a:lnTo>
                    <a:pt x="330" y="12"/>
                  </a:lnTo>
                  <a:lnTo>
                    <a:pt x="330" y="18"/>
                  </a:lnTo>
                  <a:lnTo>
                    <a:pt x="324" y="18"/>
                  </a:lnTo>
                  <a:lnTo>
                    <a:pt x="330" y="18"/>
                  </a:lnTo>
                  <a:lnTo>
                    <a:pt x="336" y="18"/>
                  </a:lnTo>
                  <a:lnTo>
                    <a:pt x="342" y="18"/>
                  </a:lnTo>
                  <a:lnTo>
                    <a:pt x="342" y="12"/>
                  </a:lnTo>
                  <a:lnTo>
                    <a:pt x="342" y="18"/>
                  </a:lnTo>
                  <a:lnTo>
                    <a:pt x="342" y="12"/>
                  </a:lnTo>
                  <a:lnTo>
                    <a:pt x="342" y="18"/>
                  </a:lnTo>
                  <a:lnTo>
                    <a:pt x="342" y="12"/>
                  </a:lnTo>
                  <a:lnTo>
                    <a:pt x="342" y="18"/>
                  </a:lnTo>
                  <a:lnTo>
                    <a:pt x="342" y="12"/>
                  </a:lnTo>
                  <a:lnTo>
                    <a:pt x="348" y="12"/>
                  </a:lnTo>
                  <a:lnTo>
                    <a:pt x="348" y="18"/>
                  </a:lnTo>
                  <a:lnTo>
                    <a:pt x="348" y="12"/>
                  </a:lnTo>
                  <a:lnTo>
                    <a:pt x="354" y="12"/>
                  </a:lnTo>
                  <a:lnTo>
                    <a:pt x="360" y="12"/>
                  </a:lnTo>
                  <a:lnTo>
                    <a:pt x="360" y="6"/>
                  </a:lnTo>
                  <a:lnTo>
                    <a:pt x="354" y="6"/>
                  </a:lnTo>
                  <a:lnTo>
                    <a:pt x="348" y="6"/>
                  </a:lnTo>
                  <a:lnTo>
                    <a:pt x="354" y="6"/>
                  </a:lnTo>
                  <a:lnTo>
                    <a:pt x="360" y="6"/>
                  </a:lnTo>
                  <a:lnTo>
                    <a:pt x="366" y="6"/>
                  </a:lnTo>
                  <a:lnTo>
                    <a:pt x="372" y="6"/>
                  </a:lnTo>
                  <a:lnTo>
                    <a:pt x="372" y="12"/>
                  </a:lnTo>
                  <a:lnTo>
                    <a:pt x="378" y="12"/>
                  </a:lnTo>
                  <a:lnTo>
                    <a:pt x="384" y="12"/>
                  </a:lnTo>
                  <a:lnTo>
                    <a:pt x="390" y="12"/>
                  </a:lnTo>
                  <a:lnTo>
                    <a:pt x="396" y="12"/>
                  </a:lnTo>
                  <a:lnTo>
                    <a:pt x="396" y="6"/>
                  </a:lnTo>
                  <a:lnTo>
                    <a:pt x="396" y="12"/>
                  </a:lnTo>
                  <a:lnTo>
                    <a:pt x="396" y="6"/>
                  </a:lnTo>
                  <a:lnTo>
                    <a:pt x="402" y="12"/>
                  </a:lnTo>
                  <a:lnTo>
                    <a:pt x="402" y="6"/>
                  </a:lnTo>
                  <a:lnTo>
                    <a:pt x="402" y="12"/>
                  </a:lnTo>
                  <a:lnTo>
                    <a:pt x="408" y="12"/>
                  </a:lnTo>
                  <a:lnTo>
                    <a:pt x="408" y="18"/>
                  </a:lnTo>
                  <a:lnTo>
                    <a:pt x="414" y="18"/>
                  </a:lnTo>
                  <a:lnTo>
                    <a:pt x="414" y="24"/>
                  </a:lnTo>
                  <a:lnTo>
                    <a:pt x="420" y="24"/>
                  </a:lnTo>
                  <a:lnTo>
                    <a:pt x="414" y="24"/>
                  </a:lnTo>
                  <a:lnTo>
                    <a:pt x="414" y="18"/>
                  </a:lnTo>
                  <a:lnTo>
                    <a:pt x="408" y="18"/>
                  </a:lnTo>
                  <a:lnTo>
                    <a:pt x="408" y="12"/>
                  </a:lnTo>
                  <a:lnTo>
                    <a:pt x="402" y="12"/>
                  </a:lnTo>
                  <a:lnTo>
                    <a:pt x="402" y="6"/>
                  </a:lnTo>
                  <a:lnTo>
                    <a:pt x="402" y="12"/>
                  </a:lnTo>
                  <a:lnTo>
                    <a:pt x="402" y="18"/>
                  </a:lnTo>
                  <a:lnTo>
                    <a:pt x="402" y="12"/>
                  </a:lnTo>
                  <a:lnTo>
                    <a:pt x="396" y="12"/>
                  </a:lnTo>
                  <a:lnTo>
                    <a:pt x="402" y="12"/>
                  </a:lnTo>
                  <a:lnTo>
                    <a:pt x="402" y="18"/>
                  </a:lnTo>
                  <a:lnTo>
                    <a:pt x="396" y="18"/>
                  </a:lnTo>
                  <a:lnTo>
                    <a:pt x="402" y="18"/>
                  </a:lnTo>
                  <a:lnTo>
                    <a:pt x="396" y="18"/>
                  </a:lnTo>
                  <a:lnTo>
                    <a:pt x="402" y="18"/>
                  </a:lnTo>
                  <a:lnTo>
                    <a:pt x="396" y="18"/>
                  </a:lnTo>
                  <a:lnTo>
                    <a:pt x="402" y="18"/>
                  </a:lnTo>
                  <a:lnTo>
                    <a:pt x="396" y="18"/>
                  </a:lnTo>
                  <a:lnTo>
                    <a:pt x="396" y="24"/>
                  </a:lnTo>
                  <a:lnTo>
                    <a:pt x="402" y="24"/>
                  </a:lnTo>
                  <a:lnTo>
                    <a:pt x="396" y="24"/>
                  </a:lnTo>
                  <a:lnTo>
                    <a:pt x="402" y="24"/>
                  </a:lnTo>
                  <a:lnTo>
                    <a:pt x="396" y="24"/>
                  </a:lnTo>
                  <a:lnTo>
                    <a:pt x="402" y="30"/>
                  </a:lnTo>
                  <a:lnTo>
                    <a:pt x="402" y="24"/>
                  </a:lnTo>
                  <a:lnTo>
                    <a:pt x="402" y="30"/>
                  </a:lnTo>
                  <a:lnTo>
                    <a:pt x="408" y="30"/>
                  </a:lnTo>
                  <a:lnTo>
                    <a:pt x="408" y="24"/>
                  </a:lnTo>
                  <a:lnTo>
                    <a:pt x="408" y="30"/>
                  </a:lnTo>
                  <a:lnTo>
                    <a:pt x="408" y="36"/>
                  </a:lnTo>
                  <a:lnTo>
                    <a:pt x="414" y="36"/>
                  </a:lnTo>
                  <a:lnTo>
                    <a:pt x="408" y="36"/>
                  </a:lnTo>
                  <a:lnTo>
                    <a:pt x="414" y="36"/>
                  </a:lnTo>
                  <a:lnTo>
                    <a:pt x="414" y="42"/>
                  </a:lnTo>
                  <a:lnTo>
                    <a:pt x="414" y="36"/>
                  </a:lnTo>
                  <a:lnTo>
                    <a:pt x="420" y="36"/>
                  </a:lnTo>
                  <a:lnTo>
                    <a:pt x="414" y="36"/>
                  </a:lnTo>
                  <a:lnTo>
                    <a:pt x="414" y="30"/>
                  </a:lnTo>
                  <a:lnTo>
                    <a:pt x="420" y="30"/>
                  </a:lnTo>
                  <a:lnTo>
                    <a:pt x="420" y="36"/>
                  </a:lnTo>
                  <a:lnTo>
                    <a:pt x="426" y="36"/>
                  </a:lnTo>
                  <a:lnTo>
                    <a:pt x="420" y="30"/>
                  </a:lnTo>
                  <a:lnTo>
                    <a:pt x="426" y="30"/>
                  </a:lnTo>
                  <a:lnTo>
                    <a:pt x="420" y="24"/>
                  </a:lnTo>
                  <a:lnTo>
                    <a:pt x="426" y="24"/>
                  </a:lnTo>
                  <a:lnTo>
                    <a:pt x="420" y="24"/>
                  </a:lnTo>
                  <a:lnTo>
                    <a:pt x="426" y="24"/>
                  </a:lnTo>
                  <a:lnTo>
                    <a:pt x="420" y="24"/>
                  </a:lnTo>
                  <a:lnTo>
                    <a:pt x="426" y="24"/>
                  </a:lnTo>
                  <a:lnTo>
                    <a:pt x="426" y="30"/>
                  </a:lnTo>
                  <a:lnTo>
                    <a:pt x="426" y="36"/>
                  </a:lnTo>
                  <a:lnTo>
                    <a:pt x="426" y="30"/>
                  </a:lnTo>
                  <a:lnTo>
                    <a:pt x="432" y="30"/>
                  </a:lnTo>
                  <a:lnTo>
                    <a:pt x="426" y="30"/>
                  </a:lnTo>
                  <a:lnTo>
                    <a:pt x="432" y="30"/>
                  </a:lnTo>
                  <a:lnTo>
                    <a:pt x="426" y="30"/>
                  </a:lnTo>
                  <a:lnTo>
                    <a:pt x="432" y="30"/>
                  </a:lnTo>
                  <a:lnTo>
                    <a:pt x="432" y="36"/>
                  </a:lnTo>
                  <a:lnTo>
                    <a:pt x="438" y="36"/>
                  </a:lnTo>
                  <a:lnTo>
                    <a:pt x="438" y="42"/>
                  </a:lnTo>
                  <a:lnTo>
                    <a:pt x="444" y="42"/>
                  </a:lnTo>
                  <a:lnTo>
                    <a:pt x="450" y="36"/>
                  </a:lnTo>
                  <a:lnTo>
                    <a:pt x="456" y="36"/>
                  </a:lnTo>
                  <a:lnTo>
                    <a:pt x="462" y="36"/>
                  </a:lnTo>
                  <a:lnTo>
                    <a:pt x="456" y="36"/>
                  </a:lnTo>
                  <a:lnTo>
                    <a:pt x="450" y="36"/>
                  </a:lnTo>
                  <a:lnTo>
                    <a:pt x="450" y="42"/>
                  </a:lnTo>
                  <a:lnTo>
                    <a:pt x="444" y="42"/>
                  </a:lnTo>
                  <a:lnTo>
                    <a:pt x="450" y="42"/>
                  </a:lnTo>
                  <a:lnTo>
                    <a:pt x="444" y="42"/>
                  </a:lnTo>
                  <a:lnTo>
                    <a:pt x="450" y="42"/>
                  </a:lnTo>
                  <a:lnTo>
                    <a:pt x="456" y="36"/>
                  </a:lnTo>
                  <a:lnTo>
                    <a:pt x="462" y="36"/>
                  </a:lnTo>
                  <a:lnTo>
                    <a:pt x="456" y="36"/>
                  </a:lnTo>
                  <a:lnTo>
                    <a:pt x="462" y="36"/>
                  </a:lnTo>
                  <a:lnTo>
                    <a:pt x="456" y="36"/>
                  </a:lnTo>
                  <a:lnTo>
                    <a:pt x="462" y="36"/>
                  </a:lnTo>
                  <a:lnTo>
                    <a:pt x="462" y="42"/>
                  </a:lnTo>
                  <a:lnTo>
                    <a:pt x="462" y="36"/>
                  </a:lnTo>
                  <a:lnTo>
                    <a:pt x="468" y="36"/>
                  </a:lnTo>
                  <a:lnTo>
                    <a:pt x="462" y="36"/>
                  </a:lnTo>
                  <a:lnTo>
                    <a:pt x="468" y="36"/>
                  </a:lnTo>
                  <a:lnTo>
                    <a:pt x="468" y="30"/>
                  </a:lnTo>
                  <a:lnTo>
                    <a:pt x="468" y="36"/>
                  </a:lnTo>
                  <a:lnTo>
                    <a:pt x="474" y="36"/>
                  </a:lnTo>
                  <a:lnTo>
                    <a:pt x="468" y="36"/>
                  </a:lnTo>
                  <a:lnTo>
                    <a:pt x="474" y="36"/>
                  </a:lnTo>
                  <a:lnTo>
                    <a:pt x="468" y="42"/>
                  </a:lnTo>
                  <a:lnTo>
                    <a:pt x="474" y="42"/>
                  </a:lnTo>
                  <a:lnTo>
                    <a:pt x="474" y="36"/>
                  </a:lnTo>
                  <a:lnTo>
                    <a:pt x="480" y="36"/>
                  </a:lnTo>
                  <a:lnTo>
                    <a:pt x="474" y="36"/>
                  </a:lnTo>
                  <a:lnTo>
                    <a:pt x="480" y="36"/>
                  </a:lnTo>
                  <a:lnTo>
                    <a:pt x="480" y="42"/>
                  </a:lnTo>
                  <a:lnTo>
                    <a:pt x="480" y="36"/>
                  </a:lnTo>
                  <a:lnTo>
                    <a:pt x="486" y="36"/>
                  </a:lnTo>
                  <a:lnTo>
                    <a:pt x="480" y="36"/>
                  </a:lnTo>
                  <a:lnTo>
                    <a:pt x="486" y="36"/>
                  </a:lnTo>
                  <a:lnTo>
                    <a:pt x="492" y="36"/>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close/>
                  <a:moveTo>
                    <a:pt x="516" y="264"/>
                  </a:moveTo>
                  <a:lnTo>
                    <a:pt x="522" y="264"/>
                  </a:lnTo>
                  <a:lnTo>
                    <a:pt x="522" y="270"/>
                  </a:lnTo>
                  <a:lnTo>
                    <a:pt x="516" y="270"/>
                  </a:lnTo>
                  <a:lnTo>
                    <a:pt x="516" y="264"/>
                  </a:lnTo>
                  <a:close/>
                  <a:moveTo>
                    <a:pt x="462" y="36"/>
                  </a:moveTo>
                  <a:lnTo>
                    <a:pt x="462" y="30"/>
                  </a:lnTo>
                  <a:lnTo>
                    <a:pt x="468" y="30"/>
                  </a:lnTo>
                  <a:lnTo>
                    <a:pt x="474" y="30"/>
                  </a:lnTo>
                  <a:lnTo>
                    <a:pt x="480" y="30"/>
                  </a:lnTo>
                  <a:lnTo>
                    <a:pt x="474" y="30"/>
                  </a:lnTo>
                  <a:lnTo>
                    <a:pt x="468" y="30"/>
                  </a:lnTo>
                  <a:lnTo>
                    <a:pt x="462" y="30"/>
                  </a:lnTo>
                  <a:lnTo>
                    <a:pt x="462" y="36"/>
                  </a:lnTo>
                  <a:close/>
                  <a:moveTo>
                    <a:pt x="504" y="258"/>
                  </a:moveTo>
                  <a:lnTo>
                    <a:pt x="510" y="258"/>
                  </a:lnTo>
                  <a:lnTo>
                    <a:pt x="510" y="264"/>
                  </a:lnTo>
                  <a:lnTo>
                    <a:pt x="504" y="264"/>
                  </a:lnTo>
                  <a:lnTo>
                    <a:pt x="504" y="258"/>
                  </a:lnTo>
                  <a:close/>
                  <a:moveTo>
                    <a:pt x="402" y="24"/>
                  </a:moveTo>
                  <a:lnTo>
                    <a:pt x="408" y="24"/>
                  </a:lnTo>
                  <a:lnTo>
                    <a:pt x="402" y="24"/>
                  </a:lnTo>
                  <a:close/>
                  <a:moveTo>
                    <a:pt x="516" y="282"/>
                  </a:moveTo>
                  <a:lnTo>
                    <a:pt x="516" y="288"/>
                  </a:lnTo>
                  <a:lnTo>
                    <a:pt x="517" y="288"/>
                  </a:lnTo>
                  <a:lnTo>
                    <a:pt x="516" y="282"/>
                  </a:lnTo>
                  <a:close/>
                  <a:moveTo>
                    <a:pt x="606" y="528"/>
                  </a:moveTo>
                  <a:lnTo>
                    <a:pt x="618" y="528"/>
                  </a:lnTo>
                  <a:lnTo>
                    <a:pt x="618" y="534"/>
                  </a:lnTo>
                  <a:lnTo>
                    <a:pt x="606" y="534"/>
                  </a:lnTo>
                  <a:lnTo>
                    <a:pt x="606" y="528"/>
                  </a:lnTo>
                  <a:close/>
                  <a:moveTo>
                    <a:pt x="480" y="30"/>
                  </a:moveTo>
                  <a:lnTo>
                    <a:pt x="492" y="30"/>
                  </a:lnTo>
                  <a:lnTo>
                    <a:pt x="492" y="36"/>
                  </a:lnTo>
                  <a:lnTo>
                    <a:pt x="480" y="36"/>
                  </a:lnTo>
                  <a:lnTo>
                    <a:pt x="480" y="30"/>
                  </a:lnTo>
                  <a:close/>
                  <a:moveTo>
                    <a:pt x="516" y="312"/>
                  </a:moveTo>
                  <a:lnTo>
                    <a:pt x="522" y="312"/>
                  </a:lnTo>
                  <a:lnTo>
                    <a:pt x="522" y="318"/>
                  </a:lnTo>
                  <a:lnTo>
                    <a:pt x="516" y="318"/>
                  </a:lnTo>
                  <a:lnTo>
                    <a:pt x="516" y="312"/>
                  </a:lnTo>
                  <a:close/>
                  <a:moveTo>
                    <a:pt x="504" y="252"/>
                  </a:moveTo>
                  <a:lnTo>
                    <a:pt x="504" y="258"/>
                  </a:lnTo>
                  <a:lnTo>
                    <a:pt x="505" y="258"/>
                  </a:lnTo>
                  <a:lnTo>
                    <a:pt x="504" y="252"/>
                  </a:lnTo>
                  <a:close/>
                  <a:moveTo>
                    <a:pt x="402" y="12"/>
                  </a:moveTo>
                  <a:lnTo>
                    <a:pt x="408" y="12"/>
                  </a:lnTo>
                  <a:lnTo>
                    <a:pt x="408" y="18"/>
                  </a:lnTo>
                  <a:lnTo>
                    <a:pt x="402" y="18"/>
                  </a:lnTo>
                  <a:lnTo>
                    <a:pt x="402" y="12"/>
                  </a:lnTo>
                  <a:close/>
                  <a:moveTo>
                    <a:pt x="426" y="24"/>
                  </a:moveTo>
                  <a:lnTo>
                    <a:pt x="426" y="30"/>
                  </a:lnTo>
                  <a:lnTo>
                    <a:pt x="427" y="30"/>
                  </a:lnTo>
                  <a:lnTo>
                    <a:pt x="426" y="24"/>
                  </a:lnTo>
                  <a:close/>
                  <a:moveTo>
                    <a:pt x="402" y="6"/>
                  </a:moveTo>
                  <a:lnTo>
                    <a:pt x="402" y="12"/>
                  </a:lnTo>
                  <a:lnTo>
                    <a:pt x="403" y="12"/>
                  </a:lnTo>
                  <a:lnTo>
                    <a:pt x="402" y="6"/>
                  </a:lnTo>
                  <a:close/>
                  <a:moveTo>
                    <a:pt x="420" y="30"/>
                  </a:moveTo>
                  <a:lnTo>
                    <a:pt x="426" y="30"/>
                  </a:lnTo>
                  <a:lnTo>
                    <a:pt x="420" y="30"/>
                  </a:lnTo>
                  <a:close/>
                  <a:moveTo>
                    <a:pt x="594" y="456"/>
                  </a:moveTo>
                  <a:lnTo>
                    <a:pt x="594" y="462"/>
                  </a:lnTo>
                  <a:lnTo>
                    <a:pt x="595" y="462"/>
                  </a:lnTo>
                  <a:lnTo>
                    <a:pt x="594" y="456"/>
                  </a:lnTo>
                  <a:close/>
                  <a:moveTo>
                    <a:pt x="402" y="18"/>
                  </a:moveTo>
                  <a:lnTo>
                    <a:pt x="408" y="18"/>
                  </a:lnTo>
                  <a:lnTo>
                    <a:pt x="402" y="18"/>
                  </a:lnTo>
                  <a:close/>
                  <a:moveTo>
                    <a:pt x="498" y="252"/>
                  </a:moveTo>
                  <a:lnTo>
                    <a:pt x="504" y="252"/>
                  </a:lnTo>
                  <a:lnTo>
                    <a:pt x="498" y="252"/>
                  </a:lnTo>
                  <a:close/>
                  <a:moveTo>
                    <a:pt x="414" y="24"/>
                  </a:moveTo>
                  <a:lnTo>
                    <a:pt x="420" y="24"/>
                  </a:lnTo>
                  <a:lnTo>
                    <a:pt x="420" y="30"/>
                  </a:lnTo>
                  <a:lnTo>
                    <a:pt x="414" y="30"/>
                  </a:lnTo>
                  <a:lnTo>
                    <a:pt x="414" y="24"/>
                  </a:lnTo>
                  <a:close/>
                  <a:moveTo>
                    <a:pt x="582" y="444"/>
                  </a:moveTo>
                  <a:lnTo>
                    <a:pt x="588" y="444"/>
                  </a:lnTo>
                  <a:lnTo>
                    <a:pt x="582" y="444"/>
                  </a:lnTo>
                  <a:close/>
                  <a:moveTo>
                    <a:pt x="498" y="246"/>
                  </a:moveTo>
                  <a:lnTo>
                    <a:pt x="498" y="252"/>
                  </a:lnTo>
                  <a:lnTo>
                    <a:pt x="499" y="252"/>
                  </a:lnTo>
                  <a:lnTo>
                    <a:pt x="498" y="246"/>
                  </a:lnTo>
                  <a:close/>
                  <a:moveTo>
                    <a:pt x="516" y="282"/>
                  </a:moveTo>
                  <a:lnTo>
                    <a:pt x="516" y="288"/>
                  </a:lnTo>
                  <a:lnTo>
                    <a:pt x="517" y="288"/>
                  </a:lnTo>
                  <a:lnTo>
                    <a:pt x="516" y="282"/>
                  </a:lnTo>
                  <a:close/>
                  <a:moveTo>
                    <a:pt x="414" y="30"/>
                  </a:moveTo>
                  <a:lnTo>
                    <a:pt x="420" y="30"/>
                  </a:lnTo>
                  <a:lnTo>
                    <a:pt x="414" y="30"/>
                  </a:lnTo>
                  <a:close/>
                  <a:moveTo>
                    <a:pt x="408" y="18"/>
                  </a:moveTo>
                  <a:lnTo>
                    <a:pt x="414" y="18"/>
                  </a:lnTo>
                  <a:lnTo>
                    <a:pt x="414" y="24"/>
                  </a:lnTo>
                  <a:lnTo>
                    <a:pt x="408" y="24"/>
                  </a:lnTo>
                  <a:lnTo>
                    <a:pt x="408" y="18"/>
                  </a:lnTo>
                  <a:close/>
                  <a:moveTo>
                    <a:pt x="414" y="24"/>
                  </a:moveTo>
                  <a:lnTo>
                    <a:pt x="414" y="30"/>
                  </a:lnTo>
                  <a:lnTo>
                    <a:pt x="415" y="30"/>
                  </a:lnTo>
                  <a:lnTo>
                    <a:pt x="414" y="24"/>
                  </a:lnTo>
                  <a:close/>
                  <a:moveTo>
                    <a:pt x="498" y="252"/>
                  </a:moveTo>
                  <a:lnTo>
                    <a:pt x="498" y="258"/>
                  </a:lnTo>
                  <a:lnTo>
                    <a:pt x="499" y="258"/>
                  </a:lnTo>
                  <a:lnTo>
                    <a:pt x="498" y="252"/>
                  </a:lnTo>
                  <a:close/>
                  <a:moveTo>
                    <a:pt x="402" y="24"/>
                  </a:moveTo>
                  <a:lnTo>
                    <a:pt x="408" y="24"/>
                  </a:lnTo>
                  <a:lnTo>
                    <a:pt x="402" y="24"/>
                  </a:lnTo>
                  <a:close/>
                  <a:moveTo>
                    <a:pt x="594" y="462"/>
                  </a:moveTo>
                  <a:lnTo>
                    <a:pt x="600" y="462"/>
                  </a:lnTo>
                  <a:lnTo>
                    <a:pt x="594" y="462"/>
                  </a:lnTo>
                  <a:close/>
                  <a:moveTo>
                    <a:pt x="510" y="258"/>
                  </a:moveTo>
                  <a:lnTo>
                    <a:pt x="510" y="264"/>
                  </a:lnTo>
                  <a:lnTo>
                    <a:pt x="511" y="264"/>
                  </a:lnTo>
                  <a:lnTo>
                    <a:pt x="510" y="258"/>
                  </a:lnTo>
                  <a:close/>
                  <a:moveTo>
                    <a:pt x="510" y="252"/>
                  </a:moveTo>
                  <a:lnTo>
                    <a:pt x="510" y="258"/>
                  </a:lnTo>
                  <a:lnTo>
                    <a:pt x="511" y="258"/>
                  </a:lnTo>
                  <a:lnTo>
                    <a:pt x="510" y="252"/>
                  </a:lnTo>
                  <a:close/>
                  <a:moveTo>
                    <a:pt x="498" y="258"/>
                  </a:moveTo>
                  <a:lnTo>
                    <a:pt x="504" y="258"/>
                  </a:lnTo>
                  <a:lnTo>
                    <a:pt x="498" y="258"/>
                  </a:lnTo>
                  <a:close/>
                  <a:moveTo>
                    <a:pt x="594" y="462"/>
                  </a:moveTo>
                  <a:lnTo>
                    <a:pt x="600" y="462"/>
                  </a:lnTo>
                  <a:lnTo>
                    <a:pt x="594" y="462"/>
                  </a:lnTo>
                  <a:close/>
                  <a:moveTo>
                    <a:pt x="402" y="18"/>
                  </a:moveTo>
                  <a:lnTo>
                    <a:pt x="402" y="24"/>
                  </a:lnTo>
                  <a:lnTo>
                    <a:pt x="403" y="24"/>
                  </a:lnTo>
                  <a:lnTo>
                    <a:pt x="402" y="18"/>
                  </a:lnTo>
                  <a:close/>
                  <a:moveTo>
                    <a:pt x="504" y="246"/>
                  </a:moveTo>
                  <a:lnTo>
                    <a:pt x="504" y="252"/>
                  </a:lnTo>
                  <a:lnTo>
                    <a:pt x="505" y="252"/>
                  </a:lnTo>
                  <a:lnTo>
                    <a:pt x="504" y="246"/>
                  </a:lnTo>
                  <a:close/>
                  <a:moveTo>
                    <a:pt x="504" y="246"/>
                  </a:moveTo>
                  <a:lnTo>
                    <a:pt x="504" y="252"/>
                  </a:lnTo>
                  <a:lnTo>
                    <a:pt x="505" y="252"/>
                  </a:lnTo>
                  <a:lnTo>
                    <a:pt x="504" y="246"/>
                  </a:lnTo>
                  <a:close/>
                  <a:moveTo>
                    <a:pt x="348" y="6"/>
                  </a:moveTo>
                  <a:lnTo>
                    <a:pt x="354" y="6"/>
                  </a:lnTo>
                  <a:lnTo>
                    <a:pt x="348" y="6"/>
                  </a:lnTo>
                  <a:close/>
                  <a:moveTo>
                    <a:pt x="504" y="264"/>
                  </a:moveTo>
                  <a:lnTo>
                    <a:pt x="510" y="264"/>
                  </a:lnTo>
                  <a:lnTo>
                    <a:pt x="504" y="264"/>
                  </a:lnTo>
                  <a:close/>
                  <a:moveTo>
                    <a:pt x="414" y="24"/>
                  </a:moveTo>
                  <a:lnTo>
                    <a:pt x="420" y="24"/>
                  </a:lnTo>
                  <a:lnTo>
                    <a:pt x="414" y="24"/>
                  </a:lnTo>
                  <a:close/>
                  <a:moveTo>
                    <a:pt x="408" y="18"/>
                  </a:moveTo>
                  <a:lnTo>
                    <a:pt x="408" y="24"/>
                  </a:lnTo>
                  <a:lnTo>
                    <a:pt x="409" y="24"/>
                  </a:lnTo>
                  <a:lnTo>
                    <a:pt x="408" y="18"/>
                  </a:lnTo>
                  <a:close/>
                  <a:moveTo>
                    <a:pt x="576" y="420"/>
                  </a:moveTo>
                  <a:lnTo>
                    <a:pt x="576" y="426"/>
                  </a:lnTo>
                  <a:lnTo>
                    <a:pt x="577" y="426"/>
                  </a:lnTo>
                  <a:lnTo>
                    <a:pt x="576" y="420"/>
                  </a:lnTo>
                  <a:close/>
                  <a:moveTo>
                    <a:pt x="600" y="492"/>
                  </a:moveTo>
                  <a:lnTo>
                    <a:pt x="606" y="492"/>
                  </a:lnTo>
                  <a:lnTo>
                    <a:pt x="600" y="492"/>
                  </a:lnTo>
                  <a:close/>
                  <a:moveTo>
                    <a:pt x="408" y="24"/>
                  </a:moveTo>
                  <a:lnTo>
                    <a:pt x="408" y="30"/>
                  </a:lnTo>
                  <a:lnTo>
                    <a:pt x="409" y="30"/>
                  </a:lnTo>
                  <a:lnTo>
                    <a:pt x="408" y="24"/>
                  </a:lnTo>
                  <a:close/>
                  <a:moveTo>
                    <a:pt x="348" y="6"/>
                  </a:moveTo>
                  <a:lnTo>
                    <a:pt x="348" y="12"/>
                  </a:lnTo>
                  <a:lnTo>
                    <a:pt x="349" y="12"/>
                  </a:lnTo>
                  <a:lnTo>
                    <a:pt x="348" y="6"/>
                  </a:lnTo>
                  <a:close/>
                  <a:moveTo>
                    <a:pt x="408" y="24"/>
                  </a:moveTo>
                  <a:lnTo>
                    <a:pt x="414" y="24"/>
                  </a:lnTo>
                  <a:lnTo>
                    <a:pt x="408" y="2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6" name="Freeform 36"/>
            <p:cNvSpPr>
              <a:spLocks/>
            </p:cNvSpPr>
            <p:nvPr>
              <p:custDataLst>
                <p:tags r:id="rId34"/>
              </p:custDataLst>
            </p:nvPr>
          </p:nvSpPr>
          <p:spPr bwMode="gray">
            <a:xfrm>
              <a:off x="1767488" y="1899508"/>
              <a:ext cx="800570" cy="745028"/>
            </a:xfrm>
            <a:custGeom>
              <a:avLst/>
              <a:gdLst>
                <a:gd name="T0" fmla="*/ 14583 w 876"/>
                <a:gd name="T1" fmla="*/ 62083 h 852"/>
                <a:gd name="T2" fmla="*/ 17500 w 876"/>
                <a:gd name="T3" fmla="*/ 49473 h 852"/>
                <a:gd name="T4" fmla="*/ 17500 w 876"/>
                <a:gd name="T5" fmla="*/ 37832 h 852"/>
                <a:gd name="T6" fmla="*/ 26250 w 876"/>
                <a:gd name="T7" fmla="*/ 30072 h 852"/>
                <a:gd name="T8" fmla="*/ 37916 w 876"/>
                <a:gd name="T9" fmla="*/ 21341 h 852"/>
                <a:gd name="T10" fmla="*/ 42778 w 876"/>
                <a:gd name="T11" fmla="*/ 12611 h 852"/>
                <a:gd name="T12" fmla="*/ 46667 w 876"/>
                <a:gd name="T13" fmla="*/ 1940 h 852"/>
                <a:gd name="T14" fmla="*/ 56389 w 876"/>
                <a:gd name="T15" fmla="*/ 6791 h 852"/>
                <a:gd name="T16" fmla="*/ 68056 w 876"/>
                <a:gd name="T17" fmla="*/ 10671 h 852"/>
                <a:gd name="T18" fmla="*/ 81666 w 876"/>
                <a:gd name="T19" fmla="*/ 8731 h 852"/>
                <a:gd name="T20" fmla="*/ 92361 w 876"/>
                <a:gd name="T21" fmla="*/ 10671 h 852"/>
                <a:gd name="T22" fmla="*/ 105000 w 876"/>
                <a:gd name="T23" fmla="*/ 17461 h 852"/>
                <a:gd name="T24" fmla="*/ 117639 w 876"/>
                <a:gd name="T25" fmla="*/ 21341 h 852"/>
                <a:gd name="T26" fmla="*/ 121528 w 876"/>
                <a:gd name="T27" fmla="*/ 33952 h 852"/>
                <a:gd name="T28" fmla="*/ 131250 w 876"/>
                <a:gd name="T29" fmla="*/ 44623 h 852"/>
                <a:gd name="T30" fmla="*/ 147777 w 876"/>
                <a:gd name="T31" fmla="*/ 46563 h 852"/>
                <a:gd name="T32" fmla="*/ 160416 w 876"/>
                <a:gd name="T33" fmla="*/ 51413 h 852"/>
                <a:gd name="T34" fmla="*/ 174027 w 876"/>
                <a:gd name="T35" fmla="*/ 55294 h 852"/>
                <a:gd name="T36" fmla="*/ 181805 w 876"/>
                <a:gd name="T37" fmla="*/ 64024 h 852"/>
                <a:gd name="T38" fmla="*/ 197360 w 876"/>
                <a:gd name="T39" fmla="*/ 67904 h 852"/>
                <a:gd name="T40" fmla="*/ 206111 w 876"/>
                <a:gd name="T41" fmla="*/ 62083 h 852"/>
                <a:gd name="T42" fmla="*/ 214861 w 876"/>
                <a:gd name="T43" fmla="*/ 53353 h 852"/>
                <a:gd name="T44" fmla="*/ 210000 w 876"/>
                <a:gd name="T45" fmla="*/ 37832 h 852"/>
                <a:gd name="T46" fmla="*/ 211944 w 876"/>
                <a:gd name="T47" fmla="*/ 23281 h 852"/>
                <a:gd name="T48" fmla="*/ 222638 w 876"/>
                <a:gd name="T49" fmla="*/ 14551 h 852"/>
                <a:gd name="T50" fmla="*/ 238194 w 876"/>
                <a:gd name="T51" fmla="*/ 10671 h 852"/>
                <a:gd name="T52" fmla="*/ 250832 w 876"/>
                <a:gd name="T53" fmla="*/ 6791 h 852"/>
                <a:gd name="T54" fmla="*/ 263472 w 876"/>
                <a:gd name="T55" fmla="*/ 10671 h 852"/>
                <a:gd name="T56" fmla="*/ 272221 w 876"/>
                <a:gd name="T57" fmla="*/ 14551 h 852"/>
                <a:gd name="T58" fmla="*/ 274166 w 876"/>
                <a:gd name="T59" fmla="*/ 21341 h 852"/>
                <a:gd name="T60" fmla="*/ 280972 w 876"/>
                <a:gd name="T61" fmla="*/ 23281 h 852"/>
                <a:gd name="T62" fmla="*/ 291666 w 876"/>
                <a:gd name="T63" fmla="*/ 26191 h 852"/>
                <a:gd name="T64" fmla="*/ 306249 w 876"/>
                <a:gd name="T65" fmla="*/ 27161 h 852"/>
                <a:gd name="T66" fmla="*/ 313055 w 876"/>
                <a:gd name="T67" fmla="*/ 33952 h 852"/>
                <a:gd name="T68" fmla="*/ 309166 w 876"/>
                <a:gd name="T69" fmla="*/ 49473 h 852"/>
                <a:gd name="T70" fmla="*/ 309166 w 876"/>
                <a:gd name="T71" fmla="*/ 62083 h 852"/>
                <a:gd name="T72" fmla="*/ 306249 w 876"/>
                <a:gd name="T73" fmla="*/ 76635 h 852"/>
                <a:gd name="T74" fmla="*/ 310138 w 876"/>
                <a:gd name="T75" fmla="*/ 94096 h 852"/>
                <a:gd name="T76" fmla="*/ 310138 w 876"/>
                <a:gd name="T77" fmla="*/ 110586 h 852"/>
                <a:gd name="T78" fmla="*/ 291666 w 876"/>
                <a:gd name="T79" fmla="*/ 292958 h 852"/>
                <a:gd name="T80" fmla="*/ 184722 w 876"/>
                <a:gd name="T81" fmla="*/ 245425 h 852"/>
                <a:gd name="T82" fmla="*/ 171111 w 876"/>
                <a:gd name="T83" fmla="*/ 238634 h 852"/>
                <a:gd name="T84" fmla="*/ 154583 w 876"/>
                <a:gd name="T85" fmla="*/ 229904 h 852"/>
                <a:gd name="T86" fmla="*/ 137083 w 876"/>
                <a:gd name="T87" fmla="*/ 222143 h 852"/>
                <a:gd name="T88" fmla="*/ 121528 w 876"/>
                <a:gd name="T89" fmla="*/ 224083 h 852"/>
                <a:gd name="T90" fmla="*/ 96250 w 876"/>
                <a:gd name="T91" fmla="*/ 236694 h 852"/>
                <a:gd name="T92" fmla="*/ 87499 w 876"/>
                <a:gd name="T93" fmla="*/ 228934 h 852"/>
                <a:gd name="T94" fmla="*/ 74861 w 876"/>
                <a:gd name="T95" fmla="*/ 224083 h 852"/>
                <a:gd name="T96" fmla="*/ 57361 w 876"/>
                <a:gd name="T97" fmla="*/ 220203 h 852"/>
                <a:gd name="T98" fmla="*/ 46667 w 876"/>
                <a:gd name="T99" fmla="*/ 211473 h 852"/>
                <a:gd name="T100" fmla="*/ 36945 w 876"/>
                <a:gd name="T101" fmla="*/ 200802 h 852"/>
                <a:gd name="T102" fmla="*/ 19444 w 876"/>
                <a:gd name="T103" fmla="*/ 195952 h 852"/>
                <a:gd name="T104" fmla="*/ 12639 w 876"/>
                <a:gd name="T105" fmla="*/ 185281 h 852"/>
                <a:gd name="T106" fmla="*/ 8750 w 876"/>
                <a:gd name="T107" fmla="*/ 172671 h 852"/>
                <a:gd name="T108" fmla="*/ 1944 w 876"/>
                <a:gd name="T109" fmla="*/ 158120 h 852"/>
                <a:gd name="T110" fmla="*/ 10694 w 876"/>
                <a:gd name="T111" fmla="*/ 147449 h 852"/>
                <a:gd name="T112" fmla="*/ 8750 w 876"/>
                <a:gd name="T113" fmla="*/ 131928 h 852"/>
                <a:gd name="T114" fmla="*/ 10694 w 876"/>
                <a:gd name="T115" fmla="*/ 121257 h 852"/>
                <a:gd name="T116" fmla="*/ 10694 w 876"/>
                <a:gd name="T117" fmla="*/ 101856 h 852"/>
                <a:gd name="T118" fmla="*/ 8750 w 876"/>
                <a:gd name="T119" fmla="*/ 85365 h 852"/>
                <a:gd name="T120" fmla="*/ 0 w 876"/>
                <a:gd name="T121" fmla="*/ 72754 h 8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852">
                  <a:moveTo>
                    <a:pt x="12" y="192"/>
                  </a:moveTo>
                  <a:lnTo>
                    <a:pt x="18" y="192"/>
                  </a:lnTo>
                  <a:lnTo>
                    <a:pt x="24" y="186"/>
                  </a:lnTo>
                  <a:lnTo>
                    <a:pt x="30" y="186"/>
                  </a:lnTo>
                  <a:lnTo>
                    <a:pt x="30" y="180"/>
                  </a:lnTo>
                  <a:lnTo>
                    <a:pt x="36" y="180"/>
                  </a:lnTo>
                  <a:lnTo>
                    <a:pt x="36" y="174"/>
                  </a:lnTo>
                  <a:lnTo>
                    <a:pt x="42" y="174"/>
                  </a:lnTo>
                  <a:lnTo>
                    <a:pt x="42" y="168"/>
                  </a:lnTo>
                  <a:lnTo>
                    <a:pt x="48" y="162"/>
                  </a:lnTo>
                  <a:lnTo>
                    <a:pt x="48" y="156"/>
                  </a:lnTo>
                  <a:lnTo>
                    <a:pt x="54" y="156"/>
                  </a:lnTo>
                  <a:lnTo>
                    <a:pt x="54" y="150"/>
                  </a:lnTo>
                  <a:lnTo>
                    <a:pt x="54" y="144"/>
                  </a:lnTo>
                  <a:lnTo>
                    <a:pt x="48" y="144"/>
                  </a:lnTo>
                  <a:lnTo>
                    <a:pt x="48" y="138"/>
                  </a:lnTo>
                  <a:lnTo>
                    <a:pt x="54" y="138"/>
                  </a:lnTo>
                  <a:lnTo>
                    <a:pt x="48" y="138"/>
                  </a:lnTo>
                  <a:lnTo>
                    <a:pt x="48" y="132"/>
                  </a:lnTo>
                  <a:lnTo>
                    <a:pt x="48" y="126"/>
                  </a:lnTo>
                  <a:lnTo>
                    <a:pt x="42" y="120"/>
                  </a:lnTo>
                  <a:lnTo>
                    <a:pt x="42" y="114"/>
                  </a:lnTo>
                  <a:lnTo>
                    <a:pt x="42" y="108"/>
                  </a:lnTo>
                  <a:lnTo>
                    <a:pt x="48" y="108"/>
                  </a:lnTo>
                  <a:lnTo>
                    <a:pt x="48" y="102"/>
                  </a:lnTo>
                  <a:lnTo>
                    <a:pt x="54" y="102"/>
                  </a:lnTo>
                  <a:lnTo>
                    <a:pt x="54" y="96"/>
                  </a:lnTo>
                  <a:lnTo>
                    <a:pt x="60" y="96"/>
                  </a:lnTo>
                  <a:lnTo>
                    <a:pt x="66" y="96"/>
                  </a:lnTo>
                  <a:lnTo>
                    <a:pt x="66" y="90"/>
                  </a:lnTo>
                  <a:lnTo>
                    <a:pt x="72" y="90"/>
                  </a:lnTo>
                  <a:lnTo>
                    <a:pt x="72" y="84"/>
                  </a:lnTo>
                  <a:lnTo>
                    <a:pt x="72" y="78"/>
                  </a:lnTo>
                  <a:lnTo>
                    <a:pt x="78" y="78"/>
                  </a:lnTo>
                  <a:lnTo>
                    <a:pt x="84" y="78"/>
                  </a:lnTo>
                  <a:lnTo>
                    <a:pt x="84" y="72"/>
                  </a:lnTo>
                  <a:lnTo>
                    <a:pt x="90" y="66"/>
                  </a:lnTo>
                  <a:lnTo>
                    <a:pt x="96" y="66"/>
                  </a:lnTo>
                  <a:lnTo>
                    <a:pt x="102" y="60"/>
                  </a:lnTo>
                  <a:lnTo>
                    <a:pt x="108" y="60"/>
                  </a:lnTo>
                  <a:lnTo>
                    <a:pt x="114" y="60"/>
                  </a:lnTo>
                  <a:lnTo>
                    <a:pt x="114" y="54"/>
                  </a:lnTo>
                  <a:lnTo>
                    <a:pt x="120" y="54"/>
                  </a:lnTo>
                  <a:lnTo>
                    <a:pt x="120" y="48"/>
                  </a:lnTo>
                  <a:lnTo>
                    <a:pt x="126" y="48"/>
                  </a:lnTo>
                  <a:lnTo>
                    <a:pt x="126" y="42"/>
                  </a:lnTo>
                  <a:lnTo>
                    <a:pt x="120" y="42"/>
                  </a:lnTo>
                  <a:lnTo>
                    <a:pt x="120" y="36"/>
                  </a:lnTo>
                  <a:lnTo>
                    <a:pt x="120" y="30"/>
                  </a:lnTo>
                  <a:lnTo>
                    <a:pt x="120" y="24"/>
                  </a:lnTo>
                  <a:lnTo>
                    <a:pt x="120" y="18"/>
                  </a:lnTo>
                  <a:lnTo>
                    <a:pt x="120" y="12"/>
                  </a:lnTo>
                  <a:lnTo>
                    <a:pt x="120" y="6"/>
                  </a:lnTo>
                  <a:lnTo>
                    <a:pt x="120" y="0"/>
                  </a:lnTo>
                  <a:lnTo>
                    <a:pt x="126" y="6"/>
                  </a:lnTo>
                  <a:lnTo>
                    <a:pt x="132" y="6"/>
                  </a:lnTo>
                  <a:lnTo>
                    <a:pt x="138" y="6"/>
                  </a:lnTo>
                  <a:lnTo>
                    <a:pt x="132" y="6"/>
                  </a:lnTo>
                  <a:lnTo>
                    <a:pt x="138" y="6"/>
                  </a:lnTo>
                  <a:lnTo>
                    <a:pt x="138" y="12"/>
                  </a:lnTo>
                  <a:lnTo>
                    <a:pt x="144" y="12"/>
                  </a:lnTo>
                  <a:lnTo>
                    <a:pt x="150" y="12"/>
                  </a:lnTo>
                  <a:lnTo>
                    <a:pt x="150" y="18"/>
                  </a:lnTo>
                  <a:lnTo>
                    <a:pt x="156" y="18"/>
                  </a:lnTo>
                  <a:lnTo>
                    <a:pt x="156" y="24"/>
                  </a:lnTo>
                  <a:lnTo>
                    <a:pt x="162" y="24"/>
                  </a:lnTo>
                  <a:lnTo>
                    <a:pt x="168" y="24"/>
                  </a:lnTo>
                  <a:lnTo>
                    <a:pt x="174" y="24"/>
                  </a:lnTo>
                  <a:lnTo>
                    <a:pt x="180" y="24"/>
                  </a:lnTo>
                  <a:lnTo>
                    <a:pt x="180" y="30"/>
                  </a:lnTo>
                  <a:lnTo>
                    <a:pt x="186" y="30"/>
                  </a:lnTo>
                  <a:lnTo>
                    <a:pt x="192" y="30"/>
                  </a:lnTo>
                  <a:lnTo>
                    <a:pt x="192" y="24"/>
                  </a:lnTo>
                  <a:lnTo>
                    <a:pt x="198" y="24"/>
                  </a:lnTo>
                  <a:lnTo>
                    <a:pt x="204" y="24"/>
                  </a:lnTo>
                  <a:lnTo>
                    <a:pt x="210" y="24"/>
                  </a:lnTo>
                  <a:lnTo>
                    <a:pt x="210" y="18"/>
                  </a:lnTo>
                  <a:lnTo>
                    <a:pt x="216" y="18"/>
                  </a:lnTo>
                  <a:lnTo>
                    <a:pt x="222" y="18"/>
                  </a:lnTo>
                  <a:lnTo>
                    <a:pt x="228" y="24"/>
                  </a:lnTo>
                  <a:lnTo>
                    <a:pt x="234" y="24"/>
                  </a:lnTo>
                  <a:lnTo>
                    <a:pt x="234" y="30"/>
                  </a:lnTo>
                  <a:lnTo>
                    <a:pt x="240" y="30"/>
                  </a:lnTo>
                  <a:lnTo>
                    <a:pt x="246" y="30"/>
                  </a:lnTo>
                  <a:lnTo>
                    <a:pt x="246" y="24"/>
                  </a:lnTo>
                  <a:lnTo>
                    <a:pt x="246" y="30"/>
                  </a:lnTo>
                  <a:lnTo>
                    <a:pt x="252" y="30"/>
                  </a:lnTo>
                  <a:lnTo>
                    <a:pt x="258" y="30"/>
                  </a:lnTo>
                  <a:lnTo>
                    <a:pt x="264" y="30"/>
                  </a:lnTo>
                  <a:lnTo>
                    <a:pt x="270" y="30"/>
                  </a:lnTo>
                  <a:lnTo>
                    <a:pt x="270" y="36"/>
                  </a:lnTo>
                  <a:lnTo>
                    <a:pt x="276" y="36"/>
                  </a:lnTo>
                  <a:lnTo>
                    <a:pt x="276" y="42"/>
                  </a:lnTo>
                  <a:lnTo>
                    <a:pt x="282" y="42"/>
                  </a:lnTo>
                  <a:lnTo>
                    <a:pt x="288" y="48"/>
                  </a:lnTo>
                  <a:lnTo>
                    <a:pt x="294" y="48"/>
                  </a:lnTo>
                  <a:lnTo>
                    <a:pt x="300" y="48"/>
                  </a:lnTo>
                  <a:lnTo>
                    <a:pt x="306" y="48"/>
                  </a:lnTo>
                  <a:lnTo>
                    <a:pt x="312" y="48"/>
                  </a:lnTo>
                  <a:lnTo>
                    <a:pt x="312" y="54"/>
                  </a:lnTo>
                  <a:lnTo>
                    <a:pt x="318" y="54"/>
                  </a:lnTo>
                  <a:lnTo>
                    <a:pt x="324" y="54"/>
                  </a:lnTo>
                  <a:lnTo>
                    <a:pt x="330" y="54"/>
                  </a:lnTo>
                  <a:lnTo>
                    <a:pt x="330" y="60"/>
                  </a:lnTo>
                  <a:lnTo>
                    <a:pt x="330" y="66"/>
                  </a:lnTo>
                  <a:lnTo>
                    <a:pt x="336" y="66"/>
                  </a:lnTo>
                  <a:lnTo>
                    <a:pt x="336" y="72"/>
                  </a:lnTo>
                  <a:lnTo>
                    <a:pt x="336" y="78"/>
                  </a:lnTo>
                  <a:lnTo>
                    <a:pt x="336" y="84"/>
                  </a:lnTo>
                  <a:lnTo>
                    <a:pt x="336" y="90"/>
                  </a:lnTo>
                  <a:lnTo>
                    <a:pt x="336" y="96"/>
                  </a:lnTo>
                  <a:lnTo>
                    <a:pt x="342" y="96"/>
                  </a:lnTo>
                  <a:lnTo>
                    <a:pt x="342" y="102"/>
                  </a:lnTo>
                  <a:lnTo>
                    <a:pt x="342" y="108"/>
                  </a:lnTo>
                  <a:lnTo>
                    <a:pt x="348" y="108"/>
                  </a:lnTo>
                  <a:lnTo>
                    <a:pt x="348" y="114"/>
                  </a:lnTo>
                  <a:lnTo>
                    <a:pt x="354" y="114"/>
                  </a:lnTo>
                  <a:lnTo>
                    <a:pt x="354" y="120"/>
                  </a:lnTo>
                  <a:lnTo>
                    <a:pt x="360" y="120"/>
                  </a:lnTo>
                  <a:lnTo>
                    <a:pt x="366" y="126"/>
                  </a:lnTo>
                  <a:lnTo>
                    <a:pt x="372" y="126"/>
                  </a:lnTo>
                  <a:lnTo>
                    <a:pt x="378" y="126"/>
                  </a:lnTo>
                  <a:lnTo>
                    <a:pt x="384" y="132"/>
                  </a:lnTo>
                  <a:lnTo>
                    <a:pt x="390" y="132"/>
                  </a:lnTo>
                  <a:lnTo>
                    <a:pt x="396" y="132"/>
                  </a:lnTo>
                  <a:lnTo>
                    <a:pt x="402" y="132"/>
                  </a:lnTo>
                  <a:lnTo>
                    <a:pt x="408" y="132"/>
                  </a:lnTo>
                  <a:lnTo>
                    <a:pt x="414" y="132"/>
                  </a:lnTo>
                  <a:lnTo>
                    <a:pt x="420" y="132"/>
                  </a:lnTo>
                  <a:lnTo>
                    <a:pt x="426" y="132"/>
                  </a:lnTo>
                  <a:lnTo>
                    <a:pt x="426" y="138"/>
                  </a:lnTo>
                  <a:lnTo>
                    <a:pt x="432" y="138"/>
                  </a:lnTo>
                  <a:lnTo>
                    <a:pt x="438" y="138"/>
                  </a:lnTo>
                  <a:lnTo>
                    <a:pt x="444" y="138"/>
                  </a:lnTo>
                  <a:lnTo>
                    <a:pt x="450" y="138"/>
                  </a:lnTo>
                  <a:lnTo>
                    <a:pt x="450" y="144"/>
                  </a:lnTo>
                  <a:lnTo>
                    <a:pt x="456" y="144"/>
                  </a:lnTo>
                  <a:lnTo>
                    <a:pt x="462" y="144"/>
                  </a:lnTo>
                  <a:lnTo>
                    <a:pt x="462" y="150"/>
                  </a:lnTo>
                  <a:lnTo>
                    <a:pt x="468" y="150"/>
                  </a:lnTo>
                  <a:lnTo>
                    <a:pt x="474" y="150"/>
                  </a:lnTo>
                  <a:lnTo>
                    <a:pt x="474" y="156"/>
                  </a:lnTo>
                  <a:lnTo>
                    <a:pt x="480" y="156"/>
                  </a:lnTo>
                  <a:lnTo>
                    <a:pt x="486" y="156"/>
                  </a:lnTo>
                  <a:lnTo>
                    <a:pt x="492" y="156"/>
                  </a:lnTo>
                  <a:lnTo>
                    <a:pt x="492" y="162"/>
                  </a:lnTo>
                  <a:lnTo>
                    <a:pt x="498" y="162"/>
                  </a:lnTo>
                  <a:lnTo>
                    <a:pt x="498" y="168"/>
                  </a:lnTo>
                  <a:lnTo>
                    <a:pt x="504" y="168"/>
                  </a:lnTo>
                  <a:lnTo>
                    <a:pt x="504" y="174"/>
                  </a:lnTo>
                  <a:lnTo>
                    <a:pt x="510" y="174"/>
                  </a:lnTo>
                  <a:lnTo>
                    <a:pt x="510" y="180"/>
                  </a:lnTo>
                  <a:lnTo>
                    <a:pt x="516" y="180"/>
                  </a:lnTo>
                  <a:lnTo>
                    <a:pt x="516" y="186"/>
                  </a:lnTo>
                  <a:lnTo>
                    <a:pt x="522" y="186"/>
                  </a:lnTo>
                  <a:lnTo>
                    <a:pt x="528" y="186"/>
                  </a:lnTo>
                  <a:lnTo>
                    <a:pt x="534" y="192"/>
                  </a:lnTo>
                  <a:lnTo>
                    <a:pt x="540" y="192"/>
                  </a:lnTo>
                  <a:lnTo>
                    <a:pt x="546" y="192"/>
                  </a:lnTo>
                  <a:lnTo>
                    <a:pt x="552" y="192"/>
                  </a:lnTo>
                  <a:lnTo>
                    <a:pt x="558" y="192"/>
                  </a:lnTo>
                  <a:lnTo>
                    <a:pt x="558" y="186"/>
                  </a:lnTo>
                  <a:lnTo>
                    <a:pt x="564" y="186"/>
                  </a:lnTo>
                  <a:lnTo>
                    <a:pt x="570" y="180"/>
                  </a:lnTo>
                  <a:lnTo>
                    <a:pt x="570" y="186"/>
                  </a:lnTo>
                  <a:lnTo>
                    <a:pt x="570" y="180"/>
                  </a:lnTo>
                  <a:lnTo>
                    <a:pt x="576" y="180"/>
                  </a:lnTo>
                  <a:lnTo>
                    <a:pt x="576" y="174"/>
                  </a:lnTo>
                  <a:lnTo>
                    <a:pt x="582" y="174"/>
                  </a:lnTo>
                  <a:lnTo>
                    <a:pt x="582" y="168"/>
                  </a:lnTo>
                  <a:lnTo>
                    <a:pt x="588" y="168"/>
                  </a:lnTo>
                  <a:lnTo>
                    <a:pt x="588" y="162"/>
                  </a:lnTo>
                  <a:lnTo>
                    <a:pt x="594" y="162"/>
                  </a:lnTo>
                  <a:lnTo>
                    <a:pt x="594" y="156"/>
                  </a:lnTo>
                  <a:lnTo>
                    <a:pt x="594" y="150"/>
                  </a:lnTo>
                  <a:lnTo>
                    <a:pt x="600" y="150"/>
                  </a:lnTo>
                  <a:lnTo>
                    <a:pt x="600" y="144"/>
                  </a:lnTo>
                  <a:lnTo>
                    <a:pt x="600" y="138"/>
                  </a:lnTo>
                  <a:lnTo>
                    <a:pt x="600" y="132"/>
                  </a:lnTo>
                  <a:lnTo>
                    <a:pt x="600" y="126"/>
                  </a:lnTo>
                  <a:lnTo>
                    <a:pt x="594" y="120"/>
                  </a:lnTo>
                  <a:lnTo>
                    <a:pt x="594" y="114"/>
                  </a:lnTo>
                  <a:lnTo>
                    <a:pt x="594" y="108"/>
                  </a:lnTo>
                  <a:lnTo>
                    <a:pt x="588" y="108"/>
                  </a:lnTo>
                  <a:lnTo>
                    <a:pt x="588" y="102"/>
                  </a:lnTo>
                  <a:lnTo>
                    <a:pt x="588" y="96"/>
                  </a:lnTo>
                  <a:lnTo>
                    <a:pt x="588" y="90"/>
                  </a:lnTo>
                  <a:lnTo>
                    <a:pt x="588" y="84"/>
                  </a:lnTo>
                  <a:lnTo>
                    <a:pt x="588" y="78"/>
                  </a:lnTo>
                  <a:lnTo>
                    <a:pt x="594" y="78"/>
                  </a:lnTo>
                  <a:lnTo>
                    <a:pt x="594" y="72"/>
                  </a:lnTo>
                  <a:lnTo>
                    <a:pt x="594" y="66"/>
                  </a:lnTo>
                  <a:lnTo>
                    <a:pt x="600" y="66"/>
                  </a:lnTo>
                  <a:lnTo>
                    <a:pt x="600" y="60"/>
                  </a:lnTo>
                  <a:lnTo>
                    <a:pt x="606" y="60"/>
                  </a:lnTo>
                  <a:lnTo>
                    <a:pt x="606" y="54"/>
                  </a:lnTo>
                  <a:lnTo>
                    <a:pt x="612" y="54"/>
                  </a:lnTo>
                  <a:lnTo>
                    <a:pt x="612" y="48"/>
                  </a:lnTo>
                  <a:lnTo>
                    <a:pt x="618" y="48"/>
                  </a:lnTo>
                  <a:lnTo>
                    <a:pt x="624" y="42"/>
                  </a:lnTo>
                  <a:lnTo>
                    <a:pt x="630" y="42"/>
                  </a:lnTo>
                  <a:lnTo>
                    <a:pt x="636" y="36"/>
                  </a:lnTo>
                  <a:lnTo>
                    <a:pt x="642" y="36"/>
                  </a:lnTo>
                  <a:lnTo>
                    <a:pt x="642" y="30"/>
                  </a:lnTo>
                  <a:lnTo>
                    <a:pt x="648" y="30"/>
                  </a:lnTo>
                  <a:lnTo>
                    <a:pt x="654" y="30"/>
                  </a:lnTo>
                  <a:lnTo>
                    <a:pt x="660" y="30"/>
                  </a:lnTo>
                  <a:lnTo>
                    <a:pt x="666" y="30"/>
                  </a:lnTo>
                  <a:lnTo>
                    <a:pt x="672" y="30"/>
                  </a:lnTo>
                  <a:lnTo>
                    <a:pt x="672" y="24"/>
                  </a:lnTo>
                  <a:lnTo>
                    <a:pt x="678" y="24"/>
                  </a:lnTo>
                  <a:lnTo>
                    <a:pt x="678" y="18"/>
                  </a:lnTo>
                  <a:lnTo>
                    <a:pt x="684" y="18"/>
                  </a:lnTo>
                  <a:lnTo>
                    <a:pt x="690" y="18"/>
                  </a:lnTo>
                  <a:lnTo>
                    <a:pt x="696" y="18"/>
                  </a:lnTo>
                  <a:lnTo>
                    <a:pt x="702" y="18"/>
                  </a:lnTo>
                  <a:lnTo>
                    <a:pt x="708" y="18"/>
                  </a:lnTo>
                  <a:lnTo>
                    <a:pt x="714" y="18"/>
                  </a:lnTo>
                  <a:lnTo>
                    <a:pt x="714" y="24"/>
                  </a:lnTo>
                  <a:lnTo>
                    <a:pt x="720" y="24"/>
                  </a:lnTo>
                  <a:lnTo>
                    <a:pt x="726" y="24"/>
                  </a:lnTo>
                  <a:lnTo>
                    <a:pt x="732" y="24"/>
                  </a:lnTo>
                  <a:lnTo>
                    <a:pt x="732" y="30"/>
                  </a:lnTo>
                  <a:lnTo>
                    <a:pt x="738" y="30"/>
                  </a:lnTo>
                  <a:lnTo>
                    <a:pt x="744" y="30"/>
                  </a:lnTo>
                  <a:lnTo>
                    <a:pt x="750" y="30"/>
                  </a:lnTo>
                  <a:lnTo>
                    <a:pt x="750" y="36"/>
                  </a:lnTo>
                  <a:lnTo>
                    <a:pt x="756" y="36"/>
                  </a:lnTo>
                  <a:lnTo>
                    <a:pt x="762" y="36"/>
                  </a:lnTo>
                  <a:lnTo>
                    <a:pt x="768" y="36"/>
                  </a:lnTo>
                  <a:lnTo>
                    <a:pt x="768" y="42"/>
                  </a:lnTo>
                  <a:lnTo>
                    <a:pt x="762" y="42"/>
                  </a:lnTo>
                  <a:lnTo>
                    <a:pt x="762" y="48"/>
                  </a:lnTo>
                  <a:lnTo>
                    <a:pt x="768" y="48"/>
                  </a:lnTo>
                  <a:lnTo>
                    <a:pt x="768" y="54"/>
                  </a:lnTo>
                  <a:lnTo>
                    <a:pt x="762" y="54"/>
                  </a:lnTo>
                  <a:lnTo>
                    <a:pt x="762" y="48"/>
                  </a:lnTo>
                  <a:lnTo>
                    <a:pt x="762" y="54"/>
                  </a:lnTo>
                  <a:lnTo>
                    <a:pt x="762" y="60"/>
                  </a:lnTo>
                  <a:lnTo>
                    <a:pt x="768" y="60"/>
                  </a:lnTo>
                  <a:lnTo>
                    <a:pt x="774" y="60"/>
                  </a:lnTo>
                  <a:lnTo>
                    <a:pt x="774" y="66"/>
                  </a:lnTo>
                  <a:lnTo>
                    <a:pt x="774" y="72"/>
                  </a:lnTo>
                  <a:lnTo>
                    <a:pt x="780" y="72"/>
                  </a:lnTo>
                  <a:lnTo>
                    <a:pt x="780" y="66"/>
                  </a:lnTo>
                  <a:lnTo>
                    <a:pt x="774" y="66"/>
                  </a:lnTo>
                  <a:lnTo>
                    <a:pt x="780" y="66"/>
                  </a:lnTo>
                  <a:lnTo>
                    <a:pt x="786" y="66"/>
                  </a:lnTo>
                  <a:lnTo>
                    <a:pt x="792" y="66"/>
                  </a:lnTo>
                  <a:lnTo>
                    <a:pt x="798" y="66"/>
                  </a:lnTo>
                  <a:lnTo>
                    <a:pt x="804" y="66"/>
                  </a:lnTo>
                  <a:lnTo>
                    <a:pt x="804" y="72"/>
                  </a:lnTo>
                  <a:lnTo>
                    <a:pt x="810" y="72"/>
                  </a:lnTo>
                  <a:lnTo>
                    <a:pt x="816" y="72"/>
                  </a:lnTo>
                  <a:lnTo>
                    <a:pt x="810" y="72"/>
                  </a:lnTo>
                  <a:lnTo>
                    <a:pt x="816" y="72"/>
                  </a:lnTo>
                  <a:lnTo>
                    <a:pt x="816" y="78"/>
                  </a:lnTo>
                  <a:lnTo>
                    <a:pt x="822" y="78"/>
                  </a:lnTo>
                  <a:lnTo>
                    <a:pt x="828" y="78"/>
                  </a:lnTo>
                  <a:lnTo>
                    <a:pt x="834" y="78"/>
                  </a:lnTo>
                  <a:lnTo>
                    <a:pt x="840" y="78"/>
                  </a:lnTo>
                  <a:lnTo>
                    <a:pt x="846" y="78"/>
                  </a:lnTo>
                  <a:lnTo>
                    <a:pt x="852" y="78"/>
                  </a:lnTo>
                  <a:lnTo>
                    <a:pt x="858" y="78"/>
                  </a:lnTo>
                  <a:lnTo>
                    <a:pt x="864" y="78"/>
                  </a:lnTo>
                  <a:lnTo>
                    <a:pt x="864" y="84"/>
                  </a:lnTo>
                  <a:lnTo>
                    <a:pt x="864" y="78"/>
                  </a:lnTo>
                  <a:lnTo>
                    <a:pt x="864" y="84"/>
                  </a:lnTo>
                  <a:lnTo>
                    <a:pt x="870" y="84"/>
                  </a:lnTo>
                  <a:lnTo>
                    <a:pt x="870" y="90"/>
                  </a:lnTo>
                  <a:lnTo>
                    <a:pt x="876" y="90"/>
                  </a:lnTo>
                  <a:lnTo>
                    <a:pt x="876" y="96"/>
                  </a:lnTo>
                  <a:lnTo>
                    <a:pt x="876" y="102"/>
                  </a:lnTo>
                  <a:lnTo>
                    <a:pt x="876" y="108"/>
                  </a:lnTo>
                  <a:lnTo>
                    <a:pt x="870" y="114"/>
                  </a:lnTo>
                  <a:lnTo>
                    <a:pt x="864" y="114"/>
                  </a:lnTo>
                  <a:lnTo>
                    <a:pt x="864" y="120"/>
                  </a:lnTo>
                  <a:lnTo>
                    <a:pt x="864" y="126"/>
                  </a:lnTo>
                  <a:lnTo>
                    <a:pt x="864" y="132"/>
                  </a:lnTo>
                  <a:lnTo>
                    <a:pt x="864" y="138"/>
                  </a:lnTo>
                  <a:lnTo>
                    <a:pt x="864" y="144"/>
                  </a:lnTo>
                  <a:lnTo>
                    <a:pt x="870" y="144"/>
                  </a:lnTo>
                  <a:lnTo>
                    <a:pt x="870" y="150"/>
                  </a:lnTo>
                  <a:lnTo>
                    <a:pt x="870" y="156"/>
                  </a:lnTo>
                  <a:lnTo>
                    <a:pt x="870" y="162"/>
                  </a:lnTo>
                  <a:lnTo>
                    <a:pt x="870" y="168"/>
                  </a:lnTo>
                  <a:lnTo>
                    <a:pt x="870" y="174"/>
                  </a:lnTo>
                  <a:lnTo>
                    <a:pt x="864" y="174"/>
                  </a:lnTo>
                  <a:lnTo>
                    <a:pt x="864" y="180"/>
                  </a:lnTo>
                  <a:lnTo>
                    <a:pt x="864" y="186"/>
                  </a:lnTo>
                  <a:lnTo>
                    <a:pt x="858" y="186"/>
                  </a:lnTo>
                  <a:lnTo>
                    <a:pt x="858" y="192"/>
                  </a:lnTo>
                  <a:lnTo>
                    <a:pt x="852" y="198"/>
                  </a:lnTo>
                  <a:lnTo>
                    <a:pt x="858" y="204"/>
                  </a:lnTo>
                  <a:lnTo>
                    <a:pt x="858" y="210"/>
                  </a:lnTo>
                  <a:lnTo>
                    <a:pt x="858" y="216"/>
                  </a:lnTo>
                  <a:lnTo>
                    <a:pt x="858" y="222"/>
                  </a:lnTo>
                  <a:lnTo>
                    <a:pt x="864" y="228"/>
                  </a:lnTo>
                  <a:lnTo>
                    <a:pt x="864" y="234"/>
                  </a:lnTo>
                  <a:lnTo>
                    <a:pt x="864" y="240"/>
                  </a:lnTo>
                  <a:lnTo>
                    <a:pt x="864" y="246"/>
                  </a:lnTo>
                  <a:lnTo>
                    <a:pt x="870" y="252"/>
                  </a:lnTo>
                  <a:lnTo>
                    <a:pt x="870" y="258"/>
                  </a:lnTo>
                  <a:lnTo>
                    <a:pt x="870" y="264"/>
                  </a:lnTo>
                  <a:lnTo>
                    <a:pt x="870" y="270"/>
                  </a:lnTo>
                  <a:lnTo>
                    <a:pt x="870" y="276"/>
                  </a:lnTo>
                  <a:lnTo>
                    <a:pt x="870" y="282"/>
                  </a:lnTo>
                  <a:lnTo>
                    <a:pt x="870" y="288"/>
                  </a:lnTo>
                  <a:lnTo>
                    <a:pt x="870" y="294"/>
                  </a:lnTo>
                  <a:lnTo>
                    <a:pt x="870" y="300"/>
                  </a:lnTo>
                  <a:lnTo>
                    <a:pt x="870" y="306"/>
                  </a:lnTo>
                  <a:lnTo>
                    <a:pt x="870" y="312"/>
                  </a:lnTo>
                  <a:lnTo>
                    <a:pt x="870" y="318"/>
                  </a:lnTo>
                  <a:lnTo>
                    <a:pt x="870" y="324"/>
                  </a:lnTo>
                  <a:lnTo>
                    <a:pt x="870" y="330"/>
                  </a:lnTo>
                  <a:lnTo>
                    <a:pt x="870" y="336"/>
                  </a:lnTo>
                  <a:lnTo>
                    <a:pt x="870" y="360"/>
                  </a:lnTo>
                  <a:lnTo>
                    <a:pt x="870" y="708"/>
                  </a:lnTo>
                  <a:lnTo>
                    <a:pt x="870" y="822"/>
                  </a:lnTo>
                  <a:lnTo>
                    <a:pt x="816" y="822"/>
                  </a:lnTo>
                  <a:lnTo>
                    <a:pt x="816" y="828"/>
                  </a:lnTo>
                  <a:lnTo>
                    <a:pt x="816" y="834"/>
                  </a:lnTo>
                  <a:lnTo>
                    <a:pt x="816" y="840"/>
                  </a:lnTo>
                  <a:lnTo>
                    <a:pt x="816" y="846"/>
                  </a:lnTo>
                  <a:lnTo>
                    <a:pt x="816" y="852"/>
                  </a:lnTo>
                  <a:lnTo>
                    <a:pt x="534" y="702"/>
                  </a:lnTo>
                  <a:lnTo>
                    <a:pt x="516" y="696"/>
                  </a:lnTo>
                  <a:lnTo>
                    <a:pt x="516" y="690"/>
                  </a:lnTo>
                  <a:lnTo>
                    <a:pt x="510" y="690"/>
                  </a:lnTo>
                  <a:lnTo>
                    <a:pt x="504" y="684"/>
                  </a:lnTo>
                  <a:lnTo>
                    <a:pt x="498" y="684"/>
                  </a:lnTo>
                  <a:lnTo>
                    <a:pt x="492" y="684"/>
                  </a:lnTo>
                  <a:lnTo>
                    <a:pt x="492" y="678"/>
                  </a:lnTo>
                  <a:lnTo>
                    <a:pt x="486" y="678"/>
                  </a:lnTo>
                  <a:lnTo>
                    <a:pt x="480" y="678"/>
                  </a:lnTo>
                  <a:lnTo>
                    <a:pt x="480" y="672"/>
                  </a:lnTo>
                  <a:lnTo>
                    <a:pt x="474" y="672"/>
                  </a:lnTo>
                  <a:lnTo>
                    <a:pt x="468" y="666"/>
                  </a:lnTo>
                  <a:lnTo>
                    <a:pt x="462" y="666"/>
                  </a:lnTo>
                  <a:lnTo>
                    <a:pt x="456" y="660"/>
                  </a:lnTo>
                  <a:lnTo>
                    <a:pt x="450" y="660"/>
                  </a:lnTo>
                  <a:lnTo>
                    <a:pt x="444" y="654"/>
                  </a:lnTo>
                  <a:lnTo>
                    <a:pt x="438" y="654"/>
                  </a:lnTo>
                  <a:lnTo>
                    <a:pt x="432" y="648"/>
                  </a:lnTo>
                  <a:lnTo>
                    <a:pt x="426" y="648"/>
                  </a:lnTo>
                  <a:lnTo>
                    <a:pt x="420" y="642"/>
                  </a:lnTo>
                  <a:lnTo>
                    <a:pt x="414" y="642"/>
                  </a:lnTo>
                  <a:lnTo>
                    <a:pt x="408" y="636"/>
                  </a:lnTo>
                  <a:lnTo>
                    <a:pt x="402" y="636"/>
                  </a:lnTo>
                  <a:lnTo>
                    <a:pt x="396" y="630"/>
                  </a:lnTo>
                  <a:lnTo>
                    <a:pt x="390" y="630"/>
                  </a:lnTo>
                  <a:lnTo>
                    <a:pt x="384" y="624"/>
                  </a:lnTo>
                  <a:lnTo>
                    <a:pt x="378" y="624"/>
                  </a:lnTo>
                  <a:lnTo>
                    <a:pt x="372" y="618"/>
                  </a:lnTo>
                  <a:lnTo>
                    <a:pt x="366" y="618"/>
                  </a:lnTo>
                  <a:lnTo>
                    <a:pt x="360" y="624"/>
                  </a:lnTo>
                  <a:lnTo>
                    <a:pt x="354" y="624"/>
                  </a:lnTo>
                  <a:lnTo>
                    <a:pt x="348" y="624"/>
                  </a:lnTo>
                  <a:lnTo>
                    <a:pt x="348" y="630"/>
                  </a:lnTo>
                  <a:lnTo>
                    <a:pt x="342" y="630"/>
                  </a:lnTo>
                  <a:lnTo>
                    <a:pt x="336" y="630"/>
                  </a:lnTo>
                  <a:lnTo>
                    <a:pt x="336" y="636"/>
                  </a:lnTo>
                  <a:lnTo>
                    <a:pt x="330" y="636"/>
                  </a:lnTo>
                  <a:lnTo>
                    <a:pt x="324" y="636"/>
                  </a:lnTo>
                  <a:lnTo>
                    <a:pt x="324" y="642"/>
                  </a:lnTo>
                  <a:lnTo>
                    <a:pt x="318" y="642"/>
                  </a:lnTo>
                  <a:lnTo>
                    <a:pt x="312" y="642"/>
                  </a:lnTo>
                  <a:lnTo>
                    <a:pt x="270" y="666"/>
                  </a:lnTo>
                  <a:lnTo>
                    <a:pt x="264" y="666"/>
                  </a:lnTo>
                  <a:lnTo>
                    <a:pt x="264" y="660"/>
                  </a:lnTo>
                  <a:lnTo>
                    <a:pt x="258" y="660"/>
                  </a:lnTo>
                  <a:lnTo>
                    <a:pt x="258" y="654"/>
                  </a:lnTo>
                  <a:lnTo>
                    <a:pt x="252" y="654"/>
                  </a:lnTo>
                  <a:lnTo>
                    <a:pt x="252" y="648"/>
                  </a:lnTo>
                  <a:lnTo>
                    <a:pt x="246" y="648"/>
                  </a:lnTo>
                  <a:lnTo>
                    <a:pt x="246" y="642"/>
                  </a:lnTo>
                  <a:lnTo>
                    <a:pt x="240" y="642"/>
                  </a:lnTo>
                  <a:lnTo>
                    <a:pt x="240" y="636"/>
                  </a:lnTo>
                  <a:lnTo>
                    <a:pt x="234" y="636"/>
                  </a:lnTo>
                  <a:lnTo>
                    <a:pt x="228" y="636"/>
                  </a:lnTo>
                  <a:lnTo>
                    <a:pt x="228" y="630"/>
                  </a:lnTo>
                  <a:lnTo>
                    <a:pt x="222" y="630"/>
                  </a:lnTo>
                  <a:lnTo>
                    <a:pt x="216" y="630"/>
                  </a:lnTo>
                  <a:lnTo>
                    <a:pt x="210" y="630"/>
                  </a:lnTo>
                  <a:lnTo>
                    <a:pt x="204" y="630"/>
                  </a:lnTo>
                  <a:lnTo>
                    <a:pt x="198" y="624"/>
                  </a:lnTo>
                  <a:lnTo>
                    <a:pt x="192" y="624"/>
                  </a:lnTo>
                  <a:lnTo>
                    <a:pt x="186" y="624"/>
                  </a:lnTo>
                  <a:lnTo>
                    <a:pt x="180" y="624"/>
                  </a:lnTo>
                  <a:lnTo>
                    <a:pt x="174" y="618"/>
                  </a:lnTo>
                  <a:lnTo>
                    <a:pt x="168" y="618"/>
                  </a:lnTo>
                  <a:lnTo>
                    <a:pt x="162" y="618"/>
                  </a:lnTo>
                  <a:lnTo>
                    <a:pt x="156" y="618"/>
                  </a:lnTo>
                  <a:lnTo>
                    <a:pt x="150" y="618"/>
                  </a:lnTo>
                  <a:lnTo>
                    <a:pt x="144" y="612"/>
                  </a:lnTo>
                  <a:lnTo>
                    <a:pt x="144" y="606"/>
                  </a:lnTo>
                  <a:lnTo>
                    <a:pt x="138" y="606"/>
                  </a:lnTo>
                  <a:lnTo>
                    <a:pt x="138" y="600"/>
                  </a:lnTo>
                  <a:lnTo>
                    <a:pt x="138" y="594"/>
                  </a:lnTo>
                  <a:lnTo>
                    <a:pt x="132" y="594"/>
                  </a:lnTo>
                  <a:lnTo>
                    <a:pt x="132" y="588"/>
                  </a:lnTo>
                  <a:lnTo>
                    <a:pt x="132" y="582"/>
                  </a:lnTo>
                  <a:lnTo>
                    <a:pt x="126" y="576"/>
                  </a:lnTo>
                  <a:lnTo>
                    <a:pt x="126" y="570"/>
                  </a:lnTo>
                  <a:lnTo>
                    <a:pt x="120" y="570"/>
                  </a:lnTo>
                  <a:lnTo>
                    <a:pt x="114" y="570"/>
                  </a:lnTo>
                  <a:lnTo>
                    <a:pt x="108" y="570"/>
                  </a:lnTo>
                  <a:lnTo>
                    <a:pt x="102" y="564"/>
                  </a:lnTo>
                  <a:lnTo>
                    <a:pt x="96" y="558"/>
                  </a:lnTo>
                  <a:lnTo>
                    <a:pt x="90" y="558"/>
                  </a:lnTo>
                  <a:lnTo>
                    <a:pt x="84" y="552"/>
                  </a:lnTo>
                  <a:lnTo>
                    <a:pt x="78" y="552"/>
                  </a:lnTo>
                  <a:lnTo>
                    <a:pt x="72" y="552"/>
                  </a:lnTo>
                  <a:lnTo>
                    <a:pt x="66" y="552"/>
                  </a:lnTo>
                  <a:lnTo>
                    <a:pt x="60" y="552"/>
                  </a:lnTo>
                  <a:lnTo>
                    <a:pt x="54" y="552"/>
                  </a:lnTo>
                  <a:lnTo>
                    <a:pt x="48" y="552"/>
                  </a:lnTo>
                  <a:lnTo>
                    <a:pt x="48" y="546"/>
                  </a:lnTo>
                  <a:lnTo>
                    <a:pt x="48" y="540"/>
                  </a:lnTo>
                  <a:lnTo>
                    <a:pt x="48" y="534"/>
                  </a:lnTo>
                  <a:lnTo>
                    <a:pt x="42" y="534"/>
                  </a:lnTo>
                  <a:lnTo>
                    <a:pt x="36" y="534"/>
                  </a:lnTo>
                  <a:lnTo>
                    <a:pt x="36" y="528"/>
                  </a:lnTo>
                  <a:lnTo>
                    <a:pt x="36" y="522"/>
                  </a:lnTo>
                  <a:lnTo>
                    <a:pt x="36" y="516"/>
                  </a:lnTo>
                  <a:lnTo>
                    <a:pt x="36" y="510"/>
                  </a:lnTo>
                  <a:lnTo>
                    <a:pt x="36" y="504"/>
                  </a:lnTo>
                  <a:lnTo>
                    <a:pt x="36" y="498"/>
                  </a:lnTo>
                  <a:lnTo>
                    <a:pt x="30" y="498"/>
                  </a:lnTo>
                  <a:lnTo>
                    <a:pt x="30" y="492"/>
                  </a:lnTo>
                  <a:lnTo>
                    <a:pt x="30" y="486"/>
                  </a:lnTo>
                  <a:lnTo>
                    <a:pt x="24" y="486"/>
                  </a:lnTo>
                  <a:lnTo>
                    <a:pt x="24" y="480"/>
                  </a:lnTo>
                  <a:lnTo>
                    <a:pt x="18" y="474"/>
                  </a:lnTo>
                  <a:lnTo>
                    <a:pt x="12" y="468"/>
                  </a:lnTo>
                  <a:lnTo>
                    <a:pt x="12" y="462"/>
                  </a:lnTo>
                  <a:lnTo>
                    <a:pt x="6" y="462"/>
                  </a:lnTo>
                  <a:lnTo>
                    <a:pt x="6" y="456"/>
                  </a:lnTo>
                  <a:lnTo>
                    <a:pt x="0" y="450"/>
                  </a:lnTo>
                  <a:lnTo>
                    <a:pt x="6" y="444"/>
                  </a:lnTo>
                  <a:lnTo>
                    <a:pt x="6" y="438"/>
                  </a:lnTo>
                  <a:lnTo>
                    <a:pt x="12" y="438"/>
                  </a:lnTo>
                  <a:lnTo>
                    <a:pt x="18" y="432"/>
                  </a:lnTo>
                  <a:lnTo>
                    <a:pt x="24" y="432"/>
                  </a:lnTo>
                  <a:lnTo>
                    <a:pt x="30" y="432"/>
                  </a:lnTo>
                  <a:lnTo>
                    <a:pt x="30" y="426"/>
                  </a:lnTo>
                  <a:lnTo>
                    <a:pt x="30" y="420"/>
                  </a:lnTo>
                  <a:lnTo>
                    <a:pt x="30" y="414"/>
                  </a:lnTo>
                  <a:lnTo>
                    <a:pt x="30" y="408"/>
                  </a:lnTo>
                  <a:lnTo>
                    <a:pt x="30" y="402"/>
                  </a:lnTo>
                  <a:lnTo>
                    <a:pt x="24" y="402"/>
                  </a:lnTo>
                  <a:lnTo>
                    <a:pt x="24" y="396"/>
                  </a:lnTo>
                  <a:lnTo>
                    <a:pt x="24" y="390"/>
                  </a:lnTo>
                  <a:lnTo>
                    <a:pt x="24" y="384"/>
                  </a:lnTo>
                  <a:lnTo>
                    <a:pt x="24" y="378"/>
                  </a:lnTo>
                  <a:lnTo>
                    <a:pt x="24" y="372"/>
                  </a:lnTo>
                  <a:lnTo>
                    <a:pt x="24" y="366"/>
                  </a:lnTo>
                  <a:lnTo>
                    <a:pt x="30" y="366"/>
                  </a:lnTo>
                  <a:lnTo>
                    <a:pt x="24" y="366"/>
                  </a:lnTo>
                  <a:lnTo>
                    <a:pt x="24" y="360"/>
                  </a:lnTo>
                  <a:lnTo>
                    <a:pt x="30" y="360"/>
                  </a:lnTo>
                  <a:lnTo>
                    <a:pt x="30" y="354"/>
                  </a:lnTo>
                  <a:lnTo>
                    <a:pt x="30" y="348"/>
                  </a:lnTo>
                  <a:lnTo>
                    <a:pt x="30" y="342"/>
                  </a:lnTo>
                  <a:lnTo>
                    <a:pt x="30" y="336"/>
                  </a:lnTo>
                  <a:lnTo>
                    <a:pt x="30" y="330"/>
                  </a:lnTo>
                  <a:lnTo>
                    <a:pt x="24" y="318"/>
                  </a:lnTo>
                  <a:lnTo>
                    <a:pt x="24" y="312"/>
                  </a:lnTo>
                  <a:lnTo>
                    <a:pt x="30" y="306"/>
                  </a:lnTo>
                  <a:lnTo>
                    <a:pt x="30" y="300"/>
                  </a:lnTo>
                  <a:lnTo>
                    <a:pt x="30" y="294"/>
                  </a:lnTo>
                  <a:lnTo>
                    <a:pt x="30" y="288"/>
                  </a:lnTo>
                  <a:lnTo>
                    <a:pt x="30" y="282"/>
                  </a:lnTo>
                  <a:lnTo>
                    <a:pt x="30" y="276"/>
                  </a:lnTo>
                  <a:lnTo>
                    <a:pt x="30" y="270"/>
                  </a:lnTo>
                  <a:lnTo>
                    <a:pt x="30" y="264"/>
                  </a:lnTo>
                  <a:lnTo>
                    <a:pt x="24" y="264"/>
                  </a:lnTo>
                  <a:lnTo>
                    <a:pt x="24" y="258"/>
                  </a:lnTo>
                  <a:lnTo>
                    <a:pt x="24" y="246"/>
                  </a:lnTo>
                  <a:lnTo>
                    <a:pt x="24" y="240"/>
                  </a:lnTo>
                  <a:lnTo>
                    <a:pt x="18" y="240"/>
                  </a:lnTo>
                  <a:lnTo>
                    <a:pt x="18" y="234"/>
                  </a:lnTo>
                  <a:lnTo>
                    <a:pt x="18" y="228"/>
                  </a:lnTo>
                  <a:lnTo>
                    <a:pt x="12" y="228"/>
                  </a:lnTo>
                  <a:lnTo>
                    <a:pt x="12" y="222"/>
                  </a:lnTo>
                  <a:lnTo>
                    <a:pt x="12" y="216"/>
                  </a:lnTo>
                  <a:lnTo>
                    <a:pt x="6" y="210"/>
                  </a:lnTo>
                  <a:lnTo>
                    <a:pt x="0" y="204"/>
                  </a:lnTo>
                  <a:lnTo>
                    <a:pt x="0" y="198"/>
                  </a:lnTo>
                  <a:lnTo>
                    <a:pt x="6" y="198"/>
                  </a:lnTo>
                  <a:lnTo>
                    <a:pt x="6" y="192"/>
                  </a:lnTo>
                  <a:lnTo>
                    <a:pt x="12" y="192"/>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7" name="Freeform 37"/>
            <p:cNvSpPr>
              <a:spLocks/>
            </p:cNvSpPr>
            <p:nvPr>
              <p:custDataLst>
                <p:tags r:id="rId35"/>
              </p:custDataLst>
            </p:nvPr>
          </p:nvSpPr>
          <p:spPr bwMode="gray">
            <a:xfrm>
              <a:off x="853718" y="1667945"/>
              <a:ext cx="1046809" cy="1007914"/>
            </a:xfrm>
            <a:custGeom>
              <a:avLst/>
              <a:gdLst>
                <a:gd name="T0" fmla="*/ 236248 w 1146"/>
                <a:gd name="T1" fmla="*/ 407828 h 1152"/>
                <a:gd name="T2" fmla="*/ 229443 w 1146"/>
                <a:gd name="T3" fmla="*/ 389379 h 1152"/>
                <a:gd name="T4" fmla="*/ 208054 w 1146"/>
                <a:gd name="T5" fmla="*/ 382582 h 1152"/>
                <a:gd name="T6" fmla="*/ 195415 w 1146"/>
                <a:gd name="T7" fmla="*/ 372872 h 1152"/>
                <a:gd name="T8" fmla="*/ 177915 w 1146"/>
                <a:gd name="T9" fmla="*/ 353452 h 1152"/>
                <a:gd name="T10" fmla="*/ 161387 w 1146"/>
                <a:gd name="T11" fmla="*/ 339857 h 1152"/>
                <a:gd name="T12" fmla="*/ 141944 w 1146"/>
                <a:gd name="T13" fmla="*/ 327234 h 1152"/>
                <a:gd name="T14" fmla="*/ 122499 w 1146"/>
                <a:gd name="T15" fmla="*/ 314611 h 1152"/>
                <a:gd name="T16" fmla="*/ 103055 w 1146"/>
                <a:gd name="T17" fmla="*/ 299074 h 1152"/>
                <a:gd name="T18" fmla="*/ 79722 w 1146"/>
                <a:gd name="T19" fmla="*/ 284509 h 1152"/>
                <a:gd name="T20" fmla="*/ 57361 w 1146"/>
                <a:gd name="T21" fmla="*/ 267031 h 1152"/>
                <a:gd name="T22" fmla="*/ 28194 w 1146"/>
                <a:gd name="T23" fmla="*/ 248581 h 1152"/>
                <a:gd name="T24" fmla="*/ 0 w 1146"/>
                <a:gd name="T25" fmla="*/ 231103 h 1152"/>
                <a:gd name="T26" fmla="*/ 12639 w 1146"/>
                <a:gd name="T27" fmla="*/ 188378 h 1152"/>
                <a:gd name="T28" fmla="*/ 30139 w 1146"/>
                <a:gd name="T29" fmla="*/ 177696 h 1152"/>
                <a:gd name="T30" fmla="*/ 56388 w 1146"/>
                <a:gd name="T31" fmla="*/ 172842 h 1152"/>
                <a:gd name="T32" fmla="*/ 72916 w 1146"/>
                <a:gd name="T33" fmla="*/ 160218 h 1152"/>
                <a:gd name="T34" fmla="*/ 90416 w 1146"/>
                <a:gd name="T35" fmla="*/ 149537 h 1152"/>
                <a:gd name="T36" fmla="*/ 96249 w 1146"/>
                <a:gd name="T37" fmla="*/ 138856 h 1152"/>
                <a:gd name="T38" fmla="*/ 113749 w 1146"/>
                <a:gd name="T39" fmla="*/ 128175 h 1152"/>
                <a:gd name="T40" fmla="*/ 128332 w 1146"/>
                <a:gd name="T41" fmla="*/ 117494 h 1152"/>
                <a:gd name="T42" fmla="*/ 147776 w 1146"/>
                <a:gd name="T43" fmla="*/ 115552 h 1152"/>
                <a:gd name="T44" fmla="*/ 143888 w 1146"/>
                <a:gd name="T45" fmla="*/ 102928 h 1152"/>
                <a:gd name="T46" fmla="*/ 137082 w 1146"/>
                <a:gd name="T47" fmla="*/ 79624 h 1152"/>
                <a:gd name="T48" fmla="*/ 131249 w 1146"/>
                <a:gd name="T49" fmla="*/ 53406 h 1152"/>
                <a:gd name="T50" fmla="*/ 143888 w 1146"/>
                <a:gd name="T51" fmla="*/ 42725 h 1152"/>
                <a:gd name="T52" fmla="*/ 158471 w 1146"/>
                <a:gd name="T53" fmla="*/ 33985 h 1152"/>
                <a:gd name="T54" fmla="*/ 177915 w 1146"/>
                <a:gd name="T55" fmla="*/ 23305 h 1152"/>
                <a:gd name="T56" fmla="*/ 197360 w 1146"/>
                <a:gd name="T57" fmla="*/ 14565 h 1152"/>
                <a:gd name="T58" fmla="*/ 218748 w 1146"/>
                <a:gd name="T59" fmla="*/ 12623 h 1152"/>
                <a:gd name="T60" fmla="*/ 236248 w 1146"/>
                <a:gd name="T61" fmla="*/ 6797 h 1152"/>
                <a:gd name="T62" fmla="*/ 255693 w 1146"/>
                <a:gd name="T63" fmla="*/ 3884 h 1152"/>
                <a:gd name="T64" fmla="*/ 275136 w 1146"/>
                <a:gd name="T65" fmla="*/ 10681 h 1152"/>
                <a:gd name="T66" fmla="*/ 295553 w 1146"/>
                <a:gd name="T67" fmla="*/ 3884 h 1152"/>
                <a:gd name="T68" fmla="*/ 313053 w 1146"/>
                <a:gd name="T69" fmla="*/ 3884 h 1152"/>
                <a:gd name="T70" fmla="*/ 330553 w 1146"/>
                <a:gd name="T71" fmla="*/ 6797 h 1152"/>
                <a:gd name="T72" fmla="*/ 341247 w 1146"/>
                <a:gd name="T73" fmla="*/ 8739 h 1152"/>
                <a:gd name="T74" fmla="*/ 336386 w 1146"/>
                <a:gd name="T75" fmla="*/ 19421 h 1152"/>
                <a:gd name="T76" fmla="*/ 339303 w 1146"/>
                <a:gd name="T77" fmla="*/ 37870 h 1152"/>
                <a:gd name="T78" fmla="*/ 336386 w 1146"/>
                <a:gd name="T79" fmla="*/ 56320 h 1152"/>
                <a:gd name="T80" fmla="*/ 323747 w 1146"/>
                <a:gd name="T81" fmla="*/ 72827 h 1152"/>
                <a:gd name="T82" fmla="*/ 332497 w 1146"/>
                <a:gd name="T83" fmla="*/ 96131 h 1152"/>
                <a:gd name="T84" fmla="*/ 353886 w 1146"/>
                <a:gd name="T85" fmla="*/ 121378 h 1152"/>
                <a:gd name="T86" fmla="*/ 360692 w 1146"/>
                <a:gd name="T87" fmla="*/ 151479 h 1152"/>
                <a:gd name="T88" fmla="*/ 362636 w 1146"/>
                <a:gd name="T89" fmla="*/ 175754 h 1152"/>
                <a:gd name="T90" fmla="*/ 369441 w 1146"/>
                <a:gd name="T91" fmla="*/ 199059 h 1152"/>
                <a:gd name="T92" fmla="*/ 369441 w 1146"/>
                <a:gd name="T93" fmla="*/ 224306 h 1152"/>
                <a:gd name="T94" fmla="*/ 369441 w 1146"/>
                <a:gd name="T95" fmla="*/ 248581 h 1152"/>
                <a:gd name="T96" fmla="*/ 366525 w 1146"/>
                <a:gd name="T97" fmla="*/ 267031 h 1152"/>
                <a:gd name="T98" fmla="*/ 375275 w 1146"/>
                <a:gd name="T99" fmla="*/ 286451 h 1152"/>
                <a:gd name="T100" fmla="*/ 399580 w 1146"/>
                <a:gd name="T101" fmla="*/ 297132 h 1152"/>
                <a:gd name="T102" fmla="*/ 407358 w 1146"/>
                <a:gd name="T103" fmla="*/ 314611 h 1152"/>
                <a:gd name="T104" fmla="*/ 385969 w 1146"/>
                <a:gd name="T105" fmla="*/ 327234 h 1152"/>
                <a:gd name="T106" fmla="*/ 366525 w 1146"/>
                <a:gd name="T107" fmla="*/ 339857 h 1152"/>
                <a:gd name="T108" fmla="*/ 345136 w 1146"/>
                <a:gd name="T109" fmla="*/ 353452 h 1152"/>
                <a:gd name="T110" fmla="*/ 328609 w 1146"/>
                <a:gd name="T111" fmla="*/ 366075 h 1152"/>
                <a:gd name="T112" fmla="*/ 309164 w 1146"/>
                <a:gd name="T113" fmla="*/ 380640 h 1152"/>
                <a:gd name="T114" fmla="*/ 289720 w 1146"/>
                <a:gd name="T115" fmla="*/ 398118 h 1152"/>
                <a:gd name="T116" fmla="*/ 261526 w 1146"/>
                <a:gd name="T117" fmla="*/ 403944 h 11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152">
                  <a:moveTo>
                    <a:pt x="714" y="1140"/>
                  </a:moveTo>
                  <a:lnTo>
                    <a:pt x="708" y="1140"/>
                  </a:lnTo>
                  <a:lnTo>
                    <a:pt x="702" y="1140"/>
                  </a:lnTo>
                  <a:lnTo>
                    <a:pt x="702" y="1146"/>
                  </a:lnTo>
                  <a:lnTo>
                    <a:pt x="696" y="1146"/>
                  </a:lnTo>
                  <a:lnTo>
                    <a:pt x="690" y="1146"/>
                  </a:lnTo>
                  <a:lnTo>
                    <a:pt x="684" y="1146"/>
                  </a:lnTo>
                  <a:lnTo>
                    <a:pt x="678" y="1146"/>
                  </a:lnTo>
                  <a:lnTo>
                    <a:pt x="672" y="1146"/>
                  </a:lnTo>
                  <a:lnTo>
                    <a:pt x="672" y="1152"/>
                  </a:lnTo>
                  <a:lnTo>
                    <a:pt x="666" y="1152"/>
                  </a:lnTo>
                  <a:lnTo>
                    <a:pt x="666" y="1146"/>
                  </a:lnTo>
                  <a:lnTo>
                    <a:pt x="660" y="1146"/>
                  </a:lnTo>
                  <a:lnTo>
                    <a:pt x="654" y="1140"/>
                  </a:lnTo>
                  <a:lnTo>
                    <a:pt x="654" y="1134"/>
                  </a:lnTo>
                  <a:lnTo>
                    <a:pt x="660" y="1134"/>
                  </a:lnTo>
                  <a:lnTo>
                    <a:pt x="660" y="1128"/>
                  </a:lnTo>
                  <a:lnTo>
                    <a:pt x="660" y="1122"/>
                  </a:lnTo>
                  <a:lnTo>
                    <a:pt x="660" y="1116"/>
                  </a:lnTo>
                  <a:lnTo>
                    <a:pt x="660" y="1110"/>
                  </a:lnTo>
                  <a:lnTo>
                    <a:pt x="660" y="1104"/>
                  </a:lnTo>
                  <a:lnTo>
                    <a:pt x="660" y="1098"/>
                  </a:lnTo>
                  <a:lnTo>
                    <a:pt x="654" y="1098"/>
                  </a:lnTo>
                  <a:lnTo>
                    <a:pt x="654" y="1092"/>
                  </a:lnTo>
                  <a:lnTo>
                    <a:pt x="648" y="1092"/>
                  </a:lnTo>
                  <a:lnTo>
                    <a:pt x="642" y="1092"/>
                  </a:lnTo>
                  <a:lnTo>
                    <a:pt x="636" y="1092"/>
                  </a:lnTo>
                  <a:lnTo>
                    <a:pt x="636" y="1086"/>
                  </a:lnTo>
                  <a:lnTo>
                    <a:pt x="630" y="1086"/>
                  </a:lnTo>
                  <a:lnTo>
                    <a:pt x="624" y="1086"/>
                  </a:lnTo>
                  <a:lnTo>
                    <a:pt x="618" y="1086"/>
                  </a:lnTo>
                  <a:lnTo>
                    <a:pt x="612" y="1086"/>
                  </a:lnTo>
                  <a:lnTo>
                    <a:pt x="612" y="1080"/>
                  </a:lnTo>
                  <a:lnTo>
                    <a:pt x="612" y="1074"/>
                  </a:lnTo>
                  <a:lnTo>
                    <a:pt x="606" y="1074"/>
                  </a:lnTo>
                  <a:lnTo>
                    <a:pt x="600" y="1074"/>
                  </a:lnTo>
                  <a:lnTo>
                    <a:pt x="594" y="1074"/>
                  </a:lnTo>
                  <a:lnTo>
                    <a:pt x="588" y="1074"/>
                  </a:lnTo>
                  <a:lnTo>
                    <a:pt x="582" y="1074"/>
                  </a:lnTo>
                  <a:lnTo>
                    <a:pt x="582" y="1068"/>
                  </a:lnTo>
                  <a:lnTo>
                    <a:pt x="582" y="1074"/>
                  </a:lnTo>
                  <a:lnTo>
                    <a:pt x="582" y="1068"/>
                  </a:lnTo>
                  <a:lnTo>
                    <a:pt x="576" y="1068"/>
                  </a:lnTo>
                  <a:lnTo>
                    <a:pt x="576" y="1062"/>
                  </a:lnTo>
                  <a:lnTo>
                    <a:pt x="570" y="1062"/>
                  </a:lnTo>
                  <a:lnTo>
                    <a:pt x="570" y="1056"/>
                  </a:lnTo>
                  <a:lnTo>
                    <a:pt x="570" y="1050"/>
                  </a:lnTo>
                  <a:lnTo>
                    <a:pt x="564" y="1050"/>
                  </a:lnTo>
                  <a:lnTo>
                    <a:pt x="558" y="1050"/>
                  </a:lnTo>
                  <a:lnTo>
                    <a:pt x="558" y="1044"/>
                  </a:lnTo>
                  <a:lnTo>
                    <a:pt x="552" y="1044"/>
                  </a:lnTo>
                  <a:lnTo>
                    <a:pt x="546" y="1044"/>
                  </a:lnTo>
                  <a:lnTo>
                    <a:pt x="546" y="1038"/>
                  </a:lnTo>
                  <a:lnTo>
                    <a:pt x="546" y="1032"/>
                  </a:lnTo>
                  <a:lnTo>
                    <a:pt x="546" y="1026"/>
                  </a:lnTo>
                  <a:lnTo>
                    <a:pt x="546" y="1020"/>
                  </a:lnTo>
                  <a:lnTo>
                    <a:pt x="540" y="1020"/>
                  </a:lnTo>
                  <a:lnTo>
                    <a:pt x="534" y="1014"/>
                  </a:lnTo>
                  <a:lnTo>
                    <a:pt x="528" y="1008"/>
                  </a:lnTo>
                  <a:lnTo>
                    <a:pt x="522" y="1008"/>
                  </a:lnTo>
                  <a:lnTo>
                    <a:pt x="516" y="1002"/>
                  </a:lnTo>
                  <a:lnTo>
                    <a:pt x="510" y="1002"/>
                  </a:lnTo>
                  <a:lnTo>
                    <a:pt x="510" y="996"/>
                  </a:lnTo>
                  <a:lnTo>
                    <a:pt x="504" y="996"/>
                  </a:lnTo>
                  <a:lnTo>
                    <a:pt x="498" y="990"/>
                  </a:lnTo>
                  <a:lnTo>
                    <a:pt x="492" y="990"/>
                  </a:lnTo>
                  <a:lnTo>
                    <a:pt x="492" y="984"/>
                  </a:lnTo>
                  <a:lnTo>
                    <a:pt x="486" y="984"/>
                  </a:lnTo>
                  <a:lnTo>
                    <a:pt x="480" y="978"/>
                  </a:lnTo>
                  <a:lnTo>
                    <a:pt x="480" y="972"/>
                  </a:lnTo>
                  <a:lnTo>
                    <a:pt x="474" y="972"/>
                  </a:lnTo>
                  <a:lnTo>
                    <a:pt x="474" y="966"/>
                  </a:lnTo>
                  <a:lnTo>
                    <a:pt x="468" y="966"/>
                  </a:lnTo>
                  <a:lnTo>
                    <a:pt x="462" y="966"/>
                  </a:lnTo>
                  <a:lnTo>
                    <a:pt x="462" y="960"/>
                  </a:lnTo>
                  <a:lnTo>
                    <a:pt x="456" y="960"/>
                  </a:lnTo>
                  <a:lnTo>
                    <a:pt x="456" y="954"/>
                  </a:lnTo>
                  <a:lnTo>
                    <a:pt x="450" y="954"/>
                  </a:lnTo>
                  <a:lnTo>
                    <a:pt x="444" y="954"/>
                  </a:lnTo>
                  <a:lnTo>
                    <a:pt x="444" y="948"/>
                  </a:lnTo>
                  <a:lnTo>
                    <a:pt x="438" y="948"/>
                  </a:lnTo>
                  <a:lnTo>
                    <a:pt x="438" y="942"/>
                  </a:lnTo>
                  <a:lnTo>
                    <a:pt x="432" y="942"/>
                  </a:lnTo>
                  <a:lnTo>
                    <a:pt x="426" y="936"/>
                  </a:lnTo>
                  <a:lnTo>
                    <a:pt x="420" y="936"/>
                  </a:lnTo>
                  <a:lnTo>
                    <a:pt x="420" y="930"/>
                  </a:lnTo>
                  <a:lnTo>
                    <a:pt x="414" y="930"/>
                  </a:lnTo>
                  <a:lnTo>
                    <a:pt x="408" y="924"/>
                  </a:lnTo>
                  <a:lnTo>
                    <a:pt x="402" y="924"/>
                  </a:lnTo>
                  <a:lnTo>
                    <a:pt x="402" y="918"/>
                  </a:lnTo>
                  <a:lnTo>
                    <a:pt x="396" y="918"/>
                  </a:lnTo>
                  <a:lnTo>
                    <a:pt x="390" y="912"/>
                  </a:lnTo>
                  <a:lnTo>
                    <a:pt x="384" y="912"/>
                  </a:lnTo>
                  <a:lnTo>
                    <a:pt x="384" y="906"/>
                  </a:lnTo>
                  <a:lnTo>
                    <a:pt x="378" y="906"/>
                  </a:lnTo>
                  <a:lnTo>
                    <a:pt x="378" y="900"/>
                  </a:lnTo>
                  <a:lnTo>
                    <a:pt x="372" y="900"/>
                  </a:lnTo>
                  <a:lnTo>
                    <a:pt x="366" y="894"/>
                  </a:lnTo>
                  <a:lnTo>
                    <a:pt x="360" y="894"/>
                  </a:lnTo>
                  <a:lnTo>
                    <a:pt x="360" y="888"/>
                  </a:lnTo>
                  <a:lnTo>
                    <a:pt x="354" y="888"/>
                  </a:lnTo>
                  <a:lnTo>
                    <a:pt x="354" y="882"/>
                  </a:lnTo>
                  <a:lnTo>
                    <a:pt x="348" y="882"/>
                  </a:lnTo>
                  <a:lnTo>
                    <a:pt x="342" y="882"/>
                  </a:lnTo>
                  <a:lnTo>
                    <a:pt x="342" y="876"/>
                  </a:lnTo>
                  <a:lnTo>
                    <a:pt x="336" y="876"/>
                  </a:lnTo>
                  <a:lnTo>
                    <a:pt x="336" y="870"/>
                  </a:lnTo>
                  <a:lnTo>
                    <a:pt x="330" y="870"/>
                  </a:lnTo>
                  <a:lnTo>
                    <a:pt x="324" y="864"/>
                  </a:lnTo>
                  <a:lnTo>
                    <a:pt x="318" y="864"/>
                  </a:lnTo>
                  <a:lnTo>
                    <a:pt x="318" y="858"/>
                  </a:lnTo>
                  <a:lnTo>
                    <a:pt x="312" y="858"/>
                  </a:lnTo>
                  <a:lnTo>
                    <a:pt x="306" y="852"/>
                  </a:lnTo>
                  <a:lnTo>
                    <a:pt x="300" y="852"/>
                  </a:lnTo>
                  <a:lnTo>
                    <a:pt x="300" y="846"/>
                  </a:lnTo>
                  <a:lnTo>
                    <a:pt x="294" y="846"/>
                  </a:lnTo>
                  <a:lnTo>
                    <a:pt x="288" y="840"/>
                  </a:lnTo>
                  <a:lnTo>
                    <a:pt x="282" y="840"/>
                  </a:lnTo>
                  <a:lnTo>
                    <a:pt x="282" y="834"/>
                  </a:lnTo>
                  <a:lnTo>
                    <a:pt x="276" y="834"/>
                  </a:lnTo>
                  <a:lnTo>
                    <a:pt x="276" y="828"/>
                  </a:lnTo>
                  <a:lnTo>
                    <a:pt x="270" y="828"/>
                  </a:lnTo>
                  <a:lnTo>
                    <a:pt x="264" y="822"/>
                  </a:lnTo>
                  <a:lnTo>
                    <a:pt x="258" y="822"/>
                  </a:lnTo>
                  <a:lnTo>
                    <a:pt x="252" y="816"/>
                  </a:lnTo>
                  <a:lnTo>
                    <a:pt x="246" y="810"/>
                  </a:lnTo>
                  <a:lnTo>
                    <a:pt x="240" y="810"/>
                  </a:lnTo>
                  <a:lnTo>
                    <a:pt x="234" y="804"/>
                  </a:lnTo>
                  <a:lnTo>
                    <a:pt x="228" y="798"/>
                  </a:lnTo>
                  <a:lnTo>
                    <a:pt x="222" y="798"/>
                  </a:lnTo>
                  <a:lnTo>
                    <a:pt x="222" y="792"/>
                  </a:lnTo>
                  <a:lnTo>
                    <a:pt x="216" y="792"/>
                  </a:lnTo>
                  <a:lnTo>
                    <a:pt x="210" y="786"/>
                  </a:lnTo>
                  <a:lnTo>
                    <a:pt x="204" y="786"/>
                  </a:lnTo>
                  <a:lnTo>
                    <a:pt x="204" y="780"/>
                  </a:lnTo>
                  <a:lnTo>
                    <a:pt x="198" y="780"/>
                  </a:lnTo>
                  <a:lnTo>
                    <a:pt x="192" y="774"/>
                  </a:lnTo>
                  <a:lnTo>
                    <a:pt x="186" y="768"/>
                  </a:lnTo>
                  <a:lnTo>
                    <a:pt x="180" y="768"/>
                  </a:lnTo>
                  <a:lnTo>
                    <a:pt x="180" y="762"/>
                  </a:lnTo>
                  <a:lnTo>
                    <a:pt x="174" y="762"/>
                  </a:lnTo>
                  <a:lnTo>
                    <a:pt x="168" y="756"/>
                  </a:lnTo>
                  <a:lnTo>
                    <a:pt x="162" y="750"/>
                  </a:lnTo>
                  <a:lnTo>
                    <a:pt x="156" y="750"/>
                  </a:lnTo>
                  <a:lnTo>
                    <a:pt x="150" y="744"/>
                  </a:lnTo>
                  <a:lnTo>
                    <a:pt x="144" y="738"/>
                  </a:lnTo>
                  <a:lnTo>
                    <a:pt x="138" y="738"/>
                  </a:lnTo>
                  <a:lnTo>
                    <a:pt x="126" y="732"/>
                  </a:lnTo>
                  <a:lnTo>
                    <a:pt x="126" y="726"/>
                  </a:lnTo>
                  <a:lnTo>
                    <a:pt x="120" y="726"/>
                  </a:lnTo>
                  <a:lnTo>
                    <a:pt x="114" y="720"/>
                  </a:lnTo>
                  <a:lnTo>
                    <a:pt x="108" y="714"/>
                  </a:lnTo>
                  <a:lnTo>
                    <a:pt x="96" y="708"/>
                  </a:lnTo>
                  <a:lnTo>
                    <a:pt x="90" y="702"/>
                  </a:lnTo>
                  <a:lnTo>
                    <a:pt x="84" y="702"/>
                  </a:lnTo>
                  <a:lnTo>
                    <a:pt x="78" y="696"/>
                  </a:lnTo>
                  <a:lnTo>
                    <a:pt x="72" y="690"/>
                  </a:lnTo>
                  <a:lnTo>
                    <a:pt x="66" y="690"/>
                  </a:lnTo>
                  <a:lnTo>
                    <a:pt x="60" y="684"/>
                  </a:lnTo>
                  <a:lnTo>
                    <a:pt x="48" y="678"/>
                  </a:lnTo>
                  <a:lnTo>
                    <a:pt x="42" y="672"/>
                  </a:lnTo>
                  <a:lnTo>
                    <a:pt x="36" y="672"/>
                  </a:lnTo>
                  <a:lnTo>
                    <a:pt x="30" y="666"/>
                  </a:lnTo>
                  <a:lnTo>
                    <a:pt x="24" y="660"/>
                  </a:lnTo>
                  <a:lnTo>
                    <a:pt x="18" y="660"/>
                  </a:lnTo>
                  <a:lnTo>
                    <a:pt x="18" y="654"/>
                  </a:lnTo>
                  <a:lnTo>
                    <a:pt x="12" y="654"/>
                  </a:lnTo>
                  <a:lnTo>
                    <a:pt x="6" y="648"/>
                  </a:lnTo>
                  <a:lnTo>
                    <a:pt x="0" y="648"/>
                  </a:lnTo>
                  <a:lnTo>
                    <a:pt x="0" y="618"/>
                  </a:lnTo>
                  <a:lnTo>
                    <a:pt x="0" y="582"/>
                  </a:lnTo>
                  <a:lnTo>
                    <a:pt x="0" y="576"/>
                  </a:lnTo>
                  <a:lnTo>
                    <a:pt x="0" y="564"/>
                  </a:lnTo>
                  <a:lnTo>
                    <a:pt x="0" y="558"/>
                  </a:lnTo>
                  <a:lnTo>
                    <a:pt x="0" y="552"/>
                  </a:lnTo>
                  <a:lnTo>
                    <a:pt x="6" y="552"/>
                  </a:lnTo>
                  <a:lnTo>
                    <a:pt x="6" y="546"/>
                  </a:lnTo>
                  <a:lnTo>
                    <a:pt x="12" y="546"/>
                  </a:lnTo>
                  <a:lnTo>
                    <a:pt x="18" y="540"/>
                  </a:lnTo>
                  <a:lnTo>
                    <a:pt x="24" y="534"/>
                  </a:lnTo>
                  <a:lnTo>
                    <a:pt x="30" y="534"/>
                  </a:lnTo>
                  <a:lnTo>
                    <a:pt x="36" y="528"/>
                  </a:lnTo>
                  <a:lnTo>
                    <a:pt x="42" y="528"/>
                  </a:lnTo>
                  <a:lnTo>
                    <a:pt x="42" y="522"/>
                  </a:lnTo>
                  <a:lnTo>
                    <a:pt x="48" y="522"/>
                  </a:lnTo>
                  <a:lnTo>
                    <a:pt x="48" y="516"/>
                  </a:lnTo>
                  <a:lnTo>
                    <a:pt x="54" y="516"/>
                  </a:lnTo>
                  <a:lnTo>
                    <a:pt x="60" y="510"/>
                  </a:lnTo>
                  <a:lnTo>
                    <a:pt x="66" y="516"/>
                  </a:lnTo>
                  <a:lnTo>
                    <a:pt x="66" y="510"/>
                  </a:lnTo>
                  <a:lnTo>
                    <a:pt x="72" y="510"/>
                  </a:lnTo>
                  <a:lnTo>
                    <a:pt x="72" y="504"/>
                  </a:lnTo>
                  <a:lnTo>
                    <a:pt x="78" y="504"/>
                  </a:lnTo>
                  <a:lnTo>
                    <a:pt x="78" y="498"/>
                  </a:lnTo>
                  <a:lnTo>
                    <a:pt x="84" y="498"/>
                  </a:lnTo>
                  <a:lnTo>
                    <a:pt x="90" y="498"/>
                  </a:lnTo>
                  <a:lnTo>
                    <a:pt x="96" y="498"/>
                  </a:lnTo>
                  <a:lnTo>
                    <a:pt x="102" y="498"/>
                  </a:lnTo>
                  <a:lnTo>
                    <a:pt x="108" y="498"/>
                  </a:lnTo>
                  <a:lnTo>
                    <a:pt x="114" y="498"/>
                  </a:lnTo>
                  <a:lnTo>
                    <a:pt x="120" y="498"/>
                  </a:lnTo>
                  <a:lnTo>
                    <a:pt x="120" y="492"/>
                  </a:lnTo>
                  <a:lnTo>
                    <a:pt x="126" y="492"/>
                  </a:lnTo>
                  <a:lnTo>
                    <a:pt x="132" y="492"/>
                  </a:lnTo>
                  <a:lnTo>
                    <a:pt x="138" y="492"/>
                  </a:lnTo>
                  <a:lnTo>
                    <a:pt x="144" y="492"/>
                  </a:lnTo>
                  <a:lnTo>
                    <a:pt x="150" y="486"/>
                  </a:lnTo>
                  <a:lnTo>
                    <a:pt x="156" y="486"/>
                  </a:lnTo>
                  <a:lnTo>
                    <a:pt x="162" y="486"/>
                  </a:lnTo>
                  <a:lnTo>
                    <a:pt x="168" y="486"/>
                  </a:lnTo>
                  <a:lnTo>
                    <a:pt x="174" y="480"/>
                  </a:lnTo>
                  <a:lnTo>
                    <a:pt x="180" y="480"/>
                  </a:lnTo>
                  <a:lnTo>
                    <a:pt x="186" y="480"/>
                  </a:lnTo>
                  <a:lnTo>
                    <a:pt x="186" y="474"/>
                  </a:lnTo>
                  <a:lnTo>
                    <a:pt x="192" y="474"/>
                  </a:lnTo>
                  <a:lnTo>
                    <a:pt x="198" y="474"/>
                  </a:lnTo>
                  <a:lnTo>
                    <a:pt x="198" y="468"/>
                  </a:lnTo>
                  <a:lnTo>
                    <a:pt x="198" y="462"/>
                  </a:lnTo>
                  <a:lnTo>
                    <a:pt x="204" y="462"/>
                  </a:lnTo>
                  <a:lnTo>
                    <a:pt x="204" y="456"/>
                  </a:lnTo>
                  <a:lnTo>
                    <a:pt x="204" y="450"/>
                  </a:lnTo>
                  <a:lnTo>
                    <a:pt x="204" y="444"/>
                  </a:lnTo>
                  <a:lnTo>
                    <a:pt x="210" y="444"/>
                  </a:lnTo>
                  <a:lnTo>
                    <a:pt x="210" y="438"/>
                  </a:lnTo>
                  <a:lnTo>
                    <a:pt x="210" y="432"/>
                  </a:lnTo>
                  <a:lnTo>
                    <a:pt x="216" y="432"/>
                  </a:lnTo>
                  <a:lnTo>
                    <a:pt x="222" y="432"/>
                  </a:lnTo>
                  <a:lnTo>
                    <a:pt x="222" y="426"/>
                  </a:lnTo>
                  <a:lnTo>
                    <a:pt x="228" y="426"/>
                  </a:lnTo>
                  <a:lnTo>
                    <a:pt x="234" y="426"/>
                  </a:lnTo>
                  <a:lnTo>
                    <a:pt x="240" y="426"/>
                  </a:lnTo>
                  <a:lnTo>
                    <a:pt x="246" y="426"/>
                  </a:lnTo>
                  <a:lnTo>
                    <a:pt x="252" y="426"/>
                  </a:lnTo>
                  <a:lnTo>
                    <a:pt x="252" y="420"/>
                  </a:lnTo>
                  <a:lnTo>
                    <a:pt x="258" y="420"/>
                  </a:lnTo>
                  <a:lnTo>
                    <a:pt x="264" y="414"/>
                  </a:lnTo>
                  <a:lnTo>
                    <a:pt x="270" y="414"/>
                  </a:lnTo>
                  <a:lnTo>
                    <a:pt x="270" y="420"/>
                  </a:lnTo>
                  <a:lnTo>
                    <a:pt x="270" y="414"/>
                  </a:lnTo>
                  <a:lnTo>
                    <a:pt x="276" y="414"/>
                  </a:lnTo>
                  <a:lnTo>
                    <a:pt x="282" y="414"/>
                  </a:lnTo>
                  <a:lnTo>
                    <a:pt x="282" y="408"/>
                  </a:lnTo>
                  <a:lnTo>
                    <a:pt x="282" y="402"/>
                  </a:lnTo>
                  <a:lnTo>
                    <a:pt x="276" y="402"/>
                  </a:lnTo>
                  <a:lnTo>
                    <a:pt x="270" y="402"/>
                  </a:lnTo>
                  <a:lnTo>
                    <a:pt x="270" y="396"/>
                  </a:lnTo>
                  <a:lnTo>
                    <a:pt x="270" y="390"/>
                  </a:lnTo>
                  <a:lnTo>
                    <a:pt x="270" y="384"/>
                  </a:lnTo>
                  <a:lnTo>
                    <a:pt x="276" y="384"/>
                  </a:lnTo>
                  <a:lnTo>
                    <a:pt x="276" y="378"/>
                  </a:lnTo>
                  <a:lnTo>
                    <a:pt x="276" y="372"/>
                  </a:lnTo>
                  <a:lnTo>
                    <a:pt x="276" y="366"/>
                  </a:lnTo>
                  <a:lnTo>
                    <a:pt x="282" y="366"/>
                  </a:lnTo>
                  <a:lnTo>
                    <a:pt x="288" y="366"/>
                  </a:lnTo>
                  <a:lnTo>
                    <a:pt x="294" y="366"/>
                  </a:lnTo>
                  <a:lnTo>
                    <a:pt x="300" y="366"/>
                  </a:lnTo>
                  <a:lnTo>
                    <a:pt x="300" y="360"/>
                  </a:lnTo>
                  <a:lnTo>
                    <a:pt x="306" y="360"/>
                  </a:lnTo>
                  <a:lnTo>
                    <a:pt x="312" y="360"/>
                  </a:lnTo>
                  <a:lnTo>
                    <a:pt x="318" y="360"/>
                  </a:lnTo>
                  <a:lnTo>
                    <a:pt x="324" y="360"/>
                  </a:lnTo>
                  <a:lnTo>
                    <a:pt x="324" y="354"/>
                  </a:lnTo>
                  <a:lnTo>
                    <a:pt x="324" y="348"/>
                  </a:lnTo>
                  <a:lnTo>
                    <a:pt x="318" y="348"/>
                  </a:lnTo>
                  <a:lnTo>
                    <a:pt x="318" y="342"/>
                  </a:lnTo>
                  <a:lnTo>
                    <a:pt x="318" y="336"/>
                  </a:lnTo>
                  <a:lnTo>
                    <a:pt x="324" y="336"/>
                  </a:lnTo>
                  <a:lnTo>
                    <a:pt x="330" y="336"/>
                  </a:lnTo>
                  <a:lnTo>
                    <a:pt x="336" y="336"/>
                  </a:lnTo>
                  <a:lnTo>
                    <a:pt x="342" y="330"/>
                  </a:lnTo>
                  <a:lnTo>
                    <a:pt x="348" y="330"/>
                  </a:lnTo>
                  <a:lnTo>
                    <a:pt x="354" y="330"/>
                  </a:lnTo>
                  <a:lnTo>
                    <a:pt x="360" y="330"/>
                  </a:lnTo>
                  <a:lnTo>
                    <a:pt x="366" y="336"/>
                  </a:lnTo>
                  <a:lnTo>
                    <a:pt x="372" y="336"/>
                  </a:lnTo>
                  <a:lnTo>
                    <a:pt x="378" y="336"/>
                  </a:lnTo>
                  <a:lnTo>
                    <a:pt x="384" y="336"/>
                  </a:lnTo>
                  <a:lnTo>
                    <a:pt x="390" y="336"/>
                  </a:lnTo>
                  <a:lnTo>
                    <a:pt x="396" y="336"/>
                  </a:lnTo>
                  <a:lnTo>
                    <a:pt x="402" y="336"/>
                  </a:lnTo>
                  <a:lnTo>
                    <a:pt x="408" y="336"/>
                  </a:lnTo>
                  <a:lnTo>
                    <a:pt x="414" y="336"/>
                  </a:lnTo>
                  <a:lnTo>
                    <a:pt x="414" y="330"/>
                  </a:lnTo>
                  <a:lnTo>
                    <a:pt x="408" y="330"/>
                  </a:lnTo>
                  <a:lnTo>
                    <a:pt x="408" y="324"/>
                  </a:lnTo>
                  <a:lnTo>
                    <a:pt x="414" y="324"/>
                  </a:lnTo>
                  <a:lnTo>
                    <a:pt x="408" y="324"/>
                  </a:lnTo>
                  <a:lnTo>
                    <a:pt x="414" y="324"/>
                  </a:lnTo>
                  <a:lnTo>
                    <a:pt x="414" y="318"/>
                  </a:lnTo>
                  <a:lnTo>
                    <a:pt x="420" y="318"/>
                  </a:lnTo>
                  <a:lnTo>
                    <a:pt x="420" y="312"/>
                  </a:lnTo>
                  <a:lnTo>
                    <a:pt x="426" y="312"/>
                  </a:lnTo>
                  <a:lnTo>
                    <a:pt x="426" y="306"/>
                  </a:lnTo>
                  <a:lnTo>
                    <a:pt x="420" y="306"/>
                  </a:lnTo>
                  <a:lnTo>
                    <a:pt x="414" y="300"/>
                  </a:lnTo>
                  <a:lnTo>
                    <a:pt x="408" y="300"/>
                  </a:lnTo>
                  <a:lnTo>
                    <a:pt x="408" y="294"/>
                  </a:lnTo>
                  <a:lnTo>
                    <a:pt x="402" y="294"/>
                  </a:lnTo>
                  <a:lnTo>
                    <a:pt x="402" y="288"/>
                  </a:lnTo>
                  <a:lnTo>
                    <a:pt x="396" y="282"/>
                  </a:lnTo>
                  <a:lnTo>
                    <a:pt x="396" y="276"/>
                  </a:lnTo>
                  <a:lnTo>
                    <a:pt x="396" y="270"/>
                  </a:lnTo>
                  <a:lnTo>
                    <a:pt x="390" y="264"/>
                  </a:lnTo>
                  <a:lnTo>
                    <a:pt x="390" y="258"/>
                  </a:lnTo>
                  <a:lnTo>
                    <a:pt x="390" y="252"/>
                  </a:lnTo>
                  <a:lnTo>
                    <a:pt x="390" y="246"/>
                  </a:lnTo>
                  <a:lnTo>
                    <a:pt x="390" y="240"/>
                  </a:lnTo>
                  <a:lnTo>
                    <a:pt x="390" y="234"/>
                  </a:lnTo>
                  <a:lnTo>
                    <a:pt x="384" y="234"/>
                  </a:lnTo>
                  <a:lnTo>
                    <a:pt x="384" y="228"/>
                  </a:lnTo>
                  <a:lnTo>
                    <a:pt x="390" y="228"/>
                  </a:lnTo>
                  <a:lnTo>
                    <a:pt x="384" y="222"/>
                  </a:lnTo>
                  <a:lnTo>
                    <a:pt x="384" y="210"/>
                  </a:lnTo>
                  <a:lnTo>
                    <a:pt x="390" y="210"/>
                  </a:lnTo>
                  <a:lnTo>
                    <a:pt x="390" y="204"/>
                  </a:lnTo>
                  <a:lnTo>
                    <a:pt x="384" y="198"/>
                  </a:lnTo>
                  <a:lnTo>
                    <a:pt x="384" y="186"/>
                  </a:lnTo>
                  <a:lnTo>
                    <a:pt x="384" y="180"/>
                  </a:lnTo>
                  <a:lnTo>
                    <a:pt x="384" y="174"/>
                  </a:lnTo>
                  <a:lnTo>
                    <a:pt x="378" y="168"/>
                  </a:lnTo>
                  <a:lnTo>
                    <a:pt x="384" y="162"/>
                  </a:lnTo>
                  <a:lnTo>
                    <a:pt x="378" y="156"/>
                  </a:lnTo>
                  <a:lnTo>
                    <a:pt x="372" y="156"/>
                  </a:lnTo>
                  <a:lnTo>
                    <a:pt x="372" y="150"/>
                  </a:lnTo>
                  <a:lnTo>
                    <a:pt x="366" y="150"/>
                  </a:lnTo>
                  <a:lnTo>
                    <a:pt x="366" y="144"/>
                  </a:lnTo>
                  <a:lnTo>
                    <a:pt x="360" y="144"/>
                  </a:lnTo>
                  <a:lnTo>
                    <a:pt x="360" y="138"/>
                  </a:lnTo>
                  <a:lnTo>
                    <a:pt x="366" y="138"/>
                  </a:lnTo>
                  <a:lnTo>
                    <a:pt x="372" y="138"/>
                  </a:lnTo>
                  <a:lnTo>
                    <a:pt x="378" y="138"/>
                  </a:lnTo>
                  <a:lnTo>
                    <a:pt x="378" y="132"/>
                  </a:lnTo>
                  <a:lnTo>
                    <a:pt x="384" y="132"/>
                  </a:lnTo>
                  <a:lnTo>
                    <a:pt x="390" y="132"/>
                  </a:lnTo>
                  <a:lnTo>
                    <a:pt x="390" y="126"/>
                  </a:lnTo>
                  <a:lnTo>
                    <a:pt x="396" y="126"/>
                  </a:lnTo>
                  <a:lnTo>
                    <a:pt x="396" y="120"/>
                  </a:lnTo>
                  <a:lnTo>
                    <a:pt x="402" y="120"/>
                  </a:lnTo>
                  <a:lnTo>
                    <a:pt x="408" y="120"/>
                  </a:lnTo>
                  <a:lnTo>
                    <a:pt x="408" y="114"/>
                  </a:lnTo>
                  <a:lnTo>
                    <a:pt x="414" y="114"/>
                  </a:lnTo>
                  <a:lnTo>
                    <a:pt x="414" y="108"/>
                  </a:lnTo>
                  <a:lnTo>
                    <a:pt x="414" y="102"/>
                  </a:lnTo>
                  <a:lnTo>
                    <a:pt x="420" y="102"/>
                  </a:lnTo>
                  <a:lnTo>
                    <a:pt x="420" y="96"/>
                  </a:lnTo>
                  <a:lnTo>
                    <a:pt x="426" y="96"/>
                  </a:lnTo>
                  <a:lnTo>
                    <a:pt x="432" y="96"/>
                  </a:lnTo>
                  <a:lnTo>
                    <a:pt x="432" y="90"/>
                  </a:lnTo>
                  <a:lnTo>
                    <a:pt x="438" y="90"/>
                  </a:lnTo>
                  <a:lnTo>
                    <a:pt x="444" y="90"/>
                  </a:lnTo>
                  <a:lnTo>
                    <a:pt x="444" y="96"/>
                  </a:lnTo>
                  <a:lnTo>
                    <a:pt x="450" y="90"/>
                  </a:lnTo>
                  <a:lnTo>
                    <a:pt x="456" y="84"/>
                  </a:lnTo>
                  <a:lnTo>
                    <a:pt x="462" y="84"/>
                  </a:lnTo>
                  <a:lnTo>
                    <a:pt x="462" y="78"/>
                  </a:lnTo>
                  <a:lnTo>
                    <a:pt x="462" y="84"/>
                  </a:lnTo>
                  <a:lnTo>
                    <a:pt x="468" y="90"/>
                  </a:lnTo>
                  <a:lnTo>
                    <a:pt x="474" y="90"/>
                  </a:lnTo>
                  <a:lnTo>
                    <a:pt x="480" y="84"/>
                  </a:lnTo>
                  <a:lnTo>
                    <a:pt x="486" y="78"/>
                  </a:lnTo>
                  <a:lnTo>
                    <a:pt x="486" y="72"/>
                  </a:lnTo>
                  <a:lnTo>
                    <a:pt x="492" y="72"/>
                  </a:lnTo>
                  <a:lnTo>
                    <a:pt x="492" y="66"/>
                  </a:lnTo>
                  <a:lnTo>
                    <a:pt x="498" y="66"/>
                  </a:lnTo>
                  <a:lnTo>
                    <a:pt x="498" y="60"/>
                  </a:lnTo>
                  <a:lnTo>
                    <a:pt x="504" y="60"/>
                  </a:lnTo>
                  <a:lnTo>
                    <a:pt x="510" y="60"/>
                  </a:lnTo>
                  <a:lnTo>
                    <a:pt x="510" y="54"/>
                  </a:lnTo>
                  <a:lnTo>
                    <a:pt x="516" y="54"/>
                  </a:lnTo>
                  <a:lnTo>
                    <a:pt x="522" y="54"/>
                  </a:lnTo>
                  <a:lnTo>
                    <a:pt x="522" y="48"/>
                  </a:lnTo>
                  <a:lnTo>
                    <a:pt x="528" y="48"/>
                  </a:lnTo>
                  <a:lnTo>
                    <a:pt x="534" y="48"/>
                  </a:lnTo>
                  <a:lnTo>
                    <a:pt x="534" y="42"/>
                  </a:lnTo>
                  <a:lnTo>
                    <a:pt x="540" y="42"/>
                  </a:lnTo>
                  <a:lnTo>
                    <a:pt x="546" y="42"/>
                  </a:lnTo>
                  <a:lnTo>
                    <a:pt x="552" y="42"/>
                  </a:lnTo>
                  <a:lnTo>
                    <a:pt x="552" y="36"/>
                  </a:lnTo>
                  <a:lnTo>
                    <a:pt x="558" y="36"/>
                  </a:lnTo>
                  <a:lnTo>
                    <a:pt x="564" y="36"/>
                  </a:lnTo>
                  <a:lnTo>
                    <a:pt x="570" y="36"/>
                  </a:lnTo>
                  <a:lnTo>
                    <a:pt x="576" y="36"/>
                  </a:lnTo>
                  <a:lnTo>
                    <a:pt x="582" y="36"/>
                  </a:lnTo>
                  <a:lnTo>
                    <a:pt x="588" y="36"/>
                  </a:lnTo>
                  <a:lnTo>
                    <a:pt x="594" y="36"/>
                  </a:lnTo>
                  <a:lnTo>
                    <a:pt x="600" y="36"/>
                  </a:lnTo>
                  <a:lnTo>
                    <a:pt x="600" y="30"/>
                  </a:lnTo>
                  <a:lnTo>
                    <a:pt x="606" y="30"/>
                  </a:lnTo>
                  <a:lnTo>
                    <a:pt x="612" y="30"/>
                  </a:lnTo>
                  <a:lnTo>
                    <a:pt x="612" y="36"/>
                  </a:lnTo>
                  <a:lnTo>
                    <a:pt x="618" y="36"/>
                  </a:lnTo>
                  <a:lnTo>
                    <a:pt x="624" y="36"/>
                  </a:lnTo>
                  <a:lnTo>
                    <a:pt x="624" y="30"/>
                  </a:lnTo>
                  <a:lnTo>
                    <a:pt x="630" y="30"/>
                  </a:lnTo>
                  <a:lnTo>
                    <a:pt x="636" y="30"/>
                  </a:lnTo>
                  <a:lnTo>
                    <a:pt x="636" y="24"/>
                  </a:lnTo>
                  <a:lnTo>
                    <a:pt x="642" y="24"/>
                  </a:lnTo>
                  <a:lnTo>
                    <a:pt x="642" y="18"/>
                  </a:lnTo>
                  <a:lnTo>
                    <a:pt x="648" y="18"/>
                  </a:lnTo>
                  <a:lnTo>
                    <a:pt x="648" y="24"/>
                  </a:lnTo>
                  <a:lnTo>
                    <a:pt x="654" y="24"/>
                  </a:lnTo>
                  <a:lnTo>
                    <a:pt x="660" y="24"/>
                  </a:lnTo>
                  <a:lnTo>
                    <a:pt x="660" y="18"/>
                  </a:lnTo>
                  <a:lnTo>
                    <a:pt x="666" y="18"/>
                  </a:lnTo>
                  <a:lnTo>
                    <a:pt x="666" y="24"/>
                  </a:lnTo>
                  <a:lnTo>
                    <a:pt x="666" y="18"/>
                  </a:lnTo>
                  <a:lnTo>
                    <a:pt x="666" y="24"/>
                  </a:lnTo>
                  <a:lnTo>
                    <a:pt x="672" y="24"/>
                  </a:lnTo>
                  <a:lnTo>
                    <a:pt x="678" y="18"/>
                  </a:lnTo>
                  <a:lnTo>
                    <a:pt x="684" y="18"/>
                  </a:lnTo>
                  <a:lnTo>
                    <a:pt x="684" y="12"/>
                  </a:lnTo>
                  <a:lnTo>
                    <a:pt x="690" y="12"/>
                  </a:lnTo>
                  <a:lnTo>
                    <a:pt x="696" y="12"/>
                  </a:lnTo>
                  <a:lnTo>
                    <a:pt x="702" y="12"/>
                  </a:lnTo>
                  <a:lnTo>
                    <a:pt x="708" y="12"/>
                  </a:lnTo>
                  <a:lnTo>
                    <a:pt x="714" y="12"/>
                  </a:lnTo>
                  <a:lnTo>
                    <a:pt x="720" y="12"/>
                  </a:lnTo>
                  <a:lnTo>
                    <a:pt x="726" y="12"/>
                  </a:lnTo>
                  <a:lnTo>
                    <a:pt x="732" y="12"/>
                  </a:lnTo>
                  <a:lnTo>
                    <a:pt x="738" y="12"/>
                  </a:lnTo>
                  <a:lnTo>
                    <a:pt x="744" y="12"/>
                  </a:lnTo>
                  <a:lnTo>
                    <a:pt x="750" y="12"/>
                  </a:lnTo>
                  <a:lnTo>
                    <a:pt x="750" y="18"/>
                  </a:lnTo>
                  <a:lnTo>
                    <a:pt x="756" y="18"/>
                  </a:lnTo>
                  <a:lnTo>
                    <a:pt x="762" y="18"/>
                  </a:lnTo>
                  <a:lnTo>
                    <a:pt x="762" y="24"/>
                  </a:lnTo>
                  <a:lnTo>
                    <a:pt x="762" y="18"/>
                  </a:lnTo>
                  <a:lnTo>
                    <a:pt x="762" y="24"/>
                  </a:lnTo>
                  <a:lnTo>
                    <a:pt x="768" y="30"/>
                  </a:lnTo>
                  <a:lnTo>
                    <a:pt x="774" y="30"/>
                  </a:lnTo>
                  <a:lnTo>
                    <a:pt x="780" y="30"/>
                  </a:lnTo>
                  <a:lnTo>
                    <a:pt x="786" y="30"/>
                  </a:lnTo>
                  <a:lnTo>
                    <a:pt x="786" y="24"/>
                  </a:lnTo>
                  <a:lnTo>
                    <a:pt x="792" y="24"/>
                  </a:lnTo>
                  <a:lnTo>
                    <a:pt x="792" y="18"/>
                  </a:lnTo>
                  <a:lnTo>
                    <a:pt x="798" y="18"/>
                  </a:lnTo>
                  <a:lnTo>
                    <a:pt x="804" y="18"/>
                  </a:lnTo>
                  <a:lnTo>
                    <a:pt x="810" y="18"/>
                  </a:lnTo>
                  <a:lnTo>
                    <a:pt x="816" y="18"/>
                  </a:lnTo>
                  <a:lnTo>
                    <a:pt x="816" y="12"/>
                  </a:lnTo>
                  <a:lnTo>
                    <a:pt x="822" y="12"/>
                  </a:lnTo>
                  <a:lnTo>
                    <a:pt x="828" y="12"/>
                  </a:lnTo>
                  <a:lnTo>
                    <a:pt x="828" y="6"/>
                  </a:lnTo>
                  <a:lnTo>
                    <a:pt x="834" y="0"/>
                  </a:lnTo>
                  <a:lnTo>
                    <a:pt x="840" y="0"/>
                  </a:lnTo>
                  <a:lnTo>
                    <a:pt x="846" y="0"/>
                  </a:lnTo>
                  <a:lnTo>
                    <a:pt x="846" y="6"/>
                  </a:lnTo>
                  <a:lnTo>
                    <a:pt x="852" y="6"/>
                  </a:lnTo>
                  <a:lnTo>
                    <a:pt x="858" y="6"/>
                  </a:lnTo>
                  <a:lnTo>
                    <a:pt x="858" y="12"/>
                  </a:lnTo>
                  <a:lnTo>
                    <a:pt x="858" y="6"/>
                  </a:lnTo>
                  <a:lnTo>
                    <a:pt x="864" y="6"/>
                  </a:lnTo>
                  <a:lnTo>
                    <a:pt x="864" y="12"/>
                  </a:lnTo>
                  <a:lnTo>
                    <a:pt x="870" y="12"/>
                  </a:lnTo>
                  <a:lnTo>
                    <a:pt x="876" y="12"/>
                  </a:lnTo>
                  <a:lnTo>
                    <a:pt x="882" y="12"/>
                  </a:lnTo>
                  <a:lnTo>
                    <a:pt x="882" y="6"/>
                  </a:lnTo>
                  <a:lnTo>
                    <a:pt x="882" y="0"/>
                  </a:lnTo>
                  <a:lnTo>
                    <a:pt x="888" y="0"/>
                  </a:lnTo>
                  <a:lnTo>
                    <a:pt x="894" y="0"/>
                  </a:lnTo>
                  <a:lnTo>
                    <a:pt x="900" y="0"/>
                  </a:lnTo>
                  <a:lnTo>
                    <a:pt x="900" y="6"/>
                  </a:lnTo>
                  <a:lnTo>
                    <a:pt x="906" y="6"/>
                  </a:lnTo>
                  <a:lnTo>
                    <a:pt x="912" y="6"/>
                  </a:lnTo>
                  <a:lnTo>
                    <a:pt x="912" y="12"/>
                  </a:lnTo>
                  <a:lnTo>
                    <a:pt x="912" y="18"/>
                  </a:lnTo>
                  <a:lnTo>
                    <a:pt x="918" y="18"/>
                  </a:lnTo>
                  <a:lnTo>
                    <a:pt x="924" y="18"/>
                  </a:lnTo>
                  <a:lnTo>
                    <a:pt x="930" y="12"/>
                  </a:lnTo>
                  <a:lnTo>
                    <a:pt x="936" y="12"/>
                  </a:lnTo>
                  <a:lnTo>
                    <a:pt x="936" y="6"/>
                  </a:lnTo>
                  <a:lnTo>
                    <a:pt x="942" y="6"/>
                  </a:lnTo>
                  <a:lnTo>
                    <a:pt x="942" y="12"/>
                  </a:lnTo>
                  <a:lnTo>
                    <a:pt x="948" y="12"/>
                  </a:lnTo>
                  <a:lnTo>
                    <a:pt x="954" y="12"/>
                  </a:lnTo>
                  <a:lnTo>
                    <a:pt x="960" y="12"/>
                  </a:lnTo>
                  <a:lnTo>
                    <a:pt x="960" y="18"/>
                  </a:lnTo>
                  <a:lnTo>
                    <a:pt x="966" y="18"/>
                  </a:lnTo>
                  <a:lnTo>
                    <a:pt x="960" y="18"/>
                  </a:lnTo>
                  <a:lnTo>
                    <a:pt x="954" y="18"/>
                  </a:lnTo>
                  <a:lnTo>
                    <a:pt x="954" y="24"/>
                  </a:lnTo>
                  <a:lnTo>
                    <a:pt x="948" y="24"/>
                  </a:lnTo>
                  <a:lnTo>
                    <a:pt x="954" y="24"/>
                  </a:lnTo>
                  <a:lnTo>
                    <a:pt x="954" y="30"/>
                  </a:lnTo>
                  <a:lnTo>
                    <a:pt x="948" y="30"/>
                  </a:lnTo>
                  <a:lnTo>
                    <a:pt x="948" y="36"/>
                  </a:lnTo>
                  <a:lnTo>
                    <a:pt x="942" y="36"/>
                  </a:lnTo>
                  <a:lnTo>
                    <a:pt x="936" y="36"/>
                  </a:lnTo>
                  <a:lnTo>
                    <a:pt x="936" y="42"/>
                  </a:lnTo>
                  <a:lnTo>
                    <a:pt x="942" y="42"/>
                  </a:lnTo>
                  <a:lnTo>
                    <a:pt x="948" y="42"/>
                  </a:lnTo>
                  <a:lnTo>
                    <a:pt x="948" y="48"/>
                  </a:lnTo>
                  <a:lnTo>
                    <a:pt x="948" y="54"/>
                  </a:lnTo>
                  <a:lnTo>
                    <a:pt x="942" y="54"/>
                  </a:lnTo>
                  <a:lnTo>
                    <a:pt x="948" y="60"/>
                  </a:lnTo>
                  <a:lnTo>
                    <a:pt x="942" y="60"/>
                  </a:lnTo>
                  <a:lnTo>
                    <a:pt x="942" y="66"/>
                  </a:lnTo>
                  <a:lnTo>
                    <a:pt x="948" y="66"/>
                  </a:lnTo>
                  <a:lnTo>
                    <a:pt x="942" y="66"/>
                  </a:lnTo>
                  <a:lnTo>
                    <a:pt x="942" y="72"/>
                  </a:lnTo>
                  <a:lnTo>
                    <a:pt x="942" y="78"/>
                  </a:lnTo>
                  <a:lnTo>
                    <a:pt x="942" y="84"/>
                  </a:lnTo>
                  <a:lnTo>
                    <a:pt x="942" y="90"/>
                  </a:lnTo>
                  <a:lnTo>
                    <a:pt x="942" y="96"/>
                  </a:lnTo>
                  <a:lnTo>
                    <a:pt x="948" y="96"/>
                  </a:lnTo>
                  <a:lnTo>
                    <a:pt x="948" y="102"/>
                  </a:lnTo>
                  <a:lnTo>
                    <a:pt x="948" y="108"/>
                  </a:lnTo>
                  <a:lnTo>
                    <a:pt x="948" y="114"/>
                  </a:lnTo>
                  <a:lnTo>
                    <a:pt x="942" y="114"/>
                  </a:lnTo>
                  <a:lnTo>
                    <a:pt x="942" y="120"/>
                  </a:lnTo>
                  <a:lnTo>
                    <a:pt x="942" y="126"/>
                  </a:lnTo>
                  <a:lnTo>
                    <a:pt x="948" y="126"/>
                  </a:lnTo>
                  <a:lnTo>
                    <a:pt x="954" y="126"/>
                  </a:lnTo>
                  <a:lnTo>
                    <a:pt x="948" y="126"/>
                  </a:lnTo>
                  <a:lnTo>
                    <a:pt x="948" y="132"/>
                  </a:lnTo>
                  <a:lnTo>
                    <a:pt x="948" y="138"/>
                  </a:lnTo>
                  <a:lnTo>
                    <a:pt x="942" y="138"/>
                  </a:lnTo>
                  <a:lnTo>
                    <a:pt x="942" y="144"/>
                  </a:lnTo>
                  <a:lnTo>
                    <a:pt x="942" y="150"/>
                  </a:lnTo>
                  <a:lnTo>
                    <a:pt x="942" y="156"/>
                  </a:lnTo>
                  <a:lnTo>
                    <a:pt x="942" y="162"/>
                  </a:lnTo>
                  <a:lnTo>
                    <a:pt x="942" y="168"/>
                  </a:lnTo>
                  <a:lnTo>
                    <a:pt x="936" y="168"/>
                  </a:lnTo>
                  <a:lnTo>
                    <a:pt x="936" y="174"/>
                  </a:lnTo>
                  <a:lnTo>
                    <a:pt x="930" y="174"/>
                  </a:lnTo>
                  <a:lnTo>
                    <a:pt x="930" y="180"/>
                  </a:lnTo>
                  <a:lnTo>
                    <a:pt x="924" y="180"/>
                  </a:lnTo>
                  <a:lnTo>
                    <a:pt x="918" y="186"/>
                  </a:lnTo>
                  <a:lnTo>
                    <a:pt x="918" y="192"/>
                  </a:lnTo>
                  <a:lnTo>
                    <a:pt x="912" y="192"/>
                  </a:lnTo>
                  <a:lnTo>
                    <a:pt x="912" y="198"/>
                  </a:lnTo>
                  <a:lnTo>
                    <a:pt x="906" y="198"/>
                  </a:lnTo>
                  <a:lnTo>
                    <a:pt x="906" y="204"/>
                  </a:lnTo>
                  <a:lnTo>
                    <a:pt x="900" y="204"/>
                  </a:lnTo>
                  <a:lnTo>
                    <a:pt x="900" y="210"/>
                  </a:lnTo>
                  <a:lnTo>
                    <a:pt x="900" y="216"/>
                  </a:lnTo>
                  <a:lnTo>
                    <a:pt x="900" y="222"/>
                  </a:lnTo>
                  <a:lnTo>
                    <a:pt x="900" y="228"/>
                  </a:lnTo>
                  <a:lnTo>
                    <a:pt x="906" y="234"/>
                  </a:lnTo>
                  <a:lnTo>
                    <a:pt x="906" y="240"/>
                  </a:lnTo>
                  <a:lnTo>
                    <a:pt x="906" y="246"/>
                  </a:lnTo>
                  <a:lnTo>
                    <a:pt x="912" y="252"/>
                  </a:lnTo>
                  <a:lnTo>
                    <a:pt x="912" y="258"/>
                  </a:lnTo>
                  <a:lnTo>
                    <a:pt x="918" y="264"/>
                  </a:lnTo>
                  <a:lnTo>
                    <a:pt x="924" y="270"/>
                  </a:lnTo>
                  <a:lnTo>
                    <a:pt x="930" y="270"/>
                  </a:lnTo>
                  <a:lnTo>
                    <a:pt x="936" y="276"/>
                  </a:lnTo>
                  <a:lnTo>
                    <a:pt x="942" y="288"/>
                  </a:lnTo>
                  <a:lnTo>
                    <a:pt x="942" y="294"/>
                  </a:lnTo>
                  <a:lnTo>
                    <a:pt x="942" y="300"/>
                  </a:lnTo>
                  <a:lnTo>
                    <a:pt x="948" y="312"/>
                  </a:lnTo>
                  <a:lnTo>
                    <a:pt x="954" y="312"/>
                  </a:lnTo>
                  <a:lnTo>
                    <a:pt x="960" y="318"/>
                  </a:lnTo>
                  <a:lnTo>
                    <a:pt x="966" y="324"/>
                  </a:lnTo>
                  <a:lnTo>
                    <a:pt x="972" y="330"/>
                  </a:lnTo>
                  <a:lnTo>
                    <a:pt x="978" y="330"/>
                  </a:lnTo>
                  <a:lnTo>
                    <a:pt x="978" y="336"/>
                  </a:lnTo>
                  <a:lnTo>
                    <a:pt x="984" y="336"/>
                  </a:lnTo>
                  <a:lnTo>
                    <a:pt x="990" y="342"/>
                  </a:lnTo>
                  <a:lnTo>
                    <a:pt x="990" y="354"/>
                  </a:lnTo>
                  <a:lnTo>
                    <a:pt x="990" y="360"/>
                  </a:lnTo>
                  <a:lnTo>
                    <a:pt x="990" y="366"/>
                  </a:lnTo>
                  <a:lnTo>
                    <a:pt x="996" y="372"/>
                  </a:lnTo>
                  <a:lnTo>
                    <a:pt x="996" y="378"/>
                  </a:lnTo>
                  <a:lnTo>
                    <a:pt x="996" y="384"/>
                  </a:lnTo>
                  <a:lnTo>
                    <a:pt x="996" y="390"/>
                  </a:lnTo>
                  <a:lnTo>
                    <a:pt x="996" y="396"/>
                  </a:lnTo>
                  <a:lnTo>
                    <a:pt x="1002" y="402"/>
                  </a:lnTo>
                  <a:lnTo>
                    <a:pt x="1002" y="408"/>
                  </a:lnTo>
                  <a:lnTo>
                    <a:pt x="1002" y="414"/>
                  </a:lnTo>
                  <a:lnTo>
                    <a:pt x="1008" y="420"/>
                  </a:lnTo>
                  <a:lnTo>
                    <a:pt x="1008" y="426"/>
                  </a:lnTo>
                  <a:lnTo>
                    <a:pt x="1008" y="432"/>
                  </a:lnTo>
                  <a:lnTo>
                    <a:pt x="1008" y="438"/>
                  </a:lnTo>
                  <a:lnTo>
                    <a:pt x="1008" y="444"/>
                  </a:lnTo>
                  <a:lnTo>
                    <a:pt x="1014" y="450"/>
                  </a:lnTo>
                  <a:lnTo>
                    <a:pt x="1014" y="456"/>
                  </a:lnTo>
                  <a:lnTo>
                    <a:pt x="1008" y="456"/>
                  </a:lnTo>
                  <a:lnTo>
                    <a:pt x="1008" y="462"/>
                  </a:lnTo>
                  <a:lnTo>
                    <a:pt x="1002" y="462"/>
                  </a:lnTo>
                  <a:lnTo>
                    <a:pt x="1002" y="468"/>
                  </a:lnTo>
                  <a:lnTo>
                    <a:pt x="1008" y="474"/>
                  </a:lnTo>
                  <a:lnTo>
                    <a:pt x="1014" y="480"/>
                  </a:lnTo>
                  <a:lnTo>
                    <a:pt x="1014" y="486"/>
                  </a:lnTo>
                  <a:lnTo>
                    <a:pt x="1014" y="492"/>
                  </a:lnTo>
                  <a:lnTo>
                    <a:pt x="1020" y="492"/>
                  </a:lnTo>
                  <a:lnTo>
                    <a:pt x="1020" y="498"/>
                  </a:lnTo>
                  <a:lnTo>
                    <a:pt x="1020" y="504"/>
                  </a:lnTo>
                  <a:lnTo>
                    <a:pt x="1026" y="504"/>
                  </a:lnTo>
                  <a:lnTo>
                    <a:pt x="1026" y="510"/>
                  </a:lnTo>
                  <a:lnTo>
                    <a:pt x="1026" y="522"/>
                  </a:lnTo>
                  <a:lnTo>
                    <a:pt x="1026" y="528"/>
                  </a:lnTo>
                  <a:lnTo>
                    <a:pt x="1032" y="528"/>
                  </a:lnTo>
                  <a:lnTo>
                    <a:pt x="1032" y="534"/>
                  </a:lnTo>
                  <a:lnTo>
                    <a:pt x="1032" y="540"/>
                  </a:lnTo>
                  <a:lnTo>
                    <a:pt x="1032" y="546"/>
                  </a:lnTo>
                  <a:lnTo>
                    <a:pt x="1032" y="552"/>
                  </a:lnTo>
                  <a:lnTo>
                    <a:pt x="1032" y="558"/>
                  </a:lnTo>
                  <a:lnTo>
                    <a:pt x="1032" y="564"/>
                  </a:lnTo>
                  <a:lnTo>
                    <a:pt x="1032" y="570"/>
                  </a:lnTo>
                  <a:lnTo>
                    <a:pt x="1026" y="576"/>
                  </a:lnTo>
                  <a:lnTo>
                    <a:pt x="1026" y="582"/>
                  </a:lnTo>
                  <a:lnTo>
                    <a:pt x="1032" y="594"/>
                  </a:lnTo>
                  <a:lnTo>
                    <a:pt x="1032" y="600"/>
                  </a:lnTo>
                  <a:lnTo>
                    <a:pt x="1032" y="606"/>
                  </a:lnTo>
                  <a:lnTo>
                    <a:pt x="1032" y="612"/>
                  </a:lnTo>
                  <a:lnTo>
                    <a:pt x="1032" y="618"/>
                  </a:lnTo>
                  <a:lnTo>
                    <a:pt x="1032" y="624"/>
                  </a:lnTo>
                  <a:lnTo>
                    <a:pt x="1026" y="624"/>
                  </a:lnTo>
                  <a:lnTo>
                    <a:pt x="1026" y="630"/>
                  </a:lnTo>
                  <a:lnTo>
                    <a:pt x="1032" y="630"/>
                  </a:lnTo>
                  <a:lnTo>
                    <a:pt x="1026" y="630"/>
                  </a:lnTo>
                  <a:lnTo>
                    <a:pt x="1026" y="636"/>
                  </a:lnTo>
                  <a:lnTo>
                    <a:pt x="1026" y="642"/>
                  </a:lnTo>
                  <a:lnTo>
                    <a:pt x="1026" y="648"/>
                  </a:lnTo>
                  <a:lnTo>
                    <a:pt x="1026" y="654"/>
                  </a:lnTo>
                  <a:lnTo>
                    <a:pt x="1026" y="660"/>
                  </a:lnTo>
                  <a:lnTo>
                    <a:pt x="1026" y="666"/>
                  </a:lnTo>
                  <a:lnTo>
                    <a:pt x="1032" y="666"/>
                  </a:lnTo>
                  <a:lnTo>
                    <a:pt x="1032" y="672"/>
                  </a:lnTo>
                  <a:lnTo>
                    <a:pt x="1032" y="678"/>
                  </a:lnTo>
                  <a:lnTo>
                    <a:pt x="1032" y="684"/>
                  </a:lnTo>
                  <a:lnTo>
                    <a:pt x="1032" y="690"/>
                  </a:lnTo>
                  <a:lnTo>
                    <a:pt x="1032" y="696"/>
                  </a:lnTo>
                  <a:lnTo>
                    <a:pt x="1026" y="696"/>
                  </a:lnTo>
                  <a:lnTo>
                    <a:pt x="1020" y="696"/>
                  </a:lnTo>
                  <a:lnTo>
                    <a:pt x="1014" y="702"/>
                  </a:lnTo>
                  <a:lnTo>
                    <a:pt x="1008" y="702"/>
                  </a:lnTo>
                  <a:lnTo>
                    <a:pt x="1008" y="708"/>
                  </a:lnTo>
                  <a:lnTo>
                    <a:pt x="1002" y="714"/>
                  </a:lnTo>
                  <a:lnTo>
                    <a:pt x="1008" y="720"/>
                  </a:lnTo>
                  <a:lnTo>
                    <a:pt x="1008" y="726"/>
                  </a:lnTo>
                  <a:lnTo>
                    <a:pt x="1014" y="726"/>
                  </a:lnTo>
                  <a:lnTo>
                    <a:pt x="1014" y="732"/>
                  </a:lnTo>
                  <a:lnTo>
                    <a:pt x="1020" y="738"/>
                  </a:lnTo>
                  <a:lnTo>
                    <a:pt x="1026" y="744"/>
                  </a:lnTo>
                  <a:lnTo>
                    <a:pt x="1026" y="750"/>
                  </a:lnTo>
                  <a:lnTo>
                    <a:pt x="1032" y="750"/>
                  </a:lnTo>
                  <a:lnTo>
                    <a:pt x="1032" y="756"/>
                  </a:lnTo>
                  <a:lnTo>
                    <a:pt x="1032" y="762"/>
                  </a:lnTo>
                  <a:lnTo>
                    <a:pt x="1038" y="762"/>
                  </a:lnTo>
                  <a:lnTo>
                    <a:pt x="1038" y="768"/>
                  </a:lnTo>
                  <a:lnTo>
                    <a:pt x="1038" y="774"/>
                  </a:lnTo>
                  <a:lnTo>
                    <a:pt x="1038" y="780"/>
                  </a:lnTo>
                  <a:lnTo>
                    <a:pt x="1038" y="786"/>
                  </a:lnTo>
                  <a:lnTo>
                    <a:pt x="1038" y="792"/>
                  </a:lnTo>
                  <a:lnTo>
                    <a:pt x="1038" y="798"/>
                  </a:lnTo>
                  <a:lnTo>
                    <a:pt x="1044" y="798"/>
                  </a:lnTo>
                  <a:lnTo>
                    <a:pt x="1050" y="798"/>
                  </a:lnTo>
                  <a:lnTo>
                    <a:pt x="1050" y="804"/>
                  </a:lnTo>
                  <a:lnTo>
                    <a:pt x="1050" y="810"/>
                  </a:lnTo>
                  <a:lnTo>
                    <a:pt x="1050" y="816"/>
                  </a:lnTo>
                  <a:lnTo>
                    <a:pt x="1056" y="816"/>
                  </a:lnTo>
                  <a:lnTo>
                    <a:pt x="1062" y="816"/>
                  </a:lnTo>
                  <a:lnTo>
                    <a:pt x="1068" y="816"/>
                  </a:lnTo>
                  <a:lnTo>
                    <a:pt x="1074" y="816"/>
                  </a:lnTo>
                  <a:lnTo>
                    <a:pt x="1080" y="816"/>
                  </a:lnTo>
                  <a:lnTo>
                    <a:pt x="1086" y="816"/>
                  </a:lnTo>
                  <a:lnTo>
                    <a:pt x="1092" y="822"/>
                  </a:lnTo>
                  <a:lnTo>
                    <a:pt x="1098" y="822"/>
                  </a:lnTo>
                  <a:lnTo>
                    <a:pt x="1104" y="828"/>
                  </a:lnTo>
                  <a:lnTo>
                    <a:pt x="1110" y="834"/>
                  </a:lnTo>
                  <a:lnTo>
                    <a:pt x="1116" y="834"/>
                  </a:lnTo>
                  <a:lnTo>
                    <a:pt x="1122" y="834"/>
                  </a:lnTo>
                  <a:lnTo>
                    <a:pt x="1128" y="834"/>
                  </a:lnTo>
                  <a:lnTo>
                    <a:pt x="1128" y="840"/>
                  </a:lnTo>
                  <a:lnTo>
                    <a:pt x="1134" y="846"/>
                  </a:lnTo>
                  <a:lnTo>
                    <a:pt x="1134" y="852"/>
                  </a:lnTo>
                  <a:lnTo>
                    <a:pt x="1134" y="858"/>
                  </a:lnTo>
                  <a:lnTo>
                    <a:pt x="1140" y="858"/>
                  </a:lnTo>
                  <a:lnTo>
                    <a:pt x="1140" y="864"/>
                  </a:lnTo>
                  <a:lnTo>
                    <a:pt x="1140" y="870"/>
                  </a:lnTo>
                  <a:lnTo>
                    <a:pt x="1146" y="870"/>
                  </a:lnTo>
                  <a:lnTo>
                    <a:pt x="1146" y="876"/>
                  </a:lnTo>
                  <a:lnTo>
                    <a:pt x="1146" y="882"/>
                  </a:lnTo>
                  <a:lnTo>
                    <a:pt x="1140" y="882"/>
                  </a:lnTo>
                  <a:lnTo>
                    <a:pt x="1134" y="882"/>
                  </a:lnTo>
                  <a:lnTo>
                    <a:pt x="1134" y="888"/>
                  </a:lnTo>
                  <a:lnTo>
                    <a:pt x="1128" y="888"/>
                  </a:lnTo>
                  <a:lnTo>
                    <a:pt x="1122" y="894"/>
                  </a:lnTo>
                  <a:lnTo>
                    <a:pt x="1116" y="894"/>
                  </a:lnTo>
                  <a:lnTo>
                    <a:pt x="1116" y="900"/>
                  </a:lnTo>
                  <a:lnTo>
                    <a:pt x="1110" y="900"/>
                  </a:lnTo>
                  <a:lnTo>
                    <a:pt x="1104" y="906"/>
                  </a:lnTo>
                  <a:lnTo>
                    <a:pt x="1098" y="906"/>
                  </a:lnTo>
                  <a:lnTo>
                    <a:pt x="1098" y="912"/>
                  </a:lnTo>
                  <a:lnTo>
                    <a:pt x="1092" y="912"/>
                  </a:lnTo>
                  <a:lnTo>
                    <a:pt x="1086" y="912"/>
                  </a:lnTo>
                  <a:lnTo>
                    <a:pt x="1080" y="918"/>
                  </a:lnTo>
                  <a:lnTo>
                    <a:pt x="1080" y="924"/>
                  </a:lnTo>
                  <a:lnTo>
                    <a:pt x="1074" y="924"/>
                  </a:lnTo>
                  <a:lnTo>
                    <a:pt x="1068" y="924"/>
                  </a:lnTo>
                  <a:lnTo>
                    <a:pt x="1068" y="930"/>
                  </a:lnTo>
                  <a:lnTo>
                    <a:pt x="1062" y="930"/>
                  </a:lnTo>
                  <a:lnTo>
                    <a:pt x="1056" y="936"/>
                  </a:lnTo>
                  <a:lnTo>
                    <a:pt x="1050" y="936"/>
                  </a:lnTo>
                  <a:lnTo>
                    <a:pt x="1050" y="942"/>
                  </a:lnTo>
                  <a:lnTo>
                    <a:pt x="1044" y="942"/>
                  </a:lnTo>
                  <a:lnTo>
                    <a:pt x="1038" y="948"/>
                  </a:lnTo>
                  <a:lnTo>
                    <a:pt x="1032" y="948"/>
                  </a:lnTo>
                  <a:lnTo>
                    <a:pt x="1032" y="954"/>
                  </a:lnTo>
                  <a:lnTo>
                    <a:pt x="1026" y="954"/>
                  </a:lnTo>
                  <a:lnTo>
                    <a:pt x="1020" y="954"/>
                  </a:lnTo>
                  <a:lnTo>
                    <a:pt x="1020" y="960"/>
                  </a:lnTo>
                  <a:lnTo>
                    <a:pt x="1014" y="960"/>
                  </a:lnTo>
                  <a:lnTo>
                    <a:pt x="1008" y="966"/>
                  </a:lnTo>
                  <a:lnTo>
                    <a:pt x="1002" y="966"/>
                  </a:lnTo>
                  <a:lnTo>
                    <a:pt x="1002" y="972"/>
                  </a:lnTo>
                  <a:lnTo>
                    <a:pt x="996" y="972"/>
                  </a:lnTo>
                  <a:lnTo>
                    <a:pt x="990" y="978"/>
                  </a:lnTo>
                  <a:lnTo>
                    <a:pt x="984" y="978"/>
                  </a:lnTo>
                  <a:lnTo>
                    <a:pt x="984" y="984"/>
                  </a:lnTo>
                  <a:lnTo>
                    <a:pt x="978" y="984"/>
                  </a:lnTo>
                  <a:lnTo>
                    <a:pt x="972" y="990"/>
                  </a:lnTo>
                  <a:lnTo>
                    <a:pt x="966" y="990"/>
                  </a:lnTo>
                  <a:lnTo>
                    <a:pt x="966" y="996"/>
                  </a:lnTo>
                  <a:lnTo>
                    <a:pt x="960" y="996"/>
                  </a:lnTo>
                  <a:lnTo>
                    <a:pt x="954" y="996"/>
                  </a:lnTo>
                  <a:lnTo>
                    <a:pt x="954" y="1002"/>
                  </a:lnTo>
                  <a:lnTo>
                    <a:pt x="948" y="1002"/>
                  </a:lnTo>
                  <a:lnTo>
                    <a:pt x="948" y="1008"/>
                  </a:lnTo>
                  <a:lnTo>
                    <a:pt x="942" y="1008"/>
                  </a:lnTo>
                  <a:lnTo>
                    <a:pt x="936" y="1014"/>
                  </a:lnTo>
                  <a:lnTo>
                    <a:pt x="930" y="1014"/>
                  </a:lnTo>
                  <a:lnTo>
                    <a:pt x="930" y="1020"/>
                  </a:lnTo>
                  <a:lnTo>
                    <a:pt x="924" y="1020"/>
                  </a:lnTo>
                  <a:lnTo>
                    <a:pt x="918" y="1020"/>
                  </a:lnTo>
                  <a:lnTo>
                    <a:pt x="918" y="1026"/>
                  </a:lnTo>
                  <a:lnTo>
                    <a:pt x="912" y="1026"/>
                  </a:lnTo>
                  <a:lnTo>
                    <a:pt x="912" y="1032"/>
                  </a:lnTo>
                  <a:lnTo>
                    <a:pt x="906" y="1032"/>
                  </a:lnTo>
                  <a:lnTo>
                    <a:pt x="900" y="1032"/>
                  </a:lnTo>
                  <a:lnTo>
                    <a:pt x="900" y="1038"/>
                  </a:lnTo>
                  <a:lnTo>
                    <a:pt x="894" y="1038"/>
                  </a:lnTo>
                  <a:lnTo>
                    <a:pt x="888" y="1044"/>
                  </a:lnTo>
                  <a:lnTo>
                    <a:pt x="882" y="1050"/>
                  </a:lnTo>
                  <a:lnTo>
                    <a:pt x="876" y="1050"/>
                  </a:lnTo>
                  <a:lnTo>
                    <a:pt x="876" y="1056"/>
                  </a:lnTo>
                  <a:lnTo>
                    <a:pt x="870" y="1062"/>
                  </a:lnTo>
                  <a:lnTo>
                    <a:pt x="864" y="1062"/>
                  </a:lnTo>
                  <a:lnTo>
                    <a:pt x="864" y="1068"/>
                  </a:lnTo>
                  <a:lnTo>
                    <a:pt x="858" y="1068"/>
                  </a:lnTo>
                  <a:lnTo>
                    <a:pt x="858" y="1074"/>
                  </a:lnTo>
                  <a:lnTo>
                    <a:pt x="852" y="1074"/>
                  </a:lnTo>
                  <a:lnTo>
                    <a:pt x="852" y="1080"/>
                  </a:lnTo>
                  <a:lnTo>
                    <a:pt x="846" y="1080"/>
                  </a:lnTo>
                  <a:lnTo>
                    <a:pt x="846" y="1086"/>
                  </a:lnTo>
                  <a:lnTo>
                    <a:pt x="840" y="1086"/>
                  </a:lnTo>
                  <a:lnTo>
                    <a:pt x="834" y="1092"/>
                  </a:lnTo>
                  <a:lnTo>
                    <a:pt x="828" y="1098"/>
                  </a:lnTo>
                  <a:lnTo>
                    <a:pt x="828" y="1104"/>
                  </a:lnTo>
                  <a:lnTo>
                    <a:pt x="822" y="1104"/>
                  </a:lnTo>
                  <a:lnTo>
                    <a:pt x="816" y="1110"/>
                  </a:lnTo>
                  <a:lnTo>
                    <a:pt x="810" y="1116"/>
                  </a:lnTo>
                  <a:lnTo>
                    <a:pt x="804" y="1122"/>
                  </a:lnTo>
                  <a:lnTo>
                    <a:pt x="798" y="1122"/>
                  </a:lnTo>
                  <a:lnTo>
                    <a:pt x="792" y="1128"/>
                  </a:lnTo>
                  <a:lnTo>
                    <a:pt x="786" y="1128"/>
                  </a:lnTo>
                  <a:lnTo>
                    <a:pt x="780" y="1128"/>
                  </a:lnTo>
                  <a:lnTo>
                    <a:pt x="774" y="1128"/>
                  </a:lnTo>
                  <a:lnTo>
                    <a:pt x="768" y="1128"/>
                  </a:lnTo>
                  <a:lnTo>
                    <a:pt x="762" y="1128"/>
                  </a:lnTo>
                  <a:lnTo>
                    <a:pt x="756" y="1134"/>
                  </a:lnTo>
                  <a:lnTo>
                    <a:pt x="750" y="1134"/>
                  </a:lnTo>
                  <a:lnTo>
                    <a:pt x="744" y="1134"/>
                  </a:lnTo>
                  <a:lnTo>
                    <a:pt x="738" y="1134"/>
                  </a:lnTo>
                  <a:lnTo>
                    <a:pt x="732" y="1134"/>
                  </a:lnTo>
                  <a:lnTo>
                    <a:pt x="726" y="1140"/>
                  </a:lnTo>
                  <a:lnTo>
                    <a:pt x="720" y="1140"/>
                  </a:lnTo>
                  <a:lnTo>
                    <a:pt x="714" y="114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8" name="Freeform 38"/>
            <p:cNvSpPr>
              <a:spLocks noEditPoints="1"/>
            </p:cNvSpPr>
            <p:nvPr>
              <p:custDataLst>
                <p:tags r:id="rId36"/>
              </p:custDataLst>
            </p:nvPr>
          </p:nvSpPr>
          <p:spPr bwMode="gray">
            <a:xfrm>
              <a:off x="1676462" y="1652284"/>
              <a:ext cx="207728" cy="413904"/>
            </a:xfrm>
            <a:custGeom>
              <a:avLst/>
              <a:gdLst>
                <a:gd name="T0" fmla="*/ 30002 w 228"/>
                <a:gd name="T1" fmla="*/ 6779 h 474"/>
                <a:gd name="T2" fmla="*/ 37744 w 228"/>
                <a:gd name="T3" fmla="*/ 1937 h 474"/>
                <a:gd name="T4" fmla="*/ 44519 w 228"/>
                <a:gd name="T5" fmla="*/ 1937 h 474"/>
                <a:gd name="T6" fmla="*/ 46454 w 228"/>
                <a:gd name="T7" fmla="*/ 3874 h 474"/>
                <a:gd name="T8" fmla="*/ 53229 w 228"/>
                <a:gd name="T9" fmla="*/ 1937 h 474"/>
                <a:gd name="T10" fmla="*/ 53229 w 228"/>
                <a:gd name="T11" fmla="*/ 6779 h 474"/>
                <a:gd name="T12" fmla="*/ 55164 w 228"/>
                <a:gd name="T13" fmla="*/ 12590 h 474"/>
                <a:gd name="T14" fmla="*/ 60003 w 228"/>
                <a:gd name="T15" fmla="*/ 10653 h 474"/>
                <a:gd name="T16" fmla="*/ 70649 w 228"/>
                <a:gd name="T17" fmla="*/ 6779 h 474"/>
                <a:gd name="T18" fmla="*/ 67745 w 228"/>
                <a:gd name="T19" fmla="*/ 17432 h 474"/>
                <a:gd name="T20" fmla="*/ 61939 w 228"/>
                <a:gd name="T21" fmla="*/ 23243 h 474"/>
                <a:gd name="T22" fmla="*/ 57100 w 228"/>
                <a:gd name="T23" fmla="*/ 31959 h 474"/>
                <a:gd name="T24" fmla="*/ 63875 w 228"/>
                <a:gd name="T25" fmla="*/ 37770 h 474"/>
                <a:gd name="T26" fmla="*/ 65810 w 228"/>
                <a:gd name="T27" fmla="*/ 40675 h 474"/>
                <a:gd name="T28" fmla="*/ 70649 w 228"/>
                <a:gd name="T29" fmla="*/ 44549 h 474"/>
                <a:gd name="T30" fmla="*/ 71617 w 228"/>
                <a:gd name="T31" fmla="*/ 51329 h 474"/>
                <a:gd name="T32" fmla="*/ 65810 w 228"/>
                <a:gd name="T33" fmla="*/ 60045 h 474"/>
                <a:gd name="T34" fmla="*/ 60003 w 228"/>
                <a:gd name="T35" fmla="*/ 67792 h 474"/>
                <a:gd name="T36" fmla="*/ 51293 w 228"/>
                <a:gd name="T37" fmla="*/ 72634 h 474"/>
                <a:gd name="T38" fmla="*/ 51293 w 228"/>
                <a:gd name="T39" fmla="*/ 83287 h 474"/>
                <a:gd name="T40" fmla="*/ 55164 w 228"/>
                <a:gd name="T41" fmla="*/ 87161 h 474"/>
                <a:gd name="T42" fmla="*/ 63875 w 228"/>
                <a:gd name="T43" fmla="*/ 87161 h 474"/>
                <a:gd name="T44" fmla="*/ 65810 w 228"/>
                <a:gd name="T45" fmla="*/ 93940 h 474"/>
                <a:gd name="T46" fmla="*/ 70649 w 228"/>
                <a:gd name="T47" fmla="*/ 90066 h 474"/>
                <a:gd name="T48" fmla="*/ 74520 w 228"/>
                <a:gd name="T49" fmla="*/ 97814 h 474"/>
                <a:gd name="T50" fmla="*/ 76456 w 228"/>
                <a:gd name="T51" fmla="*/ 100720 h 474"/>
                <a:gd name="T52" fmla="*/ 78392 w 228"/>
                <a:gd name="T53" fmla="*/ 104593 h 474"/>
                <a:gd name="T54" fmla="*/ 81295 w 228"/>
                <a:gd name="T55" fmla="*/ 115246 h 474"/>
                <a:gd name="T56" fmla="*/ 74520 w 228"/>
                <a:gd name="T57" fmla="*/ 121057 h 474"/>
                <a:gd name="T58" fmla="*/ 63875 w 228"/>
                <a:gd name="T59" fmla="*/ 127837 h 474"/>
                <a:gd name="T60" fmla="*/ 57100 w 228"/>
                <a:gd name="T61" fmla="*/ 134615 h 474"/>
                <a:gd name="T62" fmla="*/ 51293 w 228"/>
                <a:gd name="T63" fmla="*/ 140426 h 474"/>
                <a:gd name="T64" fmla="*/ 53229 w 228"/>
                <a:gd name="T65" fmla="*/ 149142 h 474"/>
                <a:gd name="T66" fmla="*/ 53229 w 228"/>
                <a:gd name="T67" fmla="*/ 157858 h 474"/>
                <a:gd name="T68" fmla="*/ 46454 w 228"/>
                <a:gd name="T69" fmla="*/ 165606 h 474"/>
                <a:gd name="T70" fmla="*/ 37744 w 228"/>
                <a:gd name="T71" fmla="*/ 161732 h 474"/>
                <a:gd name="T72" fmla="*/ 36777 w 228"/>
                <a:gd name="T73" fmla="*/ 149142 h 474"/>
                <a:gd name="T74" fmla="*/ 31937 w 228"/>
                <a:gd name="T75" fmla="*/ 136553 h 474"/>
                <a:gd name="T76" fmla="*/ 27098 w 228"/>
                <a:gd name="T77" fmla="*/ 123962 h 474"/>
                <a:gd name="T78" fmla="*/ 14517 w 228"/>
                <a:gd name="T79" fmla="*/ 113309 h 474"/>
                <a:gd name="T80" fmla="*/ 6775 w 228"/>
                <a:gd name="T81" fmla="*/ 100720 h 474"/>
                <a:gd name="T82" fmla="*/ 0 w 228"/>
                <a:gd name="T83" fmla="*/ 87161 h 474"/>
                <a:gd name="T84" fmla="*/ 1935 w 228"/>
                <a:gd name="T85" fmla="*/ 76508 h 474"/>
                <a:gd name="T86" fmla="*/ 10646 w 228"/>
                <a:gd name="T87" fmla="*/ 70697 h 474"/>
                <a:gd name="T88" fmla="*/ 14517 w 228"/>
                <a:gd name="T89" fmla="*/ 61981 h 474"/>
                <a:gd name="T90" fmla="*/ 17421 w 228"/>
                <a:gd name="T91" fmla="*/ 51329 h 474"/>
                <a:gd name="T92" fmla="*/ 17421 w 228"/>
                <a:gd name="T93" fmla="*/ 46486 h 474"/>
                <a:gd name="T94" fmla="*/ 14517 w 228"/>
                <a:gd name="T95" fmla="*/ 36801 h 474"/>
                <a:gd name="T96" fmla="*/ 14517 w 228"/>
                <a:gd name="T97" fmla="*/ 27117 h 474"/>
                <a:gd name="T98" fmla="*/ 14517 w 228"/>
                <a:gd name="T99" fmla="*/ 21306 h 474"/>
                <a:gd name="T100" fmla="*/ 19356 w 228"/>
                <a:gd name="T101" fmla="*/ 17432 h 474"/>
                <a:gd name="T102" fmla="*/ 23227 w 228"/>
                <a:gd name="T103" fmla="*/ 12590 h 474"/>
                <a:gd name="T104" fmla="*/ 65810 w 228"/>
                <a:gd name="T105" fmla="*/ 83287 h 474"/>
                <a:gd name="T106" fmla="*/ 67745 w 228"/>
                <a:gd name="T107" fmla="*/ 87161 h 474"/>
                <a:gd name="T108" fmla="*/ 70649 w 228"/>
                <a:gd name="T109" fmla="*/ 61981 h 474"/>
                <a:gd name="T110" fmla="*/ 70649 w 228"/>
                <a:gd name="T111" fmla="*/ 63918 h 4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28" h="474">
                  <a:moveTo>
                    <a:pt x="60" y="30"/>
                  </a:moveTo>
                  <a:lnTo>
                    <a:pt x="66" y="24"/>
                  </a:lnTo>
                  <a:lnTo>
                    <a:pt x="72" y="24"/>
                  </a:lnTo>
                  <a:lnTo>
                    <a:pt x="78" y="24"/>
                  </a:lnTo>
                  <a:lnTo>
                    <a:pt x="78" y="18"/>
                  </a:lnTo>
                  <a:lnTo>
                    <a:pt x="84" y="18"/>
                  </a:lnTo>
                  <a:lnTo>
                    <a:pt x="84" y="12"/>
                  </a:lnTo>
                  <a:lnTo>
                    <a:pt x="90" y="12"/>
                  </a:lnTo>
                  <a:lnTo>
                    <a:pt x="90" y="6"/>
                  </a:lnTo>
                  <a:lnTo>
                    <a:pt x="96" y="6"/>
                  </a:lnTo>
                  <a:lnTo>
                    <a:pt x="102" y="6"/>
                  </a:lnTo>
                  <a:lnTo>
                    <a:pt x="108" y="6"/>
                  </a:lnTo>
                  <a:lnTo>
                    <a:pt x="114" y="0"/>
                  </a:lnTo>
                  <a:lnTo>
                    <a:pt x="120" y="0"/>
                  </a:lnTo>
                  <a:lnTo>
                    <a:pt x="126" y="0"/>
                  </a:lnTo>
                  <a:lnTo>
                    <a:pt x="132" y="0"/>
                  </a:lnTo>
                  <a:lnTo>
                    <a:pt x="132" y="6"/>
                  </a:lnTo>
                  <a:lnTo>
                    <a:pt x="126" y="6"/>
                  </a:lnTo>
                  <a:lnTo>
                    <a:pt x="132" y="6"/>
                  </a:lnTo>
                  <a:lnTo>
                    <a:pt x="126" y="6"/>
                  </a:lnTo>
                  <a:lnTo>
                    <a:pt x="126" y="12"/>
                  </a:lnTo>
                  <a:lnTo>
                    <a:pt x="126" y="6"/>
                  </a:lnTo>
                  <a:lnTo>
                    <a:pt x="126" y="12"/>
                  </a:lnTo>
                  <a:lnTo>
                    <a:pt x="132" y="12"/>
                  </a:lnTo>
                  <a:lnTo>
                    <a:pt x="132" y="6"/>
                  </a:lnTo>
                  <a:lnTo>
                    <a:pt x="126" y="6"/>
                  </a:lnTo>
                  <a:lnTo>
                    <a:pt x="132" y="6"/>
                  </a:lnTo>
                  <a:lnTo>
                    <a:pt x="138" y="6"/>
                  </a:lnTo>
                  <a:lnTo>
                    <a:pt x="144" y="6"/>
                  </a:lnTo>
                  <a:lnTo>
                    <a:pt x="150" y="6"/>
                  </a:lnTo>
                  <a:lnTo>
                    <a:pt x="150" y="12"/>
                  </a:lnTo>
                  <a:lnTo>
                    <a:pt x="144" y="12"/>
                  </a:lnTo>
                  <a:lnTo>
                    <a:pt x="150" y="12"/>
                  </a:lnTo>
                  <a:lnTo>
                    <a:pt x="150" y="18"/>
                  </a:lnTo>
                  <a:lnTo>
                    <a:pt x="150" y="12"/>
                  </a:lnTo>
                  <a:lnTo>
                    <a:pt x="150" y="18"/>
                  </a:lnTo>
                  <a:lnTo>
                    <a:pt x="144" y="18"/>
                  </a:lnTo>
                  <a:lnTo>
                    <a:pt x="150" y="18"/>
                  </a:lnTo>
                  <a:lnTo>
                    <a:pt x="150" y="24"/>
                  </a:lnTo>
                  <a:lnTo>
                    <a:pt x="150" y="30"/>
                  </a:lnTo>
                  <a:lnTo>
                    <a:pt x="156" y="30"/>
                  </a:lnTo>
                  <a:lnTo>
                    <a:pt x="156" y="36"/>
                  </a:lnTo>
                  <a:lnTo>
                    <a:pt x="150" y="36"/>
                  </a:lnTo>
                  <a:lnTo>
                    <a:pt x="156" y="42"/>
                  </a:lnTo>
                  <a:lnTo>
                    <a:pt x="162" y="42"/>
                  </a:lnTo>
                  <a:lnTo>
                    <a:pt x="168" y="42"/>
                  </a:lnTo>
                  <a:lnTo>
                    <a:pt x="168" y="36"/>
                  </a:lnTo>
                  <a:lnTo>
                    <a:pt x="168" y="30"/>
                  </a:lnTo>
                  <a:lnTo>
                    <a:pt x="174" y="30"/>
                  </a:lnTo>
                  <a:lnTo>
                    <a:pt x="180" y="30"/>
                  </a:lnTo>
                  <a:lnTo>
                    <a:pt x="186" y="24"/>
                  </a:lnTo>
                  <a:lnTo>
                    <a:pt x="186" y="18"/>
                  </a:lnTo>
                  <a:lnTo>
                    <a:pt x="192" y="18"/>
                  </a:lnTo>
                  <a:lnTo>
                    <a:pt x="198" y="18"/>
                  </a:lnTo>
                  <a:lnTo>
                    <a:pt x="198" y="24"/>
                  </a:lnTo>
                  <a:lnTo>
                    <a:pt x="198" y="30"/>
                  </a:lnTo>
                  <a:lnTo>
                    <a:pt x="198" y="36"/>
                  </a:lnTo>
                  <a:lnTo>
                    <a:pt x="192" y="36"/>
                  </a:lnTo>
                  <a:lnTo>
                    <a:pt x="192" y="42"/>
                  </a:lnTo>
                  <a:lnTo>
                    <a:pt x="192" y="48"/>
                  </a:lnTo>
                  <a:lnTo>
                    <a:pt x="186" y="48"/>
                  </a:lnTo>
                  <a:lnTo>
                    <a:pt x="186" y="54"/>
                  </a:lnTo>
                  <a:lnTo>
                    <a:pt x="186" y="60"/>
                  </a:lnTo>
                  <a:lnTo>
                    <a:pt x="180" y="60"/>
                  </a:lnTo>
                  <a:lnTo>
                    <a:pt x="174" y="60"/>
                  </a:lnTo>
                  <a:lnTo>
                    <a:pt x="174" y="66"/>
                  </a:lnTo>
                  <a:lnTo>
                    <a:pt x="168" y="66"/>
                  </a:lnTo>
                  <a:lnTo>
                    <a:pt x="168" y="72"/>
                  </a:lnTo>
                  <a:lnTo>
                    <a:pt x="162" y="72"/>
                  </a:lnTo>
                  <a:lnTo>
                    <a:pt x="162" y="78"/>
                  </a:lnTo>
                  <a:lnTo>
                    <a:pt x="162" y="84"/>
                  </a:lnTo>
                  <a:lnTo>
                    <a:pt x="162" y="90"/>
                  </a:lnTo>
                  <a:lnTo>
                    <a:pt x="168" y="90"/>
                  </a:lnTo>
                  <a:lnTo>
                    <a:pt x="168" y="96"/>
                  </a:lnTo>
                  <a:lnTo>
                    <a:pt x="168" y="102"/>
                  </a:lnTo>
                  <a:lnTo>
                    <a:pt x="174" y="102"/>
                  </a:lnTo>
                  <a:lnTo>
                    <a:pt x="174" y="108"/>
                  </a:lnTo>
                  <a:lnTo>
                    <a:pt x="180" y="108"/>
                  </a:lnTo>
                  <a:lnTo>
                    <a:pt x="186" y="108"/>
                  </a:lnTo>
                  <a:lnTo>
                    <a:pt x="186" y="114"/>
                  </a:lnTo>
                  <a:lnTo>
                    <a:pt x="186" y="108"/>
                  </a:lnTo>
                  <a:lnTo>
                    <a:pt x="180" y="108"/>
                  </a:lnTo>
                  <a:lnTo>
                    <a:pt x="180" y="114"/>
                  </a:lnTo>
                  <a:lnTo>
                    <a:pt x="186" y="114"/>
                  </a:lnTo>
                  <a:lnTo>
                    <a:pt x="192" y="114"/>
                  </a:lnTo>
                  <a:lnTo>
                    <a:pt x="192" y="120"/>
                  </a:lnTo>
                  <a:lnTo>
                    <a:pt x="198" y="120"/>
                  </a:lnTo>
                  <a:lnTo>
                    <a:pt x="192" y="120"/>
                  </a:lnTo>
                  <a:lnTo>
                    <a:pt x="192" y="126"/>
                  </a:lnTo>
                  <a:lnTo>
                    <a:pt x="198" y="126"/>
                  </a:lnTo>
                  <a:lnTo>
                    <a:pt x="198" y="132"/>
                  </a:lnTo>
                  <a:lnTo>
                    <a:pt x="192" y="132"/>
                  </a:lnTo>
                  <a:lnTo>
                    <a:pt x="192" y="138"/>
                  </a:lnTo>
                  <a:lnTo>
                    <a:pt x="198" y="138"/>
                  </a:lnTo>
                  <a:lnTo>
                    <a:pt x="198" y="144"/>
                  </a:lnTo>
                  <a:lnTo>
                    <a:pt x="204" y="144"/>
                  </a:lnTo>
                  <a:lnTo>
                    <a:pt x="198" y="144"/>
                  </a:lnTo>
                  <a:lnTo>
                    <a:pt x="198" y="150"/>
                  </a:lnTo>
                  <a:lnTo>
                    <a:pt x="192" y="156"/>
                  </a:lnTo>
                  <a:lnTo>
                    <a:pt x="192" y="162"/>
                  </a:lnTo>
                  <a:lnTo>
                    <a:pt x="186" y="162"/>
                  </a:lnTo>
                  <a:lnTo>
                    <a:pt x="186" y="168"/>
                  </a:lnTo>
                  <a:lnTo>
                    <a:pt x="186" y="174"/>
                  </a:lnTo>
                  <a:lnTo>
                    <a:pt x="180" y="174"/>
                  </a:lnTo>
                  <a:lnTo>
                    <a:pt x="180" y="180"/>
                  </a:lnTo>
                  <a:lnTo>
                    <a:pt x="180" y="186"/>
                  </a:lnTo>
                  <a:lnTo>
                    <a:pt x="174" y="186"/>
                  </a:lnTo>
                  <a:lnTo>
                    <a:pt x="168" y="192"/>
                  </a:lnTo>
                  <a:lnTo>
                    <a:pt x="162" y="192"/>
                  </a:lnTo>
                  <a:lnTo>
                    <a:pt x="162" y="198"/>
                  </a:lnTo>
                  <a:lnTo>
                    <a:pt x="156" y="198"/>
                  </a:lnTo>
                  <a:lnTo>
                    <a:pt x="156" y="204"/>
                  </a:lnTo>
                  <a:lnTo>
                    <a:pt x="150" y="204"/>
                  </a:lnTo>
                  <a:lnTo>
                    <a:pt x="144" y="204"/>
                  </a:lnTo>
                  <a:lnTo>
                    <a:pt x="144" y="210"/>
                  </a:lnTo>
                  <a:lnTo>
                    <a:pt x="138" y="210"/>
                  </a:lnTo>
                  <a:lnTo>
                    <a:pt x="138" y="216"/>
                  </a:lnTo>
                  <a:lnTo>
                    <a:pt x="138" y="222"/>
                  </a:lnTo>
                  <a:lnTo>
                    <a:pt x="138" y="228"/>
                  </a:lnTo>
                  <a:lnTo>
                    <a:pt x="144" y="234"/>
                  </a:lnTo>
                  <a:lnTo>
                    <a:pt x="144" y="240"/>
                  </a:lnTo>
                  <a:lnTo>
                    <a:pt x="150" y="240"/>
                  </a:lnTo>
                  <a:lnTo>
                    <a:pt x="150" y="246"/>
                  </a:lnTo>
                  <a:lnTo>
                    <a:pt x="156" y="246"/>
                  </a:lnTo>
                  <a:lnTo>
                    <a:pt x="150" y="246"/>
                  </a:lnTo>
                  <a:lnTo>
                    <a:pt x="156" y="246"/>
                  </a:lnTo>
                  <a:lnTo>
                    <a:pt x="156" y="252"/>
                  </a:lnTo>
                  <a:lnTo>
                    <a:pt x="162" y="252"/>
                  </a:lnTo>
                  <a:lnTo>
                    <a:pt x="168" y="252"/>
                  </a:lnTo>
                  <a:lnTo>
                    <a:pt x="174" y="252"/>
                  </a:lnTo>
                  <a:lnTo>
                    <a:pt x="174" y="246"/>
                  </a:lnTo>
                  <a:lnTo>
                    <a:pt x="180" y="246"/>
                  </a:lnTo>
                  <a:lnTo>
                    <a:pt x="180" y="252"/>
                  </a:lnTo>
                  <a:lnTo>
                    <a:pt x="180" y="258"/>
                  </a:lnTo>
                  <a:lnTo>
                    <a:pt x="174" y="258"/>
                  </a:lnTo>
                  <a:lnTo>
                    <a:pt x="174" y="264"/>
                  </a:lnTo>
                  <a:lnTo>
                    <a:pt x="180" y="264"/>
                  </a:lnTo>
                  <a:lnTo>
                    <a:pt x="186" y="264"/>
                  </a:lnTo>
                  <a:lnTo>
                    <a:pt x="186" y="258"/>
                  </a:lnTo>
                  <a:lnTo>
                    <a:pt x="192" y="258"/>
                  </a:lnTo>
                  <a:lnTo>
                    <a:pt x="186" y="258"/>
                  </a:lnTo>
                  <a:lnTo>
                    <a:pt x="186" y="252"/>
                  </a:lnTo>
                  <a:lnTo>
                    <a:pt x="192" y="252"/>
                  </a:lnTo>
                  <a:lnTo>
                    <a:pt x="198" y="252"/>
                  </a:lnTo>
                  <a:lnTo>
                    <a:pt x="198" y="258"/>
                  </a:lnTo>
                  <a:lnTo>
                    <a:pt x="198" y="264"/>
                  </a:lnTo>
                  <a:lnTo>
                    <a:pt x="198" y="270"/>
                  </a:lnTo>
                  <a:lnTo>
                    <a:pt x="204" y="270"/>
                  </a:lnTo>
                  <a:lnTo>
                    <a:pt x="204" y="276"/>
                  </a:lnTo>
                  <a:lnTo>
                    <a:pt x="210" y="276"/>
                  </a:lnTo>
                  <a:lnTo>
                    <a:pt x="204" y="276"/>
                  </a:lnTo>
                  <a:lnTo>
                    <a:pt x="198" y="276"/>
                  </a:lnTo>
                  <a:lnTo>
                    <a:pt x="204" y="276"/>
                  </a:lnTo>
                  <a:lnTo>
                    <a:pt x="204" y="282"/>
                  </a:lnTo>
                  <a:lnTo>
                    <a:pt x="210" y="282"/>
                  </a:lnTo>
                  <a:lnTo>
                    <a:pt x="216" y="282"/>
                  </a:lnTo>
                  <a:lnTo>
                    <a:pt x="210" y="276"/>
                  </a:lnTo>
                  <a:lnTo>
                    <a:pt x="216" y="276"/>
                  </a:lnTo>
                  <a:lnTo>
                    <a:pt x="216" y="282"/>
                  </a:lnTo>
                  <a:lnTo>
                    <a:pt x="222" y="282"/>
                  </a:lnTo>
                  <a:lnTo>
                    <a:pt x="222" y="288"/>
                  </a:lnTo>
                  <a:lnTo>
                    <a:pt x="222" y="294"/>
                  </a:lnTo>
                  <a:lnTo>
                    <a:pt x="222" y="300"/>
                  </a:lnTo>
                  <a:lnTo>
                    <a:pt x="222" y="306"/>
                  </a:lnTo>
                  <a:lnTo>
                    <a:pt x="222" y="312"/>
                  </a:lnTo>
                  <a:lnTo>
                    <a:pt x="222" y="318"/>
                  </a:lnTo>
                  <a:lnTo>
                    <a:pt x="222" y="324"/>
                  </a:lnTo>
                  <a:lnTo>
                    <a:pt x="228" y="324"/>
                  </a:lnTo>
                  <a:lnTo>
                    <a:pt x="228" y="330"/>
                  </a:lnTo>
                  <a:lnTo>
                    <a:pt x="222" y="330"/>
                  </a:lnTo>
                  <a:lnTo>
                    <a:pt x="222" y="336"/>
                  </a:lnTo>
                  <a:lnTo>
                    <a:pt x="216" y="336"/>
                  </a:lnTo>
                  <a:lnTo>
                    <a:pt x="216" y="342"/>
                  </a:lnTo>
                  <a:lnTo>
                    <a:pt x="210" y="342"/>
                  </a:lnTo>
                  <a:lnTo>
                    <a:pt x="204" y="342"/>
                  </a:lnTo>
                  <a:lnTo>
                    <a:pt x="198" y="348"/>
                  </a:lnTo>
                  <a:lnTo>
                    <a:pt x="192" y="348"/>
                  </a:lnTo>
                  <a:lnTo>
                    <a:pt x="186" y="354"/>
                  </a:lnTo>
                  <a:lnTo>
                    <a:pt x="186" y="360"/>
                  </a:lnTo>
                  <a:lnTo>
                    <a:pt x="180" y="360"/>
                  </a:lnTo>
                  <a:lnTo>
                    <a:pt x="174" y="360"/>
                  </a:lnTo>
                  <a:lnTo>
                    <a:pt x="174" y="366"/>
                  </a:lnTo>
                  <a:lnTo>
                    <a:pt x="174" y="372"/>
                  </a:lnTo>
                  <a:lnTo>
                    <a:pt x="168" y="372"/>
                  </a:lnTo>
                  <a:lnTo>
                    <a:pt x="168" y="378"/>
                  </a:lnTo>
                  <a:lnTo>
                    <a:pt x="162" y="378"/>
                  </a:lnTo>
                  <a:lnTo>
                    <a:pt x="156" y="378"/>
                  </a:lnTo>
                  <a:lnTo>
                    <a:pt x="156" y="384"/>
                  </a:lnTo>
                  <a:lnTo>
                    <a:pt x="150" y="384"/>
                  </a:lnTo>
                  <a:lnTo>
                    <a:pt x="150" y="390"/>
                  </a:lnTo>
                  <a:lnTo>
                    <a:pt x="144" y="390"/>
                  </a:lnTo>
                  <a:lnTo>
                    <a:pt x="144" y="396"/>
                  </a:lnTo>
                  <a:lnTo>
                    <a:pt x="144" y="402"/>
                  </a:lnTo>
                  <a:lnTo>
                    <a:pt x="150" y="408"/>
                  </a:lnTo>
                  <a:lnTo>
                    <a:pt x="150" y="414"/>
                  </a:lnTo>
                  <a:lnTo>
                    <a:pt x="150" y="420"/>
                  </a:lnTo>
                  <a:lnTo>
                    <a:pt x="156" y="420"/>
                  </a:lnTo>
                  <a:lnTo>
                    <a:pt x="150" y="420"/>
                  </a:lnTo>
                  <a:lnTo>
                    <a:pt x="150" y="426"/>
                  </a:lnTo>
                  <a:lnTo>
                    <a:pt x="156" y="426"/>
                  </a:lnTo>
                  <a:lnTo>
                    <a:pt x="156" y="432"/>
                  </a:lnTo>
                  <a:lnTo>
                    <a:pt x="156" y="438"/>
                  </a:lnTo>
                  <a:lnTo>
                    <a:pt x="150" y="438"/>
                  </a:lnTo>
                  <a:lnTo>
                    <a:pt x="150" y="444"/>
                  </a:lnTo>
                  <a:lnTo>
                    <a:pt x="144" y="450"/>
                  </a:lnTo>
                  <a:lnTo>
                    <a:pt x="144" y="456"/>
                  </a:lnTo>
                  <a:lnTo>
                    <a:pt x="138" y="456"/>
                  </a:lnTo>
                  <a:lnTo>
                    <a:pt x="138" y="462"/>
                  </a:lnTo>
                  <a:lnTo>
                    <a:pt x="132" y="462"/>
                  </a:lnTo>
                  <a:lnTo>
                    <a:pt x="132" y="468"/>
                  </a:lnTo>
                  <a:lnTo>
                    <a:pt x="126" y="468"/>
                  </a:lnTo>
                  <a:lnTo>
                    <a:pt x="120" y="474"/>
                  </a:lnTo>
                  <a:lnTo>
                    <a:pt x="114" y="474"/>
                  </a:lnTo>
                  <a:lnTo>
                    <a:pt x="114" y="468"/>
                  </a:lnTo>
                  <a:lnTo>
                    <a:pt x="108" y="462"/>
                  </a:lnTo>
                  <a:lnTo>
                    <a:pt x="108" y="456"/>
                  </a:lnTo>
                  <a:lnTo>
                    <a:pt x="108" y="450"/>
                  </a:lnTo>
                  <a:lnTo>
                    <a:pt x="108" y="444"/>
                  </a:lnTo>
                  <a:lnTo>
                    <a:pt x="108" y="438"/>
                  </a:lnTo>
                  <a:lnTo>
                    <a:pt x="102" y="432"/>
                  </a:lnTo>
                  <a:lnTo>
                    <a:pt x="102" y="426"/>
                  </a:lnTo>
                  <a:lnTo>
                    <a:pt x="102" y="420"/>
                  </a:lnTo>
                  <a:lnTo>
                    <a:pt x="96" y="414"/>
                  </a:lnTo>
                  <a:lnTo>
                    <a:pt x="96" y="408"/>
                  </a:lnTo>
                  <a:lnTo>
                    <a:pt x="96" y="402"/>
                  </a:lnTo>
                  <a:lnTo>
                    <a:pt x="96" y="396"/>
                  </a:lnTo>
                  <a:lnTo>
                    <a:pt x="96" y="390"/>
                  </a:lnTo>
                  <a:lnTo>
                    <a:pt x="90" y="384"/>
                  </a:lnTo>
                  <a:lnTo>
                    <a:pt x="90" y="378"/>
                  </a:lnTo>
                  <a:lnTo>
                    <a:pt x="90" y="372"/>
                  </a:lnTo>
                  <a:lnTo>
                    <a:pt x="90" y="360"/>
                  </a:lnTo>
                  <a:lnTo>
                    <a:pt x="84" y="354"/>
                  </a:lnTo>
                  <a:lnTo>
                    <a:pt x="78" y="354"/>
                  </a:lnTo>
                  <a:lnTo>
                    <a:pt x="78" y="348"/>
                  </a:lnTo>
                  <a:lnTo>
                    <a:pt x="72" y="348"/>
                  </a:lnTo>
                  <a:lnTo>
                    <a:pt x="66" y="342"/>
                  </a:lnTo>
                  <a:lnTo>
                    <a:pt x="60" y="336"/>
                  </a:lnTo>
                  <a:lnTo>
                    <a:pt x="54" y="330"/>
                  </a:lnTo>
                  <a:lnTo>
                    <a:pt x="48" y="330"/>
                  </a:lnTo>
                  <a:lnTo>
                    <a:pt x="42" y="318"/>
                  </a:lnTo>
                  <a:lnTo>
                    <a:pt x="42" y="312"/>
                  </a:lnTo>
                  <a:lnTo>
                    <a:pt x="42" y="306"/>
                  </a:lnTo>
                  <a:lnTo>
                    <a:pt x="36" y="294"/>
                  </a:lnTo>
                  <a:lnTo>
                    <a:pt x="30" y="288"/>
                  </a:lnTo>
                  <a:lnTo>
                    <a:pt x="24" y="288"/>
                  </a:lnTo>
                  <a:lnTo>
                    <a:pt x="18" y="282"/>
                  </a:lnTo>
                  <a:lnTo>
                    <a:pt x="12" y="276"/>
                  </a:lnTo>
                  <a:lnTo>
                    <a:pt x="12" y="270"/>
                  </a:lnTo>
                  <a:lnTo>
                    <a:pt x="6" y="264"/>
                  </a:lnTo>
                  <a:lnTo>
                    <a:pt x="6" y="258"/>
                  </a:lnTo>
                  <a:lnTo>
                    <a:pt x="6" y="252"/>
                  </a:lnTo>
                  <a:lnTo>
                    <a:pt x="0" y="246"/>
                  </a:lnTo>
                  <a:lnTo>
                    <a:pt x="0" y="240"/>
                  </a:lnTo>
                  <a:lnTo>
                    <a:pt x="0" y="234"/>
                  </a:lnTo>
                  <a:lnTo>
                    <a:pt x="0" y="228"/>
                  </a:lnTo>
                  <a:lnTo>
                    <a:pt x="0" y="222"/>
                  </a:lnTo>
                  <a:lnTo>
                    <a:pt x="6" y="222"/>
                  </a:lnTo>
                  <a:lnTo>
                    <a:pt x="6" y="216"/>
                  </a:lnTo>
                  <a:lnTo>
                    <a:pt x="12" y="216"/>
                  </a:lnTo>
                  <a:lnTo>
                    <a:pt x="12" y="210"/>
                  </a:lnTo>
                  <a:lnTo>
                    <a:pt x="18" y="210"/>
                  </a:lnTo>
                  <a:lnTo>
                    <a:pt x="18" y="204"/>
                  </a:lnTo>
                  <a:lnTo>
                    <a:pt x="24" y="198"/>
                  </a:lnTo>
                  <a:lnTo>
                    <a:pt x="30" y="198"/>
                  </a:lnTo>
                  <a:lnTo>
                    <a:pt x="30" y="192"/>
                  </a:lnTo>
                  <a:lnTo>
                    <a:pt x="36" y="192"/>
                  </a:lnTo>
                  <a:lnTo>
                    <a:pt x="36" y="186"/>
                  </a:lnTo>
                  <a:lnTo>
                    <a:pt x="42" y="186"/>
                  </a:lnTo>
                  <a:lnTo>
                    <a:pt x="42" y="180"/>
                  </a:lnTo>
                  <a:lnTo>
                    <a:pt x="42" y="174"/>
                  </a:lnTo>
                  <a:lnTo>
                    <a:pt x="42" y="168"/>
                  </a:lnTo>
                  <a:lnTo>
                    <a:pt x="42" y="162"/>
                  </a:lnTo>
                  <a:lnTo>
                    <a:pt x="42" y="156"/>
                  </a:lnTo>
                  <a:lnTo>
                    <a:pt x="48" y="156"/>
                  </a:lnTo>
                  <a:lnTo>
                    <a:pt x="48" y="150"/>
                  </a:lnTo>
                  <a:lnTo>
                    <a:pt x="48" y="144"/>
                  </a:lnTo>
                  <a:lnTo>
                    <a:pt x="54" y="144"/>
                  </a:lnTo>
                  <a:lnTo>
                    <a:pt x="48" y="144"/>
                  </a:lnTo>
                  <a:lnTo>
                    <a:pt x="42" y="144"/>
                  </a:lnTo>
                  <a:lnTo>
                    <a:pt x="42" y="138"/>
                  </a:lnTo>
                  <a:lnTo>
                    <a:pt x="42" y="132"/>
                  </a:lnTo>
                  <a:lnTo>
                    <a:pt x="48" y="132"/>
                  </a:lnTo>
                  <a:lnTo>
                    <a:pt x="48" y="126"/>
                  </a:lnTo>
                  <a:lnTo>
                    <a:pt x="48" y="120"/>
                  </a:lnTo>
                  <a:lnTo>
                    <a:pt x="48" y="114"/>
                  </a:lnTo>
                  <a:lnTo>
                    <a:pt x="42" y="114"/>
                  </a:lnTo>
                  <a:lnTo>
                    <a:pt x="42" y="108"/>
                  </a:lnTo>
                  <a:lnTo>
                    <a:pt x="42" y="102"/>
                  </a:lnTo>
                  <a:lnTo>
                    <a:pt x="42" y="96"/>
                  </a:lnTo>
                  <a:lnTo>
                    <a:pt x="42" y="90"/>
                  </a:lnTo>
                  <a:lnTo>
                    <a:pt x="42" y="84"/>
                  </a:lnTo>
                  <a:lnTo>
                    <a:pt x="48" y="84"/>
                  </a:lnTo>
                  <a:lnTo>
                    <a:pt x="42" y="84"/>
                  </a:lnTo>
                  <a:lnTo>
                    <a:pt x="42" y="78"/>
                  </a:lnTo>
                  <a:lnTo>
                    <a:pt x="48" y="78"/>
                  </a:lnTo>
                  <a:lnTo>
                    <a:pt x="42" y="72"/>
                  </a:lnTo>
                  <a:lnTo>
                    <a:pt x="48" y="72"/>
                  </a:lnTo>
                  <a:lnTo>
                    <a:pt x="48" y="66"/>
                  </a:lnTo>
                  <a:lnTo>
                    <a:pt x="48" y="60"/>
                  </a:lnTo>
                  <a:lnTo>
                    <a:pt x="42" y="60"/>
                  </a:lnTo>
                  <a:lnTo>
                    <a:pt x="36" y="60"/>
                  </a:lnTo>
                  <a:lnTo>
                    <a:pt x="36" y="54"/>
                  </a:lnTo>
                  <a:lnTo>
                    <a:pt x="42" y="54"/>
                  </a:lnTo>
                  <a:lnTo>
                    <a:pt x="48" y="54"/>
                  </a:lnTo>
                  <a:lnTo>
                    <a:pt x="48" y="48"/>
                  </a:lnTo>
                  <a:lnTo>
                    <a:pt x="54" y="48"/>
                  </a:lnTo>
                  <a:lnTo>
                    <a:pt x="54" y="42"/>
                  </a:lnTo>
                  <a:lnTo>
                    <a:pt x="48" y="42"/>
                  </a:lnTo>
                  <a:lnTo>
                    <a:pt x="54" y="42"/>
                  </a:lnTo>
                  <a:lnTo>
                    <a:pt x="54" y="36"/>
                  </a:lnTo>
                  <a:lnTo>
                    <a:pt x="60" y="36"/>
                  </a:lnTo>
                  <a:lnTo>
                    <a:pt x="66" y="36"/>
                  </a:lnTo>
                  <a:lnTo>
                    <a:pt x="60" y="36"/>
                  </a:lnTo>
                  <a:lnTo>
                    <a:pt x="60" y="30"/>
                  </a:lnTo>
                  <a:close/>
                  <a:moveTo>
                    <a:pt x="180" y="246"/>
                  </a:moveTo>
                  <a:lnTo>
                    <a:pt x="180" y="240"/>
                  </a:lnTo>
                  <a:lnTo>
                    <a:pt x="180" y="234"/>
                  </a:lnTo>
                  <a:lnTo>
                    <a:pt x="186" y="234"/>
                  </a:lnTo>
                  <a:lnTo>
                    <a:pt x="192" y="240"/>
                  </a:lnTo>
                  <a:lnTo>
                    <a:pt x="192" y="234"/>
                  </a:lnTo>
                  <a:lnTo>
                    <a:pt x="192" y="240"/>
                  </a:lnTo>
                  <a:lnTo>
                    <a:pt x="198" y="240"/>
                  </a:lnTo>
                  <a:lnTo>
                    <a:pt x="198" y="246"/>
                  </a:lnTo>
                  <a:lnTo>
                    <a:pt x="192" y="246"/>
                  </a:lnTo>
                  <a:lnTo>
                    <a:pt x="192" y="252"/>
                  </a:lnTo>
                  <a:lnTo>
                    <a:pt x="192" y="246"/>
                  </a:lnTo>
                  <a:lnTo>
                    <a:pt x="186" y="252"/>
                  </a:lnTo>
                  <a:lnTo>
                    <a:pt x="186" y="246"/>
                  </a:lnTo>
                  <a:lnTo>
                    <a:pt x="180" y="246"/>
                  </a:lnTo>
                  <a:close/>
                  <a:moveTo>
                    <a:pt x="198" y="174"/>
                  </a:moveTo>
                  <a:lnTo>
                    <a:pt x="210" y="174"/>
                  </a:lnTo>
                  <a:lnTo>
                    <a:pt x="210" y="186"/>
                  </a:lnTo>
                  <a:lnTo>
                    <a:pt x="198" y="186"/>
                  </a:lnTo>
                  <a:lnTo>
                    <a:pt x="198" y="174"/>
                  </a:lnTo>
                  <a:close/>
                  <a:moveTo>
                    <a:pt x="192" y="180"/>
                  </a:moveTo>
                  <a:lnTo>
                    <a:pt x="198" y="180"/>
                  </a:lnTo>
                  <a:lnTo>
                    <a:pt x="198" y="186"/>
                  </a:lnTo>
                  <a:lnTo>
                    <a:pt x="192" y="186"/>
                  </a:lnTo>
                  <a:lnTo>
                    <a:pt x="192" y="180"/>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09" name="Freeform 41"/>
            <p:cNvSpPr>
              <a:spLocks noEditPoints="1"/>
            </p:cNvSpPr>
            <p:nvPr>
              <p:custDataLst>
                <p:tags r:id="rId37"/>
              </p:custDataLst>
            </p:nvPr>
          </p:nvSpPr>
          <p:spPr bwMode="gray">
            <a:xfrm>
              <a:off x="3487663" y="4203949"/>
              <a:ext cx="365275" cy="702519"/>
            </a:xfrm>
            <a:custGeom>
              <a:avLst/>
              <a:gdLst>
                <a:gd name="T0" fmla="*/ 1928 w 402"/>
                <a:gd name="T1" fmla="*/ 202617 h 804"/>
                <a:gd name="T2" fmla="*/ 6747 w 402"/>
                <a:gd name="T3" fmla="*/ 195831 h 804"/>
                <a:gd name="T4" fmla="*/ 12532 w 402"/>
                <a:gd name="T5" fmla="*/ 190014 h 804"/>
                <a:gd name="T6" fmla="*/ 17351 w 402"/>
                <a:gd name="T7" fmla="*/ 175472 h 804"/>
                <a:gd name="T8" fmla="*/ 23135 w 402"/>
                <a:gd name="T9" fmla="*/ 165778 h 804"/>
                <a:gd name="T10" fmla="*/ 23135 w 402"/>
                <a:gd name="T11" fmla="*/ 158022 h 804"/>
                <a:gd name="T12" fmla="*/ 21207 w 402"/>
                <a:gd name="T13" fmla="*/ 145419 h 804"/>
                <a:gd name="T14" fmla="*/ 17351 w 402"/>
                <a:gd name="T15" fmla="*/ 129908 h 804"/>
                <a:gd name="T16" fmla="*/ 14460 w 402"/>
                <a:gd name="T17" fmla="*/ 117305 h 804"/>
                <a:gd name="T18" fmla="*/ 17351 w 402"/>
                <a:gd name="T19" fmla="*/ 106640 h 804"/>
                <a:gd name="T20" fmla="*/ 21207 w 402"/>
                <a:gd name="T21" fmla="*/ 100824 h 804"/>
                <a:gd name="T22" fmla="*/ 26026 w 402"/>
                <a:gd name="T23" fmla="*/ 85313 h 804"/>
                <a:gd name="T24" fmla="*/ 35666 w 402"/>
                <a:gd name="T25" fmla="*/ 85313 h 804"/>
                <a:gd name="T26" fmla="*/ 42414 w 402"/>
                <a:gd name="T27" fmla="*/ 81435 h 804"/>
                <a:gd name="T28" fmla="*/ 51089 w 402"/>
                <a:gd name="T29" fmla="*/ 76587 h 804"/>
                <a:gd name="T30" fmla="*/ 54945 w 402"/>
                <a:gd name="T31" fmla="*/ 78527 h 804"/>
                <a:gd name="T32" fmla="*/ 59764 w 402"/>
                <a:gd name="T33" fmla="*/ 81435 h 804"/>
                <a:gd name="T34" fmla="*/ 63621 w 402"/>
                <a:gd name="T35" fmla="*/ 81435 h 804"/>
                <a:gd name="T36" fmla="*/ 71332 w 402"/>
                <a:gd name="T37" fmla="*/ 65924 h 804"/>
                <a:gd name="T38" fmla="*/ 76152 w 402"/>
                <a:gd name="T39" fmla="*/ 70770 h 804"/>
                <a:gd name="T40" fmla="*/ 78079 w 402"/>
                <a:gd name="T41" fmla="*/ 62045 h 804"/>
                <a:gd name="T42" fmla="*/ 84828 w 402"/>
                <a:gd name="T43" fmla="*/ 60107 h 804"/>
                <a:gd name="T44" fmla="*/ 88683 w 402"/>
                <a:gd name="T45" fmla="*/ 53321 h 804"/>
                <a:gd name="T46" fmla="*/ 90611 w 402"/>
                <a:gd name="T47" fmla="*/ 53321 h 804"/>
                <a:gd name="T48" fmla="*/ 93503 w 402"/>
                <a:gd name="T49" fmla="*/ 44595 h 804"/>
                <a:gd name="T50" fmla="*/ 93503 w 402"/>
                <a:gd name="T51" fmla="*/ 46534 h 804"/>
                <a:gd name="T52" fmla="*/ 95431 w 402"/>
                <a:gd name="T53" fmla="*/ 40718 h 804"/>
                <a:gd name="T54" fmla="*/ 90611 w 402"/>
                <a:gd name="T55" fmla="*/ 33931 h 804"/>
                <a:gd name="T56" fmla="*/ 99286 w 402"/>
                <a:gd name="T57" fmla="*/ 36840 h 804"/>
                <a:gd name="T58" fmla="*/ 104106 w 402"/>
                <a:gd name="T59" fmla="*/ 31992 h 804"/>
                <a:gd name="T60" fmla="*/ 107962 w 402"/>
                <a:gd name="T61" fmla="*/ 27145 h 804"/>
                <a:gd name="T62" fmla="*/ 111818 w 402"/>
                <a:gd name="T63" fmla="*/ 12603 h 804"/>
                <a:gd name="T64" fmla="*/ 113746 w 402"/>
                <a:gd name="T65" fmla="*/ 6786 h 804"/>
                <a:gd name="T66" fmla="*/ 118565 w 402"/>
                <a:gd name="T67" fmla="*/ 1939 h 804"/>
                <a:gd name="T68" fmla="*/ 120493 w 402"/>
                <a:gd name="T69" fmla="*/ 0 h 804"/>
                <a:gd name="T70" fmla="*/ 120493 w 402"/>
                <a:gd name="T71" fmla="*/ 6786 h 804"/>
                <a:gd name="T72" fmla="*/ 124349 w 402"/>
                <a:gd name="T73" fmla="*/ 12603 h 804"/>
                <a:gd name="T74" fmla="*/ 131096 w 402"/>
                <a:gd name="T75" fmla="*/ 26175 h 804"/>
                <a:gd name="T76" fmla="*/ 134953 w 402"/>
                <a:gd name="T77" fmla="*/ 44595 h 804"/>
                <a:gd name="T78" fmla="*/ 138808 w 402"/>
                <a:gd name="T79" fmla="*/ 62045 h 804"/>
                <a:gd name="T80" fmla="*/ 137845 w 402"/>
                <a:gd name="T81" fmla="*/ 78527 h 804"/>
                <a:gd name="T82" fmla="*/ 124349 w 402"/>
                <a:gd name="T83" fmla="*/ 72710 h 804"/>
                <a:gd name="T84" fmla="*/ 129169 w 402"/>
                <a:gd name="T85" fmla="*/ 90159 h 804"/>
                <a:gd name="T86" fmla="*/ 124349 w 402"/>
                <a:gd name="T87" fmla="*/ 101793 h 804"/>
                <a:gd name="T88" fmla="*/ 122421 w 402"/>
                <a:gd name="T89" fmla="*/ 124091 h 804"/>
                <a:gd name="T90" fmla="*/ 115674 w 402"/>
                <a:gd name="T91" fmla="*/ 143480 h 804"/>
                <a:gd name="T92" fmla="*/ 107962 w 402"/>
                <a:gd name="T93" fmla="*/ 165778 h 804"/>
                <a:gd name="T94" fmla="*/ 101214 w 402"/>
                <a:gd name="T95" fmla="*/ 190014 h 804"/>
                <a:gd name="T96" fmla="*/ 93503 w 402"/>
                <a:gd name="T97" fmla="*/ 213281 h 804"/>
                <a:gd name="T98" fmla="*/ 86756 w 402"/>
                <a:gd name="T99" fmla="*/ 239456 h 804"/>
                <a:gd name="T100" fmla="*/ 81935 w 402"/>
                <a:gd name="T101" fmla="*/ 255937 h 804"/>
                <a:gd name="T102" fmla="*/ 74224 w 402"/>
                <a:gd name="T103" fmla="*/ 273388 h 804"/>
                <a:gd name="T104" fmla="*/ 59764 w 402"/>
                <a:gd name="T105" fmla="*/ 277265 h 804"/>
                <a:gd name="T106" fmla="*/ 35666 w 402"/>
                <a:gd name="T107" fmla="*/ 284052 h 804"/>
                <a:gd name="T108" fmla="*/ 19279 w 402"/>
                <a:gd name="T109" fmla="*/ 275326 h 804"/>
                <a:gd name="T110" fmla="*/ 8675 w 402"/>
                <a:gd name="T111" fmla="*/ 253999 h 804"/>
                <a:gd name="T112" fmla="*/ 8675 w 402"/>
                <a:gd name="T113" fmla="*/ 234610 h 804"/>
                <a:gd name="T114" fmla="*/ 0 w 402"/>
                <a:gd name="T115" fmla="*/ 213281 h 804"/>
                <a:gd name="T116" fmla="*/ 99286 w 402"/>
                <a:gd name="T117" fmla="*/ 30053 h 804"/>
                <a:gd name="T118" fmla="*/ 131096 w 402"/>
                <a:gd name="T119" fmla="*/ 100824 h 804"/>
                <a:gd name="T120" fmla="*/ 104106 w 402"/>
                <a:gd name="T121" fmla="*/ 17450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02" h="804">
                  <a:moveTo>
                    <a:pt x="0" y="600"/>
                  </a:moveTo>
                  <a:lnTo>
                    <a:pt x="0" y="594"/>
                  </a:lnTo>
                  <a:lnTo>
                    <a:pt x="0" y="600"/>
                  </a:lnTo>
                  <a:lnTo>
                    <a:pt x="6" y="600"/>
                  </a:lnTo>
                  <a:lnTo>
                    <a:pt x="6" y="594"/>
                  </a:lnTo>
                  <a:lnTo>
                    <a:pt x="0" y="594"/>
                  </a:lnTo>
                  <a:lnTo>
                    <a:pt x="0" y="588"/>
                  </a:lnTo>
                  <a:lnTo>
                    <a:pt x="0" y="582"/>
                  </a:lnTo>
                  <a:lnTo>
                    <a:pt x="6" y="582"/>
                  </a:lnTo>
                  <a:lnTo>
                    <a:pt x="6" y="576"/>
                  </a:lnTo>
                  <a:lnTo>
                    <a:pt x="6" y="582"/>
                  </a:lnTo>
                  <a:lnTo>
                    <a:pt x="6" y="576"/>
                  </a:lnTo>
                  <a:lnTo>
                    <a:pt x="6" y="570"/>
                  </a:lnTo>
                  <a:lnTo>
                    <a:pt x="12" y="564"/>
                  </a:lnTo>
                  <a:lnTo>
                    <a:pt x="18" y="564"/>
                  </a:lnTo>
                  <a:lnTo>
                    <a:pt x="12" y="564"/>
                  </a:lnTo>
                  <a:lnTo>
                    <a:pt x="12" y="558"/>
                  </a:lnTo>
                  <a:lnTo>
                    <a:pt x="12" y="564"/>
                  </a:lnTo>
                  <a:lnTo>
                    <a:pt x="18" y="558"/>
                  </a:lnTo>
                  <a:lnTo>
                    <a:pt x="12" y="558"/>
                  </a:lnTo>
                  <a:lnTo>
                    <a:pt x="18" y="558"/>
                  </a:lnTo>
                  <a:lnTo>
                    <a:pt x="12" y="558"/>
                  </a:lnTo>
                  <a:lnTo>
                    <a:pt x="18" y="558"/>
                  </a:lnTo>
                  <a:lnTo>
                    <a:pt x="12" y="558"/>
                  </a:lnTo>
                  <a:lnTo>
                    <a:pt x="12" y="552"/>
                  </a:lnTo>
                  <a:lnTo>
                    <a:pt x="18" y="552"/>
                  </a:lnTo>
                  <a:lnTo>
                    <a:pt x="12" y="552"/>
                  </a:lnTo>
                  <a:lnTo>
                    <a:pt x="12" y="546"/>
                  </a:lnTo>
                  <a:lnTo>
                    <a:pt x="12" y="552"/>
                  </a:lnTo>
                  <a:lnTo>
                    <a:pt x="18" y="546"/>
                  </a:lnTo>
                  <a:lnTo>
                    <a:pt x="12" y="546"/>
                  </a:lnTo>
                  <a:lnTo>
                    <a:pt x="18" y="546"/>
                  </a:lnTo>
                  <a:lnTo>
                    <a:pt x="18" y="540"/>
                  </a:lnTo>
                  <a:lnTo>
                    <a:pt x="18" y="546"/>
                  </a:lnTo>
                  <a:lnTo>
                    <a:pt x="18" y="540"/>
                  </a:lnTo>
                  <a:lnTo>
                    <a:pt x="24" y="540"/>
                  </a:lnTo>
                  <a:lnTo>
                    <a:pt x="30" y="540"/>
                  </a:lnTo>
                  <a:lnTo>
                    <a:pt x="30" y="534"/>
                  </a:lnTo>
                  <a:lnTo>
                    <a:pt x="36" y="534"/>
                  </a:lnTo>
                  <a:lnTo>
                    <a:pt x="36" y="528"/>
                  </a:lnTo>
                  <a:lnTo>
                    <a:pt x="36" y="522"/>
                  </a:lnTo>
                  <a:lnTo>
                    <a:pt x="36" y="516"/>
                  </a:lnTo>
                  <a:lnTo>
                    <a:pt x="42" y="516"/>
                  </a:lnTo>
                  <a:lnTo>
                    <a:pt x="36" y="516"/>
                  </a:lnTo>
                  <a:lnTo>
                    <a:pt x="42" y="516"/>
                  </a:lnTo>
                  <a:lnTo>
                    <a:pt x="42" y="510"/>
                  </a:lnTo>
                  <a:lnTo>
                    <a:pt x="48" y="510"/>
                  </a:lnTo>
                  <a:lnTo>
                    <a:pt x="42" y="510"/>
                  </a:lnTo>
                  <a:lnTo>
                    <a:pt x="48" y="510"/>
                  </a:lnTo>
                  <a:lnTo>
                    <a:pt x="48" y="504"/>
                  </a:lnTo>
                  <a:lnTo>
                    <a:pt x="48" y="498"/>
                  </a:lnTo>
                  <a:lnTo>
                    <a:pt x="48" y="492"/>
                  </a:lnTo>
                  <a:lnTo>
                    <a:pt x="54" y="492"/>
                  </a:lnTo>
                  <a:lnTo>
                    <a:pt x="48" y="492"/>
                  </a:lnTo>
                  <a:lnTo>
                    <a:pt x="48" y="498"/>
                  </a:lnTo>
                  <a:lnTo>
                    <a:pt x="48" y="492"/>
                  </a:lnTo>
                  <a:lnTo>
                    <a:pt x="54" y="492"/>
                  </a:lnTo>
                  <a:lnTo>
                    <a:pt x="54" y="486"/>
                  </a:lnTo>
                  <a:lnTo>
                    <a:pt x="54" y="492"/>
                  </a:lnTo>
                  <a:lnTo>
                    <a:pt x="54" y="486"/>
                  </a:lnTo>
                  <a:lnTo>
                    <a:pt x="60" y="486"/>
                  </a:lnTo>
                  <a:lnTo>
                    <a:pt x="60" y="480"/>
                  </a:lnTo>
                  <a:lnTo>
                    <a:pt x="60" y="474"/>
                  </a:lnTo>
                  <a:lnTo>
                    <a:pt x="66" y="474"/>
                  </a:lnTo>
                  <a:lnTo>
                    <a:pt x="66" y="468"/>
                  </a:lnTo>
                  <a:lnTo>
                    <a:pt x="72" y="468"/>
                  </a:lnTo>
                  <a:lnTo>
                    <a:pt x="66" y="468"/>
                  </a:lnTo>
                  <a:lnTo>
                    <a:pt x="72" y="462"/>
                  </a:lnTo>
                  <a:lnTo>
                    <a:pt x="72" y="468"/>
                  </a:lnTo>
                  <a:lnTo>
                    <a:pt x="72" y="462"/>
                  </a:lnTo>
                  <a:lnTo>
                    <a:pt x="72" y="468"/>
                  </a:lnTo>
                  <a:lnTo>
                    <a:pt x="72" y="462"/>
                  </a:lnTo>
                  <a:lnTo>
                    <a:pt x="72" y="456"/>
                  </a:lnTo>
                  <a:lnTo>
                    <a:pt x="66" y="456"/>
                  </a:lnTo>
                  <a:lnTo>
                    <a:pt x="72" y="456"/>
                  </a:lnTo>
                  <a:lnTo>
                    <a:pt x="66" y="456"/>
                  </a:lnTo>
                  <a:lnTo>
                    <a:pt x="66" y="450"/>
                  </a:lnTo>
                  <a:lnTo>
                    <a:pt x="66" y="444"/>
                  </a:lnTo>
                  <a:lnTo>
                    <a:pt x="66" y="450"/>
                  </a:lnTo>
                  <a:lnTo>
                    <a:pt x="66" y="444"/>
                  </a:lnTo>
                  <a:lnTo>
                    <a:pt x="66" y="438"/>
                  </a:lnTo>
                  <a:lnTo>
                    <a:pt x="72" y="438"/>
                  </a:lnTo>
                  <a:lnTo>
                    <a:pt x="72" y="432"/>
                  </a:lnTo>
                  <a:lnTo>
                    <a:pt x="66" y="432"/>
                  </a:lnTo>
                  <a:lnTo>
                    <a:pt x="66" y="426"/>
                  </a:lnTo>
                  <a:lnTo>
                    <a:pt x="66" y="420"/>
                  </a:lnTo>
                  <a:lnTo>
                    <a:pt x="60" y="420"/>
                  </a:lnTo>
                  <a:lnTo>
                    <a:pt x="60" y="414"/>
                  </a:lnTo>
                  <a:lnTo>
                    <a:pt x="60" y="408"/>
                  </a:lnTo>
                  <a:lnTo>
                    <a:pt x="60" y="414"/>
                  </a:lnTo>
                  <a:lnTo>
                    <a:pt x="60" y="408"/>
                  </a:lnTo>
                  <a:lnTo>
                    <a:pt x="54" y="408"/>
                  </a:lnTo>
                  <a:lnTo>
                    <a:pt x="60" y="408"/>
                  </a:lnTo>
                  <a:lnTo>
                    <a:pt x="54" y="408"/>
                  </a:lnTo>
                  <a:lnTo>
                    <a:pt x="54" y="402"/>
                  </a:lnTo>
                  <a:lnTo>
                    <a:pt x="60" y="402"/>
                  </a:lnTo>
                  <a:lnTo>
                    <a:pt x="60" y="396"/>
                  </a:lnTo>
                  <a:lnTo>
                    <a:pt x="60" y="390"/>
                  </a:lnTo>
                  <a:lnTo>
                    <a:pt x="54" y="390"/>
                  </a:lnTo>
                  <a:lnTo>
                    <a:pt x="54" y="384"/>
                  </a:lnTo>
                  <a:lnTo>
                    <a:pt x="54" y="378"/>
                  </a:lnTo>
                  <a:lnTo>
                    <a:pt x="48" y="378"/>
                  </a:lnTo>
                  <a:lnTo>
                    <a:pt x="48" y="372"/>
                  </a:lnTo>
                  <a:lnTo>
                    <a:pt x="48" y="366"/>
                  </a:lnTo>
                  <a:lnTo>
                    <a:pt x="48" y="360"/>
                  </a:lnTo>
                  <a:lnTo>
                    <a:pt x="48" y="354"/>
                  </a:lnTo>
                  <a:lnTo>
                    <a:pt x="42" y="354"/>
                  </a:lnTo>
                  <a:lnTo>
                    <a:pt x="48" y="354"/>
                  </a:lnTo>
                  <a:lnTo>
                    <a:pt x="42" y="354"/>
                  </a:lnTo>
                  <a:lnTo>
                    <a:pt x="48" y="354"/>
                  </a:lnTo>
                  <a:lnTo>
                    <a:pt x="42" y="354"/>
                  </a:lnTo>
                  <a:lnTo>
                    <a:pt x="42" y="348"/>
                  </a:lnTo>
                  <a:lnTo>
                    <a:pt x="42" y="342"/>
                  </a:lnTo>
                  <a:lnTo>
                    <a:pt x="48" y="342"/>
                  </a:lnTo>
                  <a:lnTo>
                    <a:pt x="48" y="336"/>
                  </a:lnTo>
                  <a:lnTo>
                    <a:pt x="48" y="330"/>
                  </a:lnTo>
                  <a:lnTo>
                    <a:pt x="42" y="330"/>
                  </a:lnTo>
                  <a:lnTo>
                    <a:pt x="48" y="330"/>
                  </a:lnTo>
                  <a:lnTo>
                    <a:pt x="42" y="330"/>
                  </a:lnTo>
                  <a:lnTo>
                    <a:pt x="42" y="324"/>
                  </a:lnTo>
                  <a:lnTo>
                    <a:pt x="42" y="318"/>
                  </a:lnTo>
                  <a:lnTo>
                    <a:pt x="42" y="312"/>
                  </a:lnTo>
                  <a:lnTo>
                    <a:pt x="42" y="306"/>
                  </a:lnTo>
                  <a:lnTo>
                    <a:pt x="42" y="312"/>
                  </a:lnTo>
                  <a:lnTo>
                    <a:pt x="48" y="312"/>
                  </a:lnTo>
                  <a:lnTo>
                    <a:pt x="48" y="306"/>
                  </a:lnTo>
                  <a:lnTo>
                    <a:pt x="48" y="312"/>
                  </a:lnTo>
                  <a:lnTo>
                    <a:pt x="42" y="312"/>
                  </a:lnTo>
                  <a:lnTo>
                    <a:pt x="48" y="306"/>
                  </a:lnTo>
                  <a:lnTo>
                    <a:pt x="48" y="300"/>
                  </a:lnTo>
                  <a:lnTo>
                    <a:pt x="54" y="300"/>
                  </a:lnTo>
                  <a:lnTo>
                    <a:pt x="48" y="300"/>
                  </a:lnTo>
                  <a:lnTo>
                    <a:pt x="48" y="294"/>
                  </a:lnTo>
                  <a:lnTo>
                    <a:pt x="54" y="294"/>
                  </a:lnTo>
                  <a:lnTo>
                    <a:pt x="54" y="300"/>
                  </a:lnTo>
                  <a:lnTo>
                    <a:pt x="54" y="294"/>
                  </a:lnTo>
                  <a:lnTo>
                    <a:pt x="48" y="294"/>
                  </a:lnTo>
                  <a:lnTo>
                    <a:pt x="54" y="294"/>
                  </a:lnTo>
                  <a:lnTo>
                    <a:pt x="54" y="288"/>
                  </a:lnTo>
                  <a:lnTo>
                    <a:pt x="54" y="294"/>
                  </a:lnTo>
                  <a:lnTo>
                    <a:pt x="54" y="288"/>
                  </a:lnTo>
                  <a:lnTo>
                    <a:pt x="60" y="288"/>
                  </a:lnTo>
                  <a:lnTo>
                    <a:pt x="60" y="282"/>
                  </a:lnTo>
                  <a:lnTo>
                    <a:pt x="60" y="288"/>
                  </a:lnTo>
                  <a:lnTo>
                    <a:pt x="60" y="282"/>
                  </a:lnTo>
                  <a:lnTo>
                    <a:pt x="60" y="276"/>
                  </a:lnTo>
                  <a:lnTo>
                    <a:pt x="66" y="276"/>
                  </a:lnTo>
                  <a:lnTo>
                    <a:pt x="66" y="270"/>
                  </a:lnTo>
                  <a:lnTo>
                    <a:pt x="66" y="264"/>
                  </a:lnTo>
                  <a:lnTo>
                    <a:pt x="72" y="264"/>
                  </a:lnTo>
                  <a:lnTo>
                    <a:pt x="72" y="258"/>
                  </a:lnTo>
                  <a:lnTo>
                    <a:pt x="66" y="258"/>
                  </a:lnTo>
                  <a:lnTo>
                    <a:pt x="66" y="252"/>
                  </a:lnTo>
                  <a:lnTo>
                    <a:pt x="66" y="246"/>
                  </a:lnTo>
                  <a:lnTo>
                    <a:pt x="66" y="240"/>
                  </a:lnTo>
                  <a:lnTo>
                    <a:pt x="72" y="240"/>
                  </a:lnTo>
                  <a:lnTo>
                    <a:pt x="72" y="246"/>
                  </a:lnTo>
                  <a:lnTo>
                    <a:pt x="72" y="240"/>
                  </a:lnTo>
                  <a:lnTo>
                    <a:pt x="78" y="240"/>
                  </a:lnTo>
                  <a:lnTo>
                    <a:pt x="84" y="240"/>
                  </a:lnTo>
                  <a:lnTo>
                    <a:pt x="90" y="240"/>
                  </a:lnTo>
                  <a:lnTo>
                    <a:pt x="90" y="246"/>
                  </a:lnTo>
                  <a:lnTo>
                    <a:pt x="90" y="240"/>
                  </a:lnTo>
                  <a:lnTo>
                    <a:pt x="96" y="240"/>
                  </a:lnTo>
                  <a:lnTo>
                    <a:pt x="102" y="240"/>
                  </a:lnTo>
                  <a:lnTo>
                    <a:pt x="96" y="240"/>
                  </a:lnTo>
                  <a:lnTo>
                    <a:pt x="102" y="240"/>
                  </a:lnTo>
                  <a:lnTo>
                    <a:pt x="102" y="234"/>
                  </a:lnTo>
                  <a:lnTo>
                    <a:pt x="102" y="240"/>
                  </a:lnTo>
                  <a:lnTo>
                    <a:pt x="102" y="234"/>
                  </a:lnTo>
                  <a:lnTo>
                    <a:pt x="108" y="234"/>
                  </a:lnTo>
                  <a:lnTo>
                    <a:pt x="108" y="228"/>
                  </a:lnTo>
                  <a:lnTo>
                    <a:pt x="108" y="234"/>
                  </a:lnTo>
                  <a:lnTo>
                    <a:pt x="108" y="228"/>
                  </a:lnTo>
                  <a:lnTo>
                    <a:pt x="114" y="228"/>
                  </a:lnTo>
                  <a:lnTo>
                    <a:pt x="114" y="234"/>
                  </a:lnTo>
                  <a:lnTo>
                    <a:pt x="114" y="240"/>
                  </a:lnTo>
                  <a:lnTo>
                    <a:pt x="114" y="234"/>
                  </a:lnTo>
                  <a:lnTo>
                    <a:pt x="120" y="234"/>
                  </a:lnTo>
                  <a:lnTo>
                    <a:pt x="120" y="240"/>
                  </a:lnTo>
                  <a:lnTo>
                    <a:pt x="120" y="234"/>
                  </a:lnTo>
                  <a:lnTo>
                    <a:pt x="120" y="228"/>
                  </a:lnTo>
                  <a:lnTo>
                    <a:pt x="126" y="228"/>
                  </a:lnTo>
                  <a:lnTo>
                    <a:pt x="132" y="228"/>
                  </a:lnTo>
                  <a:lnTo>
                    <a:pt x="132" y="234"/>
                  </a:lnTo>
                  <a:lnTo>
                    <a:pt x="132" y="228"/>
                  </a:lnTo>
                  <a:lnTo>
                    <a:pt x="132" y="222"/>
                  </a:lnTo>
                  <a:lnTo>
                    <a:pt x="138" y="222"/>
                  </a:lnTo>
                  <a:lnTo>
                    <a:pt x="132" y="222"/>
                  </a:lnTo>
                  <a:lnTo>
                    <a:pt x="138" y="222"/>
                  </a:lnTo>
                  <a:lnTo>
                    <a:pt x="138" y="216"/>
                  </a:lnTo>
                  <a:lnTo>
                    <a:pt x="144" y="216"/>
                  </a:lnTo>
                  <a:lnTo>
                    <a:pt x="138" y="216"/>
                  </a:lnTo>
                  <a:lnTo>
                    <a:pt x="138" y="222"/>
                  </a:lnTo>
                  <a:lnTo>
                    <a:pt x="144" y="216"/>
                  </a:lnTo>
                  <a:lnTo>
                    <a:pt x="144" y="222"/>
                  </a:lnTo>
                  <a:lnTo>
                    <a:pt x="144" y="216"/>
                  </a:lnTo>
                  <a:lnTo>
                    <a:pt x="144" y="222"/>
                  </a:lnTo>
                  <a:lnTo>
                    <a:pt x="144" y="216"/>
                  </a:lnTo>
                  <a:lnTo>
                    <a:pt x="150" y="216"/>
                  </a:lnTo>
                  <a:lnTo>
                    <a:pt x="156" y="216"/>
                  </a:lnTo>
                  <a:lnTo>
                    <a:pt x="150" y="216"/>
                  </a:lnTo>
                  <a:lnTo>
                    <a:pt x="150" y="222"/>
                  </a:lnTo>
                  <a:lnTo>
                    <a:pt x="156" y="222"/>
                  </a:lnTo>
                  <a:lnTo>
                    <a:pt x="150" y="222"/>
                  </a:lnTo>
                  <a:lnTo>
                    <a:pt x="156" y="222"/>
                  </a:lnTo>
                  <a:lnTo>
                    <a:pt x="162" y="222"/>
                  </a:lnTo>
                  <a:lnTo>
                    <a:pt x="156" y="222"/>
                  </a:lnTo>
                  <a:lnTo>
                    <a:pt x="162" y="222"/>
                  </a:lnTo>
                  <a:lnTo>
                    <a:pt x="162" y="216"/>
                  </a:lnTo>
                  <a:lnTo>
                    <a:pt x="156" y="216"/>
                  </a:lnTo>
                  <a:lnTo>
                    <a:pt x="162" y="216"/>
                  </a:lnTo>
                  <a:lnTo>
                    <a:pt x="156" y="216"/>
                  </a:lnTo>
                  <a:lnTo>
                    <a:pt x="156" y="222"/>
                  </a:lnTo>
                  <a:lnTo>
                    <a:pt x="156" y="216"/>
                  </a:lnTo>
                  <a:lnTo>
                    <a:pt x="162" y="216"/>
                  </a:lnTo>
                  <a:lnTo>
                    <a:pt x="162" y="210"/>
                  </a:lnTo>
                  <a:lnTo>
                    <a:pt x="168" y="210"/>
                  </a:lnTo>
                  <a:lnTo>
                    <a:pt x="168" y="216"/>
                  </a:lnTo>
                  <a:lnTo>
                    <a:pt x="168" y="222"/>
                  </a:lnTo>
                  <a:lnTo>
                    <a:pt x="168" y="228"/>
                  </a:lnTo>
                  <a:lnTo>
                    <a:pt x="174" y="228"/>
                  </a:lnTo>
                  <a:lnTo>
                    <a:pt x="174" y="234"/>
                  </a:lnTo>
                  <a:lnTo>
                    <a:pt x="180" y="234"/>
                  </a:lnTo>
                  <a:lnTo>
                    <a:pt x="186" y="234"/>
                  </a:lnTo>
                  <a:lnTo>
                    <a:pt x="186" y="240"/>
                  </a:lnTo>
                  <a:lnTo>
                    <a:pt x="186" y="246"/>
                  </a:lnTo>
                  <a:lnTo>
                    <a:pt x="186" y="240"/>
                  </a:lnTo>
                  <a:lnTo>
                    <a:pt x="192" y="240"/>
                  </a:lnTo>
                  <a:lnTo>
                    <a:pt x="186" y="234"/>
                  </a:lnTo>
                  <a:lnTo>
                    <a:pt x="192" y="234"/>
                  </a:lnTo>
                  <a:lnTo>
                    <a:pt x="192" y="228"/>
                  </a:lnTo>
                  <a:lnTo>
                    <a:pt x="186" y="228"/>
                  </a:lnTo>
                  <a:lnTo>
                    <a:pt x="180" y="228"/>
                  </a:lnTo>
                  <a:lnTo>
                    <a:pt x="180" y="222"/>
                  </a:lnTo>
                  <a:lnTo>
                    <a:pt x="174" y="222"/>
                  </a:lnTo>
                  <a:lnTo>
                    <a:pt x="174" y="216"/>
                  </a:lnTo>
                  <a:lnTo>
                    <a:pt x="174" y="210"/>
                  </a:lnTo>
                  <a:lnTo>
                    <a:pt x="174" y="204"/>
                  </a:lnTo>
                  <a:lnTo>
                    <a:pt x="180" y="204"/>
                  </a:lnTo>
                  <a:lnTo>
                    <a:pt x="186" y="204"/>
                  </a:lnTo>
                  <a:lnTo>
                    <a:pt x="186" y="198"/>
                  </a:lnTo>
                  <a:lnTo>
                    <a:pt x="192" y="198"/>
                  </a:lnTo>
                  <a:lnTo>
                    <a:pt x="192" y="192"/>
                  </a:lnTo>
                  <a:lnTo>
                    <a:pt x="198" y="192"/>
                  </a:lnTo>
                  <a:lnTo>
                    <a:pt x="198" y="186"/>
                  </a:lnTo>
                  <a:lnTo>
                    <a:pt x="204" y="186"/>
                  </a:lnTo>
                  <a:lnTo>
                    <a:pt x="210" y="186"/>
                  </a:lnTo>
                  <a:lnTo>
                    <a:pt x="210" y="192"/>
                  </a:lnTo>
                  <a:lnTo>
                    <a:pt x="216" y="192"/>
                  </a:lnTo>
                  <a:lnTo>
                    <a:pt x="210" y="198"/>
                  </a:lnTo>
                  <a:lnTo>
                    <a:pt x="210" y="204"/>
                  </a:lnTo>
                  <a:lnTo>
                    <a:pt x="210" y="198"/>
                  </a:lnTo>
                  <a:lnTo>
                    <a:pt x="210" y="204"/>
                  </a:lnTo>
                  <a:lnTo>
                    <a:pt x="210" y="210"/>
                  </a:lnTo>
                  <a:lnTo>
                    <a:pt x="210" y="204"/>
                  </a:lnTo>
                  <a:lnTo>
                    <a:pt x="216" y="204"/>
                  </a:lnTo>
                  <a:lnTo>
                    <a:pt x="216" y="198"/>
                  </a:lnTo>
                  <a:lnTo>
                    <a:pt x="216" y="204"/>
                  </a:lnTo>
                  <a:lnTo>
                    <a:pt x="216" y="198"/>
                  </a:lnTo>
                  <a:lnTo>
                    <a:pt x="216" y="204"/>
                  </a:lnTo>
                  <a:lnTo>
                    <a:pt x="216" y="198"/>
                  </a:lnTo>
                  <a:lnTo>
                    <a:pt x="222" y="198"/>
                  </a:lnTo>
                  <a:lnTo>
                    <a:pt x="222" y="192"/>
                  </a:lnTo>
                  <a:lnTo>
                    <a:pt x="216" y="192"/>
                  </a:lnTo>
                  <a:lnTo>
                    <a:pt x="222" y="192"/>
                  </a:lnTo>
                  <a:lnTo>
                    <a:pt x="216" y="192"/>
                  </a:lnTo>
                  <a:lnTo>
                    <a:pt x="216" y="186"/>
                  </a:lnTo>
                  <a:lnTo>
                    <a:pt x="216" y="180"/>
                  </a:lnTo>
                  <a:lnTo>
                    <a:pt x="222" y="180"/>
                  </a:lnTo>
                  <a:lnTo>
                    <a:pt x="222" y="174"/>
                  </a:lnTo>
                  <a:lnTo>
                    <a:pt x="228" y="174"/>
                  </a:lnTo>
                  <a:lnTo>
                    <a:pt x="222" y="174"/>
                  </a:lnTo>
                  <a:lnTo>
                    <a:pt x="228" y="174"/>
                  </a:lnTo>
                  <a:lnTo>
                    <a:pt x="228" y="168"/>
                  </a:lnTo>
                  <a:lnTo>
                    <a:pt x="234" y="168"/>
                  </a:lnTo>
                  <a:lnTo>
                    <a:pt x="228" y="168"/>
                  </a:lnTo>
                  <a:lnTo>
                    <a:pt x="234" y="168"/>
                  </a:lnTo>
                  <a:lnTo>
                    <a:pt x="234" y="162"/>
                  </a:lnTo>
                  <a:lnTo>
                    <a:pt x="228" y="162"/>
                  </a:lnTo>
                  <a:lnTo>
                    <a:pt x="228" y="168"/>
                  </a:lnTo>
                  <a:lnTo>
                    <a:pt x="228" y="162"/>
                  </a:lnTo>
                  <a:lnTo>
                    <a:pt x="234" y="156"/>
                  </a:lnTo>
                  <a:lnTo>
                    <a:pt x="240" y="156"/>
                  </a:lnTo>
                  <a:lnTo>
                    <a:pt x="240" y="162"/>
                  </a:lnTo>
                  <a:lnTo>
                    <a:pt x="240" y="168"/>
                  </a:lnTo>
                  <a:lnTo>
                    <a:pt x="234" y="168"/>
                  </a:lnTo>
                  <a:lnTo>
                    <a:pt x="234" y="174"/>
                  </a:lnTo>
                  <a:lnTo>
                    <a:pt x="234" y="180"/>
                  </a:lnTo>
                  <a:lnTo>
                    <a:pt x="240" y="180"/>
                  </a:lnTo>
                  <a:lnTo>
                    <a:pt x="240" y="174"/>
                  </a:lnTo>
                  <a:lnTo>
                    <a:pt x="240" y="168"/>
                  </a:lnTo>
                  <a:lnTo>
                    <a:pt x="246" y="168"/>
                  </a:lnTo>
                  <a:lnTo>
                    <a:pt x="246" y="162"/>
                  </a:lnTo>
                  <a:lnTo>
                    <a:pt x="246" y="156"/>
                  </a:lnTo>
                  <a:lnTo>
                    <a:pt x="252" y="156"/>
                  </a:lnTo>
                  <a:lnTo>
                    <a:pt x="246" y="156"/>
                  </a:lnTo>
                  <a:lnTo>
                    <a:pt x="252" y="156"/>
                  </a:lnTo>
                  <a:lnTo>
                    <a:pt x="252" y="150"/>
                  </a:lnTo>
                  <a:lnTo>
                    <a:pt x="258" y="150"/>
                  </a:lnTo>
                  <a:lnTo>
                    <a:pt x="264" y="156"/>
                  </a:lnTo>
                  <a:lnTo>
                    <a:pt x="264" y="150"/>
                  </a:lnTo>
                  <a:lnTo>
                    <a:pt x="264" y="156"/>
                  </a:lnTo>
                  <a:lnTo>
                    <a:pt x="264" y="162"/>
                  </a:lnTo>
                  <a:lnTo>
                    <a:pt x="264" y="168"/>
                  </a:lnTo>
                  <a:lnTo>
                    <a:pt x="264" y="162"/>
                  </a:lnTo>
                  <a:lnTo>
                    <a:pt x="270" y="156"/>
                  </a:lnTo>
                  <a:lnTo>
                    <a:pt x="264" y="156"/>
                  </a:lnTo>
                  <a:lnTo>
                    <a:pt x="264" y="150"/>
                  </a:lnTo>
                  <a:lnTo>
                    <a:pt x="264" y="144"/>
                  </a:lnTo>
                  <a:lnTo>
                    <a:pt x="264" y="150"/>
                  </a:lnTo>
                  <a:lnTo>
                    <a:pt x="258" y="150"/>
                  </a:lnTo>
                  <a:lnTo>
                    <a:pt x="258" y="144"/>
                  </a:lnTo>
                  <a:lnTo>
                    <a:pt x="252" y="144"/>
                  </a:lnTo>
                  <a:lnTo>
                    <a:pt x="252" y="150"/>
                  </a:lnTo>
                  <a:lnTo>
                    <a:pt x="252" y="144"/>
                  </a:lnTo>
                  <a:lnTo>
                    <a:pt x="252" y="138"/>
                  </a:lnTo>
                  <a:lnTo>
                    <a:pt x="252" y="132"/>
                  </a:lnTo>
                  <a:lnTo>
                    <a:pt x="252" y="126"/>
                  </a:lnTo>
                  <a:lnTo>
                    <a:pt x="258" y="126"/>
                  </a:lnTo>
                  <a:lnTo>
                    <a:pt x="258" y="132"/>
                  </a:lnTo>
                  <a:lnTo>
                    <a:pt x="258" y="126"/>
                  </a:lnTo>
                  <a:lnTo>
                    <a:pt x="264" y="126"/>
                  </a:lnTo>
                  <a:lnTo>
                    <a:pt x="264" y="132"/>
                  </a:lnTo>
                  <a:lnTo>
                    <a:pt x="264" y="126"/>
                  </a:lnTo>
                  <a:lnTo>
                    <a:pt x="264" y="120"/>
                  </a:lnTo>
                  <a:lnTo>
                    <a:pt x="258" y="120"/>
                  </a:lnTo>
                  <a:lnTo>
                    <a:pt x="264" y="120"/>
                  </a:lnTo>
                  <a:lnTo>
                    <a:pt x="258" y="120"/>
                  </a:lnTo>
                  <a:lnTo>
                    <a:pt x="264" y="120"/>
                  </a:lnTo>
                  <a:lnTo>
                    <a:pt x="264" y="126"/>
                  </a:lnTo>
                  <a:lnTo>
                    <a:pt x="264" y="120"/>
                  </a:lnTo>
                  <a:lnTo>
                    <a:pt x="264" y="126"/>
                  </a:lnTo>
                  <a:lnTo>
                    <a:pt x="264" y="132"/>
                  </a:lnTo>
                  <a:lnTo>
                    <a:pt x="264" y="138"/>
                  </a:lnTo>
                  <a:lnTo>
                    <a:pt x="264" y="132"/>
                  </a:lnTo>
                  <a:lnTo>
                    <a:pt x="270" y="132"/>
                  </a:lnTo>
                  <a:lnTo>
                    <a:pt x="264" y="132"/>
                  </a:lnTo>
                  <a:lnTo>
                    <a:pt x="270" y="132"/>
                  </a:lnTo>
                  <a:lnTo>
                    <a:pt x="264" y="132"/>
                  </a:lnTo>
                  <a:lnTo>
                    <a:pt x="270" y="132"/>
                  </a:lnTo>
                  <a:lnTo>
                    <a:pt x="264" y="126"/>
                  </a:lnTo>
                  <a:lnTo>
                    <a:pt x="270" y="126"/>
                  </a:lnTo>
                  <a:lnTo>
                    <a:pt x="264" y="126"/>
                  </a:lnTo>
                  <a:lnTo>
                    <a:pt x="270" y="126"/>
                  </a:lnTo>
                  <a:lnTo>
                    <a:pt x="270" y="120"/>
                  </a:lnTo>
                  <a:lnTo>
                    <a:pt x="270" y="114"/>
                  </a:lnTo>
                  <a:lnTo>
                    <a:pt x="270" y="120"/>
                  </a:lnTo>
                  <a:lnTo>
                    <a:pt x="264" y="120"/>
                  </a:lnTo>
                  <a:lnTo>
                    <a:pt x="264" y="114"/>
                  </a:lnTo>
                  <a:lnTo>
                    <a:pt x="270" y="114"/>
                  </a:lnTo>
                  <a:lnTo>
                    <a:pt x="264" y="114"/>
                  </a:lnTo>
                  <a:lnTo>
                    <a:pt x="270" y="114"/>
                  </a:lnTo>
                  <a:lnTo>
                    <a:pt x="264" y="114"/>
                  </a:lnTo>
                  <a:lnTo>
                    <a:pt x="264" y="108"/>
                  </a:lnTo>
                  <a:lnTo>
                    <a:pt x="264" y="114"/>
                  </a:lnTo>
                  <a:lnTo>
                    <a:pt x="264" y="108"/>
                  </a:lnTo>
                  <a:lnTo>
                    <a:pt x="258" y="108"/>
                  </a:lnTo>
                  <a:lnTo>
                    <a:pt x="258" y="102"/>
                  </a:lnTo>
                  <a:lnTo>
                    <a:pt x="258" y="96"/>
                  </a:lnTo>
                  <a:lnTo>
                    <a:pt x="264" y="96"/>
                  </a:lnTo>
                  <a:lnTo>
                    <a:pt x="264" y="102"/>
                  </a:lnTo>
                  <a:lnTo>
                    <a:pt x="264" y="96"/>
                  </a:lnTo>
                  <a:lnTo>
                    <a:pt x="258" y="96"/>
                  </a:lnTo>
                  <a:lnTo>
                    <a:pt x="258" y="90"/>
                  </a:lnTo>
                  <a:lnTo>
                    <a:pt x="264" y="90"/>
                  </a:lnTo>
                  <a:lnTo>
                    <a:pt x="264" y="84"/>
                  </a:lnTo>
                  <a:lnTo>
                    <a:pt x="264" y="90"/>
                  </a:lnTo>
                  <a:lnTo>
                    <a:pt x="270" y="90"/>
                  </a:lnTo>
                  <a:lnTo>
                    <a:pt x="270" y="96"/>
                  </a:lnTo>
                  <a:lnTo>
                    <a:pt x="270" y="90"/>
                  </a:lnTo>
                  <a:lnTo>
                    <a:pt x="276" y="90"/>
                  </a:lnTo>
                  <a:lnTo>
                    <a:pt x="276" y="96"/>
                  </a:lnTo>
                  <a:lnTo>
                    <a:pt x="276" y="102"/>
                  </a:lnTo>
                  <a:lnTo>
                    <a:pt x="282" y="102"/>
                  </a:lnTo>
                  <a:lnTo>
                    <a:pt x="288" y="102"/>
                  </a:lnTo>
                  <a:lnTo>
                    <a:pt x="282" y="102"/>
                  </a:lnTo>
                  <a:lnTo>
                    <a:pt x="282" y="96"/>
                  </a:lnTo>
                  <a:lnTo>
                    <a:pt x="288" y="96"/>
                  </a:lnTo>
                  <a:lnTo>
                    <a:pt x="282" y="96"/>
                  </a:lnTo>
                  <a:lnTo>
                    <a:pt x="288" y="90"/>
                  </a:lnTo>
                  <a:lnTo>
                    <a:pt x="288" y="96"/>
                  </a:lnTo>
                  <a:lnTo>
                    <a:pt x="288" y="90"/>
                  </a:lnTo>
                  <a:lnTo>
                    <a:pt x="282" y="90"/>
                  </a:lnTo>
                  <a:lnTo>
                    <a:pt x="288" y="90"/>
                  </a:lnTo>
                  <a:lnTo>
                    <a:pt x="294" y="90"/>
                  </a:lnTo>
                  <a:lnTo>
                    <a:pt x="288" y="90"/>
                  </a:lnTo>
                  <a:lnTo>
                    <a:pt x="294" y="90"/>
                  </a:lnTo>
                  <a:lnTo>
                    <a:pt x="294" y="84"/>
                  </a:lnTo>
                  <a:lnTo>
                    <a:pt x="294" y="90"/>
                  </a:lnTo>
                  <a:lnTo>
                    <a:pt x="294" y="84"/>
                  </a:lnTo>
                  <a:lnTo>
                    <a:pt x="294" y="90"/>
                  </a:lnTo>
                  <a:lnTo>
                    <a:pt x="300" y="90"/>
                  </a:lnTo>
                  <a:lnTo>
                    <a:pt x="294" y="90"/>
                  </a:lnTo>
                  <a:lnTo>
                    <a:pt x="294" y="84"/>
                  </a:lnTo>
                  <a:lnTo>
                    <a:pt x="294" y="78"/>
                  </a:lnTo>
                  <a:lnTo>
                    <a:pt x="294" y="84"/>
                  </a:lnTo>
                  <a:lnTo>
                    <a:pt x="300" y="84"/>
                  </a:lnTo>
                  <a:lnTo>
                    <a:pt x="306" y="84"/>
                  </a:lnTo>
                  <a:lnTo>
                    <a:pt x="306" y="78"/>
                  </a:lnTo>
                  <a:lnTo>
                    <a:pt x="306" y="84"/>
                  </a:lnTo>
                  <a:lnTo>
                    <a:pt x="312" y="78"/>
                  </a:lnTo>
                  <a:lnTo>
                    <a:pt x="306" y="78"/>
                  </a:lnTo>
                  <a:lnTo>
                    <a:pt x="312" y="78"/>
                  </a:lnTo>
                  <a:lnTo>
                    <a:pt x="312" y="72"/>
                  </a:lnTo>
                  <a:lnTo>
                    <a:pt x="312" y="66"/>
                  </a:lnTo>
                  <a:lnTo>
                    <a:pt x="312" y="60"/>
                  </a:lnTo>
                  <a:lnTo>
                    <a:pt x="312" y="66"/>
                  </a:lnTo>
                  <a:lnTo>
                    <a:pt x="312" y="60"/>
                  </a:lnTo>
                  <a:lnTo>
                    <a:pt x="318" y="60"/>
                  </a:lnTo>
                  <a:lnTo>
                    <a:pt x="312" y="60"/>
                  </a:lnTo>
                  <a:lnTo>
                    <a:pt x="318" y="60"/>
                  </a:lnTo>
                  <a:lnTo>
                    <a:pt x="318" y="54"/>
                  </a:lnTo>
                  <a:lnTo>
                    <a:pt x="318" y="48"/>
                  </a:lnTo>
                  <a:lnTo>
                    <a:pt x="318" y="42"/>
                  </a:lnTo>
                  <a:lnTo>
                    <a:pt x="318" y="36"/>
                  </a:lnTo>
                  <a:lnTo>
                    <a:pt x="312" y="36"/>
                  </a:lnTo>
                  <a:lnTo>
                    <a:pt x="318" y="36"/>
                  </a:lnTo>
                  <a:lnTo>
                    <a:pt x="318" y="30"/>
                  </a:lnTo>
                  <a:lnTo>
                    <a:pt x="312" y="30"/>
                  </a:lnTo>
                  <a:lnTo>
                    <a:pt x="312" y="24"/>
                  </a:lnTo>
                  <a:lnTo>
                    <a:pt x="306" y="24"/>
                  </a:lnTo>
                  <a:lnTo>
                    <a:pt x="312" y="24"/>
                  </a:lnTo>
                  <a:lnTo>
                    <a:pt x="318" y="24"/>
                  </a:lnTo>
                  <a:lnTo>
                    <a:pt x="318" y="30"/>
                  </a:lnTo>
                  <a:lnTo>
                    <a:pt x="318" y="24"/>
                  </a:lnTo>
                  <a:lnTo>
                    <a:pt x="318" y="18"/>
                  </a:lnTo>
                  <a:lnTo>
                    <a:pt x="324" y="24"/>
                  </a:lnTo>
                  <a:lnTo>
                    <a:pt x="324" y="18"/>
                  </a:lnTo>
                  <a:lnTo>
                    <a:pt x="318" y="18"/>
                  </a:lnTo>
                  <a:lnTo>
                    <a:pt x="324" y="18"/>
                  </a:lnTo>
                  <a:lnTo>
                    <a:pt x="330" y="18"/>
                  </a:lnTo>
                  <a:lnTo>
                    <a:pt x="324" y="18"/>
                  </a:lnTo>
                  <a:lnTo>
                    <a:pt x="330" y="12"/>
                  </a:lnTo>
                  <a:lnTo>
                    <a:pt x="330" y="18"/>
                  </a:lnTo>
                  <a:lnTo>
                    <a:pt x="330" y="12"/>
                  </a:lnTo>
                  <a:lnTo>
                    <a:pt x="330" y="18"/>
                  </a:lnTo>
                  <a:lnTo>
                    <a:pt x="330" y="12"/>
                  </a:lnTo>
                  <a:lnTo>
                    <a:pt x="330" y="6"/>
                  </a:lnTo>
                  <a:lnTo>
                    <a:pt x="324" y="6"/>
                  </a:lnTo>
                  <a:lnTo>
                    <a:pt x="330" y="6"/>
                  </a:lnTo>
                  <a:lnTo>
                    <a:pt x="336" y="6"/>
                  </a:lnTo>
                  <a:lnTo>
                    <a:pt x="330" y="6"/>
                  </a:lnTo>
                  <a:lnTo>
                    <a:pt x="336" y="6"/>
                  </a:lnTo>
                  <a:lnTo>
                    <a:pt x="330" y="6"/>
                  </a:lnTo>
                  <a:lnTo>
                    <a:pt x="336" y="6"/>
                  </a:lnTo>
                  <a:lnTo>
                    <a:pt x="330" y="6"/>
                  </a:lnTo>
                  <a:lnTo>
                    <a:pt x="336" y="0"/>
                  </a:lnTo>
                  <a:lnTo>
                    <a:pt x="330" y="0"/>
                  </a:lnTo>
                  <a:lnTo>
                    <a:pt x="330" y="6"/>
                  </a:lnTo>
                  <a:lnTo>
                    <a:pt x="330" y="0"/>
                  </a:lnTo>
                  <a:lnTo>
                    <a:pt x="336" y="0"/>
                  </a:lnTo>
                  <a:lnTo>
                    <a:pt x="330" y="0"/>
                  </a:lnTo>
                  <a:lnTo>
                    <a:pt x="336" y="0"/>
                  </a:lnTo>
                  <a:lnTo>
                    <a:pt x="342" y="0"/>
                  </a:lnTo>
                  <a:lnTo>
                    <a:pt x="342" y="6"/>
                  </a:lnTo>
                  <a:lnTo>
                    <a:pt x="342" y="12"/>
                  </a:lnTo>
                  <a:lnTo>
                    <a:pt x="336" y="12"/>
                  </a:lnTo>
                  <a:lnTo>
                    <a:pt x="342" y="12"/>
                  </a:lnTo>
                  <a:lnTo>
                    <a:pt x="336" y="12"/>
                  </a:lnTo>
                  <a:lnTo>
                    <a:pt x="342" y="12"/>
                  </a:lnTo>
                  <a:lnTo>
                    <a:pt x="336" y="12"/>
                  </a:lnTo>
                  <a:lnTo>
                    <a:pt x="336" y="6"/>
                  </a:lnTo>
                  <a:lnTo>
                    <a:pt x="336" y="12"/>
                  </a:lnTo>
                  <a:lnTo>
                    <a:pt x="336" y="18"/>
                  </a:lnTo>
                  <a:lnTo>
                    <a:pt x="336" y="12"/>
                  </a:lnTo>
                  <a:lnTo>
                    <a:pt x="336" y="18"/>
                  </a:lnTo>
                  <a:lnTo>
                    <a:pt x="342" y="18"/>
                  </a:lnTo>
                  <a:lnTo>
                    <a:pt x="342" y="12"/>
                  </a:lnTo>
                  <a:lnTo>
                    <a:pt x="342" y="18"/>
                  </a:lnTo>
                  <a:lnTo>
                    <a:pt x="348" y="18"/>
                  </a:lnTo>
                  <a:lnTo>
                    <a:pt x="342" y="18"/>
                  </a:lnTo>
                  <a:lnTo>
                    <a:pt x="348" y="18"/>
                  </a:lnTo>
                  <a:lnTo>
                    <a:pt x="348" y="24"/>
                  </a:lnTo>
                  <a:lnTo>
                    <a:pt x="348" y="18"/>
                  </a:lnTo>
                  <a:lnTo>
                    <a:pt x="354" y="18"/>
                  </a:lnTo>
                  <a:lnTo>
                    <a:pt x="354" y="24"/>
                  </a:lnTo>
                  <a:lnTo>
                    <a:pt x="348" y="24"/>
                  </a:lnTo>
                  <a:lnTo>
                    <a:pt x="354" y="24"/>
                  </a:lnTo>
                  <a:lnTo>
                    <a:pt x="354" y="30"/>
                  </a:lnTo>
                  <a:lnTo>
                    <a:pt x="354" y="36"/>
                  </a:lnTo>
                  <a:lnTo>
                    <a:pt x="360" y="42"/>
                  </a:lnTo>
                  <a:lnTo>
                    <a:pt x="360" y="48"/>
                  </a:lnTo>
                  <a:lnTo>
                    <a:pt x="360" y="42"/>
                  </a:lnTo>
                  <a:lnTo>
                    <a:pt x="366" y="42"/>
                  </a:lnTo>
                  <a:lnTo>
                    <a:pt x="366" y="48"/>
                  </a:lnTo>
                  <a:lnTo>
                    <a:pt x="366" y="54"/>
                  </a:lnTo>
                  <a:lnTo>
                    <a:pt x="372" y="48"/>
                  </a:lnTo>
                  <a:lnTo>
                    <a:pt x="372" y="54"/>
                  </a:lnTo>
                  <a:lnTo>
                    <a:pt x="366" y="54"/>
                  </a:lnTo>
                  <a:lnTo>
                    <a:pt x="372" y="54"/>
                  </a:lnTo>
                  <a:lnTo>
                    <a:pt x="372" y="60"/>
                  </a:lnTo>
                  <a:lnTo>
                    <a:pt x="372" y="66"/>
                  </a:lnTo>
                  <a:lnTo>
                    <a:pt x="372" y="72"/>
                  </a:lnTo>
                  <a:lnTo>
                    <a:pt x="378" y="72"/>
                  </a:lnTo>
                  <a:lnTo>
                    <a:pt x="378" y="78"/>
                  </a:lnTo>
                  <a:lnTo>
                    <a:pt x="378" y="84"/>
                  </a:lnTo>
                  <a:lnTo>
                    <a:pt x="378" y="90"/>
                  </a:lnTo>
                  <a:lnTo>
                    <a:pt x="384" y="90"/>
                  </a:lnTo>
                  <a:lnTo>
                    <a:pt x="384" y="96"/>
                  </a:lnTo>
                  <a:lnTo>
                    <a:pt x="384" y="102"/>
                  </a:lnTo>
                  <a:lnTo>
                    <a:pt x="384" y="108"/>
                  </a:lnTo>
                  <a:lnTo>
                    <a:pt x="384" y="114"/>
                  </a:lnTo>
                  <a:lnTo>
                    <a:pt x="384" y="120"/>
                  </a:lnTo>
                  <a:lnTo>
                    <a:pt x="390" y="120"/>
                  </a:lnTo>
                  <a:lnTo>
                    <a:pt x="384" y="120"/>
                  </a:lnTo>
                  <a:lnTo>
                    <a:pt x="384" y="126"/>
                  </a:lnTo>
                  <a:lnTo>
                    <a:pt x="384" y="120"/>
                  </a:lnTo>
                  <a:lnTo>
                    <a:pt x="384" y="126"/>
                  </a:lnTo>
                  <a:lnTo>
                    <a:pt x="390" y="132"/>
                  </a:lnTo>
                  <a:lnTo>
                    <a:pt x="390" y="138"/>
                  </a:lnTo>
                  <a:lnTo>
                    <a:pt x="384" y="138"/>
                  </a:lnTo>
                  <a:lnTo>
                    <a:pt x="390" y="138"/>
                  </a:lnTo>
                  <a:lnTo>
                    <a:pt x="390" y="144"/>
                  </a:lnTo>
                  <a:lnTo>
                    <a:pt x="390" y="150"/>
                  </a:lnTo>
                  <a:lnTo>
                    <a:pt x="390" y="156"/>
                  </a:lnTo>
                  <a:lnTo>
                    <a:pt x="390" y="162"/>
                  </a:lnTo>
                  <a:lnTo>
                    <a:pt x="390" y="168"/>
                  </a:lnTo>
                  <a:lnTo>
                    <a:pt x="396" y="168"/>
                  </a:lnTo>
                  <a:lnTo>
                    <a:pt x="396" y="174"/>
                  </a:lnTo>
                  <a:lnTo>
                    <a:pt x="396" y="180"/>
                  </a:lnTo>
                  <a:lnTo>
                    <a:pt x="402" y="180"/>
                  </a:lnTo>
                  <a:lnTo>
                    <a:pt x="402" y="186"/>
                  </a:lnTo>
                  <a:lnTo>
                    <a:pt x="402" y="192"/>
                  </a:lnTo>
                  <a:lnTo>
                    <a:pt x="402" y="198"/>
                  </a:lnTo>
                  <a:lnTo>
                    <a:pt x="402" y="204"/>
                  </a:lnTo>
                  <a:lnTo>
                    <a:pt x="402" y="210"/>
                  </a:lnTo>
                  <a:lnTo>
                    <a:pt x="396" y="210"/>
                  </a:lnTo>
                  <a:lnTo>
                    <a:pt x="396" y="216"/>
                  </a:lnTo>
                  <a:lnTo>
                    <a:pt x="396" y="222"/>
                  </a:lnTo>
                  <a:lnTo>
                    <a:pt x="396" y="216"/>
                  </a:lnTo>
                  <a:lnTo>
                    <a:pt x="396" y="222"/>
                  </a:lnTo>
                  <a:lnTo>
                    <a:pt x="390" y="222"/>
                  </a:lnTo>
                  <a:lnTo>
                    <a:pt x="390" y="228"/>
                  </a:lnTo>
                  <a:lnTo>
                    <a:pt x="384" y="228"/>
                  </a:lnTo>
                  <a:lnTo>
                    <a:pt x="384" y="222"/>
                  </a:lnTo>
                  <a:lnTo>
                    <a:pt x="378" y="222"/>
                  </a:lnTo>
                  <a:lnTo>
                    <a:pt x="378" y="216"/>
                  </a:lnTo>
                  <a:lnTo>
                    <a:pt x="378" y="210"/>
                  </a:lnTo>
                  <a:lnTo>
                    <a:pt x="372" y="210"/>
                  </a:lnTo>
                  <a:lnTo>
                    <a:pt x="372" y="204"/>
                  </a:lnTo>
                  <a:lnTo>
                    <a:pt x="372" y="198"/>
                  </a:lnTo>
                  <a:lnTo>
                    <a:pt x="366" y="198"/>
                  </a:lnTo>
                  <a:lnTo>
                    <a:pt x="360" y="198"/>
                  </a:lnTo>
                  <a:lnTo>
                    <a:pt x="360" y="204"/>
                  </a:lnTo>
                  <a:lnTo>
                    <a:pt x="354" y="204"/>
                  </a:lnTo>
                  <a:lnTo>
                    <a:pt x="360" y="210"/>
                  </a:lnTo>
                  <a:lnTo>
                    <a:pt x="360" y="204"/>
                  </a:lnTo>
                  <a:lnTo>
                    <a:pt x="360" y="210"/>
                  </a:lnTo>
                  <a:lnTo>
                    <a:pt x="360" y="216"/>
                  </a:lnTo>
                  <a:lnTo>
                    <a:pt x="360" y="222"/>
                  </a:lnTo>
                  <a:lnTo>
                    <a:pt x="360" y="228"/>
                  </a:lnTo>
                  <a:lnTo>
                    <a:pt x="360" y="234"/>
                  </a:lnTo>
                  <a:lnTo>
                    <a:pt x="360" y="240"/>
                  </a:lnTo>
                  <a:lnTo>
                    <a:pt x="366" y="240"/>
                  </a:lnTo>
                  <a:lnTo>
                    <a:pt x="372" y="240"/>
                  </a:lnTo>
                  <a:lnTo>
                    <a:pt x="372" y="246"/>
                  </a:lnTo>
                  <a:lnTo>
                    <a:pt x="366" y="246"/>
                  </a:lnTo>
                  <a:lnTo>
                    <a:pt x="366" y="252"/>
                  </a:lnTo>
                  <a:lnTo>
                    <a:pt x="366" y="258"/>
                  </a:lnTo>
                  <a:lnTo>
                    <a:pt x="372" y="258"/>
                  </a:lnTo>
                  <a:lnTo>
                    <a:pt x="366" y="258"/>
                  </a:lnTo>
                  <a:lnTo>
                    <a:pt x="372" y="258"/>
                  </a:lnTo>
                  <a:lnTo>
                    <a:pt x="366" y="264"/>
                  </a:lnTo>
                  <a:lnTo>
                    <a:pt x="366" y="270"/>
                  </a:lnTo>
                  <a:lnTo>
                    <a:pt x="360" y="270"/>
                  </a:lnTo>
                  <a:lnTo>
                    <a:pt x="360" y="276"/>
                  </a:lnTo>
                  <a:lnTo>
                    <a:pt x="366" y="276"/>
                  </a:lnTo>
                  <a:lnTo>
                    <a:pt x="366" y="282"/>
                  </a:lnTo>
                  <a:lnTo>
                    <a:pt x="360" y="282"/>
                  </a:lnTo>
                  <a:lnTo>
                    <a:pt x="354" y="282"/>
                  </a:lnTo>
                  <a:lnTo>
                    <a:pt x="354" y="288"/>
                  </a:lnTo>
                  <a:lnTo>
                    <a:pt x="354" y="294"/>
                  </a:lnTo>
                  <a:lnTo>
                    <a:pt x="348" y="294"/>
                  </a:lnTo>
                  <a:lnTo>
                    <a:pt x="348" y="300"/>
                  </a:lnTo>
                  <a:lnTo>
                    <a:pt x="348" y="306"/>
                  </a:lnTo>
                  <a:lnTo>
                    <a:pt x="348" y="312"/>
                  </a:lnTo>
                  <a:lnTo>
                    <a:pt x="348" y="318"/>
                  </a:lnTo>
                  <a:lnTo>
                    <a:pt x="348" y="324"/>
                  </a:lnTo>
                  <a:lnTo>
                    <a:pt x="348" y="330"/>
                  </a:lnTo>
                  <a:lnTo>
                    <a:pt x="354" y="330"/>
                  </a:lnTo>
                  <a:lnTo>
                    <a:pt x="348" y="330"/>
                  </a:lnTo>
                  <a:lnTo>
                    <a:pt x="348" y="336"/>
                  </a:lnTo>
                  <a:lnTo>
                    <a:pt x="348" y="342"/>
                  </a:lnTo>
                  <a:lnTo>
                    <a:pt x="348" y="348"/>
                  </a:lnTo>
                  <a:lnTo>
                    <a:pt x="342" y="348"/>
                  </a:lnTo>
                  <a:lnTo>
                    <a:pt x="342" y="354"/>
                  </a:lnTo>
                  <a:lnTo>
                    <a:pt x="348" y="354"/>
                  </a:lnTo>
                  <a:lnTo>
                    <a:pt x="342" y="354"/>
                  </a:lnTo>
                  <a:lnTo>
                    <a:pt x="342" y="360"/>
                  </a:lnTo>
                  <a:lnTo>
                    <a:pt x="342" y="366"/>
                  </a:lnTo>
                  <a:lnTo>
                    <a:pt x="342" y="372"/>
                  </a:lnTo>
                  <a:lnTo>
                    <a:pt x="336" y="378"/>
                  </a:lnTo>
                  <a:lnTo>
                    <a:pt x="336" y="384"/>
                  </a:lnTo>
                  <a:lnTo>
                    <a:pt x="336" y="390"/>
                  </a:lnTo>
                  <a:lnTo>
                    <a:pt x="330" y="390"/>
                  </a:lnTo>
                  <a:lnTo>
                    <a:pt x="330" y="396"/>
                  </a:lnTo>
                  <a:lnTo>
                    <a:pt x="330" y="402"/>
                  </a:lnTo>
                  <a:lnTo>
                    <a:pt x="324" y="408"/>
                  </a:lnTo>
                  <a:lnTo>
                    <a:pt x="324" y="414"/>
                  </a:lnTo>
                  <a:lnTo>
                    <a:pt x="324" y="420"/>
                  </a:lnTo>
                  <a:lnTo>
                    <a:pt x="324" y="426"/>
                  </a:lnTo>
                  <a:lnTo>
                    <a:pt x="318" y="426"/>
                  </a:lnTo>
                  <a:lnTo>
                    <a:pt x="318" y="432"/>
                  </a:lnTo>
                  <a:lnTo>
                    <a:pt x="318" y="438"/>
                  </a:lnTo>
                  <a:lnTo>
                    <a:pt x="312" y="444"/>
                  </a:lnTo>
                  <a:lnTo>
                    <a:pt x="312" y="450"/>
                  </a:lnTo>
                  <a:lnTo>
                    <a:pt x="312" y="456"/>
                  </a:lnTo>
                  <a:lnTo>
                    <a:pt x="312" y="462"/>
                  </a:lnTo>
                  <a:lnTo>
                    <a:pt x="312" y="468"/>
                  </a:lnTo>
                  <a:lnTo>
                    <a:pt x="306" y="468"/>
                  </a:lnTo>
                  <a:lnTo>
                    <a:pt x="306" y="474"/>
                  </a:lnTo>
                  <a:lnTo>
                    <a:pt x="306" y="480"/>
                  </a:lnTo>
                  <a:lnTo>
                    <a:pt x="300" y="480"/>
                  </a:lnTo>
                  <a:lnTo>
                    <a:pt x="300" y="486"/>
                  </a:lnTo>
                  <a:lnTo>
                    <a:pt x="300" y="492"/>
                  </a:lnTo>
                  <a:lnTo>
                    <a:pt x="300" y="498"/>
                  </a:lnTo>
                  <a:lnTo>
                    <a:pt x="294" y="498"/>
                  </a:lnTo>
                  <a:lnTo>
                    <a:pt x="294" y="504"/>
                  </a:lnTo>
                  <a:lnTo>
                    <a:pt x="294" y="510"/>
                  </a:lnTo>
                  <a:lnTo>
                    <a:pt x="294" y="516"/>
                  </a:lnTo>
                  <a:lnTo>
                    <a:pt x="294" y="522"/>
                  </a:lnTo>
                  <a:lnTo>
                    <a:pt x="288" y="528"/>
                  </a:lnTo>
                  <a:lnTo>
                    <a:pt x="288" y="534"/>
                  </a:lnTo>
                  <a:lnTo>
                    <a:pt x="288" y="540"/>
                  </a:lnTo>
                  <a:lnTo>
                    <a:pt x="282" y="546"/>
                  </a:lnTo>
                  <a:lnTo>
                    <a:pt x="282" y="552"/>
                  </a:lnTo>
                  <a:lnTo>
                    <a:pt x="282" y="558"/>
                  </a:lnTo>
                  <a:lnTo>
                    <a:pt x="282" y="564"/>
                  </a:lnTo>
                  <a:lnTo>
                    <a:pt x="276" y="564"/>
                  </a:lnTo>
                  <a:lnTo>
                    <a:pt x="276" y="570"/>
                  </a:lnTo>
                  <a:lnTo>
                    <a:pt x="276" y="576"/>
                  </a:lnTo>
                  <a:lnTo>
                    <a:pt x="270" y="582"/>
                  </a:lnTo>
                  <a:lnTo>
                    <a:pt x="270" y="588"/>
                  </a:lnTo>
                  <a:lnTo>
                    <a:pt x="270" y="594"/>
                  </a:lnTo>
                  <a:lnTo>
                    <a:pt x="264" y="594"/>
                  </a:lnTo>
                  <a:lnTo>
                    <a:pt x="264" y="600"/>
                  </a:lnTo>
                  <a:lnTo>
                    <a:pt x="264" y="606"/>
                  </a:lnTo>
                  <a:lnTo>
                    <a:pt x="264" y="612"/>
                  </a:lnTo>
                  <a:lnTo>
                    <a:pt x="258" y="612"/>
                  </a:lnTo>
                  <a:lnTo>
                    <a:pt x="258" y="618"/>
                  </a:lnTo>
                  <a:lnTo>
                    <a:pt x="258" y="624"/>
                  </a:lnTo>
                  <a:lnTo>
                    <a:pt x="258" y="630"/>
                  </a:lnTo>
                  <a:lnTo>
                    <a:pt x="258" y="636"/>
                  </a:lnTo>
                  <a:lnTo>
                    <a:pt x="258" y="642"/>
                  </a:lnTo>
                  <a:lnTo>
                    <a:pt x="252" y="648"/>
                  </a:lnTo>
                  <a:lnTo>
                    <a:pt x="252" y="654"/>
                  </a:lnTo>
                  <a:lnTo>
                    <a:pt x="252" y="660"/>
                  </a:lnTo>
                  <a:lnTo>
                    <a:pt x="252" y="666"/>
                  </a:lnTo>
                  <a:lnTo>
                    <a:pt x="246" y="672"/>
                  </a:lnTo>
                  <a:lnTo>
                    <a:pt x="246" y="678"/>
                  </a:lnTo>
                  <a:lnTo>
                    <a:pt x="246" y="684"/>
                  </a:lnTo>
                  <a:lnTo>
                    <a:pt x="246" y="690"/>
                  </a:lnTo>
                  <a:lnTo>
                    <a:pt x="240" y="690"/>
                  </a:lnTo>
                  <a:lnTo>
                    <a:pt x="240" y="696"/>
                  </a:lnTo>
                  <a:lnTo>
                    <a:pt x="240" y="690"/>
                  </a:lnTo>
                  <a:lnTo>
                    <a:pt x="246" y="696"/>
                  </a:lnTo>
                  <a:lnTo>
                    <a:pt x="240" y="696"/>
                  </a:lnTo>
                  <a:lnTo>
                    <a:pt x="240" y="702"/>
                  </a:lnTo>
                  <a:lnTo>
                    <a:pt x="240" y="708"/>
                  </a:lnTo>
                  <a:lnTo>
                    <a:pt x="234" y="708"/>
                  </a:lnTo>
                  <a:lnTo>
                    <a:pt x="234" y="714"/>
                  </a:lnTo>
                  <a:lnTo>
                    <a:pt x="234" y="720"/>
                  </a:lnTo>
                  <a:lnTo>
                    <a:pt x="228" y="720"/>
                  </a:lnTo>
                  <a:lnTo>
                    <a:pt x="228" y="726"/>
                  </a:lnTo>
                  <a:lnTo>
                    <a:pt x="228" y="732"/>
                  </a:lnTo>
                  <a:lnTo>
                    <a:pt x="228" y="738"/>
                  </a:lnTo>
                  <a:lnTo>
                    <a:pt x="222" y="744"/>
                  </a:lnTo>
                  <a:lnTo>
                    <a:pt x="222" y="750"/>
                  </a:lnTo>
                  <a:lnTo>
                    <a:pt x="222" y="756"/>
                  </a:lnTo>
                  <a:lnTo>
                    <a:pt x="216" y="756"/>
                  </a:lnTo>
                  <a:lnTo>
                    <a:pt x="216" y="762"/>
                  </a:lnTo>
                  <a:lnTo>
                    <a:pt x="216" y="768"/>
                  </a:lnTo>
                  <a:lnTo>
                    <a:pt x="216" y="762"/>
                  </a:lnTo>
                  <a:lnTo>
                    <a:pt x="210" y="762"/>
                  </a:lnTo>
                  <a:lnTo>
                    <a:pt x="210" y="768"/>
                  </a:lnTo>
                  <a:lnTo>
                    <a:pt x="204" y="768"/>
                  </a:lnTo>
                  <a:lnTo>
                    <a:pt x="204" y="774"/>
                  </a:lnTo>
                  <a:lnTo>
                    <a:pt x="198" y="774"/>
                  </a:lnTo>
                  <a:lnTo>
                    <a:pt x="192" y="774"/>
                  </a:lnTo>
                  <a:lnTo>
                    <a:pt x="192" y="780"/>
                  </a:lnTo>
                  <a:lnTo>
                    <a:pt x="192" y="774"/>
                  </a:lnTo>
                  <a:lnTo>
                    <a:pt x="192" y="780"/>
                  </a:lnTo>
                  <a:lnTo>
                    <a:pt x="192" y="774"/>
                  </a:lnTo>
                  <a:lnTo>
                    <a:pt x="186" y="774"/>
                  </a:lnTo>
                  <a:lnTo>
                    <a:pt x="180" y="774"/>
                  </a:lnTo>
                  <a:lnTo>
                    <a:pt x="174" y="774"/>
                  </a:lnTo>
                  <a:lnTo>
                    <a:pt x="174" y="780"/>
                  </a:lnTo>
                  <a:lnTo>
                    <a:pt x="168" y="780"/>
                  </a:lnTo>
                  <a:lnTo>
                    <a:pt x="162" y="780"/>
                  </a:lnTo>
                  <a:lnTo>
                    <a:pt x="156" y="786"/>
                  </a:lnTo>
                  <a:lnTo>
                    <a:pt x="150" y="786"/>
                  </a:lnTo>
                  <a:lnTo>
                    <a:pt x="144" y="792"/>
                  </a:lnTo>
                  <a:lnTo>
                    <a:pt x="138" y="792"/>
                  </a:lnTo>
                  <a:lnTo>
                    <a:pt x="138" y="798"/>
                  </a:lnTo>
                  <a:lnTo>
                    <a:pt x="132" y="798"/>
                  </a:lnTo>
                  <a:lnTo>
                    <a:pt x="126" y="804"/>
                  </a:lnTo>
                  <a:lnTo>
                    <a:pt x="120" y="804"/>
                  </a:lnTo>
                  <a:lnTo>
                    <a:pt x="114" y="804"/>
                  </a:lnTo>
                  <a:lnTo>
                    <a:pt x="108" y="804"/>
                  </a:lnTo>
                  <a:lnTo>
                    <a:pt x="108" y="798"/>
                  </a:lnTo>
                  <a:lnTo>
                    <a:pt x="102" y="798"/>
                  </a:lnTo>
                  <a:lnTo>
                    <a:pt x="96" y="798"/>
                  </a:lnTo>
                  <a:lnTo>
                    <a:pt x="96" y="792"/>
                  </a:lnTo>
                  <a:lnTo>
                    <a:pt x="90" y="786"/>
                  </a:lnTo>
                  <a:lnTo>
                    <a:pt x="84" y="786"/>
                  </a:lnTo>
                  <a:lnTo>
                    <a:pt x="78" y="786"/>
                  </a:lnTo>
                  <a:lnTo>
                    <a:pt x="72" y="786"/>
                  </a:lnTo>
                  <a:lnTo>
                    <a:pt x="72" y="780"/>
                  </a:lnTo>
                  <a:lnTo>
                    <a:pt x="72" y="786"/>
                  </a:lnTo>
                  <a:lnTo>
                    <a:pt x="72" y="780"/>
                  </a:lnTo>
                  <a:lnTo>
                    <a:pt x="66" y="780"/>
                  </a:lnTo>
                  <a:lnTo>
                    <a:pt x="60" y="780"/>
                  </a:lnTo>
                  <a:lnTo>
                    <a:pt x="60" y="774"/>
                  </a:lnTo>
                  <a:lnTo>
                    <a:pt x="54" y="774"/>
                  </a:lnTo>
                  <a:lnTo>
                    <a:pt x="54" y="768"/>
                  </a:lnTo>
                  <a:lnTo>
                    <a:pt x="48" y="768"/>
                  </a:lnTo>
                  <a:lnTo>
                    <a:pt x="48" y="762"/>
                  </a:lnTo>
                  <a:lnTo>
                    <a:pt x="42" y="762"/>
                  </a:lnTo>
                  <a:lnTo>
                    <a:pt x="42" y="756"/>
                  </a:lnTo>
                  <a:lnTo>
                    <a:pt x="42" y="750"/>
                  </a:lnTo>
                  <a:lnTo>
                    <a:pt x="42" y="744"/>
                  </a:lnTo>
                  <a:lnTo>
                    <a:pt x="36" y="738"/>
                  </a:lnTo>
                  <a:lnTo>
                    <a:pt x="36" y="732"/>
                  </a:lnTo>
                  <a:lnTo>
                    <a:pt x="30" y="732"/>
                  </a:lnTo>
                  <a:lnTo>
                    <a:pt x="24" y="726"/>
                  </a:lnTo>
                  <a:lnTo>
                    <a:pt x="24" y="720"/>
                  </a:lnTo>
                  <a:lnTo>
                    <a:pt x="24" y="714"/>
                  </a:lnTo>
                  <a:lnTo>
                    <a:pt x="24" y="708"/>
                  </a:lnTo>
                  <a:lnTo>
                    <a:pt x="24" y="702"/>
                  </a:lnTo>
                  <a:lnTo>
                    <a:pt x="24" y="696"/>
                  </a:lnTo>
                  <a:lnTo>
                    <a:pt x="24" y="690"/>
                  </a:lnTo>
                  <a:lnTo>
                    <a:pt x="24" y="684"/>
                  </a:lnTo>
                  <a:lnTo>
                    <a:pt x="24" y="678"/>
                  </a:lnTo>
                  <a:lnTo>
                    <a:pt x="30" y="678"/>
                  </a:lnTo>
                  <a:lnTo>
                    <a:pt x="30" y="672"/>
                  </a:lnTo>
                  <a:lnTo>
                    <a:pt x="30" y="678"/>
                  </a:lnTo>
                  <a:lnTo>
                    <a:pt x="30" y="672"/>
                  </a:lnTo>
                  <a:lnTo>
                    <a:pt x="30" y="666"/>
                  </a:lnTo>
                  <a:lnTo>
                    <a:pt x="24" y="666"/>
                  </a:lnTo>
                  <a:lnTo>
                    <a:pt x="24" y="660"/>
                  </a:lnTo>
                  <a:lnTo>
                    <a:pt x="24" y="654"/>
                  </a:lnTo>
                  <a:lnTo>
                    <a:pt x="24" y="648"/>
                  </a:lnTo>
                  <a:lnTo>
                    <a:pt x="18" y="648"/>
                  </a:lnTo>
                  <a:lnTo>
                    <a:pt x="18" y="642"/>
                  </a:lnTo>
                  <a:lnTo>
                    <a:pt x="12" y="642"/>
                  </a:lnTo>
                  <a:lnTo>
                    <a:pt x="12" y="636"/>
                  </a:lnTo>
                  <a:lnTo>
                    <a:pt x="6" y="636"/>
                  </a:lnTo>
                  <a:lnTo>
                    <a:pt x="6" y="630"/>
                  </a:lnTo>
                  <a:lnTo>
                    <a:pt x="6" y="624"/>
                  </a:lnTo>
                  <a:lnTo>
                    <a:pt x="6" y="618"/>
                  </a:lnTo>
                  <a:lnTo>
                    <a:pt x="6" y="612"/>
                  </a:lnTo>
                  <a:lnTo>
                    <a:pt x="0" y="606"/>
                  </a:lnTo>
                  <a:lnTo>
                    <a:pt x="0" y="600"/>
                  </a:lnTo>
                  <a:close/>
                  <a:moveTo>
                    <a:pt x="276" y="72"/>
                  </a:moveTo>
                  <a:lnTo>
                    <a:pt x="282" y="72"/>
                  </a:lnTo>
                  <a:lnTo>
                    <a:pt x="282" y="66"/>
                  </a:lnTo>
                  <a:lnTo>
                    <a:pt x="282" y="72"/>
                  </a:lnTo>
                  <a:lnTo>
                    <a:pt x="282" y="66"/>
                  </a:lnTo>
                  <a:lnTo>
                    <a:pt x="282" y="72"/>
                  </a:lnTo>
                  <a:lnTo>
                    <a:pt x="282" y="78"/>
                  </a:lnTo>
                  <a:lnTo>
                    <a:pt x="288" y="78"/>
                  </a:lnTo>
                  <a:lnTo>
                    <a:pt x="282" y="78"/>
                  </a:lnTo>
                  <a:lnTo>
                    <a:pt x="288" y="78"/>
                  </a:lnTo>
                  <a:lnTo>
                    <a:pt x="282" y="84"/>
                  </a:lnTo>
                  <a:lnTo>
                    <a:pt x="282" y="78"/>
                  </a:lnTo>
                  <a:lnTo>
                    <a:pt x="282" y="84"/>
                  </a:lnTo>
                  <a:lnTo>
                    <a:pt x="282" y="78"/>
                  </a:lnTo>
                  <a:lnTo>
                    <a:pt x="276" y="78"/>
                  </a:lnTo>
                  <a:lnTo>
                    <a:pt x="276" y="72"/>
                  </a:lnTo>
                  <a:close/>
                  <a:moveTo>
                    <a:pt x="366" y="294"/>
                  </a:moveTo>
                  <a:lnTo>
                    <a:pt x="366" y="288"/>
                  </a:lnTo>
                  <a:lnTo>
                    <a:pt x="372" y="288"/>
                  </a:lnTo>
                  <a:lnTo>
                    <a:pt x="372" y="282"/>
                  </a:lnTo>
                  <a:lnTo>
                    <a:pt x="372" y="276"/>
                  </a:lnTo>
                  <a:lnTo>
                    <a:pt x="378" y="276"/>
                  </a:lnTo>
                  <a:lnTo>
                    <a:pt x="378" y="270"/>
                  </a:lnTo>
                  <a:lnTo>
                    <a:pt x="378" y="276"/>
                  </a:lnTo>
                  <a:lnTo>
                    <a:pt x="378" y="282"/>
                  </a:lnTo>
                  <a:lnTo>
                    <a:pt x="372" y="282"/>
                  </a:lnTo>
                  <a:lnTo>
                    <a:pt x="372" y="288"/>
                  </a:lnTo>
                  <a:lnTo>
                    <a:pt x="372" y="294"/>
                  </a:lnTo>
                  <a:lnTo>
                    <a:pt x="366" y="294"/>
                  </a:lnTo>
                  <a:close/>
                  <a:moveTo>
                    <a:pt x="240" y="144"/>
                  </a:moveTo>
                  <a:lnTo>
                    <a:pt x="246" y="144"/>
                  </a:lnTo>
                  <a:lnTo>
                    <a:pt x="246" y="150"/>
                  </a:lnTo>
                  <a:lnTo>
                    <a:pt x="240" y="150"/>
                  </a:lnTo>
                  <a:lnTo>
                    <a:pt x="240" y="144"/>
                  </a:lnTo>
                  <a:close/>
                  <a:moveTo>
                    <a:pt x="294" y="48"/>
                  </a:moveTo>
                  <a:lnTo>
                    <a:pt x="300" y="48"/>
                  </a:lnTo>
                  <a:lnTo>
                    <a:pt x="300" y="54"/>
                  </a:lnTo>
                  <a:lnTo>
                    <a:pt x="294" y="54"/>
                  </a:lnTo>
                  <a:lnTo>
                    <a:pt x="294" y="48"/>
                  </a:lnTo>
                  <a:close/>
                  <a:moveTo>
                    <a:pt x="282" y="84"/>
                  </a:moveTo>
                  <a:lnTo>
                    <a:pt x="288" y="84"/>
                  </a:lnTo>
                  <a:lnTo>
                    <a:pt x="282" y="84"/>
                  </a:lnTo>
                  <a:close/>
                  <a:moveTo>
                    <a:pt x="252" y="114"/>
                  </a:moveTo>
                  <a:lnTo>
                    <a:pt x="258" y="114"/>
                  </a:lnTo>
                  <a:lnTo>
                    <a:pt x="258" y="120"/>
                  </a:lnTo>
                  <a:lnTo>
                    <a:pt x="252" y="120"/>
                  </a:lnTo>
                  <a:lnTo>
                    <a:pt x="252" y="114"/>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0" name="Freeform 42"/>
            <p:cNvSpPr>
              <a:spLocks/>
            </p:cNvSpPr>
            <p:nvPr>
              <p:custDataLst>
                <p:tags r:id="rId38"/>
              </p:custDataLst>
            </p:nvPr>
          </p:nvSpPr>
          <p:spPr bwMode="gray">
            <a:xfrm>
              <a:off x="3579857" y="4235272"/>
              <a:ext cx="11670" cy="20136"/>
            </a:xfrm>
            <a:custGeom>
              <a:avLst/>
              <a:gdLst>
                <a:gd name="T0" fmla="*/ 3413 w 12"/>
                <a:gd name="T1" fmla="*/ 1793 h 24"/>
                <a:gd name="T2" fmla="*/ 5689 w 12"/>
                <a:gd name="T3" fmla="*/ 1793 h 24"/>
                <a:gd name="T4" fmla="*/ 5689 w 12"/>
                <a:gd name="T5" fmla="*/ 3586 h 24"/>
                <a:gd name="T6" fmla="*/ 3413 w 12"/>
                <a:gd name="T7" fmla="*/ 3586 h 24"/>
                <a:gd name="T8" fmla="*/ 5689 w 12"/>
                <a:gd name="T9" fmla="*/ 3586 h 24"/>
                <a:gd name="T10" fmla="*/ 3413 w 12"/>
                <a:gd name="T11" fmla="*/ 5379 h 24"/>
                <a:gd name="T12" fmla="*/ 3413 w 12"/>
                <a:gd name="T13" fmla="*/ 7172 h 24"/>
                <a:gd name="T14" fmla="*/ 3413 w 12"/>
                <a:gd name="T15" fmla="*/ 5379 h 24"/>
                <a:gd name="T16" fmla="*/ 3413 w 12"/>
                <a:gd name="T17" fmla="*/ 7172 h 24"/>
                <a:gd name="T18" fmla="*/ 3413 w 12"/>
                <a:gd name="T19" fmla="*/ 5379 h 24"/>
                <a:gd name="T20" fmla="*/ 3413 w 12"/>
                <a:gd name="T21" fmla="*/ 7172 h 24"/>
                <a:gd name="T22" fmla="*/ 3413 w 12"/>
                <a:gd name="T23" fmla="*/ 5379 h 24"/>
                <a:gd name="T24" fmla="*/ 3413 w 12"/>
                <a:gd name="T25" fmla="*/ 7172 h 24"/>
                <a:gd name="T26" fmla="*/ 3413 w 12"/>
                <a:gd name="T27" fmla="*/ 5379 h 24"/>
                <a:gd name="T28" fmla="*/ 0 w 12"/>
                <a:gd name="T29" fmla="*/ 5379 h 24"/>
                <a:gd name="T30" fmla="*/ 3413 w 12"/>
                <a:gd name="T31" fmla="*/ 5379 h 24"/>
                <a:gd name="T32" fmla="*/ 3413 w 12"/>
                <a:gd name="T33" fmla="*/ 3586 h 24"/>
                <a:gd name="T34" fmla="*/ 0 w 12"/>
                <a:gd name="T35" fmla="*/ 3586 h 24"/>
                <a:gd name="T36" fmla="*/ 3413 w 12"/>
                <a:gd name="T37" fmla="*/ 3586 h 24"/>
                <a:gd name="T38" fmla="*/ 0 w 12"/>
                <a:gd name="T39" fmla="*/ 3586 h 24"/>
                <a:gd name="T40" fmla="*/ 3413 w 12"/>
                <a:gd name="T41" fmla="*/ 3586 h 24"/>
                <a:gd name="T42" fmla="*/ 0 w 12"/>
                <a:gd name="T43" fmla="*/ 3586 h 24"/>
                <a:gd name="T44" fmla="*/ 3413 w 12"/>
                <a:gd name="T45" fmla="*/ 3586 h 24"/>
                <a:gd name="T46" fmla="*/ 0 w 12"/>
                <a:gd name="T47" fmla="*/ 3586 h 24"/>
                <a:gd name="T48" fmla="*/ 0 w 12"/>
                <a:gd name="T49" fmla="*/ 1793 h 24"/>
                <a:gd name="T50" fmla="*/ 0 w 12"/>
                <a:gd name="T51" fmla="*/ 0 h 24"/>
                <a:gd name="T52" fmla="*/ 3413 w 12"/>
                <a:gd name="T53" fmla="*/ 0 h 24"/>
                <a:gd name="T54" fmla="*/ 0 w 12"/>
                <a:gd name="T55" fmla="*/ 0 h 24"/>
                <a:gd name="T56" fmla="*/ 3413 w 12"/>
                <a:gd name="T57" fmla="*/ 0 h 24"/>
                <a:gd name="T58" fmla="*/ 0 w 12"/>
                <a:gd name="T59" fmla="*/ 0 h 24"/>
                <a:gd name="T60" fmla="*/ 3413 w 12"/>
                <a:gd name="T61" fmla="*/ 0 h 24"/>
                <a:gd name="T62" fmla="*/ 0 w 12"/>
                <a:gd name="T63" fmla="*/ 1793 h 24"/>
                <a:gd name="T64" fmla="*/ 3413 w 12"/>
                <a:gd name="T65" fmla="*/ 1793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 h="24">
                  <a:moveTo>
                    <a:pt x="6" y="6"/>
                  </a:moveTo>
                  <a:lnTo>
                    <a:pt x="12" y="6"/>
                  </a:lnTo>
                  <a:lnTo>
                    <a:pt x="12" y="12"/>
                  </a:lnTo>
                  <a:lnTo>
                    <a:pt x="6" y="12"/>
                  </a:lnTo>
                  <a:lnTo>
                    <a:pt x="12" y="12"/>
                  </a:lnTo>
                  <a:lnTo>
                    <a:pt x="6" y="18"/>
                  </a:lnTo>
                  <a:lnTo>
                    <a:pt x="6" y="24"/>
                  </a:lnTo>
                  <a:lnTo>
                    <a:pt x="6" y="18"/>
                  </a:lnTo>
                  <a:lnTo>
                    <a:pt x="6" y="24"/>
                  </a:lnTo>
                  <a:lnTo>
                    <a:pt x="6" y="18"/>
                  </a:lnTo>
                  <a:lnTo>
                    <a:pt x="6" y="24"/>
                  </a:lnTo>
                  <a:lnTo>
                    <a:pt x="6" y="18"/>
                  </a:lnTo>
                  <a:lnTo>
                    <a:pt x="6" y="24"/>
                  </a:lnTo>
                  <a:lnTo>
                    <a:pt x="6" y="18"/>
                  </a:lnTo>
                  <a:lnTo>
                    <a:pt x="0" y="18"/>
                  </a:lnTo>
                  <a:lnTo>
                    <a:pt x="6" y="18"/>
                  </a:lnTo>
                  <a:lnTo>
                    <a:pt x="6" y="12"/>
                  </a:lnTo>
                  <a:lnTo>
                    <a:pt x="0" y="12"/>
                  </a:lnTo>
                  <a:lnTo>
                    <a:pt x="6" y="12"/>
                  </a:lnTo>
                  <a:lnTo>
                    <a:pt x="0" y="12"/>
                  </a:lnTo>
                  <a:lnTo>
                    <a:pt x="6" y="12"/>
                  </a:lnTo>
                  <a:lnTo>
                    <a:pt x="0" y="12"/>
                  </a:lnTo>
                  <a:lnTo>
                    <a:pt x="6" y="12"/>
                  </a:lnTo>
                  <a:lnTo>
                    <a:pt x="0" y="12"/>
                  </a:lnTo>
                  <a:lnTo>
                    <a:pt x="0" y="6"/>
                  </a:lnTo>
                  <a:lnTo>
                    <a:pt x="0" y="0"/>
                  </a:lnTo>
                  <a:lnTo>
                    <a:pt x="6" y="0"/>
                  </a:lnTo>
                  <a:lnTo>
                    <a:pt x="0" y="0"/>
                  </a:lnTo>
                  <a:lnTo>
                    <a:pt x="6" y="0"/>
                  </a:lnTo>
                  <a:lnTo>
                    <a:pt x="0" y="0"/>
                  </a:lnTo>
                  <a:lnTo>
                    <a:pt x="6" y="0"/>
                  </a:lnTo>
                  <a:lnTo>
                    <a:pt x="0" y="6"/>
                  </a:lnTo>
                  <a:lnTo>
                    <a:pt x="6" y="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1" name="Freeform 44"/>
            <p:cNvSpPr>
              <a:spLocks noEditPoints="1"/>
            </p:cNvSpPr>
            <p:nvPr>
              <p:custDataLst>
                <p:tags r:id="rId39"/>
              </p:custDataLst>
            </p:nvPr>
          </p:nvSpPr>
          <p:spPr bwMode="gray">
            <a:xfrm>
              <a:off x="3016190" y="3389564"/>
              <a:ext cx="404953" cy="451939"/>
            </a:xfrm>
            <a:custGeom>
              <a:avLst/>
              <a:gdLst>
                <a:gd name="T0" fmla="*/ 8728 w 444"/>
                <a:gd name="T1" fmla="*/ 0 h 516"/>
                <a:gd name="T2" fmla="*/ 23275 w 444"/>
                <a:gd name="T3" fmla="*/ 0 h 516"/>
                <a:gd name="T4" fmla="*/ 37821 w 444"/>
                <a:gd name="T5" fmla="*/ 0 h 516"/>
                <a:gd name="T6" fmla="*/ 46549 w 444"/>
                <a:gd name="T7" fmla="*/ 3893 h 516"/>
                <a:gd name="T8" fmla="*/ 62065 w 444"/>
                <a:gd name="T9" fmla="*/ 3893 h 516"/>
                <a:gd name="T10" fmla="*/ 72733 w 444"/>
                <a:gd name="T11" fmla="*/ 12651 h 516"/>
                <a:gd name="T12" fmla="*/ 83400 w 444"/>
                <a:gd name="T13" fmla="*/ 19463 h 516"/>
                <a:gd name="T14" fmla="*/ 96007 w 444"/>
                <a:gd name="T15" fmla="*/ 21410 h 516"/>
                <a:gd name="T16" fmla="*/ 106675 w 444"/>
                <a:gd name="T17" fmla="*/ 21410 h 516"/>
                <a:gd name="T18" fmla="*/ 115403 w 444"/>
                <a:gd name="T19" fmla="*/ 17517 h 516"/>
                <a:gd name="T20" fmla="*/ 128010 w 444"/>
                <a:gd name="T21" fmla="*/ 10704 h 516"/>
                <a:gd name="T22" fmla="*/ 136738 w 444"/>
                <a:gd name="T23" fmla="*/ 8758 h 516"/>
                <a:gd name="T24" fmla="*/ 147405 w 444"/>
                <a:gd name="T25" fmla="*/ 12651 h 516"/>
                <a:gd name="T26" fmla="*/ 156134 w 444"/>
                <a:gd name="T27" fmla="*/ 17517 h 516"/>
                <a:gd name="T28" fmla="*/ 147405 w 444"/>
                <a:gd name="T29" fmla="*/ 30168 h 516"/>
                <a:gd name="T30" fmla="*/ 138677 w 444"/>
                <a:gd name="T31" fmla="*/ 44765 h 516"/>
                <a:gd name="T32" fmla="*/ 138677 w 444"/>
                <a:gd name="T33" fmla="*/ 60335 h 516"/>
                <a:gd name="T34" fmla="*/ 138677 w 444"/>
                <a:gd name="T35" fmla="*/ 74933 h 516"/>
                <a:gd name="T36" fmla="*/ 138677 w 444"/>
                <a:gd name="T37" fmla="*/ 90503 h 516"/>
                <a:gd name="T38" fmla="*/ 138677 w 444"/>
                <a:gd name="T39" fmla="*/ 105100 h 516"/>
                <a:gd name="T40" fmla="*/ 147405 w 444"/>
                <a:gd name="T41" fmla="*/ 117751 h 516"/>
                <a:gd name="T42" fmla="*/ 147405 w 444"/>
                <a:gd name="T43" fmla="*/ 128456 h 516"/>
                <a:gd name="T44" fmla="*/ 138677 w 444"/>
                <a:gd name="T45" fmla="*/ 131375 h 516"/>
                <a:gd name="T46" fmla="*/ 138677 w 444"/>
                <a:gd name="T47" fmla="*/ 131375 h 516"/>
                <a:gd name="T48" fmla="*/ 138677 w 444"/>
                <a:gd name="T49" fmla="*/ 137214 h 516"/>
                <a:gd name="T50" fmla="*/ 134799 w 444"/>
                <a:gd name="T51" fmla="*/ 137214 h 516"/>
                <a:gd name="T52" fmla="*/ 128010 w 444"/>
                <a:gd name="T53" fmla="*/ 142080 h 516"/>
                <a:gd name="T54" fmla="*/ 124131 w 444"/>
                <a:gd name="T55" fmla="*/ 152785 h 516"/>
                <a:gd name="T56" fmla="*/ 120252 w 444"/>
                <a:gd name="T57" fmla="*/ 158623 h 516"/>
                <a:gd name="T58" fmla="*/ 117342 w 444"/>
                <a:gd name="T59" fmla="*/ 165436 h 516"/>
                <a:gd name="T60" fmla="*/ 111524 w 444"/>
                <a:gd name="T61" fmla="*/ 172247 h 516"/>
                <a:gd name="T62" fmla="*/ 108615 w 444"/>
                <a:gd name="T63" fmla="*/ 181979 h 516"/>
                <a:gd name="T64" fmla="*/ 104735 w 444"/>
                <a:gd name="T65" fmla="*/ 181979 h 516"/>
                <a:gd name="T66" fmla="*/ 97947 w 444"/>
                <a:gd name="T67" fmla="*/ 181006 h 516"/>
                <a:gd name="T68" fmla="*/ 87280 w 444"/>
                <a:gd name="T69" fmla="*/ 174194 h 516"/>
                <a:gd name="T70" fmla="*/ 76612 w 444"/>
                <a:gd name="T71" fmla="*/ 163489 h 516"/>
                <a:gd name="T72" fmla="*/ 74672 w 444"/>
                <a:gd name="T73" fmla="*/ 156677 h 516"/>
                <a:gd name="T74" fmla="*/ 64005 w 444"/>
                <a:gd name="T75" fmla="*/ 145972 h 516"/>
                <a:gd name="T76" fmla="*/ 53337 w 444"/>
                <a:gd name="T77" fmla="*/ 142080 h 516"/>
                <a:gd name="T78" fmla="*/ 44610 w 444"/>
                <a:gd name="T79" fmla="*/ 135268 h 516"/>
                <a:gd name="T80" fmla="*/ 30063 w 444"/>
                <a:gd name="T81" fmla="*/ 128456 h 516"/>
                <a:gd name="T82" fmla="*/ 21335 w 444"/>
                <a:gd name="T83" fmla="*/ 122617 h 516"/>
                <a:gd name="T84" fmla="*/ 10667 w 444"/>
                <a:gd name="T85" fmla="*/ 115805 h 516"/>
                <a:gd name="T86" fmla="*/ 1940 w 444"/>
                <a:gd name="T87" fmla="*/ 111912 h 516"/>
                <a:gd name="T88" fmla="*/ 0 w 444"/>
                <a:gd name="T89" fmla="*/ 98288 h 516"/>
                <a:gd name="T90" fmla="*/ 1940 w 444"/>
                <a:gd name="T91" fmla="*/ 86610 h 516"/>
                <a:gd name="T92" fmla="*/ 6788 w 444"/>
                <a:gd name="T93" fmla="*/ 79799 h 516"/>
                <a:gd name="T94" fmla="*/ 12607 w 444"/>
                <a:gd name="T95" fmla="*/ 71040 h 516"/>
                <a:gd name="T96" fmla="*/ 19395 w 444"/>
                <a:gd name="T97" fmla="*/ 62282 h 516"/>
                <a:gd name="T98" fmla="*/ 19395 w 444"/>
                <a:gd name="T99" fmla="*/ 49631 h 516"/>
                <a:gd name="T100" fmla="*/ 17456 w 444"/>
                <a:gd name="T101" fmla="*/ 36979 h 516"/>
                <a:gd name="T102" fmla="*/ 10667 w 444"/>
                <a:gd name="T103" fmla="*/ 28221 h 516"/>
                <a:gd name="T104" fmla="*/ 8728 w 444"/>
                <a:gd name="T105" fmla="*/ 19463 h 516"/>
                <a:gd name="T106" fmla="*/ 6788 w 444"/>
                <a:gd name="T107" fmla="*/ 14597 h 516"/>
                <a:gd name="T108" fmla="*/ 1940 w 444"/>
                <a:gd name="T109" fmla="*/ 8758 h 516"/>
                <a:gd name="T110" fmla="*/ 136738 w 444"/>
                <a:gd name="T111" fmla="*/ 137214 h 516"/>
                <a:gd name="T112" fmla="*/ 113464 w 444"/>
                <a:gd name="T113" fmla="*/ 174194 h 516"/>
                <a:gd name="T114" fmla="*/ 108615 w 444"/>
                <a:gd name="T115" fmla="*/ 184898 h 516"/>
                <a:gd name="T116" fmla="*/ 149345 w 444"/>
                <a:gd name="T117" fmla="*/ 128456 h 516"/>
                <a:gd name="T118" fmla="*/ 104735 w 444"/>
                <a:gd name="T119" fmla="*/ 184898 h 5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4" h="516">
                  <a:moveTo>
                    <a:pt x="0" y="24"/>
                  </a:moveTo>
                  <a:lnTo>
                    <a:pt x="6" y="24"/>
                  </a:lnTo>
                  <a:lnTo>
                    <a:pt x="6" y="18"/>
                  </a:lnTo>
                  <a:lnTo>
                    <a:pt x="12" y="12"/>
                  </a:lnTo>
                  <a:lnTo>
                    <a:pt x="18" y="6"/>
                  </a:lnTo>
                  <a:lnTo>
                    <a:pt x="24" y="6"/>
                  </a:lnTo>
                  <a:lnTo>
                    <a:pt x="24" y="0"/>
                  </a:lnTo>
                  <a:lnTo>
                    <a:pt x="30" y="0"/>
                  </a:lnTo>
                  <a:lnTo>
                    <a:pt x="36" y="0"/>
                  </a:lnTo>
                  <a:lnTo>
                    <a:pt x="42" y="0"/>
                  </a:lnTo>
                  <a:lnTo>
                    <a:pt x="48" y="0"/>
                  </a:lnTo>
                  <a:lnTo>
                    <a:pt x="54" y="0"/>
                  </a:lnTo>
                  <a:lnTo>
                    <a:pt x="60" y="0"/>
                  </a:lnTo>
                  <a:lnTo>
                    <a:pt x="66" y="0"/>
                  </a:lnTo>
                  <a:lnTo>
                    <a:pt x="72" y="0"/>
                  </a:lnTo>
                  <a:lnTo>
                    <a:pt x="78" y="0"/>
                  </a:lnTo>
                  <a:lnTo>
                    <a:pt x="84" y="0"/>
                  </a:lnTo>
                  <a:lnTo>
                    <a:pt x="90" y="0"/>
                  </a:lnTo>
                  <a:lnTo>
                    <a:pt x="96" y="0"/>
                  </a:lnTo>
                  <a:lnTo>
                    <a:pt x="102" y="0"/>
                  </a:lnTo>
                  <a:lnTo>
                    <a:pt x="108" y="0"/>
                  </a:lnTo>
                  <a:lnTo>
                    <a:pt x="114" y="0"/>
                  </a:lnTo>
                  <a:lnTo>
                    <a:pt x="114" y="6"/>
                  </a:lnTo>
                  <a:lnTo>
                    <a:pt x="114" y="12"/>
                  </a:lnTo>
                  <a:lnTo>
                    <a:pt x="120" y="12"/>
                  </a:lnTo>
                  <a:lnTo>
                    <a:pt x="126" y="12"/>
                  </a:lnTo>
                  <a:lnTo>
                    <a:pt x="126" y="6"/>
                  </a:lnTo>
                  <a:lnTo>
                    <a:pt x="132" y="12"/>
                  </a:lnTo>
                  <a:lnTo>
                    <a:pt x="138" y="12"/>
                  </a:lnTo>
                  <a:lnTo>
                    <a:pt x="144" y="12"/>
                  </a:lnTo>
                  <a:lnTo>
                    <a:pt x="150" y="12"/>
                  </a:lnTo>
                  <a:lnTo>
                    <a:pt x="156" y="12"/>
                  </a:lnTo>
                  <a:lnTo>
                    <a:pt x="162" y="12"/>
                  </a:lnTo>
                  <a:lnTo>
                    <a:pt x="168" y="12"/>
                  </a:lnTo>
                  <a:lnTo>
                    <a:pt x="174" y="12"/>
                  </a:lnTo>
                  <a:lnTo>
                    <a:pt x="174" y="18"/>
                  </a:lnTo>
                  <a:lnTo>
                    <a:pt x="180" y="18"/>
                  </a:lnTo>
                  <a:lnTo>
                    <a:pt x="186" y="24"/>
                  </a:lnTo>
                  <a:lnTo>
                    <a:pt x="192" y="24"/>
                  </a:lnTo>
                  <a:lnTo>
                    <a:pt x="198" y="30"/>
                  </a:lnTo>
                  <a:lnTo>
                    <a:pt x="198" y="36"/>
                  </a:lnTo>
                  <a:lnTo>
                    <a:pt x="204" y="36"/>
                  </a:lnTo>
                  <a:lnTo>
                    <a:pt x="210" y="42"/>
                  </a:lnTo>
                  <a:lnTo>
                    <a:pt x="216" y="42"/>
                  </a:lnTo>
                  <a:lnTo>
                    <a:pt x="216" y="48"/>
                  </a:lnTo>
                  <a:lnTo>
                    <a:pt x="222" y="48"/>
                  </a:lnTo>
                  <a:lnTo>
                    <a:pt x="228" y="48"/>
                  </a:lnTo>
                  <a:lnTo>
                    <a:pt x="228" y="54"/>
                  </a:lnTo>
                  <a:lnTo>
                    <a:pt x="234" y="54"/>
                  </a:lnTo>
                  <a:lnTo>
                    <a:pt x="240" y="54"/>
                  </a:lnTo>
                  <a:lnTo>
                    <a:pt x="246" y="54"/>
                  </a:lnTo>
                  <a:lnTo>
                    <a:pt x="252" y="54"/>
                  </a:lnTo>
                  <a:lnTo>
                    <a:pt x="258" y="54"/>
                  </a:lnTo>
                  <a:lnTo>
                    <a:pt x="264" y="54"/>
                  </a:lnTo>
                  <a:lnTo>
                    <a:pt x="264" y="60"/>
                  </a:lnTo>
                  <a:lnTo>
                    <a:pt x="270" y="60"/>
                  </a:lnTo>
                  <a:lnTo>
                    <a:pt x="276" y="60"/>
                  </a:lnTo>
                  <a:lnTo>
                    <a:pt x="282" y="60"/>
                  </a:lnTo>
                  <a:lnTo>
                    <a:pt x="288" y="60"/>
                  </a:lnTo>
                  <a:lnTo>
                    <a:pt x="294" y="60"/>
                  </a:lnTo>
                  <a:lnTo>
                    <a:pt x="294" y="66"/>
                  </a:lnTo>
                  <a:lnTo>
                    <a:pt x="300" y="66"/>
                  </a:lnTo>
                  <a:lnTo>
                    <a:pt x="300" y="60"/>
                  </a:lnTo>
                  <a:lnTo>
                    <a:pt x="300" y="66"/>
                  </a:lnTo>
                  <a:lnTo>
                    <a:pt x="306" y="66"/>
                  </a:lnTo>
                  <a:lnTo>
                    <a:pt x="312" y="66"/>
                  </a:lnTo>
                  <a:lnTo>
                    <a:pt x="318" y="60"/>
                  </a:lnTo>
                  <a:lnTo>
                    <a:pt x="318" y="54"/>
                  </a:lnTo>
                  <a:lnTo>
                    <a:pt x="324" y="54"/>
                  </a:lnTo>
                  <a:lnTo>
                    <a:pt x="324" y="48"/>
                  </a:lnTo>
                  <a:lnTo>
                    <a:pt x="330" y="42"/>
                  </a:lnTo>
                  <a:lnTo>
                    <a:pt x="336" y="36"/>
                  </a:lnTo>
                  <a:lnTo>
                    <a:pt x="342" y="36"/>
                  </a:lnTo>
                  <a:lnTo>
                    <a:pt x="348" y="36"/>
                  </a:lnTo>
                  <a:lnTo>
                    <a:pt x="348" y="30"/>
                  </a:lnTo>
                  <a:lnTo>
                    <a:pt x="354" y="30"/>
                  </a:lnTo>
                  <a:lnTo>
                    <a:pt x="360" y="30"/>
                  </a:lnTo>
                  <a:lnTo>
                    <a:pt x="360" y="24"/>
                  </a:lnTo>
                  <a:lnTo>
                    <a:pt x="366" y="24"/>
                  </a:lnTo>
                  <a:lnTo>
                    <a:pt x="372" y="24"/>
                  </a:lnTo>
                  <a:lnTo>
                    <a:pt x="378" y="24"/>
                  </a:lnTo>
                  <a:lnTo>
                    <a:pt x="378" y="18"/>
                  </a:lnTo>
                  <a:lnTo>
                    <a:pt x="384" y="18"/>
                  </a:lnTo>
                  <a:lnTo>
                    <a:pt x="384" y="24"/>
                  </a:lnTo>
                  <a:lnTo>
                    <a:pt x="390" y="24"/>
                  </a:lnTo>
                  <a:lnTo>
                    <a:pt x="390" y="30"/>
                  </a:lnTo>
                  <a:lnTo>
                    <a:pt x="396" y="30"/>
                  </a:lnTo>
                  <a:lnTo>
                    <a:pt x="396" y="36"/>
                  </a:lnTo>
                  <a:lnTo>
                    <a:pt x="402" y="36"/>
                  </a:lnTo>
                  <a:lnTo>
                    <a:pt x="408" y="36"/>
                  </a:lnTo>
                  <a:lnTo>
                    <a:pt x="414" y="36"/>
                  </a:lnTo>
                  <a:lnTo>
                    <a:pt x="420" y="36"/>
                  </a:lnTo>
                  <a:lnTo>
                    <a:pt x="426" y="36"/>
                  </a:lnTo>
                  <a:lnTo>
                    <a:pt x="432" y="36"/>
                  </a:lnTo>
                  <a:lnTo>
                    <a:pt x="438" y="36"/>
                  </a:lnTo>
                  <a:lnTo>
                    <a:pt x="444" y="36"/>
                  </a:lnTo>
                  <a:lnTo>
                    <a:pt x="438" y="42"/>
                  </a:lnTo>
                  <a:lnTo>
                    <a:pt x="438" y="48"/>
                  </a:lnTo>
                  <a:lnTo>
                    <a:pt x="432" y="48"/>
                  </a:lnTo>
                  <a:lnTo>
                    <a:pt x="432" y="54"/>
                  </a:lnTo>
                  <a:lnTo>
                    <a:pt x="426" y="60"/>
                  </a:lnTo>
                  <a:lnTo>
                    <a:pt x="420" y="66"/>
                  </a:lnTo>
                  <a:lnTo>
                    <a:pt x="420" y="72"/>
                  </a:lnTo>
                  <a:lnTo>
                    <a:pt x="414" y="78"/>
                  </a:lnTo>
                  <a:lnTo>
                    <a:pt x="414" y="84"/>
                  </a:lnTo>
                  <a:lnTo>
                    <a:pt x="408" y="84"/>
                  </a:lnTo>
                  <a:lnTo>
                    <a:pt x="402" y="90"/>
                  </a:lnTo>
                  <a:lnTo>
                    <a:pt x="396" y="96"/>
                  </a:lnTo>
                  <a:lnTo>
                    <a:pt x="390" y="102"/>
                  </a:lnTo>
                  <a:lnTo>
                    <a:pt x="390" y="108"/>
                  </a:lnTo>
                  <a:lnTo>
                    <a:pt x="390" y="114"/>
                  </a:lnTo>
                  <a:lnTo>
                    <a:pt x="390" y="126"/>
                  </a:lnTo>
                  <a:lnTo>
                    <a:pt x="390" y="132"/>
                  </a:lnTo>
                  <a:lnTo>
                    <a:pt x="390" y="138"/>
                  </a:lnTo>
                  <a:lnTo>
                    <a:pt x="390" y="144"/>
                  </a:lnTo>
                  <a:lnTo>
                    <a:pt x="390" y="150"/>
                  </a:lnTo>
                  <a:lnTo>
                    <a:pt x="390" y="156"/>
                  </a:lnTo>
                  <a:lnTo>
                    <a:pt x="390" y="162"/>
                  </a:lnTo>
                  <a:lnTo>
                    <a:pt x="390" y="168"/>
                  </a:lnTo>
                  <a:lnTo>
                    <a:pt x="390" y="174"/>
                  </a:lnTo>
                  <a:lnTo>
                    <a:pt x="390" y="180"/>
                  </a:lnTo>
                  <a:lnTo>
                    <a:pt x="390" y="186"/>
                  </a:lnTo>
                  <a:lnTo>
                    <a:pt x="390" y="192"/>
                  </a:lnTo>
                  <a:lnTo>
                    <a:pt x="390" y="198"/>
                  </a:lnTo>
                  <a:lnTo>
                    <a:pt x="390" y="204"/>
                  </a:lnTo>
                  <a:lnTo>
                    <a:pt x="390" y="210"/>
                  </a:lnTo>
                  <a:lnTo>
                    <a:pt x="390" y="216"/>
                  </a:lnTo>
                  <a:lnTo>
                    <a:pt x="390" y="222"/>
                  </a:lnTo>
                  <a:lnTo>
                    <a:pt x="390" y="228"/>
                  </a:lnTo>
                  <a:lnTo>
                    <a:pt x="390" y="234"/>
                  </a:lnTo>
                  <a:lnTo>
                    <a:pt x="390" y="240"/>
                  </a:lnTo>
                  <a:lnTo>
                    <a:pt x="390" y="246"/>
                  </a:lnTo>
                  <a:lnTo>
                    <a:pt x="390" y="252"/>
                  </a:lnTo>
                  <a:lnTo>
                    <a:pt x="390" y="258"/>
                  </a:lnTo>
                  <a:lnTo>
                    <a:pt x="390" y="264"/>
                  </a:lnTo>
                  <a:lnTo>
                    <a:pt x="390" y="270"/>
                  </a:lnTo>
                  <a:lnTo>
                    <a:pt x="390" y="276"/>
                  </a:lnTo>
                  <a:lnTo>
                    <a:pt x="390" y="282"/>
                  </a:lnTo>
                  <a:lnTo>
                    <a:pt x="390" y="288"/>
                  </a:lnTo>
                  <a:lnTo>
                    <a:pt x="390" y="294"/>
                  </a:lnTo>
                  <a:lnTo>
                    <a:pt x="390" y="300"/>
                  </a:lnTo>
                  <a:lnTo>
                    <a:pt x="390" y="306"/>
                  </a:lnTo>
                  <a:lnTo>
                    <a:pt x="396" y="306"/>
                  </a:lnTo>
                  <a:lnTo>
                    <a:pt x="396" y="312"/>
                  </a:lnTo>
                  <a:lnTo>
                    <a:pt x="402" y="318"/>
                  </a:lnTo>
                  <a:lnTo>
                    <a:pt x="408" y="324"/>
                  </a:lnTo>
                  <a:lnTo>
                    <a:pt x="414" y="330"/>
                  </a:lnTo>
                  <a:lnTo>
                    <a:pt x="414" y="336"/>
                  </a:lnTo>
                  <a:lnTo>
                    <a:pt x="420" y="336"/>
                  </a:lnTo>
                  <a:lnTo>
                    <a:pt x="420" y="342"/>
                  </a:lnTo>
                  <a:lnTo>
                    <a:pt x="426" y="348"/>
                  </a:lnTo>
                  <a:lnTo>
                    <a:pt x="420" y="354"/>
                  </a:lnTo>
                  <a:lnTo>
                    <a:pt x="420" y="360"/>
                  </a:lnTo>
                  <a:lnTo>
                    <a:pt x="414" y="360"/>
                  </a:lnTo>
                  <a:lnTo>
                    <a:pt x="414" y="366"/>
                  </a:lnTo>
                  <a:lnTo>
                    <a:pt x="408" y="366"/>
                  </a:lnTo>
                  <a:lnTo>
                    <a:pt x="402" y="366"/>
                  </a:lnTo>
                  <a:lnTo>
                    <a:pt x="396" y="366"/>
                  </a:lnTo>
                  <a:lnTo>
                    <a:pt x="396" y="372"/>
                  </a:lnTo>
                  <a:lnTo>
                    <a:pt x="390" y="372"/>
                  </a:lnTo>
                  <a:lnTo>
                    <a:pt x="390" y="366"/>
                  </a:lnTo>
                  <a:lnTo>
                    <a:pt x="396" y="366"/>
                  </a:lnTo>
                  <a:lnTo>
                    <a:pt x="390" y="366"/>
                  </a:lnTo>
                  <a:lnTo>
                    <a:pt x="390" y="372"/>
                  </a:lnTo>
                  <a:lnTo>
                    <a:pt x="390" y="366"/>
                  </a:lnTo>
                  <a:lnTo>
                    <a:pt x="384" y="366"/>
                  </a:lnTo>
                  <a:lnTo>
                    <a:pt x="384" y="372"/>
                  </a:lnTo>
                  <a:lnTo>
                    <a:pt x="390" y="366"/>
                  </a:lnTo>
                  <a:lnTo>
                    <a:pt x="390" y="372"/>
                  </a:lnTo>
                  <a:lnTo>
                    <a:pt x="384" y="372"/>
                  </a:lnTo>
                  <a:lnTo>
                    <a:pt x="390" y="372"/>
                  </a:lnTo>
                  <a:lnTo>
                    <a:pt x="390" y="378"/>
                  </a:lnTo>
                  <a:lnTo>
                    <a:pt x="390" y="384"/>
                  </a:lnTo>
                  <a:lnTo>
                    <a:pt x="390" y="378"/>
                  </a:lnTo>
                  <a:lnTo>
                    <a:pt x="390" y="384"/>
                  </a:lnTo>
                  <a:lnTo>
                    <a:pt x="390" y="378"/>
                  </a:lnTo>
                  <a:lnTo>
                    <a:pt x="390" y="384"/>
                  </a:lnTo>
                  <a:lnTo>
                    <a:pt x="384" y="384"/>
                  </a:lnTo>
                  <a:lnTo>
                    <a:pt x="378" y="384"/>
                  </a:lnTo>
                  <a:lnTo>
                    <a:pt x="384" y="384"/>
                  </a:lnTo>
                  <a:lnTo>
                    <a:pt x="384" y="390"/>
                  </a:lnTo>
                  <a:lnTo>
                    <a:pt x="378" y="384"/>
                  </a:lnTo>
                  <a:lnTo>
                    <a:pt x="384" y="390"/>
                  </a:lnTo>
                  <a:lnTo>
                    <a:pt x="378" y="390"/>
                  </a:lnTo>
                  <a:lnTo>
                    <a:pt x="378" y="396"/>
                  </a:lnTo>
                  <a:lnTo>
                    <a:pt x="372" y="396"/>
                  </a:lnTo>
                  <a:lnTo>
                    <a:pt x="372" y="402"/>
                  </a:lnTo>
                  <a:lnTo>
                    <a:pt x="366" y="396"/>
                  </a:lnTo>
                  <a:lnTo>
                    <a:pt x="360" y="396"/>
                  </a:lnTo>
                  <a:lnTo>
                    <a:pt x="360" y="402"/>
                  </a:lnTo>
                  <a:lnTo>
                    <a:pt x="354" y="402"/>
                  </a:lnTo>
                  <a:lnTo>
                    <a:pt x="354" y="408"/>
                  </a:lnTo>
                  <a:lnTo>
                    <a:pt x="348" y="408"/>
                  </a:lnTo>
                  <a:lnTo>
                    <a:pt x="348" y="414"/>
                  </a:lnTo>
                  <a:lnTo>
                    <a:pt x="348" y="420"/>
                  </a:lnTo>
                  <a:lnTo>
                    <a:pt x="348" y="426"/>
                  </a:lnTo>
                  <a:lnTo>
                    <a:pt x="348" y="420"/>
                  </a:lnTo>
                  <a:lnTo>
                    <a:pt x="348" y="426"/>
                  </a:lnTo>
                  <a:lnTo>
                    <a:pt x="348" y="432"/>
                  </a:lnTo>
                  <a:lnTo>
                    <a:pt x="342" y="432"/>
                  </a:lnTo>
                  <a:lnTo>
                    <a:pt x="342" y="438"/>
                  </a:lnTo>
                  <a:lnTo>
                    <a:pt x="342" y="444"/>
                  </a:lnTo>
                  <a:lnTo>
                    <a:pt x="336" y="444"/>
                  </a:lnTo>
                  <a:lnTo>
                    <a:pt x="336" y="450"/>
                  </a:lnTo>
                  <a:lnTo>
                    <a:pt x="330" y="456"/>
                  </a:lnTo>
                  <a:lnTo>
                    <a:pt x="330" y="462"/>
                  </a:lnTo>
                  <a:lnTo>
                    <a:pt x="330" y="456"/>
                  </a:lnTo>
                  <a:lnTo>
                    <a:pt x="324" y="456"/>
                  </a:lnTo>
                  <a:lnTo>
                    <a:pt x="324" y="462"/>
                  </a:lnTo>
                  <a:lnTo>
                    <a:pt x="330" y="462"/>
                  </a:lnTo>
                  <a:lnTo>
                    <a:pt x="330" y="468"/>
                  </a:lnTo>
                  <a:lnTo>
                    <a:pt x="324" y="474"/>
                  </a:lnTo>
                  <a:lnTo>
                    <a:pt x="324" y="480"/>
                  </a:lnTo>
                  <a:lnTo>
                    <a:pt x="324" y="486"/>
                  </a:lnTo>
                  <a:lnTo>
                    <a:pt x="318" y="486"/>
                  </a:lnTo>
                  <a:lnTo>
                    <a:pt x="318" y="480"/>
                  </a:lnTo>
                  <a:lnTo>
                    <a:pt x="312" y="480"/>
                  </a:lnTo>
                  <a:lnTo>
                    <a:pt x="312" y="486"/>
                  </a:lnTo>
                  <a:lnTo>
                    <a:pt x="318" y="486"/>
                  </a:lnTo>
                  <a:lnTo>
                    <a:pt x="318" y="492"/>
                  </a:lnTo>
                  <a:lnTo>
                    <a:pt x="312" y="492"/>
                  </a:lnTo>
                  <a:lnTo>
                    <a:pt x="312" y="498"/>
                  </a:lnTo>
                  <a:lnTo>
                    <a:pt x="312" y="504"/>
                  </a:lnTo>
                  <a:lnTo>
                    <a:pt x="306" y="510"/>
                  </a:lnTo>
                  <a:lnTo>
                    <a:pt x="306" y="516"/>
                  </a:lnTo>
                  <a:lnTo>
                    <a:pt x="300" y="516"/>
                  </a:lnTo>
                  <a:lnTo>
                    <a:pt x="300" y="510"/>
                  </a:lnTo>
                  <a:lnTo>
                    <a:pt x="300" y="516"/>
                  </a:lnTo>
                  <a:lnTo>
                    <a:pt x="300" y="510"/>
                  </a:lnTo>
                  <a:lnTo>
                    <a:pt x="300" y="516"/>
                  </a:lnTo>
                  <a:lnTo>
                    <a:pt x="294" y="510"/>
                  </a:lnTo>
                  <a:lnTo>
                    <a:pt x="294" y="516"/>
                  </a:lnTo>
                  <a:lnTo>
                    <a:pt x="300" y="516"/>
                  </a:lnTo>
                  <a:lnTo>
                    <a:pt x="294" y="516"/>
                  </a:lnTo>
                  <a:lnTo>
                    <a:pt x="288" y="516"/>
                  </a:lnTo>
                  <a:lnTo>
                    <a:pt x="282" y="510"/>
                  </a:lnTo>
                  <a:lnTo>
                    <a:pt x="276" y="510"/>
                  </a:lnTo>
                  <a:lnTo>
                    <a:pt x="276" y="504"/>
                  </a:lnTo>
                  <a:lnTo>
                    <a:pt x="270" y="504"/>
                  </a:lnTo>
                  <a:lnTo>
                    <a:pt x="270" y="498"/>
                  </a:lnTo>
                  <a:lnTo>
                    <a:pt x="264" y="498"/>
                  </a:lnTo>
                  <a:lnTo>
                    <a:pt x="258" y="492"/>
                  </a:lnTo>
                  <a:lnTo>
                    <a:pt x="252" y="492"/>
                  </a:lnTo>
                  <a:lnTo>
                    <a:pt x="252" y="486"/>
                  </a:lnTo>
                  <a:lnTo>
                    <a:pt x="246" y="486"/>
                  </a:lnTo>
                  <a:lnTo>
                    <a:pt x="246" y="480"/>
                  </a:lnTo>
                  <a:lnTo>
                    <a:pt x="240" y="480"/>
                  </a:lnTo>
                  <a:lnTo>
                    <a:pt x="234" y="474"/>
                  </a:lnTo>
                  <a:lnTo>
                    <a:pt x="228" y="468"/>
                  </a:lnTo>
                  <a:lnTo>
                    <a:pt x="222" y="468"/>
                  </a:lnTo>
                  <a:lnTo>
                    <a:pt x="216" y="462"/>
                  </a:lnTo>
                  <a:lnTo>
                    <a:pt x="216" y="456"/>
                  </a:lnTo>
                  <a:lnTo>
                    <a:pt x="210" y="456"/>
                  </a:lnTo>
                  <a:lnTo>
                    <a:pt x="210" y="450"/>
                  </a:lnTo>
                  <a:lnTo>
                    <a:pt x="204" y="456"/>
                  </a:lnTo>
                  <a:lnTo>
                    <a:pt x="204" y="450"/>
                  </a:lnTo>
                  <a:lnTo>
                    <a:pt x="204" y="444"/>
                  </a:lnTo>
                  <a:lnTo>
                    <a:pt x="210" y="444"/>
                  </a:lnTo>
                  <a:lnTo>
                    <a:pt x="210" y="438"/>
                  </a:lnTo>
                  <a:lnTo>
                    <a:pt x="210" y="432"/>
                  </a:lnTo>
                  <a:lnTo>
                    <a:pt x="210" y="426"/>
                  </a:lnTo>
                  <a:lnTo>
                    <a:pt x="204" y="426"/>
                  </a:lnTo>
                  <a:lnTo>
                    <a:pt x="198" y="420"/>
                  </a:lnTo>
                  <a:lnTo>
                    <a:pt x="192" y="420"/>
                  </a:lnTo>
                  <a:lnTo>
                    <a:pt x="186" y="414"/>
                  </a:lnTo>
                  <a:lnTo>
                    <a:pt x="180" y="408"/>
                  </a:lnTo>
                  <a:lnTo>
                    <a:pt x="174" y="408"/>
                  </a:lnTo>
                  <a:lnTo>
                    <a:pt x="168" y="408"/>
                  </a:lnTo>
                  <a:lnTo>
                    <a:pt x="168" y="402"/>
                  </a:lnTo>
                  <a:lnTo>
                    <a:pt x="162" y="402"/>
                  </a:lnTo>
                  <a:lnTo>
                    <a:pt x="156" y="402"/>
                  </a:lnTo>
                  <a:lnTo>
                    <a:pt x="156" y="396"/>
                  </a:lnTo>
                  <a:lnTo>
                    <a:pt x="150" y="396"/>
                  </a:lnTo>
                  <a:lnTo>
                    <a:pt x="150" y="390"/>
                  </a:lnTo>
                  <a:lnTo>
                    <a:pt x="144" y="390"/>
                  </a:lnTo>
                  <a:lnTo>
                    <a:pt x="138" y="390"/>
                  </a:lnTo>
                  <a:lnTo>
                    <a:pt x="138" y="384"/>
                  </a:lnTo>
                  <a:lnTo>
                    <a:pt x="132" y="384"/>
                  </a:lnTo>
                  <a:lnTo>
                    <a:pt x="126" y="384"/>
                  </a:lnTo>
                  <a:lnTo>
                    <a:pt x="126" y="378"/>
                  </a:lnTo>
                  <a:lnTo>
                    <a:pt x="120" y="378"/>
                  </a:lnTo>
                  <a:lnTo>
                    <a:pt x="114" y="372"/>
                  </a:lnTo>
                  <a:lnTo>
                    <a:pt x="108" y="372"/>
                  </a:lnTo>
                  <a:lnTo>
                    <a:pt x="102" y="366"/>
                  </a:lnTo>
                  <a:lnTo>
                    <a:pt x="96" y="366"/>
                  </a:lnTo>
                  <a:lnTo>
                    <a:pt x="90" y="360"/>
                  </a:lnTo>
                  <a:lnTo>
                    <a:pt x="84" y="360"/>
                  </a:lnTo>
                  <a:lnTo>
                    <a:pt x="84" y="354"/>
                  </a:lnTo>
                  <a:lnTo>
                    <a:pt x="78" y="354"/>
                  </a:lnTo>
                  <a:lnTo>
                    <a:pt x="72" y="354"/>
                  </a:lnTo>
                  <a:lnTo>
                    <a:pt x="72" y="348"/>
                  </a:lnTo>
                  <a:lnTo>
                    <a:pt x="66" y="348"/>
                  </a:lnTo>
                  <a:lnTo>
                    <a:pt x="60" y="348"/>
                  </a:lnTo>
                  <a:lnTo>
                    <a:pt x="60" y="342"/>
                  </a:lnTo>
                  <a:lnTo>
                    <a:pt x="54" y="342"/>
                  </a:lnTo>
                  <a:lnTo>
                    <a:pt x="48" y="336"/>
                  </a:lnTo>
                  <a:lnTo>
                    <a:pt x="42" y="336"/>
                  </a:lnTo>
                  <a:lnTo>
                    <a:pt x="42" y="330"/>
                  </a:lnTo>
                  <a:lnTo>
                    <a:pt x="36" y="330"/>
                  </a:lnTo>
                  <a:lnTo>
                    <a:pt x="30" y="330"/>
                  </a:lnTo>
                  <a:lnTo>
                    <a:pt x="30" y="324"/>
                  </a:lnTo>
                  <a:lnTo>
                    <a:pt x="24" y="324"/>
                  </a:lnTo>
                  <a:lnTo>
                    <a:pt x="18" y="318"/>
                  </a:lnTo>
                  <a:lnTo>
                    <a:pt x="12" y="318"/>
                  </a:lnTo>
                  <a:lnTo>
                    <a:pt x="12" y="312"/>
                  </a:lnTo>
                  <a:lnTo>
                    <a:pt x="6" y="312"/>
                  </a:lnTo>
                  <a:lnTo>
                    <a:pt x="6" y="318"/>
                  </a:lnTo>
                  <a:lnTo>
                    <a:pt x="6" y="312"/>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6" y="246"/>
                  </a:lnTo>
                  <a:lnTo>
                    <a:pt x="6" y="240"/>
                  </a:lnTo>
                  <a:lnTo>
                    <a:pt x="6" y="234"/>
                  </a:lnTo>
                  <a:lnTo>
                    <a:pt x="12" y="234"/>
                  </a:lnTo>
                  <a:lnTo>
                    <a:pt x="6" y="234"/>
                  </a:lnTo>
                  <a:lnTo>
                    <a:pt x="12" y="234"/>
                  </a:lnTo>
                  <a:lnTo>
                    <a:pt x="12" y="228"/>
                  </a:lnTo>
                  <a:lnTo>
                    <a:pt x="12" y="222"/>
                  </a:lnTo>
                  <a:lnTo>
                    <a:pt x="18" y="222"/>
                  </a:lnTo>
                  <a:lnTo>
                    <a:pt x="18" y="216"/>
                  </a:lnTo>
                  <a:lnTo>
                    <a:pt x="24" y="216"/>
                  </a:lnTo>
                  <a:lnTo>
                    <a:pt x="24" y="210"/>
                  </a:lnTo>
                  <a:lnTo>
                    <a:pt x="30" y="210"/>
                  </a:lnTo>
                  <a:lnTo>
                    <a:pt x="30" y="204"/>
                  </a:lnTo>
                  <a:lnTo>
                    <a:pt x="30" y="198"/>
                  </a:lnTo>
                  <a:lnTo>
                    <a:pt x="36" y="198"/>
                  </a:lnTo>
                  <a:lnTo>
                    <a:pt x="36" y="192"/>
                  </a:lnTo>
                  <a:lnTo>
                    <a:pt x="42" y="192"/>
                  </a:lnTo>
                  <a:lnTo>
                    <a:pt x="48" y="192"/>
                  </a:lnTo>
                  <a:lnTo>
                    <a:pt x="48" y="186"/>
                  </a:lnTo>
                  <a:lnTo>
                    <a:pt x="48" y="180"/>
                  </a:lnTo>
                  <a:lnTo>
                    <a:pt x="48" y="174"/>
                  </a:lnTo>
                  <a:lnTo>
                    <a:pt x="54" y="174"/>
                  </a:lnTo>
                  <a:lnTo>
                    <a:pt x="54" y="168"/>
                  </a:lnTo>
                  <a:lnTo>
                    <a:pt x="60" y="168"/>
                  </a:lnTo>
                  <a:lnTo>
                    <a:pt x="60" y="162"/>
                  </a:lnTo>
                  <a:lnTo>
                    <a:pt x="60" y="156"/>
                  </a:lnTo>
                  <a:lnTo>
                    <a:pt x="60" y="150"/>
                  </a:lnTo>
                  <a:lnTo>
                    <a:pt x="60" y="144"/>
                  </a:lnTo>
                  <a:lnTo>
                    <a:pt x="54" y="138"/>
                  </a:lnTo>
                  <a:lnTo>
                    <a:pt x="54" y="132"/>
                  </a:lnTo>
                  <a:lnTo>
                    <a:pt x="54" y="126"/>
                  </a:lnTo>
                  <a:lnTo>
                    <a:pt x="54" y="120"/>
                  </a:lnTo>
                  <a:lnTo>
                    <a:pt x="54" y="114"/>
                  </a:lnTo>
                  <a:lnTo>
                    <a:pt x="48" y="114"/>
                  </a:lnTo>
                  <a:lnTo>
                    <a:pt x="48" y="108"/>
                  </a:lnTo>
                  <a:lnTo>
                    <a:pt x="48" y="102"/>
                  </a:lnTo>
                  <a:lnTo>
                    <a:pt x="42" y="102"/>
                  </a:lnTo>
                  <a:lnTo>
                    <a:pt x="42" y="96"/>
                  </a:lnTo>
                  <a:lnTo>
                    <a:pt x="36" y="96"/>
                  </a:lnTo>
                  <a:lnTo>
                    <a:pt x="36" y="90"/>
                  </a:lnTo>
                  <a:lnTo>
                    <a:pt x="36" y="84"/>
                  </a:lnTo>
                  <a:lnTo>
                    <a:pt x="30" y="84"/>
                  </a:lnTo>
                  <a:lnTo>
                    <a:pt x="30" y="78"/>
                  </a:lnTo>
                  <a:lnTo>
                    <a:pt x="30" y="72"/>
                  </a:lnTo>
                  <a:lnTo>
                    <a:pt x="24" y="72"/>
                  </a:lnTo>
                  <a:lnTo>
                    <a:pt x="24" y="66"/>
                  </a:lnTo>
                  <a:lnTo>
                    <a:pt x="24" y="60"/>
                  </a:lnTo>
                  <a:lnTo>
                    <a:pt x="30" y="60"/>
                  </a:lnTo>
                  <a:lnTo>
                    <a:pt x="30" y="54"/>
                  </a:lnTo>
                  <a:lnTo>
                    <a:pt x="24" y="54"/>
                  </a:lnTo>
                  <a:lnTo>
                    <a:pt x="24" y="48"/>
                  </a:lnTo>
                  <a:lnTo>
                    <a:pt x="18" y="48"/>
                  </a:lnTo>
                  <a:lnTo>
                    <a:pt x="18" y="54"/>
                  </a:lnTo>
                  <a:lnTo>
                    <a:pt x="18" y="48"/>
                  </a:lnTo>
                  <a:lnTo>
                    <a:pt x="12" y="48"/>
                  </a:lnTo>
                  <a:lnTo>
                    <a:pt x="12" y="42"/>
                  </a:lnTo>
                  <a:lnTo>
                    <a:pt x="18" y="42"/>
                  </a:lnTo>
                  <a:lnTo>
                    <a:pt x="12" y="42"/>
                  </a:lnTo>
                  <a:lnTo>
                    <a:pt x="6" y="42"/>
                  </a:lnTo>
                  <a:lnTo>
                    <a:pt x="12" y="42"/>
                  </a:lnTo>
                  <a:lnTo>
                    <a:pt x="12" y="36"/>
                  </a:lnTo>
                  <a:lnTo>
                    <a:pt x="6" y="36"/>
                  </a:lnTo>
                  <a:lnTo>
                    <a:pt x="6" y="30"/>
                  </a:lnTo>
                  <a:lnTo>
                    <a:pt x="6" y="24"/>
                  </a:lnTo>
                  <a:lnTo>
                    <a:pt x="0" y="24"/>
                  </a:lnTo>
                  <a:close/>
                  <a:moveTo>
                    <a:pt x="390" y="372"/>
                  </a:moveTo>
                  <a:lnTo>
                    <a:pt x="402" y="372"/>
                  </a:lnTo>
                  <a:lnTo>
                    <a:pt x="402" y="378"/>
                  </a:lnTo>
                  <a:lnTo>
                    <a:pt x="390" y="378"/>
                  </a:lnTo>
                  <a:lnTo>
                    <a:pt x="390" y="372"/>
                  </a:lnTo>
                  <a:close/>
                  <a:moveTo>
                    <a:pt x="384" y="384"/>
                  </a:moveTo>
                  <a:lnTo>
                    <a:pt x="390" y="384"/>
                  </a:lnTo>
                  <a:lnTo>
                    <a:pt x="390" y="390"/>
                  </a:lnTo>
                  <a:lnTo>
                    <a:pt x="384" y="390"/>
                  </a:lnTo>
                  <a:lnTo>
                    <a:pt x="384" y="384"/>
                  </a:lnTo>
                  <a:close/>
                  <a:moveTo>
                    <a:pt x="318" y="480"/>
                  </a:moveTo>
                  <a:lnTo>
                    <a:pt x="318" y="486"/>
                  </a:lnTo>
                  <a:lnTo>
                    <a:pt x="319" y="486"/>
                  </a:lnTo>
                  <a:lnTo>
                    <a:pt x="318" y="480"/>
                  </a:lnTo>
                  <a:close/>
                  <a:moveTo>
                    <a:pt x="402" y="366"/>
                  </a:moveTo>
                  <a:lnTo>
                    <a:pt x="402" y="372"/>
                  </a:lnTo>
                  <a:lnTo>
                    <a:pt x="403" y="372"/>
                  </a:lnTo>
                  <a:lnTo>
                    <a:pt x="402" y="366"/>
                  </a:lnTo>
                  <a:close/>
                  <a:moveTo>
                    <a:pt x="300" y="516"/>
                  </a:moveTo>
                  <a:lnTo>
                    <a:pt x="306" y="516"/>
                  </a:lnTo>
                  <a:lnTo>
                    <a:pt x="300" y="516"/>
                  </a:lnTo>
                  <a:close/>
                  <a:moveTo>
                    <a:pt x="408" y="366"/>
                  </a:moveTo>
                  <a:lnTo>
                    <a:pt x="408" y="372"/>
                  </a:lnTo>
                  <a:lnTo>
                    <a:pt x="409" y="372"/>
                  </a:lnTo>
                  <a:lnTo>
                    <a:pt x="408" y="366"/>
                  </a:lnTo>
                  <a:close/>
                  <a:moveTo>
                    <a:pt x="420" y="354"/>
                  </a:moveTo>
                  <a:lnTo>
                    <a:pt x="420" y="360"/>
                  </a:lnTo>
                  <a:lnTo>
                    <a:pt x="421" y="360"/>
                  </a:lnTo>
                  <a:lnTo>
                    <a:pt x="420" y="354"/>
                  </a:lnTo>
                  <a:close/>
                  <a:moveTo>
                    <a:pt x="402" y="366"/>
                  </a:moveTo>
                  <a:lnTo>
                    <a:pt x="402" y="372"/>
                  </a:lnTo>
                  <a:lnTo>
                    <a:pt x="403" y="372"/>
                  </a:lnTo>
                  <a:lnTo>
                    <a:pt x="402" y="366"/>
                  </a:lnTo>
                  <a:close/>
                  <a:moveTo>
                    <a:pt x="294" y="516"/>
                  </a:moveTo>
                  <a:lnTo>
                    <a:pt x="300" y="516"/>
                  </a:lnTo>
                  <a:lnTo>
                    <a:pt x="294" y="51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2" name="Freeform 45"/>
            <p:cNvSpPr>
              <a:spLocks noEditPoints="1"/>
            </p:cNvSpPr>
            <p:nvPr>
              <p:custDataLst>
                <p:tags r:id="rId40"/>
              </p:custDataLst>
            </p:nvPr>
          </p:nvSpPr>
          <p:spPr bwMode="gray">
            <a:xfrm>
              <a:off x="2781621" y="3662518"/>
              <a:ext cx="562499" cy="531364"/>
            </a:xfrm>
            <a:custGeom>
              <a:avLst/>
              <a:gdLst>
                <a:gd name="T0" fmla="*/ 14501 w 618"/>
                <a:gd name="T1" fmla="*/ 64371 h 606"/>
                <a:gd name="T2" fmla="*/ 23201 w 618"/>
                <a:gd name="T3" fmla="*/ 49742 h 606"/>
                <a:gd name="T4" fmla="*/ 26101 w 618"/>
                <a:gd name="T5" fmla="*/ 40964 h 606"/>
                <a:gd name="T6" fmla="*/ 23201 w 618"/>
                <a:gd name="T7" fmla="*/ 30235 h 606"/>
                <a:gd name="T8" fmla="*/ 29968 w 618"/>
                <a:gd name="T9" fmla="*/ 17556 h 606"/>
                <a:gd name="T10" fmla="*/ 23201 w 618"/>
                <a:gd name="T11" fmla="*/ 1951 h 606"/>
                <a:gd name="T12" fmla="*/ 44469 w 618"/>
                <a:gd name="T13" fmla="*/ 0 h 606"/>
                <a:gd name="T14" fmla="*/ 67670 w 618"/>
                <a:gd name="T15" fmla="*/ 0 h 606"/>
                <a:gd name="T16" fmla="*/ 90870 w 618"/>
                <a:gd name="T17" fmla="*/ 0 h 606"/>
                <a:gd name="T18" fmla="*/ 106338 w 618"/>
                <a:gd name="T19" fmla="*/ 6827 h 606"/>
                <a:gd name="T20" fmla="*/ 120838 w 618"/>
                <a:gd name="T21" fmla="*/ 17556 h 606"/>
                <a:gd name="T22" fmla="*/ 140173 w 618"/>
                <a:gd name="T23" fmla="*/ 28284 h 606"/>
                <a:gd name="T24" fmla="*/ 157573 w 618"/>
                <a:gd name="T25" fmla="*/ 37063 h 606"/>
                <a:gd name="T26" fmla="*/ 165307 w 618"/>
                <a:gd name="T27" fmla="*/ 49742 h 606"/>
                <a:gd name="T28" fmla="*/ 180774 w 618"/>
                <a:gd name="T29" fmla="*/ 64371 h 606"/>
                <a:gd name="T30" fmla="*/ 193341 w 618"/>
                <a:gd name="T31" fmla="*/ 76075 h 606"/>
                <a:gd name="T32" fmla="*/ 193341 w 618"/>
                <a:gd name="T33" fmla="*/ 81927 h 606"/>
                <a:gd name="T34" fmla="*/ 191409 w 618"/>
                <a:gd name="T35" fmla="*/ 90705 h 606"/>
                <a:gd name="T36" fmla="*/ 188508 w 618"/>
                <a:gd name="T37" fmla="*/ 103385 h 606"/>
                <a:gd name="T38" fmla="*/ 188508 w 618"/>
                <a:gd name="T39" fmla="*/ 110212 h 606"/>
                <a:gd name="T40" fmla="*/ 198175 w 618"/>
                <a:gd name="T41" fmla="*/ 117039 h 606"/>
                <a:gd name="T42" fmla="*/ 198175 w 618"/>
                <a:gd name="T43" fmla="*/ 127768 h 606"/>
                <a:gd name="T44" fmla="*/ 195275 w 618"/>
                <a:gd name="T45" fmla="*/ 137521 h 606"/>
                <a:gd name="T46" fmla="*/ 198175 w 618"/>
                <a:gd name="T47" fmla="*/ 147274 h 606"/>
                <a:gd name="T48" fmla="*/ 199142 w 618"/>
                <a:gd name="T49" fmla="*/ 158003 h 606"/>
                <a:gd name="T50" fmla="*/ 202042 w 618"/>
                <a:gd name="T51" fmla="*/ 163855 h 606"/>
                <a:gd name="T52" fmla="*/ 205909 w 618"/>
                <a:gd name="T53" fmla="*/ 174584 h 606"/>
                <a:gd name="T54" fmla="*/ 209776 w 618"/>
                <a:gd name="T55" fmla="*/ 185312 h 606"/>
                <a:gd name="T56" fmla="*/ 218476 w 618"/>
                <a:gd name="T57" fmla="*/ 190188 h 606"/>
                <a:gd name="T58" fmla="*/ 203976 w 618"/>
                <a:gd name="T59" fmla="*/ 200917 h 606"/>
                <a:gd name="T60" fmla="*/ 184641 w 618"/>
                <a:gd name="T61" fmla="*/ 207744 h 606"/>
                <a:gd name="T62" fmla="*/ 170141 w 618"/>
                <a:gd name="T63" fmla="*/ 207744 h 606"/>
                <a:gd name="T64" fmla="*/ 159507 w 618"/>
                <a:gd name="T65" fmla="*/ 215547 h 606"/>
                <a:gd name="T66" fmla="*/ 140173 w 618"/>
                <a:gd name="T67" fmla="*/ 215547 h 606"/>
                <a:gd name="T68" fmla="*/ 125672 w 618"/>
                <a:gd name="T69" fmla="*/ 213596 h 606"/>
                <a:gd name="T70" fmla="*/ 108271 w 618"/>
                <a:gd name="T71" fmla="*/ 207744 h 606"/>
                <a:gd name="T72" fmla="*/ 104404 w 618"/>
                <a:gd name="T73" fmla="*/ 197016 h 606"/>
                <a:gd name="T74" fmla="*/ 101505 w 618"/>
                <a:gd name="T75" fmla="*/ 183361 h 606"/>
                <a:gd name="T76" fmla="*/ 90870 w 618"/>
                <a:gd name="T77" fmla="*/ 174584 h 606"/>
                <a:gd name="T78" fmla="*/ 78303 w 618"/>
                <a:gd name="T79" fmla="*/ 172633 h 606"/>
                <a:gd name="T80" fmla="*/ 67670 w 618"/>
                <a:gd name="T81" fmla="*/ 167756 h 606"/>
                <a:gd name="T82" fmla="*/ 53169 w 618"/>
                <a:gd name="T83" fmla="*/ 161904 h 606"/>
                <a:gd name="T84" fmla="*/ 36735 w 618"/>
                <a:gd name="T85" fmla="*/ 153126 h 606"/>
                <a:gd name="T86" fmla="*/ 26101 w 618"/>
                <a:gd name="T87" fmla="*/ 136545 h 606"/>
                <a:gd name="T88" fmla="*/ 14501 w 618"/>
                <a:gd name="T89" fmla="*/ 118015 h 606"/>
                <a:gd name="T90" fmla="*/ 3867 w 618"/>
                <a:gd name="T91" fmla="*/ 103385 h 606"/>
                <a:gd name="T92" fmla="*/ 1933 w 618"/>
                <a:gd name="T93" fmla="*/ 86804 h 606"/>
                <a:gd name="T94" fmla="*/ 195275 w 618"/>
                <a:gd name="T95" fmla="*/ 101434 h 606"/>
                <a:gd name="T96" fmla="*/ 199142 w 618"/>
                <a:gd name="T97" fmla="*/ 103385 h 606"/>
                <a:gd name="T98" fmla="*/ 202042 w 618"/>
                <a:gd name="T99" fmla="*/ 108261 h 606"/>
                <a:gd name="T100" fmla="*/ 198175 w 618"/>
                <a:gd name="T101" fmla="*/ 106311 h 606"/>
                <a:gd name="T102" fmla="*/ 205909 w 618"/>
                <a:gd name="T103" fmla="*/ 86804 h 606"/>
                <a:gd name="T104" fmla="*/ 203976 w 618"/>
                <a:gd name="T105" fmla="*/ 79976 h 606"/>
                <a:gd name="T106" fmla="*/ 205909 w 618"/>
                <a:gd name="T107" fmla="*/ 79976 h 606"/>
                <a:gd name="T108" fmla="*/ 207843 w 618"/>
                <a:gd name="T109" fmla="*/ 79976 h 606"/>
                <a:gd name="T110" fmla="*/ 203976 w 618"/>
                <a:gd name="T111" fmla="*/ 90705 h 606"/>
                <a:gd name="T112" fmla="*/ 207843 w 618"/>
                <a:gd name="T113" fmla="*/ 136545 h 606"/>
                <a:gd name="T114" fmla="*/ 202042 w 618"/>
                <a:gd name="T115" fmla="*/ 140447 h 606"/>
                <a:gd name="T116" fmla="*/ 203976 w 618"/>
                <a:gd name="T117" fmla="*/ 87779 h 606"/>
                <a:gd name="T118" fmla="*/ 216543 w 618"/>
                <a:gd name="T119" fmla="*/ 185312 h 606"/>
                <a:gd name="T120" fmla="*/ 198175 w 618"/>
                <a:gd name="T121" fmla="*/ 136545 h 606"/>
                <a:gd name="T122" fmla="*/ 205909 w 618"/>
                <a:gd name="T123" fmla="*/ 79976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8" h="606">
                  <a:moveTo>
                    <a:pt x="6" y="192"/>
                  </a:moveTo>
                  <a:lnTo>
                    <a:pt x="12" y="192"/>
                  </a:lnTo>
                  <a:lnTo>
                    <a:pt x="18" y="192"/>
                  </a:lnTo>
                  <a:lnTo>
                    <a:pt x="24" y="192"/>
                  </a:lnTo>
                  <a:lnTo>
                    <a:pt x="30" y="192"/>
                  </a:lnTo>
                  <a:lnTo>
                    <a:pt x="30" y="186"/>
                  </a:lnTo>
                  <a:lnTo>
                    <a:pt x="30" y="192"/>
                  </a:lnTo>
                  <a:lnTo>
                    <a:pt x="30" y="186"/>
                  </a:lnTo>
                  <a:lnTo>
                    <a:pt x="36" y="186"/>
                  </a:lnTo>
                  <a:lnTo>
                    <a:pt x="42" y="186"/>
                  </a:lnTo>
                  <a:lnTo>
                    <a:pt x="42" y="180"/>
                  </a:lnTo>
                  <a:lnTo>
                    <a:pt x="42" y="174"/>
                  </a:lnTo>
                  <a:lnTo>
                    <a:pt x="48" y="174"/>
                  </a:lnTo>
                  <a:lnTo>
                    <a:pt x="48" y="168"/>
                  </a:lnTo>
                  <a:lnTo>
                    <a:pt x="54" y="168"/>
                  </a:lnTo>
                  <a:lnTo>
                    <a:pt x="54" y="162"/>
                  </a:lnTo>
                  <a:lnTo>
                    <a:pt x="54" y="156"/>
                  </a:lnTo>
                  <a:lnTo>
                    <a:pt x="60" y="156"/>
                  </a:lnTo>
                  <a:lnTo>
                    <a:pt x="60" y="150"/>
                  </a:lnTo>
                  <a:lnTo>
                    <a:pt x="60" y="144"/>
                  </a:lnTo>
                  <a:lnTo>
                    <a:pt x="66" y="144"/>
                  </a:lnTo>
                  <a:lnTo>
                    <a:pt x="66" y="138"/>
                  </a:lnTo>
                  <a:lnTo>
                    <a:pt x="72" y="138"/>
                  </a:lnTo>
                  <a:lnTo>
                    <a:pt x="78" y="138"/>
                  </a:lnTo>
                  <a:lnTo>
                    <a:pt x="78" y="132"/>
                  </a:lnTo>
                  <a:lnTo>
                    <a:pt x="72" y="132"/>
                  </a:lnTo>
                  <a:lnTo>
                    <a:pt x="78" y="132"/>
                  </a:lnTo>
                  <a:lnTo>
                    <a:pt x="78" y="126"/>
                  </a:lnTo>
                  <a:lnTo>
                    <a:pt x="84" y="126"/>
                  </a:lnTo>
                  <a:lnTo>
                    <a:pt x="84" y="120"/>
                  </a:lnTo>
                  <a:lnTo>
                    <a:pt x="84" y="114"/>
                  </a:lnTo>
                  <a:lnTo>
                    <a:pt x="78" y="114"/>
                  </a:lnTo>
                  <a:lnTo>
                    <a:pt x="72" y="114"/>
                  </a:lnTo>
                  <a:lnTo>
                    <a:pt x="72" y="108"/>
                  </a:lnTo>
                  <a:lnTo>
                    <a:pt x="66" y="108"/>
                  </a:lnTo>
                  <a:lnTo>
                    <a:pt x="60" y="108"/>
                  </a:lnTo>
                  <a:lnTo>
                    <a:pt x="60" y="102"/>
                  </a:lnTo>
                  <a:lnTo>
                    <a:pt x="66" y="102"/>
                  </a:lnTo>
                  <a:lnTo>
                    <a:pt x="60" y="96"/>
                  </a:lnTo>
                  <a:lnTo>
                    <a:pt x="66" y="96"/>
                  </a:lnTo>
                  <a:lnTo>
                    <a:pt x="60" y="96"/>
                  </a:lnTo>
                  <a:lnTo>
                    <a:pt x="60" y="90"/>
                  </a:lnTo>
                  <a:lnTo>
                    <a:pt x="66" y="90"/>
                  </a:lnTo>
                  <a:lnTo>
                    <a:pt x="66" y="84"/>
                  </a:lnTo>
                  <a:lnTo>
                    <a:pt x="66" y="78"/>
                  </a:lnTo>
                  <a:lnTo>
                    <a:pt x="72" y="78"/>
                  </a:lnTo>
                  <a:lnTo>
                    <a:pt x="78" y="78"/>
                  </a:lnTo>
                  <a:lnTo>
                    <a:pt x="84" y="78"/>
                  </a:lnTo>
                  <a:lnTo>
                    <a:pt x="84" y="72"/>
                  </a:lnTo>
                  <a:lnTo>
                    <a:pt x="84" y="66"/>
                  </a:lnTo>
                  <a:lnTo>
                    <a:pt x="90" y="66"/>
                  </a:lnTo>
                  <a:lnTo>
                    <a:pt x="90" y="60"/>
                  </a:lnTo>
                  <a:lnTo>
                    <a:pt x="84" y="60"/>
                  </a:lnTo>
                  <a:lnTo>
                    <a:pt x="84" y="54"/>
                  </a:lnTo>
                  <a:lnTo>
                    <a:pt x="84" y="48"/>
                  </a:lnTo>
                  <a:lnTo>
                    <a:pt x="84" y="42"/>
                  </a:lnTo>
                  <a:lnTo>
                    <a:pt x="84" y="36"/>
                  </a:lnTo>
                  <a:lnTo>
                    <a:pt x="78" y="30"/>
                  </a:lnTo>
                  <a:lnTo>
                    <a:pt x="78" y="24"/>
                  </a:lnTo>
                  <a:lnTo>
                    <a:pt x="72" y="24"/>
                  </a:lnTo>
                  <a:lnTo>
                    <a:pt x="72" y="18"/>
                  </a:lnTo>
                  <a:lnTo>
                    <a:pt x="66" y="18"/>
                  </a:lnTo>
                  <a:lnTo>
                    <a:pt x="72" y="18"/>
                  </a:lnTo>
                  <a:lnTo>
                    <a:pt x="66" y="18"/>
                  </a:lnTo>
                  <a:lnTo>
                    <a:pt x="66" y="12"/>
                  </a:lnTo>
                  <a:lnTo>
                    <a:pt x="66" y="6"/>
                  </a:lnTo>
                  <a:lnTo>
                    <a:pt x="72" y="6"/>
                  </a:lnTo>
                  <a:lnTo>
                    <a:pt x="78" y="6"/>
                  </a:lnTo>
                  <a:lnTo>
                    <a:pt x="78" y="0"/>
                  </a:lnTo>
                  <a:lnTo>
                    <a:pt x="84" y="0"/>
                  </a:lnTo>
                  <a:lnTo>
                    <a:pt x="90" y="0"/>
                  </a:lnTo>
                  <a:lnTo>
                    <a:pt x="96" y="0"/>
                  </a:lnTo>
                  <a:lnTo>
                    <a:pt x="102" y="0"/>
                  </a:lnTo>
                  <a:lnTo>
                    <a:pt x="108" y="0"/>
                  </a:lnTo>
                  <a:lnTo>
                    <a:pt x="114" y="0"/>
                  </a:lnTo>
                  <a:lnTo>
                    <a:pt x="120" y="0"/>
                  </a:lnTo>
                  <a:lnTo>
                    <a:pt x="126" y="0"/>
                  </a:lnTo>
                  <a:lnTo>
                    <a:pt x="132" y="0"/>
                  </a:lnTo>
                  <a:lnTo>
                    <a:pt x="138" y="0"/>
                  </a:lnTo>
                  <a:lnTo>
                    <a:pt x="144" y="0"/>
                  </a:lnTo>
                  <a:lnTo>
                    <a:pt x="150" y="0"/>
                  </a:lnTo>
                  <a:lnTo>
                    <a:pt x="156" y="0"/>
                  </a:lnTo>
                  <a:lnTo>
                    <a:pt x="162" y="0"/>
                  </a:lnTo>
                  <a:lnTo>
                    <a:pt x="168" y="0"/>
                  </a:lnTo>
                  <a:lnTo>
                    <a:pt x="174" y="0"/>
                  </a:lnTo>
                  <a:lnTo>
                    <a:pt x="180" y="0"/>
                  </a:lnTo>
                  <a:lnTo>
                    <a:pt x="186" y="0"/>
                  </a:lnTo>
                  <a:lnTo>
                    <a:pt x="192" y="0"/>
                  </a:lnTo>
                  <a:lnTo>
                    <a:pt x="198" y="0"/>
                  </a:lnTo>
                  <a:lnTo>
                    <a:pt x="204" y="0"/>
                  </a:lnTo>
                  <a:lnTo>
                    <a:pt x="210" y="0"/>
                  </a:lnTo>
                  <a:lnTo>
                    <a:pt x="216" y="0"/>
                  </a:lnTo>
                  <a:lnTo>
                    <a:pt x="222" y="0"/>
                  </a:lnTo>
                  <a:lnTo>
                    <a:pt x="228" y="0"/>
                  </a:lnTo>
                  <a:lnTo>
                    <a:pt x="234" y="0"/>
                  </a:lnTo>
                  <a:lnTo>
                    <a:pt x="240" y="0"/>
                  </a:lnTo>
                  <a:lnTo>
                    <a:pt x="246" y="0"/>
                  </a:lnTo>
                  <a:lnTo>
                    <a:pt x="252" y="0"/>
                  </a:lnTo>
                  <a:lnTo>
                    <a:pt x="258" y="0"/>
                  </a:lnTo>
                  <a:lnTo>
                    <a:pt x="264" y="0"/>
                  </a:lnTo>
                  <a:lnTo>
                    <a:pt x="264" y="6"/>
                  </a:lnTo>
                  <a:lnTo>
                    <a:pt x="264" y="0"/>
                  </a:lnTo>
                  <a:lnTo>
                    <a:pt x="270" y="0"/>
                  </a:lnTo>
                  <a:lnTo>
                    <a:pt x="270" y="6"/>
                  </a:lnTo>
                  <a:lnTo>
                    <a:pt x="276" y="6"/>
                  </a:lnTo>
                  <a:lnTo>
                    <a:pt x="282" y="12"/>
                  </a:lnTo>
                  <a:lnTo>
                    <a:pt x="288" y="12"/>
                  </a:lnTo>
                  <a:lnTo>
                    <a:pt x="288" y="18"/>
                  </a:lnTo>
                  <a:lnTo>
                    <a:pt x="294" y="18"/>
                  </a:lnTo>
                  <a:lnTo>
                    <a:pt x="300" y="18"/>
                  </a:lnTo>
                  <a:lnTo>
                    <a:pt x="300" y="24"/>
                  </a:lnTo>
                  <a:lnTo>
                    <a:pt x="306" y="24"/>
                  </a:lnTo>
                  <a:lnTo>
                    <a:pt x="312" y="30"/>
                  </a:lnTo>
                  <a:lnTo>
                    <a:pt x="318" y="30"/>
                  </a:lnTo>
                  <a:lnTo>
                    <a:pt x="318" y="36"/>
                  </a:lnTo>
                  <a:lnTo>
                    <a:pt x="324" y="36"/>
                  </a:lnTo>
                  <a:lnTo>
                    <a:pt x="330" y="36"/>
                  </a:lnTo>
                  <a:lnTo>
                    <a:pt x="330" y="42"/>
                  </a:lnTo>
                  <a:lnTo>
                    <a:pt x="336" y="42"/>
                  </a:lnTo>
                  <a:lnTo>
                    <a:pt x="342" y="42"/>
                  </a:lnTo>
                  <a:lnTo>
                    <a:pt x="342" y="48"/>
                  </a:lnTo>
                  <a:lnTo>
                    <a:pt x="348" y="48"/>
                  </a:lnTo>
                  <a:lnTo>
                    <a:pt x="354" y="54"/>
                  </a:lnTo>
                  <a:lnTo>
                    <a:pt x="360" y="54"/>
                  </a:lnTo>
                  <a:lnTo>
                    <a:pt x="366" y="60"/>
                  </a:lnTo>
                  <a:lnTo>
                    <a:pt x="372" y="60"/>
                  </a:lnTo>
                  <a:lnTo>
                    <a:pt x="378" y="66"/>
                  </a:lnTo>
                  <a:lnTo>
                    <a:pt x="384" y="66"/>
                  </a:lnTo>
                  <a:lnTo>
                    <a:pt x="384" y="72"/>
                  </a:lnTo>
                  <a:lnTo>
                    <a:pt x="390" y="72"/>
                  </a:lnTo>
                  <a:lnTo>
                    <a:pt x="396" y="72"/>
                  </a:lnTo>
                  <a:lnTo>
                    <a:pt x="396" y="78"/>
                  </a:lnTo>
                  <a:lnTo>
                    <a:pt x="402" y="78"/>
                  </a:lnTo>
                  <a:lnTo>
                    <a:pt x="408" y="78"/>
                  </a:lnTo>
                  <a:lnTo>
                    <a:pt x="408" y="84"/>
                  </a:lnTo>
                  <a:lnTo>
                    <a:pt x="414" y="84"/>
                  </a:lnTo>
                  <a:lnTo>
                    <a:pt x="414" y="90"/>
                  </a:lnTo>
                  <a:lnTo>
                    <a:pt x="420" y="90"/>
                  </a:lnTo>
                  <a:lnTo>
                    <a:pt x="426" y="90"/>
                  </a:lnTo>
                  <a:lnTo>
                    <a:pt x="426" y="96"/>
                  </a:lnTo>
                  <a:lnTo>
                    <a:pt x="432" y="96"/>
                  </a:lnTo>
                  <a:lnTo>
                    <a:pt x="438" y="96"/>
                  </a:lnTo>
                  <a:lnTo>
                    <a:pt x="444" y="102"/>
                  </a:lnTo>
                  <a:lnTo>
                    <a:pt x="450" y="108"/>
                  </a:lnTo>
                  <a:lnTo>
                    <a:pt x="456" y="108"/>
                  </a:lnTo>
                  <a:lnTo>
                    <a:pt x="462" y="114"/>
                  </a:lnTo>
                  <a:lnTo>
                    <a:pt x="468" y="114"/>
                  </a:lnTo>
                  <a:lnTo>
                    <a:pt x="468" y="120"/>
                  </a:lnTo>
                  <a:lnTo>
                    <a:pt x="468" y="126"/>
                  </a:lnTo>
                  <a:lnTo>
                    <a:pt x="468" y="132"/>
                  </a:lnTo>
                  <a:lnTo>
                    <a:pt x="462" y="132"/>
                  </a:lnTo>
                  <a:lnTo>
                    <a:pt x="462" y="138"/>
                  </a:lnTo>
                  <a:lnTo>
                    <a:pt x="462" y="144"/>
                  </a:lnTo>
                  <a:lnTo>
                    <a:pt x="468" y="138"/>
                  </a:lnTo>
                  <a:lnTo>
                    <a:pt x="468" y="144"/>
                  </a:lnTo>
                  <a:lnTo>
                    <a:pt x="474" y="144"/>
                  </a:lnTo>
                  <a:lnTo>
                    <a:pt x="474" y="150"/>
                  </a:lnTo>
                  <a:lnTo>
                    <a:pt x="480" y="156"/>
                  </a:lnTo>
                  <a:lnTo>
                    <a:pt x="486" y="156"/>
                  </a:lnTo>
                  <a:lnTo>
                    <a:pt x="492" y="162"/>
                  </a:lnTo>
                  <a:lnTo>
                    <a:pt x="498" y="168"/>
                  </a:lnTo>
                  <a:lnTo>
                    <a:pt x="504" y="168"/>
                  </a:lnTo>
                  <a:lnTo>
                    <a:pt x="504" y="174"/>
                  </a:lnTo>
                  <a:lnTo>
                    <a:pt x="510" y="174"/>
                  </a:lnTo>
                  <a:lnTo>
                    <a:pt x="510" y="180"/>
                  </a:lnTo>
                  <a:lnTo>
                    <a:pt x="516" y="180"/>
                  </a:lnTo>
                  <a:lnTo>
                    <a:pt x="522" y="186"/>
                  </a:lnTo>
                  <a:lnTo>
                    <a:pt x="528" y="186"/>
                  </a:lnTo>
                  <a:lnTo>
                    <a:pt x="528" y="192"/>
                  </a:lnTo>
                  <a:lnTo>
                    <a:pt x="534" y="192"/>
                  </a:lnTo>
                  <a:lnTo>
                    <a:pt x="534" y="198"/>
                  </a:lnTo>
                  <a:lnTo>
                    <a:pt x="540" y="198"/>
                  </a:lnTo>
                  <a:lnTo>
                    <a:pt x="546" y="204"/>
                  </a:lnTo>
                  <a:lnTo>
                    <a:pt x="552" y="204"/>
                  </a:lnTo>
                  <a:lnTo>
                    <a:pt x="552" y="210"/>
                  </a:lnTo>
                  <a:lnTo>
                    <a:pt x="546" y="210"/>
                  </a:lnTo>
                  <a:lnTo>
                    <a:pt x="546" y="216"/>
                  </a:lnTo>
                  <a:lnTo>
                    <a:pt x="546" y="210"/>
                  </a:lnTo>
                  <a:lnTo>
                    <a:pt x="552" y="210"/>
                  </a:lnTo>
                  <a:lnTo>
                    <a:pt x="552" y="216"/>
                  </a:lnTo>
                  <a:lnTo>
                    <a:pt x="552" y="222"/>
                  </a:lnTo>
                  <a:lnTo>
                    <a:pt x="546" y="222"/>
                  </a:lnTo>
                  <a:lnTo>
                    <a:pt x="546" y="216"/>
                  </a:lnTo>
                  <a:lnTo>
                    <a:pt x="552" y="216"/>
                  </a:lnTo>
                  <a:lnTo>
                    <a:pt x="546" y="216"/>
                  </a:lnTo>
                  <a:lnTo>
                    <a:pt x="546" y="222"/>
                  </a:lnTo>
                  <a:lnTo>
                    <a:pt x="546" y="228"/>
                  </a:lnTo>
                  <a:lnTo>
                    <a:pt x="546" y="234"/>
                  </a:lnTo>
                  <a:lnTo>
                    <a:pt x="540" y="234"/>
                  </a:lnTo>
                  <a:lnTo>
                    <a:pt x="540" y="240"/>
                  </a:lnTo>
                  <a:lnTo>
                    <a:pt x="540" y="234"/>
                  </a:lnTo>
                  <a:lnTo>
                    <a:pt x="546" y="234"/>
                  </a:lnTo>
                  <a:lnTo>
                    <a:pt x="546" y="240"/>
                  </a:lnTo>
                  <a:lnTo>
                    <a:pt x="540" y="240"/>
                  </a:lnTo>
                  <a:lnTo>
                    <a:pt x="540" y="246"/>
                  </a:lnTo>
                  <a:lnTo>
                    <a:pt x="534" y="246"/>
                  </a:lnTo>
                  <a:lnTo>
                    <a:pt x="540" y="246"/>
                  </a:lnTo>
                  <a:lnTo>
                    <a:pt x="540" y="252"/>
                  </a:lnTo>
                  <a:lnTo>
                    <a:pt x="540" y="258"/>
                  </a:lnTo>
                  <a:lnTo>
                    <a:pt x="534" y="258"/>
                  </a:lnTo>
                  <a:lnTo>
                    <a:pt x="534" y="264"/>
                  </a:lnTo>
                  <a:lnTo>
                    <a:pt x="534" y="270"/>
                  </a:lnTo>
                  <a:lnTo>
                    <a:pt x="528" y="270"/>
                  </a:lnTo>
                  <a:lnTo>
                    <a:pt x="528" y="276"/>
                  </a:lnTo>
                  <a:lnTo>
                    <a:pt x="528" y="282"/>
                  </a:lnTo>
                  <a:lnTo>
                    <a:pt x="528" y="288"/>
                  </a:lnTo>
                  <a:lnTo>
                    <a:pt x="534" y="288"/>
                  </a:lnTo>
                  <a:lnTo>
                    <a:pt x="528" y="288"/>
                  </a:lnTo>
                  <a:lnTo>
                    <a:pt x="534" y="288"/>
                  </a:lnTo>
                  <a:lnTo>
                    <a:pt x="534" y="294"/>
                  </a:lnTo>
                  <a:lnTo>
                    <a:pt x="528" y="294"/>
                  </a:lnTo>
                  <a:lnTo>
                    <a:pt x="528" y="300"/>
                  </a:lnTo>
                  <a:lnTo>
                    <a:pt x="534" y="300"/>
                  </a:lnTo>
                  <a:lnTo>
                    <a:pt x="528" y="300"/>
                  </a:lnTo>
                  <a:lnTo>
                    <a:pt x="528" y="306"/>
                  </a:lnTo>
                  <a:lnTo>
                    <a:pt x="534" y="306"/>
                  </a:lnTo>
                  <a:lnTo>
                    <a:pt x="528" y="306"/>
                  </a:lnTo>
                  <a:lnTo>
                    <a:pt x="528" y="300"/>
                  </a:lnTo>
                  <a:lnTo>
                    <a:pt x="534" y="300"/>
                  </a:lnTo>
                  <a:lnTo>
                    <a:pt x="534" y="306"/>
                  </a:lnTo>
                  <a:lnTo>
                    <a:pt x="540" y="306"/>
                  </a:lnTo>
                  <a:lnTo>
                    <a:pt x="546" y="306"/>
                  </a:lnTo>
                  <a:lnTo>
                    <a:pt x="540" y="306"/>
                  </a:lnTo>
                  <a:lnTo>
                    <a:pt x="546" y="306"/>
                  </a:lnTo>
                  <a:lnTo>
                    <a:pt x="546" y="312"/>
                  </a:lnTo>
                  <a:lnTo>
                    <a:pt x="552" y="312"/>
                  </a:lnTo>
                  <a:lnTo>
                    <a:pt x="552" y="318"/>
                  </a:lnTo>
                  <a:lnTo>
                    <a:pt x="552" y="324"/>
                  </a:lnTo>
                  <a:lnTo>
                    <a:pt x="558" y="324"/>
                  </a:lnTo>
                  <a:lnTo>
                    <a:pt x="552" y="324"/>
                  </a:lnTo>
                  <a:lnTo>
                    <a:pt x="558" y="324"/>
                  </a:lnTo>
                  <a:lnTo>
                    <a:pt x="558" y="330"/>
                  </a:lnTo>
                  <a:lnTo>
                    <a:pt x="558" y="324"/>
                  </a:lnTo>
                  <a:lnTo>
                    <a:pt x="558" y="330"/>
                  </a:lnTo>
                  <a:lnTo>
                    <a:pt x="564" y="330"/>
                  </a:lnTo>
                  <a:lnTo>
                    <a:pt x="570" y="330"/>
                  </a:lnTo>
                  <a:lnTo>
                    <a:pt x="570" y="336"/>
                  </a:lnTo>
                  <a:lnTo>
                    <a:pt x="570" y="342"/>
                  </a:lnTo>
                  <a:lnTo>
                    <a:pt x="570" y="348"/>
                  </a:lnTo>
                  <a:lnTo>
                    <a:pt x="564" y="348"/>
                  </a:lnTo>
                  <a:lnTo>
                    <a:pt x="564" y="354"/>
                  </a:lnTo>
                  <a:lnTo>
                    <a:pt x="558" y="354"/>
                  </a:lnTo>
                  <a:lnTo>
                    <a:pt x="564" y="354"/>
                  </a:lnTo>
                  <a:lnTo>
                    <a:pt x="558" y="354"/>
                  </a:lnTo>
                  <a:lnTo>
                    <a:pt x="558" y="348"/>
                  </a:lnTo>
                  <a:lnTo>
                    <a:pt x="558" y="354"/>
                  </a:lnTo>
                  <a:lnTo>
                    <a:pt x="558" y="360"/>
                  </a:lnTo>
                  <a:lnTo>
                    <a:pt x="558" y="366"/>
                  </a:lnTo>
                  <a:lnTo>
                    <a:pt x="552" y="372"/>
                  </a:lnTo>
                  <a:lnTo>
                    <a:pt x="558" y="372"/>
                  </a:lnTo>
                  <a:lnTo>
                    <a:pt x="558" y="378"/>
                  </a:lnTo>
                  <a:lnTo>
                    <a:pt x="552" y="378"/>
                  </a:lnTo>
                  <a:lnTo>
                    <a:pt x="552" y="384"/>
                  </a:lnTo>
                  <a:lnTo>
                    <a:pt x="558" y="384"/>
                  </a:lnTo>
                  <a:lnTo>
                    <a:pt x="558" y="378"/>
                  </a:lnTo>
                  <a:lnTo>
                    <a:pt x="564" y="378"/>
                  </a:lnTo>
                  <a:lnTo>
                    <a:pt x="564" y="384"/>
                  </a:lnTo>
                  <a:lnTo>
                    <a:pt x="564" y="390"/>
                  </a:lnTo>
                  <a:lnTo>
                    <a:pt x="558" y="390"/>
                  </a:lnTo>
                  <a:lnTo>
                    <a:pt x="564" y="390"/>
                  </a:lnTo>
                  <a:lnTo>
                    <a:pt x="564" y="396"/>
                  </a:lnTo>
                  <a:lnTo>
                    <a:pt x="564" y="402"/>
                  </a:lnTo>
                  <a:lnTo>
                    <a:pt x="558" y="402"/>
                  </a:lnTo>
                  <a:lnTo>
                    <a:pt x="558" y="408"/>
                  </a:lnTo>
                  <a:lnTo>
                    <a:pt x="552" y="408"/>
                  </a:lnTo>
                  <a:lnTo>
                    <a:pt x="558" y="414"/>
                  </a:lnTo>
                  <a:lnTo>
                    <a:pt x="558" y="420"/>
                  </a:lnTo>
                  <a:lnTo>
                    <a:pt x="558" y="426"/>
                  </a:lnTo>
                  <a:lnTo>
                    <a:pt x="558" y="420"/>
                  </a:lnTo>
                  <a:lnTo>
                    <a:pt x="558" y="426"/>
                  </a:lnTo>
                  <a:lnTo>
                    <a:pt x="558" y="432"/>
                  </a:lnTo>
                  <a:lnTo>
                    <a:pt x="564" y="432"/>
                  </a:lnTo>
                  <a:lnTo>
                    <a:pt x="564" y="438"/>
                  </a:lnTo>
                  <a:lnTo>
                    <a:pt x="570" y="438"/>
                  </a:lnTo>
                  <a:lnTo>
                    <a:pt x="564" y="438"/>
                  </a:lnTo>
                  <a:lnTo>
                    <a:pt x="570" y="438"/>
                  </a:lnTo>
                  <a:lnTo>
                    <a:pt x="570" y="444"/>
                  </a:lnTo>
                  <a:lnTo>
                    <a:pt x="564" y="444"/>
                  </a:lnTo>
                  <a:lnTo>
                    <a:pt x="564" y="450"/>
                  </a:lnTo>
                  <a:lnTo>
                    <a:pt x="570" y="450"/>
                  </a:lnTo>
                  <a:lnTo>
                    <a:pt x="564" y="456"/>
                  </a:lnTo>
                  <a:lnTo>
                    <a:pt x="570" y="456"/>
                  </a:lnTo>
                  <a:lnTo>
                    <a:pt x="570" y="450"/>
                  </a:lnTo>
                  <a:lnTo>
                    <a:pt x="576" y="450"/>
                  </a:lnTo>
                  <a:lnTo>
                    <a:pt x="576" y="456"/>
                  </a:lnTo>
                  <a:lnTo>
                    <a:pt x="570" y="456"/>
                  </a:lnTo>
                  <a:lnTo>
                    <a:pt x="576" y="456"/>
                  </a:lnTo>
                  <a:lnTo>
                    <a:pt x="576" y="462"/>
                  </a:lnTo>
                  <a:lnTo>
                    <a:pt x="576" y="468"/>
                  </a:lnTo>
                  <a:lnTo>
                    <a:pt x="576" y="474"/>
                  </a:lnTo>
                  <a:lnTo>
                    <a:pt x="570" y="474"/>
                  </a:lnTo>
                  <a:lnTo>
                    <a:pt x="576" y="474"/>
                  </a:lnTo>
                  <a:lnTo>
                    <a:pt x="576" y="480"/>
                  </a:lnTo>
                  <a:lnTo>
                    <a:pt x="582" y="480"/>
                  </a:lnTo>
                  <a:lnTo>
                    <a:pt x="576" y="480"/>
                  </a:lnTo>
                  <a:lnTo>
                    <a:pt x="582" y="480"/>
                  </a:lnTo>
                  <a:lnTo>
                    <a:pt x="582" y="486"/>
                  </a:lnTo>
                  <a:lnTo>
                    <a:pt x="582" y="492"/>
                  </a:lnTo>
                  <a:lnTo>
                    <a:pt x="576" y="492"/>
                  </a:lnTo>
                  <a:lnTo>
                    <a:pt x="582" y="492"/>
                  </a:lnTo>
                  <a:lnTo>
                    <a:pt x="582" y="498"/>
                  </a:lnTo>
                  <a:lnTo>
                    <a:pt x="582" y="504"/>
                  </a:lnTo>
                  <a:lnTo>
                    <a:pt x="576" y="504"/>
                  </a:lnTo>
                  <a:lnTo>
                    <a:pt x="582" y="504"/>
                  </a:lnTo>
                  <a:lnTo>
                    <a:pt x="588" y="504"/>
                  </a:lnTo>
                  <a:lnTo>
                    <a:pt x="588" y="510"/>
                  </a:lnTo>
                  <a:lnTo>
                    <a:pt x="594" y="510"/>
                  </a:lnTo>
                  <a:lnTo>
                    <a:pt x="594" y="516"/>
                  </a:lnTo>
                  <a:lnTo>
                    <a:pt x="594" y="510"/>
                  </a:lnTo>
                  <a:lnTo>
                    <a:pt x="594" y="516"/>
                  </a:lnTo>
                  <a:lnTo>
                    <a:pt x="600" y="516"/>
                  </a:lnTo>
                  <a:lnTo>
                    <a:pt x="600" y="522"/>
                  </a:lnTo>
                  <a:lnTo>
                    <a:pt x="606" y="522"/>
                  </a:lnTo>
                  <a:lnTo>
                    <a:pt x="612" y="522"/>
                  </a:lnTo>
                  <a:lnTo>
                    <a:pt x="606" y="522"/>
                  </a:lnTo>
                  <a:lnTo>
                    <a:pt x="606" y="516"/>
                  </a:lnTo>
                  <a:lnTo>
                    <a:pt x="612" y="522"/>
                  </a:lnTo>
                  <a:lnTo>
                    <a:pt x="612" y="528"/>
                  </a:lnTo>
                  <a:lnTo>
                    <a:pt x="618" y="528"/>
                  </a:lnTo>
                  <a:lnTo>
                    <a:pt x="618" y="522"/>
                  </a:lnTo>
                  <a:lnTo>
                    <a:pt x="618" y="528"/>
                  </a:lnTo>
                  <a:lnTo>
                    <a:pt x="618" y="534"/>
                  </a:lnTo>
                  <a:lnTo>
                    <a:pt x="612" y="540"/>
                  </a:lnTo>
                  <a:lnTo>
                    <a:pt x="606" y="540"/>
                  </a:lnTo>
                  <a:lnTo>
                    <a:pt x="600" y="546"/>
                  </a:lnTo>
                  <a:lnTo>
                    <a:pt x="600" y="552"/>
                  </a:lnTo>
                  <a:lnTo>
                    <a:pt x="594" y="552"/>
                  </a:lnTo>
                  <a:lnTo>
                    <a:pt x="588" y="552"/>
                  </a:lnTo>
                  <a:lnTo>
                    <a:pt x="582" y="558"/>
                  </a:lnTo>
                  <a:lnTo>
                    <a:pt x="576" y="558"/>
                  </a:lnTo>
                  <a:lnTo>
                    <a:pt x="570" y="558"/>
                  </a:lnTo>
                  <a:lnTo>
                    <a:pt x="570" y="564"/>
                  </a:lnTo>
                  <a:lnTo>
                    <a:pt x="564" y="564"/>
                  </a:lnTo>
                  <a:lnTo>
                    <a:pt x="558" y="564"/>
                  </a:lnTo>
                  <a:lnTo>
                    <a:pt x="558" y="570"/>
                  </a:lnTo>
                  <a:lnTo>
                    <a:pt x="552" y="570"/>
                  </a:lnTo>
                  <a:lnTo>
                    <a:pt x="546" y="570"/>
                  </a:lnTo>
                  <a:lnTo>
                    <a:pt x="540" y="570"/>
                  </a:lnTo>
                  <a:lnTo>
                    <a:pt x="534" y="570"/>
                  </a:lnTo>
                  <a:lnTo>
                    <a:pt x="528" y="576"/>
                  </a:lnTo>
                  <a:lnTo>
                    <a:pt x="522" y="576"/>
                  </a:lnTo>
                  <a:lnTo>
                    <a:pt x="516" y="576"/>
                  </a:lnTo>
                  <a:lnTo>
                    <a:pt x="516" y="582"/>
                  </a:lnTo>
                  <a:lnTo>
                    <a:pt x="510" y="582"/>
                  </a:lnTo>
                  <a:lnTo>
                    <a:pt x="510" y="588"/>
                  </a:lnTo>
                  <a:lnTo>
                    <a:pt x="510" y="582"/>
                  </a:lnTo>
                  <a:lnTo>
                    <a:pt x="504" y="582"/>
                  </a:lnTo>
                  <a:lnTo>
                    <a:pt x="498" y="582"/>
                  </a:lnTo>
                  <a:lnTo>
                    <a:pt x="498" y="576"/>
                  </a:lnTo>
                  <a:lnTo>
                    <a:pt x="492" y="576"/>
                  </a:lnTo>
                  <a:lnTo>
                    <a:pt x="486" y="576"/>
                  </a:lnTo>
                  <a:lnTo>
                    <a:pt x="480" y="576"/>
                  </a:lnTo>
                  <a:lnTo>
                    <a:pt x="480" y="582"/>
                  </a:lnTo>
                  <a:lnTo>
                    <a:pt x="474" y="582"/>
                  </a:lnTo>
                  <a:lnTo>
                    <a:pt x="474" y="588"/>
                  </a:lnTo>
                  <a:lnTo>
                    <a:pt x="474" y="594"/>
                  </a:lnTo>
                  <a:lnTo>
                    <a:pt x="468" y="594"/>
                  </a:lnTo>
                  <a:lnTo>
                    <a:pt x="468" y="600"/>
                  </a:lnTo>
                  <a:lnTo>
                    <a:pt x="462" y="600"/>
                  </a:lnTo>
                  <a:lnTo>
                    <a:pt x="456" y="600"/>
                  </a:lnTo>
                  <a:lnTo>
                    <a:pt x="456" y="606"/>
                  </a:lnTo>
                  <a:lnTo>
                    <a:pt x="450" y="606"/>
                  </a:lnTo>
                  <a:lnTo>
                    <a:pt x="450" y="600"/>
                  </a:lnTo>
                  <a:lnTo>
                    <a:pt x="444" y="600"/>
                  </a:lnTo>
                  <a:lnTo>
                    <a:pt x="438" y="600"/>
                  </a:lnTo>
                  <a:lnTo>
                    <a:pt x="432" y="600"/>
                  </a:lnTo>
                  <a:lnTo>
                    <a:pt x="432" y="594"/>
                  </a:lnTo>
                  <a:lnTo>
                    <a:pt x="426" y="594"/>
                  </a:lnTo>
                  <a:lnTo>
                    <a:pt x="420" y="594"/>
                  </a:lnTo>
                  <a:lnTo>
                    <a:pt x="414" y="600"/>
                  </a:lnTo>
                  <a:lnTo>
                    <a:pt x="408" y="600"/>
                  </a:lnTo>
                  <a:lnTo>
                    <a:pt x="402" y="606"/>
                  </a:lnTo>
                  <a:lnTo>
                    <a:pt x="402" y="600"/>
                  </a:lnTo>
                  <a:lnTo>
                    <a:pt x="396" y="600"/>
                  </a:lnTo>
                  <a:lnTo>
                    <a:pt x="390" y="600"/>
                  </a:lnTo>
                  <a:lnTo>
                    <a:pt x="384" y="600"/>
                  </a:lnTo>
                  <a:lnTo>
                    <a:pt x="384" y="594"/>
                  </a:lnTo>
                  <a:lnTo>
                    <a:pt x="378" y="594"/>
                  </a:lnTo>
                  <a:lnTo>
                    <a:pt x="372" y="588"/>
                  </a:lnTo>
                  <a:lnTo>
                    <a:pt x="366" y="588"/>
                  </a:lnTo>
                  <a:lnTo>
                    <a:pt x="366" y="582"/>
                  </a:lnTo>
                  <a:lnTo>
                    <a:pt x="360" y="582"/>
                  </a:lnTo>
                  <a:lnTo>
                    <a:pt x="360" y="588"/>
                  </a:lnTo>
                  <a:lnTo>
                    <a:pt x="354" y="588"/>
                  </a:lnTo>
                  <a:lnTo>
                    <a:pt x="354" y="594"/>
                  </a:lnTo>
                  <a:lnTo>
                    <a:pt x="348" y="594"/>
                  </a:lnTo>
                  <a:lnTo>
                    <a:pt x="342" y="594"/>
                  </a:lnTo>
                  <a:lnTo>
                    <a:pt x="336" y="594"/>
                  </a:lnTo>
                  <a:lnTo>
                    <a:pt x="330" y="594"/>
                  </a:lnTo>
                  <a:lnTo>
                    <a:pt x="324" y="594"/>
                  </a:lnTo>
                  <a:lnTo>
                    <a:pt x="318" y="594"/>
                  </a:lnTo>
                  <a:lnTo>
                    <a:pt x="312" y="594"/>
                  </a:lnTo>
                  <a:lnTo>
                    <a:pt x="312" y="588"/>
                  </a:lnTo>
                  <a:lnTo>
                    <a:pt x="312" y="582"/>
                  </a:lnTo>
                  <a:lnTo>
                    <a:pt x="306" y="582"/>
                  </a:lnTo>
                  <a:lnTo>
                    <a:pt x="306" y="576"/>
                  </a:lnTo>
                  <a:lnTo>
                    <a:pt x="300" y="570"/>
                  </a:lnTo>
                  <a:lnTo>
                    <a:pt x="294" y="570"/>
                  </a:lnTo>
                  <a:lnTo>
                    <a:pt x="294" y="564"/>
                  </a:lnTo>
                  <a:lnTo>
                    <a:pt x="294" y="558"/>
                  </a:lnTo>
                  <a:lnTo>
                    <a:pt x="300" y="558"/>
                  </a:lnTo>
                  <a:lnTo>
                    <a:pt x="294" y="558"/>
                  </a:lnTo>
                  <a:lnTo>
                    <a:pt x="300" y="552"/>
                  </a:lnTo>
                  <a:lnTo>
                    <a:pt x="294" y="552"/>
                  </a:lnTo>
                  <a:lnTo>
                    <a:pt x="300" y="552"/>
                  </a:lnTo>
                  <a:lnTo>
                    <a:pt x="300" y="546"/>
                  </a:lnTo>
                  <a:lnTo>
                    <a:pt x="294" y="546"/>
                  </a:lnTo>
                  <a:lnTo>
                    <a:pt x="294" y="540"/>
                  </a:lnTo>
                  <a:lnTo>
                    <a:pt x="294" y="534"/>
                  </a:lnTo>
                  <a:lnTo>
                    <a:pt x="294" y="528"/>
                  </a:lnTo>
                  <a:lnTo>
                    <a:pt x="294" y="522"/>
                  </a:lnTo>
                  <a:lnTo>
                    <a:pt x="294" y="516"/>
                  </a:lnTo>
                  <a:lnTo>
                    <a:pt x="294" y="510"/>
                  </a:lnTo>
                  <a:lnTo>
                    <a:pt x="288" y="510"/>
                  </a:lnTo>
                  <a:lnTo>
                    <a:pt x="294" y="510"/>
                  </a:lnTo>
                  <a:lnTo>
                    <a:pt x="288" y="510"/>
                  </a:lnTo>
                  <a:lnTo>
                    <a:pt x="294" y="510"/>
                  </a:lnTo>
                  <a:lnTo>
                    <a:pt x="288" y="510"/>
                  </a:lnTo>
                  <a:lnTo>
                    <a:pt x="288" y="504"/>
                  </a:lnTo>
                  <a:lnTo>
                    <a:pt x="288" y="498"/>
                  </a:lnTo>
                  <a:lnTo>
                    <a:pt x="282" y="498"/>
                  </a:lnTo>
                  <a:lnTo>
                    <a:pt x="282" y="492"/>
                  </a:lnTo>
                  <a:lnTo>
                    <a:pt x="276" y="492"/>
                  </a:lnTo>
                  <a:lnTo>
                    <a:pt x="270" y="480"/>
                  </a:lnTo>
                  <a:lnTo>
                    <a:pt x="264" y="480"/>
                  </a:lnTo>
                  <a:lnTo>
                    <a:pt x="264" y="474"/>
                  </a:lnTo>
                  <a:lnTo>
                    <a:pt x="264" y="480"/>
                  </a:lnTo>
                  <a:lnTo>
                    <a:pt x="258" y="480"/>
                  </a:lnTo>
                  <a:lnTo>
                    <a:pt x="258" y="486"/>
                  </a:lnTo>
                  <a:lnTo>
                    <a:pt x="252" y="486"/>
                  </a:lnTo>
                  <a:lnTo>
                    <a:pt x="252" y="480"/>
                  </a:lnTo>
                  <a:lnTo>
                    <a:pt x="246" y="480"/>
                  </a:lnTo>
                  <a:lnTo>
                    <a:pt x="246" y="486"/>
                  </a:lnTo>
                  <a:lnTo>
                    <a:pt x="246" y="480"/>
                  </a:lnTo>
                  <a:lnTo>
                    <a:pt x="240" y="480"/>
                  </a:lnTo>
                  <a:lnTo>
                    <a:pt x="234" y="480"/>
                  </a:lnTo>
                  <a:lnTo>
                    <a:pt x="234" y="486"/>
                  </a:lnTo>
                  <a:lnTo>
                    <a:pt x="228" y="486"/>
                  </a:lnTo>
                  <a:lnTo>
                    <a:pt x="228" y="480"/>
                  </a:lnTo>
                  <a:lnTo>
                    <a:pt x="222" y="480"/>
                  </a:lnTo>
                  <a:lnTo>
                    <a:pt x="222" y="474"/>
                  </a:lnTo>
                  <a:lnTo>
                    <a:pt x="216" y="474"/>
                  </a:lnTo>
                  <a:lnTo>
                    <a:pt x="216" y="480"/>
                  </a:lnTo>
                  <a:lnTo>
                    <a:pt x="216" y="474"/>
                  </a:lnTo>
                  <a:lnTo>
                    <a:pt x="210" y="474"/>
                  </a:lnTo>
                  <a:lnTo>
                    <a:pt x="204" y="474"/>
                  </a:lnTo>
                  <a:lnTo>
                    <a:pt x="204" y="468"/>
                  </a:lnTo>
                  <a:lnTo>
                    <a:pt x="204" y="474"/>
                  </a:lnTo>
                  <a:lnTo>
                    <a:pt x="204" y="468"/>
                  </a:lnTo>
                  <a:lnTo>
                    <a:pt x="198" y="468"/>
                  </a:lnTo>
                  <a:lnTo>
                    <a:pt x="192" y="468"/>
                  </a:lnTo>
                  <a:lnTo>
                    <a:pt x="192" y="462"/>
                  </a:lnTo>
                  <a:lnTo>
                    <a:pt x="186" y="462"/>
                  </a:lnTo>
                  <a:lnTo>
                    <a:pt x="180" y="462"/>
                  </a:lnTo>
                  <a:lnTo>
                    <a:pt x="174" y="456"/>
                  </a:lnTo>
                  <a:lnTo>
                    <a:pt x="180" y="456"/>
                  </a:lnTo>
                  <a:lnTo>
                    <a:pt x="174" y="456"/>
                  </a:lnTo>
                  <a:lnTo>
                    <a:pt x="168" y="456"/>
                  </a:lnTo>
                  <a:lnTo>
                    <a:pt x="162" y="456"/>
                  </a:lnTo>
                  <a:lnTo>
                    <a:pt x="162" y="450"/>
                  </a:lnTo>
                  <a:lnTo>
                    <a:pt x="156" y="450"/>
                  </a:lnTo>
                  <a:lnTo>
                    <a:pt x="150" y="450"/>
                  </a:lnTo>
                  <a:lnTo>
                    <a:pt x="144" y="450"/>
                  </a:lnTo>
                  <a:lnTo>
                    <a:pt x="144" y="444"/>
                  </a:lnTo>
                  <a:lnTo>
                    <a:pt x="138" y="444"/>
                  </a:lnTo>
                  <a:lnTo>
                    <a:pt x="132" y="444"/>
                  </a:lnTo>
                  <a:lnTo>
                    <a:pt x="126" y="438"/>
                  </a:lnTo>
                  <a:lnTo>
                    <a:pt x="126" y="432"/>
                  </a:lnTo>
                  <a:lnTo>
                    <a:pt x="120" y="432"/>
                  </a:lnTo>
                  <a:lnTo>
                    <a:pt x="120" y="426"/>
                  </a:lnTo>
                  <a:lnTo>
                    <a:pt x="114" y="426"/>
                  </a:lnTo>
                  <a:lnTo>
                    <a:pt x="108" y="426"/>
                  </a:lnTo>
                  <a:lnTo>
                    <a:pt x="102" y="426"/>
                  </a:lnTo>
                  <a:lnTo>
                    <a:pt x="96" y="426"/>
                  </a:lnTo>
                  <a:lnTo>
                    <a:pt x="90" y="420"/>
                  </a:lnTo>
                  <a:lnTo>
                    <a:pt x="90" y="414"/>
                  </a:lnTo>
                  <a:lnTo>
                    <a:pt x="84" y="408"/>
                  </a:lnTo>
                  <a:lnTo>
                    <a:pt x="84" y="402"/>
                  </a:lnTo>
                  <a:lnTo>
                    <a:pt x="78" y="402"/>
                  </a:lnTo>
                  <a:lnTo>
                    <a:pt x="78" y="396"/>
                  </a:lnTo>
                  <a:lnTo>
                    <a:pt x="78" y="390"/>
                  </a:lnTo>
                  <a:lnTo>
                    <a:pt x="72" y="390"/>
                  </a:lnTo>
                  <a:lnTo>
                    <a:pt x="72" y="384"/>
                  </a:lnTo>
                  <a:lnTo>
                    <a:pt x="72" y="378"/>
                  </a:lnTo>
                  <a:lnTo>
                    <a:pt x="66" y="372"/>
                  </a:lnTo>
                  <a:lnTo>
                    <a:pt x="66" y="366"/>
                  </a:lnTo>
                  <a:lnTo>
                    <a:pt x="66" y="360"/>
                  </a:lnTo>
                  <a:lnTo>
                    <a:pt x="60" y="360"/>
                  </a:lnTo>
                  <a:lnTo>
                    <a:pt x="60" y="354"/>
                  </a:lnTo>
                  <a:lnTo>
                    <a:pt x="60" y="348"/>
                  </a:lnTo>
                  <a:lnTo>
                    <a:pt x="54" y="342"/>
                  </a:lnTo>
                  <a:lnTo>
                    <a:pt x="54" y="336"/>
                  </a:lnTo>
                  <a:lnTo>
                    <a:pt x="48" y="336"/>
                  </a:lnTo>
                  <a:lnTo>
                    <a:pt x="48" y="330"/>
                  </a:lnTo>
                  <a:lnTo>
                    <a:pt x="42" y="330"/>
                  </a:lnTo>
                  <a:lnTo>
                    <a:pt x="42" y="324"/>
                  </a:lnTo>
                  <a:lnTo>
                    <a:pt x="36" y="324"/>
                  </a:lnTo>
                  <a:lnTo>
                    <a:pt x="36" y="318"/>
                  </a:lnTo>
                  <a:lnTo>
                    <a:pt x="30" y="318"/>
                  </a:lnTo>
                  <a:lnTo>
                    <a:pt x="24" y="312"/>
                  </a:lnTo>
                  <a:lnTo>
                    <a:pt x="24" y="306"/>
                  </a:lnTo>
                  <a:lnTo>
                    <a:pt x="18" y="306"/>
                  </a:lnTo>
                  <a:lnTo>
                    <a:pt x="18" y="300"/>
                  </a:lnTo>
                  <a:lnTo>
                    <a:pt x="18" y="294"/>
                  </a:lnTo>
                  <a:lnTo>
                    <a:pt x="18" y="288"/>
                  </a:lnTo>
                  <a:lnTo>
                    <a:pt x="12" y="288"/>
                  </a:lnTo>
                  <a:lnTo>
                    <a:pt x="12" y="282"/>
                  </a:lnTo>
                  <a:lnTo>
                    <a:pt x="12" y="276"/>
                  </a:lnTo>
                  <a:lnTo>
                    <a:pt x="18" y="276"/>
                  </a:lnTo>
                  <a:lnTo>
                    <a:pt x="18" y="270"/>
                  </a:lnTo>
                  <a:lnTo>
                    <a:pt x="18" y="264"/>
                  </a:lnTo>
                  <a:lnTo>
                    <a:pt x="18" y="258"/>
                  </a:lnTo>
                  <a:lnTo>
                    <a:pt x="12" y="258"/>
                  </a:lnTo>
                  <a:lnTo>
                    <a:pt x="12" y="252"/>
                  </a:lnTo>
                  <a:lnTo>
                    <a:pt x="12" y="246"/>
                  </a:lnTo>
                  <a:lnTo>
                    <a:pt x="12" y="240"/>
                  </a:lnTo>
                  <a:lnTo>
                    <a:pt x="6" y="240"/>
                  </a:lnTo>
                  <a:lnTo>
                    <a:pt x="6" y="234"/>
                  </a:lnTo>
                  <a:lnTo>
                    <a:pt x="6" y="228"/>
                  </a:lnTo>
                  <a:lnTo>
                    <a:pt x="6" y="222"/>
                  </a:lnTo>
                  <a:lnTo>
                    <a:pt x="0" y="222"/>
                  </a:lnTo>
                  <a:lnTo>
                    <a:pt x="0" y="216"/>
                  </a:lnTo>
                  <a:lnTo>
                    <a:pt x="0" y="210"/>
                  </a:lnTo>
                  <a:lnTo>
                    <a:pt x="0" y="204"/>
                  </a:lnTo>
                  <a:lnTo>
                    <a:pt x="6" y="198"/>
                  </a:lnTo>
                  <a:lnTo>
                    <a:pt x="6" y="192"/>
                  </a:lnTo>
                  <a:close/>
                  <a:moveTo>
                    <a:pt x="552" y="288"/>
                  </a:moveTo>
                  <a:lnTo>
                    <a:pt x="552" y="282"/>
                  </a:lnTo>
                  <a:lnTo>
                    <a:pt x="552" y="276"/>
                  </a:lnTo>
                  <a:lnTo>
                    <a:pt x="552" y="270"/>
                  </a:lnTo>
                  <a:lnTo>
                    <a:pt x="558" y="270"/>
                  </a:lnTo>
                  <a:lnTo>
                    <a:pt x="558" y="264"/>
                  </a:lnTo>
                  <a:lnTo>
                    <a:pt x="558" y="270"/>
                  </a:lnTo>
                  <a:lnTo>
                    <a:pt x="558" y="276"/>
                  </a:lnTo>
                  <a:lnTo>
                    <a:pt x="558" y="282"/>
                  </a:lnTo>
                  <a:lnTo>
                    <a:pt x="564" y="282"/>
                  </a:lnTo>
                  <a:lnTo>
                    <a:pt x="564" y="288"/>
                  </a:lnTo>
                  <a:lnTo>
                    <a:pt x="564" y="294"/>
                  </a:lnTo>
                  <a:lnTo>
                    <a:pt x="564" y="288"/>
                  </a:lnTo>
                  <a:lnTo>
                    <a:pt x="564" y="294"/>
                  </a:lnTo>
                  <a:lnTo>
                    <a:pt x="564" y="288"/>
                  </a:lnTo>
                  <a:lnTo>
                    <a:pt x="564" y="294"/>
                  </a:lnTo>
                  <a:lnTo>
                    <a:pt x="564" y="288"/>
                  </a:lnTo>
                  <a:lnTo>
                    <a:pt x="570" y="288"/>
                  </a:lnTo>
                  <a:lnTo>
                    <a:pt x="570" y="294"/>
                  </a:lnTo>
                  <a:lnTo>
                    <a:pt x="570" y="288"/>
                  </a:lnTo>
                  <a:lnTo>
                    <a:pt x="564" y="288"/>
                  </a:lnTo>
                  <a:lnTo>
                    <a:pt x="570" y="288"/>
                  </a:lnTo>
                  <a:lnTo>
                    <a:pt x="570" y="294"/>
                  </a:lnTo>
                  <a:lnTo>
                    <a:pt x="570" y="300"/>
                  </a:lnTo>
                  <a:lnTo>
                    <a:pt x="570" y="306"/>
                  </a:lnTo>
                  <a:lnTo>
                    <a:pt x="564" y="306"/>
                  </a:lnTo>
                  <a:lnTo>
                    <a:pt x="564" y="300"/>
                  </a:lnTo>
                  <a:lnTo>
                    <a:pt x="564" y="294"/>
                  </a:lnTo>
                  <a:lnTo>
                    <a:pt x="564" y="300"/>
                  </a:lnTo>
                  <a:lnTo>
                    <a:pt x="558" y="300"/>
                  </a:lnTo>
                  <a:lnTo>
                    <a:pt x="564" y="300"/>
                  </a:lnTo>
                  <a:lnTo>
                    <a:pt x="558" y="300"/>
                  </a:lnTo>
                  <a:lnTo>
                    <a:pt x="558" y="294"/>
                  </a:lnTo>
                  <a:lnTo>
                    <a:pt x="558" y="300"/>
                  </a:lnTo>
                  <a:lnTo>
                    <a:pt x="558" y="294"/>
                  </a:lnTo>
                  <a:lnTo>
                    <a:pt x="558" y="300"/>
                  </a:lnTo>
                  <a:lnTo>
                    <a:pt x="552" y="300"/>
                  </a:lnTo>
                  <a:lnTo>
                    <a:pt x="552" y="294"/>
                  </a:lnTo>
                  <a:lnTo>
                    <a:pt x="552" y="288"/>
                  </a:lnTo>
                  <a:close/>
                  <a:moveTo>
                    <a:pt x="576" y="246"/>
                  </a:moveTo>
                  <a:lnTo>
                    <a:pt x="576" y="240"/>
                  </a:lnTo>
                  <a:lnTo>
                    <a:pt x="576" y="246"/>
                  </a:lnTo>
                  <a:lnTo>
                    <a:pt x="576" y="240"/>
                  </a:lnTo>
                  <a:lnTo>
                    <a:pt x="582" y="240"/>
                  </a:lnTo>
                  <a:lnTo>
                    <a:pt x="576" y="240"/>
                  </a:lnTo>
                  <a:lnTo>
                    <a:pt x="582" y="240"/>
                  </a:lnTo>
                  <a:lnTo>
                    <a:pt x="582" y="234"/>
                  </a:lnTo>
                  <a:lnTo>
                    <a:pt x="582" y="240"/>
                  </a:lnTo>
                  <a:lnTo>
                    <a:pt x="576" y="234"/>
                  </a:lnTo>
                  <a:lnTo>
                    <a:pt x="582" y="234"/>
                  </a:lnTo>
                  <a:lnTo>
                    <a:pt x="576" y="234"/>
                  </a:lnTo>
                  <a:lnTo>
                    <a:pt x="582" y="234"/>
                  </a:lnTo>
                  <a:lnTo>
                    <a:pt x="576" y="234"/>
                  </a:lnTo>
                  <a:lnTo>
                    <a:pt x="576" y="228"/>
                  </a:lnTo>
                  <a:lnTo>
                    <a:pt x="582" y="228"/>
                  </a:lnTo>
                  <a:lnTo>
                    <a:pt x="576" y="228"/>
                  </a:lnTo>
                  <a:lnTo>
                    <a:pt x="576" y="222"/>
                  </a:lnTo>
                  <a:lnTo>
                    <a:pt x="576" y="228"/>
                  </a:lnTo>
                  <a:lnTo>
                    <a:pt x="576" y="222"/>
                  </a:lnTo>
                  <a:lnTo>
                    <a:pt x="576" y="228"/>
                  </a:lnTo>
                  <a:lnTo>
                    <a:pt x="576" y="222"/>
                  </a:lnTo>
                  <a:lnTo>
                    <a:pt x="582" y="222"/>
                  </a:lnTo>
                  <a:lnTo>
                    <a:pt x="576" y="222"/>
                  </a:lnTo>
                  <a:lnTo>
                    <a:pt x="576" y="216"/>
                  </a:lnTo>
                  <a:lnTo>
                    <a:pt x="576" y="222"/>
                  </a:lnTo>
                  <a:lnTo>
                    <a:pt x="582" y="222"/>
                  </a:lnTo>
                  <a:lnTo>
                    <a:pt x="576" y="222"/>
                  </a:lnTo>
                  <a:lnTo>
                    <a:pt x="582" y="222"/>
                  </a:lnTo>
                  <a:lnTo>
                    <a:pt x="582" y="216"/>
                  </a:lnTo>
                  <a:lnTo>
                    <a:pt x="582" y="222"/>
                  </a:lnTo>
                  <a:lnTo>
                    <a:pt x="588" y="222"/>
                  </a:lnTo>
                  <a:lnTo>
                    <a:pt x="582" y="222"/>
                  </a:lnTo>
                  <a:lnTo>
                    <a:pt x="588" y="222"/>
                  </a:lnTo>
                  <a:lnTo>
                    <a:pt x="588" y="216"/>
                  </a:lnTo>
                  <a:lnTo>
                    <a:pt x="588" y="222"/>
                  </a:lnTo>
                  <a:lnTo>
                    <a:pt x="588" y="228"/>
                  </a:lnTo>
                  <a:lnTo>
                    <a:pt x="588" y="222"/>
                  </a:lnTo>
                  <a:lnTo>
                    <a:pt x="588" y="228"/>
                  </a:lnTo>
                  <a:lnTo>
                    <a:pt x="588" y="222"/>
                  </a:lnTo>
                  <a:lnTo>
                    <a:pt x="588" y="228"/>
                  </a:lnTo>
                  <a:lnTo>
                    <a:pt x="588" y="234"/>
                  </a:lnTo>
                  <a:lnTo>
                    <a:pt x="588" y="228"/>
                  </a:lnTo>
                  <a:lnTo>
                    <a:pt x="588" y="234"/>
                  </a:lnTo>
                  <a:lnTo>
                    <a:pt x="588" y="240"/>
                  </a:lnTo>
                  <a:lnTo>
                    <a:pt x="582" y="240"/>
                  </a:lnTo>
                  <a:lnTo>
                    <a:pt x="588" y="240"/>
                  </a:lnTo>
                  <a:lnTo>
                    <a:pt x="582" y="240"/>
                  </a:lnTo>
                  <a:lnTo>
                    <a:pt x="582" y="246"/>
                  </a:lnTo>
                  <a:lnTo>
                    <a:pt x="582" y="252"/>
                  </a:lnTo>
                  <a:lnTo>
                    <a:pt x="576" y="252"/>
                  </a:lnTo>
                  <a:lnTo>
                    <a:pt x="576" y="246"/>
                  </a:lnTo>
                  <a:close/>
                  <a:moveTo>
                    <a:pt x="570" y="390"/>
                  </a:moveTo>
                  <a:lnTo>
                    <a:pt x="576" y="390"/>
                  </a:lnTo>
                  <a:lnTo>
                    <a:pt x="576" y="384"/>
                  </a:lnTo>
                  <a:lnTo>
                    <a:pt x="582" y="384"/>
                  </a:lnTo>
                  <a:lnTo>
                    <a:pt x="576" y="384"/>
                  </a:lnTo>
                  <a:lnTo>
                    <a:pt x="582" y="384"/>
                  </a:lnTo>
                  <a:lnTo>
                    <a:pt x="582" y="378"/>
                  </a:lnTo>
                  <a:lnTo>
                    <a:pt x="588" y="378"/>
                  </a:lnTo>
                  <a:lnTo>
                    <a:pt x="582" y="378"/>
                  </a:lnTo>
                  <a:lnTo>
                    <a:pt x="588" y="378"/>
                  </a:lnTo>
                  <a:lnTo>
                    <a:pt x="588" y="372"/>
                  </a:lnTo>
                  <a:lnTo>
                    <a:pt x="588" y="378"/>
                  </a:lnTo>
                  <a:lnTo>
                    <a:pt x="588" y="384"/>
                  </a:lnTo>
                  <a:lnTo>
                    <a:pt x="588" y="390"/>
                  </a:lnTo>
                  <a:lnTo>
                    <a:pt x="582" y="390"/>
                  </a:lnTo>
                  <a:lnTo>
                    <a:pt x="582" y="384"/>
                  </a:lnTo>
                  <a:lnTo>
                    <a:pt x="582" y="390"/>
                  </a:lnTo>
                  <a:lnTo>
                    <a:pt x="582" y="384"/>
                  </a:lnTo>
                  <a:lnTo>
                    <a:pt x="582" y="390"/>
                  </a:lnTo>
                  <a:lnTo>
                    <a:pt x="576" y="390"/>
                  </a:lnTo>
                  <a:lnTo>
                    <a:pt x="570" y="390"/>
                  </a:lnTo>
                  <a:close/>
                  <a:moveTo>
                    <a:pt x="582" y="390"/>
                  </a:moveTo>
                  <a:lnTo>
                    <a:pt x="582" y="396"/>
                  </a:lnTo>
                  <a:lnTo>
                    <a:pt x="583" y="396"/>
                  </a:lnTo>
                  <a:lnTo>
                    <a:pt x="582" y="390"/>
                  </a:lnTo>
                  <a:close/>
                  <a:moveTo>
                    <a:pt x="564" y="444"/>
                  </a:moveTo>
                  <a:lnTo>
                    <a:pt x="570" y="444"/>
                  </a:lnTo>
                  <a:lnTo>
                    <a:pt x="570" y="450"/>
                  </a:lnTo>
                  <a:lnTo>
                    <a:pt x="564" y="450"/>
                  </a:lnTo>
                  <a:lnTo>
                    <a:pt x="564" y="444"/>
                  </a:lnTo>
                  <a:close/>
                  <a:moveTo>
                    <a:pt x="570" y="246"/>
                  </a:moveTo>
                  <a:lnTo>
                    <a:pt x="576" y="246"/>
                  </a:lnTo>
                  <a:lnTo>
                    <a:pt x="576" y="252"/>
                  </a:lnTo>
                  <a:lnTo>
                    <a:pt x="570" y="252"/>
                  </a:lnTo>
                  <a:lnTo>
                    <a:pt x="570" y="246"/>
                  </a:lnTo>
                  <a:close/>
                  <a:moveTo>
                    <a:pt x="576" y="222"/>
                  </a:moveTo>
                  <a:lnTo>
                    <a:pt x="576" y="228"/>
                  </a:lnTo>
                  <a:lnTo>
                    <a:pt x="577" y="228"/>
                  </a:lnTo>
                  <a:lnTo>
                    <a:pt x="576" y="222"/>
                  </a:lnTo>
                  <a:close/>
                  <a:moveTo>
                    <a:pt x="558" y="360"/>
                  </a:moveTo>
                  <a:lnTo>
                    <a:pt x="564" y="360"/>
                  </a:lnTo>
                  <a:lnTo>
                    <a:pt x="558" y="360"/>
                  </a:lnTo>
                  <a:close/>
                  <a:moveTo>
                    <a:pt x="612" y="516"/>
                  </a:moveTo>
                  <a:lnTo>
                    <a:pt x="612" y="522"/>
                  </a:lnTo>
                  <a:lnTo>
                    <a:pt x="613" y="522"/>
                  </a:lnTo>
                  <a:lnTo>
                    <a:pt x="612" y="516"/>
                  </a:lnTo>
                  <a:close/>
                  <a:moveTo>
                    <a:pt x="546" y="228"/>
                  </a:moveTo>
                  <a:lnTo>
                    <a:pt x="546" y="234"/>
                  </a:lnTo>
                  <a:lnTo>
                    <a:pt x="547" y="234"/>
                  </a:lnTo>
                  <a:lnTo>
                    <a:pt x="546" y="228"/>
                  </a:lnTo>
                  <a:close/>
                  <a:moveTo>
                    <a:pt x="558" y="378"/>
                  </a:moveTo>
                  <a:lnTo>
                    <a:pt x="558" y="384"/>
                  </a:lnTo>
                  <a:lnTo>
                    <a:pt x="559" y="384"/>
                  </a:lnTo>
                  <a:lnTo>
                    <a:pt x="558" y="378"/>
                  </a:lnTo>
                  <a:close/>
                  <a:moveTo>
                    <a:pt x="582" y="246"/>
                  </a:moveTo>
                  <a:lnTo>
                    <a:pt x="582" y="252"/>
                  </a:lnTo>
                  <a:lnTo>
                    <a:pt x="583" y="252"/>
                  </a:lnTo>
                  <a:lnTo>
                    <a:pt x="582" y="246"/>
                  </a:lnTo>
                  <a:close/>
                  <a:moveTo>
                    <a:pt x="576" y="228"/>
                  </a:moveTo>
                  <a:lnTo>
                    <a:pt x="576" y="234"/>
                  </a:lnTo>
                  <a:lnTo>
                    <a:pt x="577" y="234"/>
                  </a:lnTo>
                  <a:lnTo>
                    <a:pt x="576" y="228"/>
                  </a:lnTo>
                  <a:close/>
                  <a:moveTo>
                    <a:pt x="582" y="222"/>
                  </a:moveTo>
                  <a:lnTo>
                    <a:pt x="588" y="222"/>
                  </a:lnTo>
                  <a:lnTo>
                    <a:pt x="582" y="222"/>
                  </a:lnTo>
                  <a:close/>
                  <a:moveTo>
                    <a:pt x="570" y="240"/>
                  </a:moveTo>
                  <a:lnTo>
                    <a:pt x="576" y="240"/>
                  </a:lnTo>
                  <a:lnTo>
                    <a:pt x="570" y="240"/>
                  </a:lnTo>
                  <a:close/>
                  <a:moveTo>
                    <a:pt x="570" y="408"/>
                  </a:moveTo>
                  <a:lnTo>
                    <a:pt x="576" y="408"/>
                  </a:lnTo>
                  <a:lnTo>
                    <a:pt x="570" y="408"/>
                  </a:lnTo>
                  <a:close/>
                  <a:moveTo>
                    <a:pt x="552" y="384"/>
                  </a:moveTo>
                  <a:lnTo>
                    <a:pt x="558" y="384"/>
                  </a:lnTo>
                  <a:lnTo>
                    <a:pt x="552" y="38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3" name="Freeform 46"/>
            <p:cNvSpPr>
              <a:spLocks/>
            </p:cNvSpPr>
            <p:nvPr>
              <p:custDataLst>
                <p:tags r:id="rId41"/>
              </p:custDataLst>
            </p:nvPr>
          </p:nvSpPr>
          <p:spPr bwMode="gray">
            <a:xfrm>
              <a:off x="2765283" y="3726281"/>
              <a:ext cx="93361" cy="105154"/>
            </a:xfrm>
            <a:custGeom>
              <a:avLst/>
              <a:gdLst>
                <a:gd name="T0" fmla="*/ 8787 w 102"/>
                <a:gd name="T1" fmla="*/ 41010 h 120"/>
                <a:gd name="T2" fmla="*/ 8787 w 102"/>
                <a:gd name="T3" fmla="*/ 37104 h 120"/>
                <a:gd name="T4" fmla="*/ 6835 w 102"/>
                <a:gd name="T5" fmla="*/ 34175 h 120"/>
                <a:gd name="T6" fmla="*/ 3906 w 102"/>
                <a:gd name="T7" fmla="*/ 32222 h 120"/>
                <a:gd name="T8" fmla="*/ 3906 w 102"/>
                <a:gd name="T9" fmla="*/ 28317 h 120"/>
                <a:gd name="T10" fmla="*/ 3906 w 102"/>
                <a:gd name="T11" fmla="*/ 23434 h 120"/>
                <a:gd name="T12" fmla="*/ 3906 w 102"/>
                <a:gd name="T13" fmla="*/ 19529 h 120"/>
                <a:gd name="T14" fmla="*/ 3906 w 102"/>
                <a:gd name="T15" fmla="*/ 15623 h 120"/>
                <a:gd name="T16" fmla="*/ 1953 w 102"/>
                <a:gd name="T17" fmla="*/ 12694 h 120"/>
                <a:gd name="T18" fmla="*/ 0 w 102"/>
                <a:gd name="T19" fmla="*/ 10741 h 120"/>
                <a:gd name="T20" fmla="*/ 1953 w 102"/>
                <a:gd name="T21" fmla="*/ 8788 h 120"/>
                <a:gd name="T22" fmla="*/ 3906 w 102"/>
                <a:gd name="T23" fmla="*/ 6835 h 120"/>
                <a:gd name="T24" fmla="*/ 6835 w 102"/>
                <a:gd name="T25" fmla="*/ 8788 h 120"/>
                <a:gd name="T26" fmla="*/ 8787 w 102"/>
                <a:gd name="T27" fmla="*/ 10741 h 120"/>
                <a:gd name="T28" fmla="*/ 12693 w 102"/>
                <a:gd name="T29" fmla="*/ 10741 h 120"/>
                <a:gd name="T30" fmla="*/ 17576 w 102"/>
                <a:gd name="T31" fmla="*/ 10741 h 120"/>
                <a:gd name="T32" fmla="*/ 19529 w 102"/>
                <a:gd name="T33" fmla="*/ 8788 h 120"/>
                <a:gd name="T34" fmla="*/ 19529 w 102"/>
                <a:gd name="T35" fmla="*/ 3906 h 120"/>
                <a:gd name="T36" fmla="*/ 19529 w 102"/>
                <a:gd name="T37" fmla="*/ 0 h 120"/>
                <a:gd name="T38" fmla="*/ 21481 w 102"/>
                <a:gd name="T39" fmla="*/ 1953 h 120"/>
                <a:gd name="T40" fmla="*/ 23434 w 102"/>
                <a:gd name="T41" fmla="*/ 1953 h 120"/>
                <a:gd name="T42" fmla="*/ 28316 w 102"/>
                <a:gd name="T43" fmla="*/ 1953 h 120"/>
                <a:gd name="T44" fmla="*/ 28316 w 102"/>
                <a:gd name="T45" fmla="*/ 1953 h 120"/>
                <a:gd name="T46" fmla="*/ 30269 w 102"/>
                <a:gd name="T47" fmla="*/ 0 h 120"/>
                <a:gd name="T48" fmla="*/ 32222 w 102"/>
                <a:gd name="T49" fmla="*/ 1953 h 120"/>
                <a:gd name="T50" fmla="*/ 30269 w 102"/>
                <a:gd name="T51" fmla="*/ 3906 h 120"/>
                <a:gd name="T52" fmla="*/ 28316 w 102"/>
                <a:gd name="T53" fmla="*/ 6835 h 120"/>
                <a:gd name="T54" fmla="*/ 30269 w 102"/>
                <a:gd name="T55" fmla="*/ 8788 h 120"/>
                <a:gd name="T56" fmla="*/ 30269 w 102"/>
                <a:gd name="T57" fmla="*/ 10741 h 120"/>
                <a:gd name="T58" fmla="*/ 28316 w 102"/>
                <a:gd name="T59" fmla="*/ 12694 h 120"/>
                <a:gd name="T60" fmla="*/ 32222 w 102"/>
                <a:gd name="T61" fmla="*/ 12694 h 120"/>
                <a:gd name="T62" fmla="*/ 34175 w 102"/>
                <a:gd name="T63" fmla="*/ 15623 h 120"/>
                <a:gd name="T64" fmla="*/ 37104 w 102"/>
                <a:gd name="T65" fmla="*/ 17576 h 120"/>
                <a:gd name="T66" fmla="*/ 34175 w 102"/>
                <a:gd name="T67" fmla="*/ 19529 h 120"/>
                <a:gd name="T68" fmla="*/ 32222 w 102"/>
                <a:gd name="T69" fmla="*/ 22458 h 120"/>
                <a:gd name="T70" fmla="*/ 34175 w 102"/>
                <a:gd name="T71" fmla="*/ 23434 h 120"/>
                <a:gd name="T72" fmla="*/ 30269 w 102"/>
                <a:gd name="T73" fmla="*/ 23434 h 120"/>
                <a:gd name="T74" fmla="*/ 28316 w 102"/>
                <a:gd name="T75" fmla="*/ 26364 h 120"/>
                <a:gd name="T76" fmla="*/ 28316 w 102"/>
                <a:gd name="T77" fmla="*/ 30270 h 120"/>
                <a:gd name="T78" fmla="*/ 26363 w 102"/>
                <a:gd name="T79" fmla="*/ 32222 h 120"/>
                <a:gd name="T80" fmla="*/ 23434 w 102"/>
                <a:gd name="T81" fmla="*/ 34175 h 120"/>
                <a:gd name="T82" fmla="*/ 21481 w 102"/>
                <a:gd name="T83" fmla="*/ 37104 h 120"/>
                <a:gd name="T84" fmla="*/ 21481 w 102"/>
                <a:gd name="T85" fmla="*/ 41010 h 120"/>
                <a:gd name="T86" fmla="*/ 17576 w 102"/>
                <a:gd name="T87" fmla="*/ 41010 h 120"/>
                <a:gd name="T88" fmla="*/ 17576 w 102"/>
                <a:gd name="T89" fmla="*/ 41010 h 120"/>
                <a:gd name="T90" fmla="*/ 15623 w 102"/>
                <a:gd name="T91" fmla="*/ 42963 h 120"/>
                <a:gd name="T92" fmla="*/ 10740 w 102"/>
                <a:gd name="T93" fmla="*/ 42963 h 1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2" h="120">
                  <a:moveTo>
                    <a:pt x="24" y="120"/>
                  </a:moveTo>
                  <a:lnTo>
                    <a:pt x="24" y="114"/>
                  </a:lnTo>
                  <a:lnTo>
                    <a:pt x="24" y="108"/>
                  </a:lnTo>
                  <a:lnTo>
                    <a:pt x="24" y="102"/>
                  </a:lnTo>
                  <a:lnTo>
                    <a:pt x="18" y="102"/>
                  </a:lnTo>
                  <a:lnTo>
                    <a:pt x="18" y="96"/>
                  </a:lnTo>
                  <a:lnTo>
                    <a:pt x="18" y="90"/>
                  </a:lnTo>
                  <a:lnTo>
                    <a:pt x="12" y="90"/>
                  </a:lnTo>
                  <a:lnTo>
                    <a:pt x="12" y="84"/>
                  </a:lnTo>
                  <a:lnTo>
                    <a:pt x="12" y="78"/>
                  </a:lnTo>
                  <a:lnTo>
                    <a:pt x="12" y="72"/>
                  </a:lnTo>
                  <a:lnTo>
                    <a:pt x="12" y="66"/>
                  </a:lnTo>
                  <a:lnTo>
                    <a:pt x="12" y="60"/>
                  </a:lnTo>
                  <a:lnTo>
                    <a:pt x="12" y="54"/>
                  </a:lnTo>
                  <a:lnTo>
                    <a:pt x="12" y="48"/>
                  </a:lnTo>
                  <a:lnTo>
                    <a:pt x="12" y="42"/>
                  </a:lnTo>
                  <a:lnTo>
                    <a:pt x="12" y="36"/>
                  </a:lnTo>
                  <a:lnTo>
                    <a:pt x="6" y="36"/>
                  </a:lnTo>
                  <a:lnTo>
                    <a:pt x="6" y="30"/>
                  </a:lnTo>
                  <a:lnTo>
                    <a:pt x="0" y="30"/>
                  </a:lnTo>
                  <a:lnTo>
                    <a:pt x="0" y="24"/>
                  </a:lnTo>
                  <a:lnTo>
                    <a:pt x="6" y="24"/>
                  </a:lnTo>
                  <a:lnTo>
                    <a:pt x="6" y="18"/>
                  </a:lnTo>
                  <a:lnTo>
                    <a:pt x="12" y="18"/>
                  </a:lnTo>
                  <a:lnTo>
                    <a:pt x="18" y="18"/>
                  </a:lnTo>
                  <a:lnTo>
                    <a:pt x="18" y="24"/>
                  </a:lnTo>
                  <a:lnTo>
                    <a:pt x="18" y="30"/>
                  </a:lnTo>
                  <a:lnTo>
                    <a:pt x="24" y="30"/>
                  </a:lnTo>
                  <a:lnTo>
                    <a:pt x="30" y="30"/>
                  </a:lnTo>
                  <a:lnTo>
                    <a:pt x="36" y="30"/>
                  </a:lnTo>
                  <a:lnTo>
                    <a:pt x="42" y="30"/>
                  </a:lnTo>
                  <a:lnTo>
                    <a:pt x="48" y="30"/>
                  </a:lnTo>
                  <a:lnTo>
                    <a:pt x="48" y="24"/>
                  </a:lnTo>
                  <a:lnTo>
                    <a:pt x="54" y="24"/>
                  </a:lnTo>
                  <a:lnTo>
                    <a:pt x="54" y="18"/>
                  </a:lnTo>
                  <a:lnTo>
                    <a:pt x="54" y="12"/>
                  </a:lnTo>
                  <a:lnTo>
                    <a:pt x="54" y="6"/>
                  </a:lnTo>
                  <a:lnTo>
                    <a:pt x="54" y="0"/>
                  </a:lnTo>
                  <a:lnTo>
                    <a:pt x="54" y="6"/>
                  </a:lnTo>
                  <a:lnTo>
                    <a:pt x="60" y="6"/>
                  </a:lnTo>
                  <a:lnTo>
                    <a:pt x="66" y="12"/>
                  </a:lnTo>
                  <a:lnTo>
                    <a:pt x="66" y="6"/>
                  </a:lnTo>
                  <a:lnTo>
                    <a:pt x="72" y="6"/>
                  </a:lnTo>
                  <a:lnTo>
                    <a:pt x="78" y="6"/>
                  </a:lnTo>
                  <a:lnTo>
                    <a:pt x="78" y="0"/>
                  </a:lnTo>
                  <a:lnTo>
                    <a:pt x="78" y="6"/>
                  </a:lnTo>
                  <a:lnTo>
                    <a:pt x="78" y="0"/>
                  </a:lnTo>
                  <a:lnTo>
                    <a:pt x="84" y="0"/>
                  </a:lnTo>
                  <a:lnTo>
                    <a:pt x="84" y="6"/>
                  </a:lnTo>
                  <a:lnTo>
                    <a:pt x="90" y="6"/>
                  </a:lnTo>
                  <a:lnTo>
                    <a:pt x="84" y="6"/>
                  </a:lnTo>
                  <a:lnTo>
                    <a:pt x="84" y="12"/>
                  </a:lnTo>
                  <a:lnTo>
                    <a:pt x="84" y="18"/>
                  </a:lnTo>
                  <a:lnTo>
                    <a:pt x="78" y="18"/>
                  </a:lnTo>
                  <a:lnTo>
                    <a:pt x="78" y="24"/>
                  </a:lnTo>
                  <a:lnTo>
                    <a:pt x="84" y="24"/>
                  </a:lnTo>
                  <a:lnTo>
                    <a:pt x="78" y="24"/>
                  </a:lnTo>
                  <a:lnTo>
                    <a:pt x="84" y="30"/>
                  </a:lnTo>
                  <a:lnTo>
                    <a:pt x="78" y="30"/>
                  </a:lnTo>
                  <a:lnTo>
                    <a:pt x="78" y="36"/>
                  </a:lnTo>
                  <a:lnTo>
                    <a:pt x="84" y="36"/>
                  </a:lnTo>
                  <a:lnTo>
                    <a:pt x="90" y="36"/>
                  </a:lnTo>
                  <a:lnTo>
                    <a:pt x="90" y="42"/>
                  </a:lnTo>
                  <a:lnTo>
                    <a:pt x="96" y="42"/>
                  </a:lnTo>
                  <a:lnTo>
                    <a:pt x="102" y="42"/>
                  </a:lnTo>
                  <a:lnTo>
                    <a:pt x="102" y="48"/>
                  </a:lnTo>
                  <a:lnTo>
                    <a:pt x="102" y="54"/>
                  </a:lnTo>
                  <a:lnTo>
                    <a:pt x="96" y="54"/>
                  </a:lnTo>
                  <a:lnTo>
                    <a:pt x="96" y="60"/>
                  </a:lnTo>
                  <a:lnTo>
                    <a:pt x="90" y="60"/>
                  </a:lnTo>
                  <a:lnTo>
                    <a:pt x="96" y="60"/>
                  </a:lnTo>
                  <a:lnTo>
                    <a:pt x="96" y="66"/>
                  </a:lnTo>
                  <a:lnTo>
                    <a:pt x="90" y="66"/>
                  </a:lnTo>
                  <a:lnTo>
                    <a:pt x="84" y="66"/>
                  </a:lnTo>
                  <a:lnTo>
                    <a:pt x="84" y="72"/>
                  </a:lnTo>
                  <a:lnTo>
                    <a:pt x="78" y="72"/>
                  </a:lnTo>
                  <a:lnTo>
                    <a:pt x="78" y="78"/>
                  </a:lnTo>
                  <a:lnTo>
                    <a:pt x="78" y="84"/>
                  </a:lnTo>
                  <a:lnTo>
                    <a:pt x="72" y="84"/>
                  </a:lnTo>
                  <a:lnTo>
                    <a:pt x="72" y="90"/>
                  </a:lnTo>
                  <a:lnTo>
                    <a:pt x="72" y="96"/>
                  </a:lnTo>
                  <a:lnTo>
                    <a:pt x="66" y="96"/>
                  </a:lnTo>
                  <a:lnTo>
                    <a:pt x="66" y="102"/>
                  </a:lnTo>
                  <a:lnTo>
                    <a:pt x="60" y="102"/>
                  </a:lnTo>
                  <a:lnTo>
                    <a:pt x="60" y="108"/>
                  </a:lnTo>
                  <a:lnTo>
                    <a:pt x="60" y="114"/>
                  </a:lnTo>
                  <a:lnTo>
                    <a:pt x="54" y="114"/>
                  </a:lnTo>
                  <a:lnTo>
                    <a:pt x="48" y="114"/>
                  </a:lnTo>
                  <a:lnTo>
                    <a:pt x="48" y="120"/>
                  </a:lnTo>
                  <a:lnTo>
                    <a:pt x="48" y="114"/>
                  </a:lnTo>
                  <a:lnTo>
                    <a:pt x="48" y="120"/>
                  </a:lnTo>
                  <a:lnTo>
                    <a:pt x="42" y="120"/>
                  </a:lnTo>
                  <a:lnTo>
                    <a:pt x="36" y="120"/>
                  </a:lnTo>
                  <a:lnTo>
                    <a:pt x="30" y="120"/>
                  </a:lnTo>
                  <a:lnTo>
                    <a:pt x="24" y="12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4" name="Freeform 47"/>
            <p:cNvSpPr>
              <a:spLocks/>
            </p:cNvSpPr>
            <p:nvPr>
              <p:custDataLst>
                <p:tags r:id="rId42"/>
              </p:custDataLst>
            </p:nvPr>
          </p:nvSpPr>
          <p:spPr bwMode="gray">
            <a:xfrm>
              <a:off x="2758281" y="3668111"/>
              <a:ext cx="103864" cy="83900"/>
            </a:xfrm>
            <a:custGeom>
              <a:avLst/>
              <a:gdLst>
                <a:gd name="T0" fmla="*/ 31937 w 114"/>
                <a:gd name="T1" fmla="*/ 26113 h 96"/>
                <a:gd name="T2" fmla="*/ 30002 w 114"/>
                <a:gd name="T3" fmla="*/ 23212 h 96"/>
                <a:gd name="T4" fmla="*/ 30002 w 114"/>
                <a:gd name="T5" fmla="*/ 23212 h 96"/>
                <a:gd name="T6" fmla="*/ 27098 w 114"/>
                <a:gd name="T7" fmla="*/ 26113 h 96"/>
                <a:gd name="T8" fmla="*/ 26131 w 114"/>
                <a:gd name="T9" fmla="*/ 27080 h 96"/>
                <a:gd name="T10" fmla="*/ 21291 w 114"/>
                <a:gd name="T11" fmla="*/ 26113 h 96"/>
                <a:gd name="T12" fmla="*/ 21291 w 114"/>
                <a:gd name="T13" fmla="*/ 26113 h 96"/>
                <a:gd name="T14" fmla="*/ 21291 w 114"/>
                <a:gd name="T15" fmla="*/ 29982 h 96"/>
                <a:gd name="T16" fmla="*/ 19356 w 114"/>
                <a:gd name="T17" fmla="*/ 31916 h 96"/>
                <a:gd name="T18" fmla="*/ 17421 w 114"/>
                <a:gd name="T19" fmla="*/ 33851 h 96"/>
                <a:gd name="T20" fmla="*/ 12581 w 114"/>
                <a:gd name="T21" fmla="*/ 33851 h 96"/>
                <a:gd name="T22" fmla="*/ 8710 w 114"/>
                <a:gd name="T23" fmla="*/ 33851 h 96"/>
                <a:gd name="T24" fmla="*/ 8710 w 114"/>
                <a:gd name="T25" fmla="*/ 29982 h 96"/>
                <a:gd name="T26" fmla="*/ 3872 w 114"/>
                <a:gd name="T27" fmla="*/ 29982 h 96"/>
                <a:gd name="T28" fmla="*/ 1935 w 114"/>
                <a:gd name="T29" fmla="*/ 31916 h 96"/>
                <a:gd name="T30" fmla="*/ 0 w 114"/>
                <a:gd name="T31" fmla="*/ 29982 h 96"/>
                <a:gd name="T32" fmla="*/ 0 w 114"/>
                <a:gd name="T33" fmla="*/ 26113 h 96"/>
                <a:gd name="T34" fmla="*/ 1935 w 114"/>
                <a:gd name="T35" fmla="*/ 23212 h 96"/>
                <a:gd name="T36" fmla="*/ 6775 w 114"/>
                <a:gd name="T37" fmla="*/ 21277 h 96"/>
                <a:gd name="T38" fmla="*/ 3872 w 114"/>
                <a:gd name="T39" fmla="*/ 17409 h 96"/>
                <a:gd name="T40" fmla="*/ 6775 w 114"/>
                <a:gd name="T41" fmla="*/ 14508 h 96"/>
                <a:gd name="T42" fmla="*/ 6775 w 114"/>
                <a:gd name="T43" fmla="*/ 10639 h 96"/>
                <a:gd name="T44" fmla="*/ 8710 w 114"/>
                <a:gd name="T45" fmla="*/ 8705 h 96"/>
                <a:gd name="T46" fmla="*/ 12581 w 114"/>
                <a:gd name="T47" fmla="*/ 8705 h 96"/>
                <a:gd name="T48" fmla="*/ 14517 w 114"/>
                <a:gd name="T49" fmla="*/ 6770 h 96"/>
                <a:gd name="T50" fmla="*/ 17421 w 114"/>
                <a:gd name="T51" fmla="*/ 6770 h 96"/>
                <a:gd name="T52" fmla="*/ 19356 w 114"/>
                <a:gd name="T53" fmla="*/ 6770 h 96"/>
                <a:gd name="T54" fmla="*/ 21291 w 114"/>
                <a:gd name="T55" fmla="*/ 6770 h 96"/>
                <a:gd name="T56" fmla="*/ 26131 w 114"/>
                <a:gd name="T57" fmla="*/ 6770 h 96"/>
                <a:gd name="T58" fmla="*/ 26131 w 114"/>
                <a:gd name="T59" fmla="*/ 6770 h 96"/>
                <a:gd name="T60" fmla="*/ 27098 w 114"/>
                <a:gd name="T61" fmla="*/ 3869 h 96"/>
                <a:gd name="T62" fmla="*/ 27098 w 114"/>
                <a:gd name="T63" fmla="*/ 0 h 96"/>
                <a:gd name="T64" fmla="*/ 31937 w 114"/>
                <a:gd name="T65" fmla="*/ 0 h 96"/>
                <a:gd name="T66" fmla="*/ 31937 w 114"/>
                <a:gd name="T67" fmla="*/ 3869 h 96"/>
                <a:gd name="T68" fmla="*/ 31937 w 114"/>
                <a:gd name="T69" fmla="*/ 3869 h 96"/>
                <a:gd name="T70" fmla="*/ 33873 w 114"/>
                <a:gd name="T71" fmla="*/ 6770 h 96"/>
                <a:gd name="T72" fmla="*/ 36777 w 114"/>
                <a:gd name="T73" fmla="*/ 8705 h 96"/>
                <a:gd name="T74" fmla="*/ 37744 w 114"/>
                <a:gd name="T75" fmla="*/ 12573 h 96"/>
                <a:gd name="T76" fmla="*/ 37744 w 114"/>
                <a:gd name="T77" fmla="*/ 17409 h 96"/>
                <a:gd name="T78" fmla="*/ 40647 w 114"/>
                <a:gd name="T79" fmla="*/ 19343 h 96"/>
                <a:gd name="T80" fmla="*/ 37744 w 114"/>
                <a:gd name="T81" fmla="*/ 21277 h 96"/>
                <a:gd name="T82" fmla="*/ 37744 w 114"/>
                <a:gd name="T83" fmla="*/ 26113 h 96"/>
                <a:gd name="T84" fmla="*/ 33873 w 114"/>
                <a:gd name="T85" fmla="*/ 26113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4" h="96">
                  <a:moveTo>
                    <a:pt x="96" y="72"/>
                  </a:moveTo>
                  <a:lnTo>
                    <a:pt x="90" y="72"/>
                  </a:lnTo>
                  <a:lnTo>
                    <a:pt x="90" y="66"/>
                  </a:lnTo>
                  <a:lnTo>
                    <a:pt x="84" y="66"/>
                  </a:lnTo>
                  <a:lnTo>
                    <a:pt x="84" y="72"/>
                  </a:lnTo>
                  <a:lnTo>
                    <a:pt x="84" y="66"/>
                  </a:lnTo>
                  <a:lnTo>
                    <a:pt x="84" y="72"/>
                  </a:lnTo>
                  <a:lnTo>
                    <a:pt x="78" y="72"/>
                  </a:lnTo>
                  <a:lnTo>
                    <a:pt x="72" y="72"/>
                  </a:lnTo>
                  <a:lnTo>
                    <a:pt x="72" y="78"/>
                  </a:lnTo>
                  <a:lnTo>
                    <a:pt x="66" y="72"/>
                  </a:lnTo>
                  <a:lnTo>
                    <a:pt x="60" y="72"/>
                  </a:lnTo>
                  <a:lnTo>
                    <a:pt x="60" y="66"/>
                  </a:lnTo>
                  <a:lnTo>
                    <a:pt x="60" y="72"/>
                  </a:lnTo>
                  <a:lnTo>
                    <a:pt x="60" y="78"/>
                  </a:lnTo>
                  <a:lnTo>
                    <a:pt x="60" y="84"/>
                  </a:lnTo>
                  <a:lnTo>
                    <a:pt x="60" y="90"/>
                  </a:lnTo>
                  <a:lnTo>
                    <a:pt x="54" y="90"/>
                  </a:lnTo>
                  <a:lnTo>
                    <a:pt x="54" y="96"/>
                  </a:lnTo>
                  <a:lnTo>
                    <a:pt x="48" y="96"/>
                  </a:lnTo>
                  <a:lnTo>
                    <a:pt x="42" y="96"/>
                  </a:lnTo>
                  <a:lnTo>
                    <a:pt x="36" y="96"/>
                  </a:lnTo>
                  <a:lnTo>
                    <a:pt x="30" y="96"/>
                  </a:lnTo>
                  <a:lnTo>
                    <a:pt x="24" y="96"/>
                  </a:lnTo>
                  <a:lnTo>
                    <a:pt x="24" y="90"/>
                  </a:lnTo>
                  <a:lnTo>
                    <a:pt x="24" y="84"/>
                  </a:lnTo>
                  <a:lnTo>
                    <a:pt x="18" y="84"/>
                  </a:lnTo>
                  <a:lnTo>
                    <a:pt x="12" y="84"/>
                  </a:lnTo>
                  <a:lnTo>
                    <a:pt x="12" y="90"/>
                  </a:lnTo>
                  <a:lnTo>
                    <a:pt x="6" y="90"/>
                  </a:lnTo>
                  <a:lnTo>
                    <a:pt x="0" y="90"/>
                  </a:lnTo>
                  <a:lnTo>
                    <a:pt x="0" y="84"/>
                  </a:lnTo>
                  <a:lnTo>
                    <a:pt x="0" y="78"/>
                  </a:lnTo>
                  <a:lnTo>
                    <a:pt x="0" y="72"/>
                  </a:lnTo>
                  <a:lnTo>
                    <a:pt x="6" y="72"/>
                  </a:lnTo>
                  <a:lnTo>
                    <a:pt x="6" y="66"/>
                  </a:lnTo>
                  <a:lnTo>
                    <a:pt x="12" y="66"/>
                  </a:lnTo>
                  <a:lnTo>
                    <a:pt x="18" y="60"/>
                  </a:lnTo>
                  <a:lnTo>
                    <a:pt x="18" y="54"/>
                  </a:lnTo>
                  <a:lnTo>
                    <a:pt x="12" y="48"/>
                  </a:lnTo>
                  <a:lnTo>
                    <a:pt x="12" y="42"/>
                  </a:lnTo>
                  <a:lnTo>
                    <a:pt x="18" y="42"/>
                  </a:lnTo>
                  <a:lnTo>
                    <a:pt x="18" y="36"/>
                  </a:lnTo>
                  <a:lnTo>
                    <a:pt x="18" y="30"/>
                  </a:lnTo>
                  <a:lnTo>
                    <a:pt x="24" y="30"/>
                  </a:lnTo>
                  <a:lnTo>
                    <a:pt x="24" y="24"/>
                  </a:lnTo>
                  <a:lnTo>
                    <a:pt x="30" y="24"/>
                  </a:lnTo>
                  <a:lnTo>
                    <a:pt x="36" y="24"/>
                  </a:lnTo>
                  <a:lnTo>
                    <a:pt x="36" y="18"/>
                  </a:lnTo>
                  <a:lnTo>
                    <a:pt x="42" y="18"/>
                  </a:lnTo>
                  <a:lnTo>
                    <a:pt x="48" y="12"/>
                  </a:lnTo>
                  <a:lnTo>
                    <a:pt x="48" y="18"/>
                  </a:lnTo>
                  <a:lnTo>
                    <a:pt x="54" y="12"/>
                  </a:lnTo>
                  <a:lnTo>
                    <a:pt x="54" y="18"/>
                  </a:lnTo>
                  <a:lnTo>
                    <a:pt x="60" y="24"/>
                  </a:lnTo>
                  <a:lnTo>
                    <a:pt x="60" y="18"/>
                  </a:lnTo>
                  <a:lnTo>
                    <a:pt x="66" y="18"/>
                  </a:lnTo>
                  <a:lnTo>
                    <a:pt x="72" y="18"/>
                  </a:lnTo>
                  <a:lnTo>
                    <a:pt x="72" y="12"/>
                  </a:lnTo>
                  <a:lnTo>
                    <a:pt x="72" y="18"/>
                  </a:lnTo>
                  <a:lnTo>
                    <a:pt x="72" y="12"/>
                  </a:lnTo>
                  <a:lnTo>
                    <a:pt x="78" y="12"/>
                  </a:lnTo>
                  <a:lnTo>
                    <a:pt x="78" y="6"/>
                  </a:lnTo>
                  <a:lnTo>
                    <a:pt x="78" y="0"/>
                  </a:lnTo>
                  <a:lnTo>
                    <a:pt x="84" y="0"/>
                  </a:lnTo>
                  <a:lnTo>
                    <a:pt x="90" y="0"/>
                  </a:lnTo>
                  <a:lnTo>
                    <a:pt x="90" y="6"/>
                  </a:lnTo>
                  <a:lnTo>
                    <a:pt x="90" y="12"/>
                  </a:lnTo>
                  <a:lnTo>
                    <a:pt x="96" y="12"/>
                  </a:lnTo>
                  <a:lnTo>
                    <a:pt x="90" y="12"/>
                  </a:lnTo>
                  <a:lnTo>
                    <a:pt x="96" y="12"/>
                  </a:lnTo>
                  <a:lnTo>
                    <a:pt x="96" y="18"/>
                  </a:lnTo>
                  <a:lnTo>
                    <a:pt x="102" y="18"/>
                  </a:lnTo>
                  <a:lnTo>
                    <a:pt x="102" y="24"/>
                  </a:lnTo>
                  <a:lnTo>
                    <a:pt x="108" y="30"/>
                  </a:lnTo>
                  <a:lnTo>
                    <a:pt x="108" y="36"/>
                  </a:lnTo>
                  <a:lnTo>
                    <a:pt x="108" y="42"/>
                  </a:lnTo>
                  <a:lnTo>
                    <a:pt x="108" y="48"/>
                  </a:lnTo>
                  <a:lnTo>
                    <a:pt x="108" y="54"/>
                  </a:lnTo>
                  <a:lnTo>
                    <a:pt x="114" y="54"/>
                  </a:lnTo>
                  <a:lnTo>
                    <a:pt x="114" y="60"/>
                  </a:lnTo>
                  <a:lnTo>
                    <a:pt x="108" y="60"/>
                  </a:lnTo>
                  <a:lnTo>
                    <a:pt x="108" y="66"/>
                  </a:lnTo>
                  <a:lnTo>
                    <a:pt x="108" y="72"/>
                  </a:lnTo>
                  <a:lnTo>
                    <a:pt x="102" y="72"/>
                  </a:lnTo>
                  <a:lnTo>
                    <a:pt x="96" y="72"/>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5" name="Freeform 48"/>
            <p:cNvSpPr>
              <a:spLocks noEditPoints="1"/>
            </p:cNvSpPr>
            <p:nvPr>
              <p:custDataLst>
                <p:tags r:id="rId43"/>
              </p:custDataLst>
            </p:nvPr>
          </p:nvSpPr>
          <p:spPr bwMode="gray">
            <a:xfrm>
              <a:off x="1911031" y="3352648"/>
              <a:ext cx="974455" cy="925133"/>
            </a:xfrm>
            <a:custGeom>
              <a:avLst/>
              <a:gdLst>
                <a:gd name="T0" fmla="*/ 335643 w 1068"/>
                <a:gd name="T1" fmla="*/ 276204 h 1056"/>
                <a:gd name="T2" fmla="*/ 320122 w 1068"/>
                <a:gd name="T3" fmla="*/ 295655 h 1056"/>
                <a:gd name="T4" fmla="*/ 324003 w 1068"/>
                <a:gd name="T5" fmla="*/ 313160 h 1056"/>
                <a:gd name="T6" fmla="*/ 323032 w 1068"/>
                <a:gd name="T7" fmla="*/ 338447 h 1056"/>
                <a:gd name="T8" fmla="*/ 339524 w 1068"/>
                <a:gd name="T9" fmla="*/ 355952 h 1056"/>
                <a:gd name="T10" fmla="*/ 350194 w 1068"/>
                <a:gd name="T11" fmla="*/ 368595 h 1056"/>
                <a:gd name="T12" fmla="*/ 335643 w 1068"/>
                <a:gd name="T13" fmla="*/ 374431 h 1056"/>
                <a:gd name="T14" fmla="*/ 323032 w 1068"/>
                <a:gd name="T15" fmla="*/ 362760 h 1056"/>
                <a:gd name="T16" fmla="*/ 305572 w 1068"/>
                <a:gd name="T17" fmla="*/ 354008 h 1056"/>
                <a:gd name="T18" fmla="*/ 292961 w 1068"/>
                <a:gd name="T19" fmla="*/ 345254 h 1056"/>
                <a:gd name="T20" fmla="*/ 271619 w 1068"/>
                <a:gd name="T21" fmla="*/ 343309 h 1056"/>
                <a:gd name="T22" fmla="*/ 256098 w 1068"/>
                <a:gd name="T23" fmla="*/ 332611 h 1056"/>
                <a:gd name="T24" fmla="*/ 236697 w 1068"/>
                <a:gd name="T25" fmla="*/ 327749 h 1056"/>
                <a:gd name="T26" fmla="*/ 218265 w 1068"/>
                <a:gd name="T27" fmla="*/ 329693 h 1056"/>
                <a:gd name="T28" fmla="*/ 198864 w 1068"/>
                <a:gd name="T29" fmla="*/ 325804 h 1056"/>
                <a:gd name="T30" fmla="*/ 194983 w 1068"/>
                <a:gd name="T31" fmla="*/ 299545 h 1056"/>
                <a:gd name="T32" fmla="*/ 194983 w 1068"/>
                <a:gd name="T33" fmla="*/ 279121 h 1056"/>
                <a:gd name="T34" fmla="*/ 192073 w 1068"/>
                <a:gd name="T35" fmla="*/ 254808 h 1056"/>
                <a:gd name="T36" fmla="*/ 166851 w 1068"/>
                <a:gd name="T37" fmla="*/ 245082 h 1056"/>
                <a:gd name="T38" fmla="*/ 145510 w 1068"/>
                <a:gd name="T39" fmla="*/ 256753 h 1056"/>
                <a:gd name="T40" fmla="*/ 121259 w 1068"/>
                <a:gd name="T41" fmla="*/ 265505 h 1056"/>
                <a:gd name="T42" fmla="*/ 104767 w 1068"/>
                <a:gd name="T43" fmla="*/ 263560 h 1056"/>
                <a:gd name="T44" fmla="*/ 94096 w 1068"/>
                <a:gd name="T45" fmla="*/ 248972 h 1056"/>
                <a:gd name="T46" fmla="*/ 90216 w 1068"/>
                <a:gd name="T47" fmla="*/ 229521 h 1056"/>
                <a:gd name="T48" fmla="*/ 72755 w 1068"/>
                <a:gd name="T49" fmla="*/ 225631 h 1056"/>
                <a:gd name="T50" fmla="*/ 40743 w 1068"/>
                <a:gd name="T51" fmla="*/ 225631 h 1056"/>
                <a:gd name="T52" fmla="*/ 17462 w 1068"/>
                <a:gd name="T53" fmla="*/ 222714 h 1056"/>
                <a:gd name="T54" fmla="*/ 0 w 1068"/>
                <a:gd name="T55" fmla="*/ 220768 h 1056"/>
                <a:gd name="T56" fmla="*/ 14551 w 1068"/>
                <a:gd name="T57" fmla="*/ 201317 h 1056"/>
                <a:gd name="T58" fmla="*/ 30072 w 1068"/>
                <a:gd name="T59" fmla="*/ 197427 h 1056"/>
                <a:gd name="T60" fmla="*/ 44623 w 1068"/>
                <a:gd name="T61" fmla="*/ 199372 h 1056"/>
                <a:gd name="T62" fmla="*/ 62084 w 1068"/>
                <a:gd name="T63" fmla="*/ 192564 h 1056"/>
                <a:gd name="T64" fmla="*/ 78575 w 1068"/>
                <a:gd name="T65" fmla="*/ 176031 h 1056"/>
                <a:gd name="T66" fmla="*/ 78575 w 1068"/>
                <a:gd name="T67" fmla="*/ 150745 h 1056"/>
                <a:gd name="T68" fmla="*/ 96037 w 1068"/>
                <a:gd name="T69" fmla="*/ 128376 h 1056"/>
                <a:gd name="T70" fmla="*/ 110587 w 1068"/>
                <a:gd name="T71" fmla="*/ 105035 h 1056"/>
                <a:gd name="T72" fmla="*/ 115438 w 1068"/>
                <a:gd name="T73" fmla="*/ 79749 h 1056"/>
                <a:gd name="T74" fmla="*/ 124169 w 1068"/>
                <a:gd name="T75" fmla="*/ 51545 h 1056"/>
                <a:gd name="T76" fmla="*/ 126108 w 1068"/>
                <a:gd name="T77" fmla="*/ 23341 h 1056"/>
                <a:gd name="T78" fmla="*/ 143570 w 1068"/>
                <a:gd name="T79" fmla="*/ 3890 h 1056"/>
                <a:gd name="T80" fmla="*/ 166851 w 1068"/>
                <a:gd name="T81" fmla="*/ 19451 h 1056"/>
                <a:gd name="T82" fmla="*/ 195954 w 1068"/>
                <a:gd name="T83" fmla="*/ 23341 h 1056"/>
                <a:gd name="T84" fmla="*/ 211475 w 1068"/>
                <a:gd name="T85" fmla="*/ 10698 h 1056"/>
                <a:gd name="T86" fmla="*/ 234756 w 1068"/>
                <a:gd name="T87" fmla="*/ 10698 h 1056"/>
                <a:gd name="T88" fmla="*/ 249308 w 1068"/>
                <a:gd name="T89" fmla="*/ 8753 h 1056"/>
                <a:gd name="T90" fmla="*/ 266768 w 1068"/>
                <a:gd name="T91" fmla="*/ 0 h 1056"/>
                <a:gd name="T92" fmla="*/ 275499 w 1068"/>
                <a:gd name="T93" fmla="*/ 3890 h 1056"/>
                <a:gd name="T94" fmla="*/ 290050 w 1068"/>
                <a:gd name="T95" fmla="*/ 6808 h 1056"/>
                <a:gd name="T96" fmla="*/ 309452 w 1068"/>
                <a:gd name="T97" fmla="*/ 12643 h 1056"/>
                <a:gd name="T98" fmla="*/ 324003 w 1068"/>
                <a:gd name="T99" fmla="*/ 19451 h 1056"/>
                <a:gd name="T100" fmla="*/ 343404 w 1068"/>
                <a:gd name="T101" fmla="*/ 14588 h 1056"/>
                <a:gd name="T102" fmla="*/ 354074 w 1068"/>
                <a:gd name="T103" fmla="*/ 26259 h 1056"/>
                <a:gd name="T104" fmla="*/ 371536 w 1068"/>
                <a:gd name="T105" fmla="*/ 37929 h 1056"/>
                <a:gd name="T106" fmla="*/ 367656 w 1068"/>
                <a:gd name="T107" fmla="*/ 56408 h 1056"/>
                <a:gd name="T108" fmla="*/ 371536 w 1068"/>
                <a:gd name="T109" fmla="*/ 74886 h 1056"/>
                <a:gd name="T110" fmla="*/ 352135 w 1068"/>
                <a:gd name="T111" fmla="*/ 92392 h 1056"/>
                <a:gd name="T112" fmla="*/ 346314 w 1068"/>
                <a:gd name="T113" fmla="*/ 121568 h 1056"/>
                <a:gd name="T114" fmla="*/ 337584 w 1068"/>
                <a:gd name="T115" fmla="*/ 141019 h 1056"/>
                <a:gd name="T116" fmla="*/ 335643 w 1068"/>
                <a:gd name="T117" fmla="*/ 165333 h 1056"/>
                <a:gd name="T118" fmla="*/ 342434 w 1068"/>
                <a:gd name="T119" fmla="*/ 192564 h 1056"/>
                <a:gd name="T120" fmla="*/ 346314 w 1068"/>
                <a:gd name="T121" fmla="*/ 220768 h 1056"/>
                <a:gd name="T122" fmla="*/ 354074 w 1068"/>
                <a:gd name="T123" fmla="*/ 245082 h 1056"/>
                <a:gd name="T124" fmla="*/ 367656 w 1068"/>
                <a:gd name="T125" fmla="*/ 270368 h 10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68" h="1056">
                  <a:moveTo>
                    <a:pt x="1038" y="756"/>
                  </a:moveTo>
                  <a:lnTo>
                    <a:pt x="1032" y="762"/>
                  </a:lnTo>
                  <a:lnTo>
                    <a:pt x="1026" y="762"/>
                  </a:lnTo>
                  <a:lnTo>
                    <a:pt x="1020" y="762"/>
                  </a:lnTo>
                  <a:lnTo>
                    <a:pt x="1014" y="762"/>
                  </a:lnTo>
                  <a:lnTo>
                    <a:pt x="1008" y="762"/>
                  </a:lnTo>
                  <a:lnTo>
                    <a:pt x="1002" y="762"/>
                  </a:lnTo>
                  <a:lnTo>
                    <a:pt x="990" y="762"/>
                  </a:lnTo>
                  <a:lnTo>
                    <a:pt x="984" y="768"/>
                  </a:lnTo>
                  <a:lnTo>
                    <a:pt x="978" y="768"/>
                  </a:lnTo>
                  <a:lnTo>
                    <a:pt x="972" y="768"/>
                  </a:lnTo>
                  <a:lnTo>
                    <a:pt x="966" y="768"/>
                  </a:lnTo>
                  <a:lnTo>
                    <a:pt x="960" y="768"/>
                  </a:lnTo>
                  <a:lnTo>
                    <a:pt x="954" y="768"/>
                  </a:lnTo>
                  <a:lnTo>
                    <a:pt x="948" y="768"/>
                  </a:lnTo>
                  <a:lnTo>
                    <a:pt x="942" y="774"/>
                  </a:lnTo>
                  <a:lnTo>
                    <a:pt x="936" y="774"/>
                  </a:lnTo>
                  <a:lnTo>
                    <a:pt x="930" y="774"/>
                  </a:lnTo>
                  <a:lnTo>
                    <a:pt x="936" y="780"/>
                  </a:lnTo>
                  <a:lnTo>
                    <a:pt x="936" y="786"/>
                  </a:lnTo>
                  <a:lnTo>
                    <a:pt x="930" y="786"/>
                  </a:lnTo>
                  <a:lnTo>
                    <a:pt x="930" y="792"/>
                  </a:lnTo>
                  <a:lnTo>
                    <a:pt x="924" y="798"/>
                  </a:lnTo>
                  <a:lnTo>
                    <a:pt x="924" y="804"/>
                  </a:lnTo>
                  <a:lnTo>
                    <a:pt x="918" y="804"/>
                  </a:lnTo>
                  <a:lnTo>
                    <a:pt x="918" y="810"/>
                  </a:lnTo>
                  <a:lnTo>
                    <a:pt x="912" y="810"/>
                  </a:lnTo>
                  <a:lnTo>
                    <a:pt x="906" y="810"/>
                  </a:lnTo>
                  <a:lnTo>
                    <a:pt x="906" y="816"/>
                  </a:lnTo>
                  <a:lnTo>
                    <a:pt x="900" y="816"/>
                  </a:lnTo>
                  <a:lnTo>
                    <a:pt x="900" y="822"/>
                  </a:lnTo>
                  <a:lnTo>
                    <a:pt x="900" y="828"/>
                  </a:lnTo>
                  <a:lnTo>
                    <a:pt x="906" y="828"/>
                  </a:lnTo>
                  <a:lnTo>
                    <a:pt x="906" y="822"/>
                  </a:lnTo>
                  <a:lnTo>
                    <a:pt x="912" y="822"/>
                  </a:lnTo>
                  <a:lnTo>
                    <a:pt x="912" y="828"/>
                  </a:lnTo>
                  <a:lnTo>
                    <a:pt x="912" y="834"/>
                  </a:lnTo>
                  <a:lnTo>
                    <a:pt x="918" y="834"/>
                  </a:lnTo>
                  <a:lnTo>
                    <a:pt x="912" y="834"/>
                  </a:lnTo>
                  <a:lnTo>
                    <a:pt x="918" y="834"/>
                  </a:lnTo>
                  <a:lnTo>
                    <a:pt x="918" y="840"/>
                  </a:lnTo>
                  <a:lnTo>
                    <a:pt x="918" y="846"/>
                  </a:lnTo>
                  <a:lnTo>
                    <a:pt x="918" y="852"/>
                  </a:lnTo>
                  <a:lnTo>
                    <a:pt x="918" y="858"/>
                  </a:lnTo>
                  <a:lnTo>
                    <a:pt x="918" y="864"/>
                  </a:lnTo>
                  <a:lnTo>
                    <a:pt x="918" y="870"/>
                  </a:lnTo>
                  <a:lnTo>
                    <a:pt x="912" y="870"/>
                  </a:lnTo>
                  <a:lnTo>
                    <a:pt x="912" y="876"/>
                  </a:lnTo>
                  <a:lnTo>
                    <a:pt x="918" y="876"/>
                  </a:lnTo>
                  <a:lnTo>
                    <a:pt x="918" y="882"/>
                  </a:lnTo>
                  <a:lnTo>
                    <a:pt x="918" y="888"/>
                  </a:lnTo>
                  <a:lnTo>
                    <a:pt x="918" y="894"/>
                  </a:lnTo>
                  <a:lnTo>
                    <a:pt x="918" y="900"/>
                  </a:lnTo>
                  <a:lnTo>
                    <a:pt x="912" y="900"/>
                  </a:lnTo>
                  <a:lnTo>
                    <a:pt x="912" y="906"/>
                  </a:lnTo>
                  <a:lnTo>
                    <a:pt x="912" y="912"/>
                  </a:lnTo>
                  <a:lnTo>
                    <a:pt x="912" y="918"/>
                  </a:lnTo>
                  <a:lnTo>
                    <a:pt x="906" y="918"/>
                  </a:lnTo>
                  <a:lnTo>
                    <a:pt x="906" y="924"/>
                  </a:lnTo>
                  <a:lnTo>
                    <a:pt x="906" y="930"/>
                  </a:lnTo>
                  <a:lnTo>
                    <a:pt x="906" y="936"/>
                  </a:lnTo>
                  <a:lnTo>
                    <a:pt x="906" y="942"/>
                  </a:lnTo>
                  <a:lnTo>
                    <a:pt x="900" y="948"/>
                  </a:lnTo>
                  <a:lnTo>
                    <a:pt x="906" y="948"/>
                  </a:lnTo>
                  <a:lnTo>
                    <a:pt x="906" y="954"/>
                  </a:lnTo>
                  <a:lnTo>
                    <a:pt x="906" y="960"/>
                  </a:lnTo>
                  <a:lnTo>
                    <a:pt x="906" y="966"/>
                  </a:lnTo>
                  <a:lnTo>
                    <a:pt x="912" y="966"/>
                  </a:lnTo>
                  <a:lnTo>
                    <a:pt x="918" y="966"/>
                  </a:lnTo>
                  <a:lnTo>
                    <a:pt x="918" y="972"/>
                  </a:lnTo>
                  <a:lnTo>
                    <a:pt x="924" y="972"/>
                  </a:lnTo>
                  <a:lnTo>
                    <a:pt x="924" y="978"/>
                  </a:lnTo>
                  <a:lnTo>
                    <a:pt x="930" y="978"/>
                  </a:lnTo>
                  <a:lnTo>
                    <a:pt x="930" y="984"/>
                  </a:lnTo>
                  <a:lnTo>
                    <a:pt x="936" y="984"/>
                  </a:lnTo>
                  <a:lnTo>
                    <a:pt x="936" y="990"/>
                  </a:lnTo>
                  <a:lnTo>
                    <a:pt x="936" y="996"/>
                  </a:lnTo>
                  <a:lnTo>
                    <a:pt x="942" y="996"/>
                  </a:lnTo>
                  <a:lnTo>
                    <a:pt x="948" y="996"/>
                  </a:lnTo>
                  <a:lnTo>
                    <a:pt x="954" y="996"/>
                  </a:lnTo>
                  <a:lnTo>
                    <a:pt x="960" y="996"/>
                  </a:lnTo>
                  <a:lnTo>
                    <a:pt x="966" y="1002"/>
                  </a:lnTo>
                  <a:lnTo>
                    <a:pt x="966" y="996"/>
                  </a:lnTo>
                  <a:lnTo>
                    <a:pt x="960" y="990"/>
                  </a:lnTo>
                  <a:lnTo>
                    <a:pt x="966" y="984"/>
                  </a:lnTo>
                  <a:lnTo>
                    <a:pt x="972" y="984"/>
                  </a:lnTo>
                  <a:lnTo>
                    <a:pt x="978" y="984"/>
                  </a:lnTo>
                  <a:lnTo>
                    <a:pt x="984" y="984"/>
                  </a:lnTo>
                  <a:lnTo>
                    <a:pt x="984" y="990"/>
                  </a:lnTo>
                  <a:lnTo>
                    <a:pt x="984" y="996"/>
                  </a:lnTo>
                  <a:lnTo>
                    <a:pt x="984" y="1002"/>
                  </a:lnTo>
                  <a:lnTo>
                    <a:pt x="984" y="1008"/>
                  </a:lnTo>
                  <a:lnTo>
                    <a:pt x="984" y="1014"/>
                  </a:lnTo>
                  <a:lnTo>
                    <a:pt x="984" y="1020"/>
                  </a:lnTo>
                  <a:lnTo>
                    <a:pt x="984" y="1026"/>
                  </a:lnTo>
                  <a:lnTo>
                    <a:pt x="984" y="1032"/>
                  </a:lnTo>
                  <a:lnTo>
                    <a:pt x="984" y="1038"/>
                  </a:lnTo>
                  <a:lnTo>
                    <a:pt x="984" y="1044"/>
                  </a:lnTo>
                  <a:lnTo>
                    <a:pt x="984" y="1050"/>
                  </a:lnTo>
                  <a:lnTo>
                    <a:pt x="984" y="1056"/>
                  </a:lnTo>
                  <a:lnTo>
                    <a:pt x="978" y="1056"/>
                  </a:lnTo>
                  <a:lnTo>
                    <a:pt x="972" y="1056"/>
                  </a:lnTo>
                  <a:lnTo>
                    <a:pt x="972" y="1050"/>
                  </a:lnTo>
                  <a:lnTo>
                    <a:pt x="972" y="1044"/>
                  </a:lnTo>
                  <a:lnTo>
                    <a:pt x="966" y="1044"/>
                  </a:lnTo>
                  <a:lnTo>
                    <a:pt x="960" y="1044"/>
                  </a:lnTo>
                  <a:lnTo>
                    <a:pt x="960" y="1050"/>
                  </a:lnTo>
                  <a:lnTo>
                    <a:pt x="954" y="1050"/>
                  </a:lnTo>
                  <a:lnTo>
                    <a:pt x="948" y="1050"/>
                  </a:lnTo>
                  <a:lnTo>
                    <a:pt x="948" y="1056"/>
                  </a:lnTo>
                  <a:lnTo>
                    <a:pt x="948" y="1050"/>
                  </a:lnTo>
                  <a:lnTo>
                    <a:pt x="942" y="1050"/>
                  </a:lnTo>
                  <a:lnTo>
                    <a:pt x="936" y="1050"/>
                  </a:lnTo>
                  <a:lnTo>
                    <a:pt x="936" y="1056"/>
                  </a:lnTo>
                  <a:lnTo>
                    <a:pt x="936" y="1050"/>
                  </a:lnTo>
                  <a:lnTo>
                    <a:pt x="936" y="1044"/>
                  </a:lnTo>
                  <a:lnTo>
                    <a:pt x="930" y="1044"/>
                  </a:lnTo>
                  <a:lnTo>
                    <a:pt x="930" y="1038"/>
                  </a:lnTo>
                  <a:lnTo>
                    <a:pt x="930" y="1032"/>
                  </a:lnTo>
                  <a:lnTo>
                    <a:pt x="924" y="1032"/>
                  </a:lnTo>
                  <a:lnTo>
                    <a:pt x="924" y="1026"/>
                  </a:lnTo>
                  <a:lnTo>
                    <a:pt x="924" y="1020"/>
                  </a:lnTo>
                  <a:lnTo>
                    <a:pt x="918" y="1020"/>
                  </a:lnTo>
                  <a:lnTo>
                    <a:pt x="912" y="1020"/>
                  </a:lnTo>
                  <a:lnTo>
                    <a:pt x="912" y="1026"/>
                  </a:lnTo>
                  <a:lnTo>
                    <a:pt x="912" y="1020"/>
                  </a:lnTo>
                  <a:lnTo>
                    <a:pt x="912" y="1014"/>
                  </a:lnTo>
                  <a:lnTo>
                    <a:pt x="906" y="1014"/>
                  </a:lnTo>
                  <a:lnTo>
                    <a:pt x="912" y="1014"/>
                  </a:lnTo>
                  <a:lnTo>
                    <a:pt x="912" y="1008"/>
                  </a:lnTo>
                  <a:lnTo>
                    <a:pt x="906" y="1008"/>
                  </a:lnTo>
                  <a:lnTo>
                    <a:pt x="906" y="1002"/>
                  </a:lnTo>
                  <a:lnTo>
                    <a:pt x="900" y="1002"/>
                  </a:lnTo>
                  <a:lnTo>
                    <a:pt x="900" y="996"/>
                  </a:lnTo>
                  <a:lnTo>
                    <a:pt x="894" y="996"/>
                  </a:lnTo>
                  <a:lnTo>
                    <a:pt x="888" y="996"/>
                  </a:lnTo>
                  <a:lnTo>
                    <a:pt x="888" y="990"/>
                  </a:lnTo>
                  <a:lnTo>
                    <a:pt x="882" y="990"/>
                  </a:lnTo>
                  <a:lnTo>
                    <a:pt x="876" y="990"/>
                  </a:lnTo>
                  <a:lnTo>
                    <a:pt x="876" y="984"/>
                  </a:lnTo>
                  <a:lnTo>
                    <a:pt x="870" y="984"/>
                  </a:lnTo>
                  <a:lnTo>
                    <a:pt x="870" y="990"/>
                  </a:lnTo>
                  <a:lnTo>
                    <a:pt x="864" y="990"/>
                  </a:lnTo>
                  <a:lnTo>
                    <a:pt x="858" y="990"/>
                  </a:lnTo>
                  <a:lnTo>
                    <a:pt x="858" y="984"/>
                  </a:lnTo>
                  <a:lnTo>
                    <a:pt x="852" y="984"/>
                  </a:lnTo>
                  <a:lnTo>
                    <a:pt x="852" y="978"/>
                  </a:lnTo>
                  <a:lnTo>
                    <a:pt x="852" y="972"/>
                  </a:lnTo>
                  <a:lnTo>
                    <a:pt x="852" y="966"/>
                  </a:lnTo>
                  <a:lnTo>
                    <a:pt x="846" y="966"/>
                  </a:lnTo>
                  <a:lnTo>
                    <a:pt x="846" y="960"/>
                  </a:lnTo>
                  <a:lnTo>
                    <a:pt x="840" y="960"/>
                  </a:lnTo>
                  <a:lnTo>
                    <a:pt x="840" y="954"/>
                  </a:lnTo>
                  <a:lnTo>
                    <a:pt x="840" y="948"/>
                  </a:lnTo>
                  <a:lnTo>
                    <a:pt x="834" y="948"/>
                  </a:lnTo>
                  <a:lnTo>
                    <a:pt x="828" y="948"/>
                  </a:lnTo>
                  <a:lnTo>
                    <a:pt x="828" y="954"/>
                  </a:lnTo>
                  <a:lnTo>
                    <a:pt x="828" y="960"/>
                  </a:lnTo>
                  <a:lnTo>
                    <a:pt x="828" y="966"/>
                  </a:lnTo>
                  <a:lnTo>
                    <a:pt x="822" y="966"/>
                  </a:lnTo>
                  <a:lnTo>
                    <a:pt x="822" y="972"/>
                  </a:lnTo>
                  <a:lnTo>
                    <a:pt x="816" y="972"/>
                  </a:lnTo>
                  <a:lnTo>
                    <a:pt x="810" y="972"/>
                  </a:lnTo>
                  <a:lnTo>
                    <a:pt x="804" y="972"/>
                  </a:lnTo>
                  <a:lnTo>
                    <a:pt x="798" y="972"/>
                  </a:lnTo>
                  <a:lnTo>
                    <a:pt x="798" y="966"/>
                  </a:lnTo>
                  <a:lnTo>
                    <a:pt x="792" y="966"/>
                  </a:lnTo>
                  <a:lnTo>
                    <a:pt x="792" y="972"/>
                  </a:lnTo>
                  <a:lnTo>
                    <a:pt x="786" y="972"/>
                  </a:lnTo>
                  <a:lnTo>
                    <a:pt x="780" y="966"/>
                  </a:lnTo>
                  <a:lnTo>
                    <a:pt x="774" y="972"/>
                  </a:lnTo>
                  <a:lnTo>
                    <a:pt x="768" y="966"/>
                  </a:lnTo>
                  <a:lnTo>
                    <a:pt x="768" y="972"/>
                  </a:lnTo>
                  <a:lnTo>
                    <a:pt x="768" y="966"/>
                  </a:lnTo>
                  <a:lnTo>
                    <a:pt x="762" y="966"/>
                  </a:lnTo>
                  <a:lnTo>
                    <a:pt x="762" y="960"/>
                  </a:lnTo>
                  <a:lnTo>
                    <a:pt x="756" y="960"/>
                  </a:lnTo>
                  <a:lnTo>
                    <a:pt x="750" y="960"/>
                  </a:lnTo>
                  <a:lnTo>
                    <a:pt x="750" y="954"/>
                  </a:lnTo>
                  <a:lnTo>
                    <a:pt x="750" y="960"/>
                  </a:lnTo>
                  <a:lnTo>
                    <a:pt x="744" y="960"/>
                  </a:lnTo>
                  <a:lnTo>
                    <a:pt x="744" y="954"/>
                  </a:lnTo>
                  <a:lnTo>
                    <a:pt x="738" y="954"/>
                  </a:lnTo>
                  <a:lnTo>
                    <a:pt x="732" y="954"/>
                  </a:lnTo>
                  <a:lnTo>
                    <a:pt x="732" y="948"/>
                  </a:lnTo>
                  <a:lnTo>
                    <a:pt x="732" y="942"/>
                  </a:lnTo>
                  <a:lnTo>
                    <a:pt x="732" y="936"/>
                  </a:lnTo>
                  <a:lnTo>
                    <a:pt x="732" y="930"/>
                  </a:lnTo>
                  <a:lnTo>
                    <a:pt x="732" y="924"/>
                  </a:lnTo>
                  <a:lnTo>
                    <a:pt x="732" y="930"/>
                  </a:lnTo>
                  <a:lnTo>
                    <a:pt x="726" y="930"/>
                  </a:lnTo>
                  <a:lnTo>
                    <a:pt x="720" y="930"/>
                  </a:lnTo>
                  <a:lnTo>
                    <a:pt x="714" y="930"/>
                  </a:lnTo>
                  <a:lnTo>
                    <a:pt x="708" y="930"/>
                  </a:lnTo>
                  <a:lnTo>
                    <a:pt x="702" y="930"/>
                  </a:lnTo>
                  <a:lnTo>
                    <a:pt x="702" y="936"/>
                  </a:lnTo>
                  <a:lnTo>
                    <a:pt x="696" y="936"/>
                  </a:lnTo>
                  <a:lnTo>
                    <a:pt x="690" y="942"/>
                  </a:lnTo>
                  <a:lnTo>
                    <a:pt x="684" y="942"/>
                  </a:lnTo>
                  <a:lnTo>
                    <a:pt x="678" y="942"/>
                  </a:lnTo>
                  <a:lnTo>
                    <a:pt x="678" y="936"/>
                  </a:lnTo>
                  <a:lnTo>
                    <a:pt x="672" y="936"/>
                  </a:lnTo>
                  <a:lnTo>
                    <a:pt x="678" y="936"/>
                  </a:lnTo>
                  <a:lnTo>
                    <a:pt x="678" y="930"/>
                  </a:lnTo>
                  <a:lnTo>
                    <a:pt x="678" y="924"/>
                  </a:lnTo>
                  <a:lnTo>
                    <a:pt x="678" y="918"/>
                  </a:lnTo>
                  <a:lnTo>
                    <a:pt x="672" y="918"/>
                  </a:lnTo>
                  <a:lnTo>
                    <a:pt x="666" y="918"/>
                  </a:lnTo>
                  <a:lnTo>
                    <a:pt x="666" y="912"/>
                  </a:lnTo>
                  <a:lnTo>
                    <a:pt x="660" y="912"/>
                  </a:lnTo>
                  <a:lnTo>
                    <a:pt x="654" y="912"/>
                  </a:lnTo>
                  <a:lnTo>
                    <a:pt x="654" y="918"/>
                  </a:lnTo>
                  <a:lnTo>
                    <a:pt x="648" y="918"/>
                  </a:lnTo>
                  <a:lnTo>
                    <a:pt x="642" y="918"/>
                  </a:lnTo>
                  <a:lnTo>
                    <a:pt x="636" y="918"/>
                  </a:lnTo>
                  <a:lnTo>
                    <a:pt x="636" y="912"/>
                  </a:lnTo>
                  <a:lnTo>
                    <a:pt x="630" y="912"/>
                  </a:lnTo>
                  <a:lnTo>
                    <a:pt x="624" y="912"/>
                  </a:lnTo>
                  <a:lnTo>
                    <a:pt x="624" y="918"/>
                  </a:lnTo>
                  <a:lnTo>
                    <a:pt x="618" y="918"/>
                  </a:lnTo>
                  <a:lnTo>
                    <a:pt x="612" y="918"/>
                  </a:lnTo>
                  <a:lnTo>
                    <a:pt x="612" y="924"/>
                  </a:lnTo>
                  <a:lnTo>
                    <a:pt x="612" y="918"/>
                  </a:lnTo>
                  <a:lnTo>
                    <a:pt x="612" y="924"/>
                  </a:lnTo>
                  <a:lnTo>
                    <a:pt x="606" y="924"/>
                  </a:lnTo>
                  <a:lnTo>
                    <a:pt x="600" y="924"/>
                  </a:lnTo>
                  <a:lnTo>
                    <a:pt x="600" y="918"/>
                  </a:lnTo>
                  <a:lnTo>
                    <a:pt x="594" y="918"/>
                  </a:lnTo>
                  <a:lnTo>
                    <a:pt x="594" y="924"/>
                  </a:lnTo>
                  <a:lnTo>
                    <a:pt x="588" y="924"/>
                  </a:lnTo>
                  <a:lnTo>
                    <a:pt x="582" y="918"/>
                  </a:lnTo>
                  <a:lnTo>
                    <a:pt x="576" y="918"/>
                  </a:lnTo>
                  <a:lnTo>
                    <a:pt x="576" y="924"/>
                  </a:lnTo>
                  <a:lnTo>
                    <a:pt x="570" y="924"/>
                  </a:lnTo>
                  <a:lnTo>
                    <a:pt x="564" y="924"/>
                  </a:lnTo>
                  <a:lnTo>
                    <a:pt x="564" y="930"/>
                  </a:lnTo>
                  <a:lnTo>
                    <a:pt x="564" y="924"/>
                  </a:lnTo>
                  <a:lnTo>
                    <a:pt x="558" y="924"/>
                  </a:lnTo>
                  <a:lnTo>
                    <a:pt x="558" y="918"/>
                  </a:lnTo>
                  <a:lnTo>
                    <a:pt x="558" y="912"/>
                  </a:lnTo>
                  <a:lnTo>
                    <a:pt x="558" y="906"/>
                  </a:lnTo>
                  <a:lnTo>
                    <a:pt x="564" y="906"/>
                  </a:lnTo>
                  <a:lnTo>
                    <a:pt x="564" y="900"/>
                  </a:lnTo>
                  <a:lnTo>
                    <a:pt x="564" y="894"/>
                  </a:lnTo>
                  <a:lnTo>
                    <a:pt x="564" y="888"/>
                  </a:lnTo>
                  <a:lnTo>
                    <a:pt x="564" y="882"/>
                  </a:lnTo>
                  <a:lnTo>
                    <a:pt x="564" y="876"/>
                  </a:lnTo>
                  <a:lnTo>
                    <a:pt x="564" y="870"/>
                  </a:lnTo>
                  <a:lnTo>
                    <a:pt x="558" y="870"/>
                  </a:lnTo>
                  <a:lnTo>
                    <a:pt x="558" y="864"/>
                  </a:lnTo>
                  <a:lnTo>
                    <a:pt x="558" y="858"/>
                  </a:lnTo>
                  <a:lnTo>
                    <a:pt x="558" y="852"/>
                  </a:lnTo>
                  <a:lnTo>
                    <a:pt x="552" y="852"/>
                  </a:lnTo>
                  <a:lnTo>
                    <a:pt x="546" y="852"/>
                  </a:lnTo>
                  <a:lnTo>
                    <a:pt x="546" y="846"/>
                  </a:lnTo>
                  <a:lnTo>
                    <a:pt x="546" y="840"/>
                  </a:lnTo>
                  <a:lnTo>
                    <a:pt x="540" y="840"/>
                  </a:lnTo>
                  <a:lnTo>
                    <a:pt x="540" y="834"/>
                  </a:lnTo>
                  <a:lnTo>
                    <a:pt x="540" y="828"/>
                  </a:lnTo>
                  <a:lnTo>
                    <a:pt x="534" y="828"/>
                  </a:lnTo>
                  <a:lnTo>
                    <a:pt x="534" y="822"/>
                  </a:lnTo>
                  <a:lnTo>
                    <a:pt x="540" y="822"/>
                  </a:lnTo>
                  <a:lnTo>
                    <a:pt x="540" y="816"/>
                  </a:lnTo>
                  <a:lnTo>
                    <a:pt x="540" y="810"/>
                  </a:lnTo>
                  <a:lnTo>
                    <a:pt x="540" y="804"/>
                  </a:lnTo>
                  <a:lnTo>
                    <a:pt x="540" y="798"/>
                  </a:lnTo>
                  <a:lnTo>
                    <a:pt x="540" y="792"/>
                  </a:lnTo>
                  <a:lnTo>
                    <a:pt x="540" y="786"/>
                  </a:lnTo>
                  <a:lnTo>
                    <a:pt x="540" y="780"/>
                  </a:lnTo>
                  <a:lnTo>
                    <a:pt x="546" y="780"/>
                  </a:lnTo>
                  <a:lnTo>
                    <a:pt x="540" y="780"/>
                  </a:lnTo>
                  <a:lnTo>
                    <a:pt x="546" y="780"/>
                  </a:lnTo>
                  <a:lnTo>
                    <a:pt x="546" y="774"/>
                  </a:lnTo>
                  <a:lnTo>
                    <a:pt x="546" y="768"/>
                  </a:lnTo>
                  <a:lnTo>
                    <a:pt x="540" y="768"/>
                  </a:lnTo>
                  <a:lnTo>
                    <a:pt x="546" y="768"/>
                  </a:lnTo>
                  <a:lnTo>
                    <a:pt x="546" y="762"/>
                  </a:lnTo>
                  <a:lnTo>
                    <a:pt x="540" y="762"/>
                  </a:lnTo>
                  <a:lnTo>
                    <a:pt x="540" y="756"/>
                  </a:lnTo>
                  <a:lnTo>
                    <a:pt x="540" y="750"/>
                  </a:lnTo>
                  <a:lnTo>
                    <a:pt x="534" y="750"/>
                  </a:lnTo>
                  <a:lnTo>
                    <a:pt x="534" y="744"/>
                  </a:lnTo>
                  <a:lnTo>
                    <a:pt x="534" y="738"/>
                  </a:lnTo>
                  <a:lnTo>
                    <a:pt x="534" y="732"/>
                  </a:lnTo>
                  <a:lnTo>
                    <a:pt x="534" y="726"/>
                  </a:lnTo>
                  <a:lnTo>
                    <a:pt x="540" y="726"/>
                  </a:lnTo>
                  <a:lnTo>
                    <a:pt x="540" y="720"/>
                  </a:lnTo>
                  <a:lnTo>
                    <a:pt x="540" y="714"/>
                  </a:lnTo>
                  <a:lnTo>
                    <a:pt x="540" y="708"/>
                  </a:lnTo>
                  <a:lnTo>
                    <a:pt x="534" y="708"/>
                  </a:lnTo>
                  <a:lnTo>
                    <a:pt x="528" y="708"/>
                  </a:lnTo>
                  <a:lnTo>
                    <a:pt x="522" y="708"/>
                  </a:lnTo>
                  <a:lnTo>
                    <a:pt x="516" y="708"/>
                  </a:lnTo>
                  <a:lnTo>
                    <a:pt x="510" y="708"/>
                  </a:lnTo>
                  <a:lnTo>
                    <a:pt x="504" y="708"/>
                  </a:lnTo>
                  <a:lnTo>
                    <a:pt x="492" y="708"/>
                  </a:lnTo>
                  <a:lnTo>
                    <a:pt x="486" y="708"/>
                  </a:lnTo>
                  <a:lnTo>
                    <a:pt x="480" y="708"/>
                  </a:lnTo>
                  <a:lnTo>
                    <a:pt x="474" y="708"/>
                  </a:lnTo>
                  <a:lnTo>
                    <a:pt x="468" y="708"/>
                  </a:lnTo>
                  <a:lnTo>
                    <a:pt x="468" y="702"/>
                  </a:lnTo>
                  <a:lnTo>
                    <a:pt x="468" y="696"/>
                  </a:lnTo>
                  <a:lnTo>
                    <a:pt x="468" y="690"/>
                  </a:lnTo>
                  <a:lnTo>
                    <a:pt x="468" y="684"/>
                  </a:lnTo>
                  <a:lnTo>
                    <a:pt x="462" y="684"/>
                  </a:lnTo>
                  <a:lnTo>
                    <a:pt x="456" y="684"/>
                  </a:lnTo>
                  <a:lnTo>
                    <a:pt x="456" y="690"/>
                  </a:lnTo>
                  <a:lnTo>
                    <a:pt x="450" y="690"/>
                  </a:lnTo>
                  <a:lnTo>
                    <a:pt x="444" y="690"/>
                  </a:lnTo>
                  <a:lnTo>
                    <a:pt x="438" y="690"/>
                  </a:lnTo>
                  <a:lnTo>
                    <a:pt x="432" y="690"/>
                  </a:lnTo>
                  <a:lnTo>
                    <a:pt x="426" y="690"/>
                  </a:lnTo>
                  <a:lnTo>
                    <a:pt x="420" y="690"/>
                  </a:lnTo>
                  <a:lnTo>
                    <a:pt x="408" y="690"/>
                  </a:lnTo>
                  <a:lnTo>
                    <a:pt x="414" y="696"/>
                  </a:lnTo>
                  <a:lnTo>
                    <a:pt x="408" y="696"/>
                  </a:lnTo>
                  <a:lnTo>
                    <a:pt x="408" y="702"/>
                  </a:lnTo>
                  <a:lnTo>
                    <a:pt x="408" y="708"/>
                  </a:lnTo>
                  <a:lnTo>
                    <a:pt x="408" y="714"/>
                  </a:lnTo>
                  <a:lnTo>
                    <a:pt x="408" y="720"/>
                  </a:lnTo>
                  <a:lnTo>
                    <a:pt x="402" y="720"/>
                  </a:lnTo>
                  <a:lnTo>
                    <a:pt x="402" y="726"/>
                  </a:lnTo>
                  <a:lnTo>
                    <a:pt x="402" y="732"/>
                  </a:lnTo>
                  <a:lnTo>
                    <a:pt x="402" y="738"/>
                  </a:lnTo>
                  <a:lnTo>
                    <a:pt x="402" y="744"/>
                  </a:lnTo>
                  <a:lnTo>
                    <a:pt x="396" y="744"/>
                  </a:lnTo>
                  <a:lnTo>
                    <a:pt x="390" y="744"/>
                  </a:lnTo>
                  <a:lnTo>
                    <a:pt x="384" y="744"/>
                  </a:lnTo>
                  <a:lnTo>
                    <a:pt x="378" y="744"/>
                  </a:lnTo>
                  <a:lnTo>
                    <a:pt x="372" y="744"/>
                  </a:lnTo>
                  <a:lnTo>
                    <a:pt x="366" y="744"/>
                  </a:lnTo>
                  <a:lnTo>
                    <a:pt x="354" y="744"/>
                  </a:lnTo>
                  <a:lnTo>
                    <a:pt x="348" y="744"/>
                  </a:lnTo>
                  <a:lnTo>
                    <a:pt x="348" y="750"/>
                  </a:lnTo>
                  <a:lnTo>
                    <a:pt x="342" y="750"/>
                  </a:lnTo>
                  <a:lnTo>
                    <a:pt x="342" y="744"/>
                  </a:lnTo>
                  <a:lnTo>
                    <a:pt x="342" y="750"/>
                  </a:lnTo>
                  <a:lnTo>
                    <a:pt x="342" y="744"/>
                  </a:lnTo>
                  <a:lnTo>
                    <a:pt x="336" y="744"/>
                  </a:lnTo>
                  <a:lnTo>
                    <a:pt x="330" y="744"/>
                  </a:lnTo>
                  <a:lnTo>
                    <a:pt x="330" y="750"/>
                  </a:lnTo>
                  <a:lnTo>
                    <a:pt x="324" y="750"/>
                  </a:lnTo>
                  <a:lnTo>
                    <a:pt x="318" y="750"/>
                  </a:lnTo>
                  <a:lnTo>
                    <a:pt x="312" y="750"/>
                  </a:lnTo>
                  <a:lnTo>
                    <a:pt x="306" y="750"/>
                  </a:lnTo>
                  <a:lnTo>
                    <a:pt x="306" y="756"/>
                  </a:lnTo>
                  <a:lnTo>
                    <a:pt x="300" y="756"/>
                  </a:lnTo>
                  <a:lnTo>
                    <a:pt x="300" y="750"/>
                  </a:lnTo>
                  <a:lnTo>
                    <a:pt x="294" y="750"/>
                  </a:lnTo>
                  <a:lnTo>
                    <a:pt x="300" y="750"/>
                  </a:lnTo>
                  <a:lnTo>
                    <a:pt x="294" y="744"/>
                  </a:lnTo>
                  <a:lnTo>
                    <a:pt x="294" y="738"/>
                  </a:lnTo>
                  <a:lnTo>
                    <a:pt x="288" y="738"/>
                  </a:lnTo>
                  <a:lnTo>
                    <a:pt x="288" y="732"/>
                  </a:lnTo>
                  <a:lnTo>
                    <a:pt x="282" y="726"/>
                  </a:lnTo>
                  <a:lnTo>
                    <a:pt x="288" y="726"/>
                  </a:lnTo>
                  <a:lnTo>
                    <a:pt x="282" y="726"/>
                  </a:lnTo>
                  <a:lnTo>
                    <a:pt x="282" y="720"/>
                  </a:lnTo>
                  <a:lnTo>
                    <a:pt x="276" y="720"/>
                  </a:lnTo>
                  <a:lnTo>
                    <a:pt x="276" y="714"/>
                  </a:lnTo>
                  <a:lnTo>
                    <a:pt x="282" y="714"/>
                  </a:lnTo>
                  <a:lnTo>
                    <a:pt x="276" y="714"/>
                  </a:lnTo>
                  <a:lnTo>
                    <a:pt x="276" y="708"/>
                  </a:lnTo>
                  <a:lnTo>
                    <a:pt x="270" y="708"/>
                  </a:lnTo>
                  <a:lnTo>
                    <a:pt x="270" y="702"/>
                  </a:lnTo>
                  <a:lnTo>
                    <a:pt x="264" y="702"/>
                  </a:lnTo>
                  <a:lnTo>
                    <a:pt x="270" y="702"/>
                  </a:lnTo>
                  <a:lnTo>
                    <a:pt x="264" y="696"/>
                  </a:lnTo>
                  <a:lnTo>
                    <a:pt x="270" y="696"/>
                  </a:lnTo>
                  <a:lnTo>
                    <a:pt x="270" y="690"/>
                  </a:lnTo>
                  <a:lnTo>
                    <a:pt x="264" y="690"/>
                  </a:lnTo>
                  <a:lnTo>
                    <a:pt x="264" y="684"/>
                  </a:lnTo>
                  <a:lnTo>
                    <a:pt x="264" y="678"/>
                  </a:lnTo>
                  <a:lnTo>
                    <a:pt x="258" y="678"/>
                  </a:lnTo>
                  <a:lnTo>
                    <a:pt x="258" y="672"/>
                  </a:lnTo>
                  <a:lnTo>
                    <a:pt x="258" y="666"/>
                  </a:lnTo>
                  <a:lnTo>
                    <a:pt x="252" y="666"/>
                  </a:lnTo>
                  <a:lnTo>
                    <a:pt x="258" y="666"/>
                  </a:lnTo>
                  <a:lnTo>
                    <a:pt x="252" y="660"/>
                  </a:lnTo>
                  <a:lnTo>
                    <a:pt x="252" y="654"/>
                  </a:lnTo>
                  <a:lnTo>
                    <a:pt x="252" y="660"/>
                  </a:lnTo>
                  <a:lnTo>
                    <a:pt x="252" y="654"/>
                  </a:lnTo>
                  <a:lnTo>
                    <a:pt x="252" y="648"/>
                  </a:lnTo>
                  <a:lnTo>
                    <a:pt x="252" y="642"/>
                  </a:lnTo>
                  <a:lnTo>
                    <a:pt x="246" y="642"/>
                  </a:lnTo>
                  <a:lnTo>
                    <a:pt x="252" y="642"/>
                  </a:lnTo>
                  <a:lnTo>
                    <a:pt x="246" y="642"/>
                  </a:lnTo>
                  <a:lnTo>
                    <a:pt x="246" y="636"/>
                  </a:lnTo>
                  <a:lnTo>
                    <a:pt x="246" y="630"/>
                  </a:lnTo>
                  <a:lnTo>
                    <a:pt x="240" y="630"/>
                  </a:lnTo>
                  <a:lnTo>
                    <a:pt x="234" y="630"/>
                  </a:lnTo>
                  <a:lnTo>
                    <a:pt x="234" y="624"/>
                  </a:lnTo>
                  <a:lnTo>
                    <a:pt x="228" y="624"/>
                  </a:lnTo>
                  <a:lnTo>
                    <a:pt x="222" y="624"/>
                  </a:lnTo>
                  <a:lnTo>
                    <a:pt x="222" y="630"/>
                  </a:lnTo>
                  <a:lnTo>
                    <a:pt x="216" y="630"/>
                  </a:lnTo>
                  <a:lnTo>
                    <a:pt x="216" y="624"/>
                  </a:lnTo>
                  <a:lnTo>
                    <a:pt x="216" y="630"/>
                  </a:lnTo>
                  <a:lnTo>
                    <a:pt x="210" y="630"/>
                  </a:lnTo>
                  <a:lnTo>
                    <a:pt x="204" y="630"/>
                  </a:lnTo>
                  <a:lnTo>
                    <a:pt x="198" y="624"/>
                  </a:lnTo>
                  <a:lnTo>
                    <a:pt x="192" y="624"/>
                  </a:lnTo>
                  <a:lnTo>
                    <a:pt x="186" y="630"/>
                  </a:lnTo>
                  <a:lnTo>
                    <a:pt x="180" y="630"/>
                  </a:lnTo>
                  <a:lnTo>
                    <a:pt x="174" y="630"/>
                  </a:lnTo>
                  <a:lnTo>
                    <a:pt x="168" y="624"/>
                  </a:lnTo>
                  <a:lnTo>
                    <a:pt x="162" y="624"/>
                  </a:lnTo>
                  <a:lnTo>
                    <a:pt x="156" y="624"/>
                  </a:lnTo>
                  <a:lnTo>
                    <a:pt x="156" y="630"/>
                  </a:lnTo>
                  <a:lnTo>
                    <a:pt x="150" y="630"/>
                  </a:lnTo>
                  <a:lnTo>
                    <a:pt x="144" y="630"/>
                  </a:lnTo>
                  <a:lnTo>
                    <a:pt x="138" y="630"/>
                  </a:lnTo>
                  <a:lnTo>
                    <a:pt x="132" y="630"/>
                  </a:lnTo>
                  <a:lnTo>
                    <a:pt x="126" y="630"/>
                  </a:lnTo>
                  <a:lnTo>
                    <a:pt x="120" y="630"/>
                  </a:lnTo>
                  <a:lnTo>
                    <a:pt x="114" y="630"/>
                  </a:lnTo>
                  <a:lnTo>
                    <a:pt x="114" y="624"/>
                  </a:lnTo>
                  <a:lnTo>
                    <a:pt x="108" y="624"/>
                  </a:lnTo>
                  <a:lnTo>
                    <a:pt x="108" y="630"/>
                  </a:lnTo>
                  <a:lnTo>
                    <a:pt x="102" y="630"/>
                  </a:lnTo>
                  <a:lnTo>
                    <a:pt x="102" y="624"/>
                  </a:lnTo>
                  <a:lnTo>
                    <a:pt x="96" y="624"/>
                  </a:lnTo>
                  <a:lnTo>
                    <a:pt x="90" y="630"/>
                  </a:lnTo>
                  <a:lnTo>
                    <a:pt x="84" y="630"/>
                  </a:lnTo>
                  <a:lnTo>
                    <a:pt x="78" y="630"/>
                  </a:lnTo>
                  <a:lnTo>
                    <a:pt x="72" y="624"/>
                  </a:lnTo>
                  <a:lnTo>
                    <a:pt x="66" y="624"/>
                  </a:lnTo>
                  <a:lnTo>
                    <a:pt x="66" y="630"/>
                  </a:lnTo>
                  <a:lnTo>
                    <a:pt x="60" y="624"/>
                  </a:lnTo>
                  <a:lnTo>
                    <a:pt x="54" y="630"/>
                  </a:lnTo>
                  <a:lnTo>
                    <a:pt x="48" y="630"/>
                  </a:lnTo>
                  <a:lnTo>
                    <a:pt x="48" y="624"/>
                  </a:lnTo>
                  <a:lnTo>
                    <a:pt x="48" y="630"/>
                  </a:lnTo>
                  <a:lnTo>
                    <a:pt x="42" y="630"/>
                  </a:lnTo>
                  <a:lnTo>
                    <a:pt x="36" y="630"/>
                  </a:lnTo>
                  <a:lnTo>
                    <a:pt x="30" y="630"/>
                  </a:lnTo>
                  <a:lnTo>
                    <a:pt x="30" y="636"/>
                  </a:lnTo>
                  <a:lnTo>
                    <a:pt x="24" y="636"/>
                  </a:lnTo>
                  <a:lnTo>
                    <a:pt x="18" y="636"/>
                  </a:lnTo>
                  <a:lnTo>
                    <a:pt x="12" y="636"/>
                  </a:lnTo>
                  <a:lnTo>
                    <a:pt x="18" y="636"/>
                  </a:lnTo>
                  <a:lnTo>
                    <a:pt x="18" y="630"/>
                  </a:lnTo>
                  <a:lnTo>
                    <a:pt x="12" y="636"/>
                  </a:lnTo>
                  <a:lnTo>
                    <a:pt x="12" y="630"/>
                  </a:lnTo>
                  <a:lnTo>
                    <a:pt x="6" y="630"/>
                  </a:lnTo>
                  <a:lnTo>
                    <a:pt x="6" y="624"/>
                  </a:lnTo>
                  <a:lnTo>
                    <a:pt x="0" y="624"/>
                  </a:lnTo>
                  <a:lnTo>
                    <a:pt x="0" y="618"/>
                  </a:lnTo>
                  <a:lnTo>
                    <a:pt x="6" y="618"/>
                  </a:lnTo>
                  <a:lnTo>
                    <a:pt x="12" y="618"/>
                  </a:lnTo>
                  <a:lnTo>
                    <a:pt x="18" y="618"/>
                  </a:lnTo>
                  <a:lnTo>
                    <a:pt x="18" y="612"/>
                  </a:lnTo>
                  <a:lnTo>
                    <a:pt x="18" y="606"/>
                  </a:lnTo>
                  <a:lnTo>
                    <a:pt x="18" y="600"/>
                  </a:lnTo>
                  <a:lnTo>
                    <a:pt x="18" y="594"/>
                  </a:lnTo>
                  <a:lnTo>
                    <a:pt x="18" y="588"/>
                  </a:lnTo>
                  <a:lnTo>
                    <a:pt x="18" y="582"/>
                  </a:lnTo>
                  <a:lnTo>
                    <a:pt x="24" y="582"/>
                  </a:lnTo>
                  <a:lnTo>
                    <a:pt x="24" y="576"/>
                  </a:lnTo>
                  <a:lnTo>
                    <a:pt x="30" y="576"/>
                  </a:lnTo>
                  <a:lnTo>
                    <a:pt x="30" y="570"/>
                  </a:lnTo>
                  <a:lnTo>
                    <a:pt x="36" y="570"/>
                  </a:lnTo>
                  <a:lnTo>
                    <a:pt x="36" y="564"/>
                  </a:lnTo>
                  <a:lnTo>
                    <a:pt x="42" y="564"/>
                  </a:lnTo>
                  <a:lnTo>
                    <a:pt x="48" y="564"/>
                  </a:lnTo>
                  <a:lnTo>
                    <a:pt x="48" y="558"/>
                  </a:lnTo>
                  <a:lnTo>
                    <a:pt x="54" y="558"/>
                  </a:lnTo>
                  <a:lnTo>
                    <a:pt x="60" y="558"/>
                  </a:lnTo>
                  <a:lnTo>
                    <a:pt x="60" y="564"/>
                  </a:lnTo>
                  <a:lnTo>
                    <a:pt x="66" y="564"/>
                  </a:lnTo>
                  <a:lnTo>
                    <a:pt x="66" y="570"/>
                  </a:lnTo>
                  <a:lnTo>
                    <a:pt x="72" y="576"/>
                  </a:lnTo>
                  <a:lnTo>
                    <a:pt x="72" y="570"/>
                  </a:lnTo>
                  <a:lnTo>
                    <a:pt x="78" y="570"/>
                  </a:lnTo>
                  <a:lnTo>
                    <a:pt x="78" y="564"/>
                  </a:lnTo>
                  <a:lnTo>
                    <a:pt x="84" y="564"/>
                  </a:lnTo>
                  <a:lnTo>
                    <a:pt x="84" y="558"/>
                  </a:lnTo>
                  <a:lnTo>
                    <a:pt x="90" y="558"/>
                  </a:lnTo>
                  <a:lnTo>
                    <a:pt x="90" y="552"/>
                  </a:lnTo>
                  <a:lnTo>
                    <a:pt x="84" y="552"/>
                  </a:lnTo>
                  <a:lnTo>
                    <a:pt x="84" y="546"/>
                  </a:lnTo>
                  <a:lnTo>
                    <a:pt x="90" y="546"/>
                  </a:lnTo>
                  <a:lnTo>
                    <a:pt x="96" y="546"/>
                  </a:lnTo>
                  <a:lnTo>
                    <a:pt x="96" y="552"/>
                  </a:lnTo>
                  <a:lnTo>
                    <a:pt x="102" y="552"/>
                  </a:lnTo>
                  <a:lnTo>
                    <a:pt x="102" y="546"/>
                  </a:lnTo>
                  <a:lnTo>
                    <a:pt x="108" y="546"/>
                  </a:lnTo>
                  <a:lnTo>
                    <a:pt x="114" y="546"/>
                  </a:lnTo>
                  <a:lnTo>
                    <a:pt x="114" y="540"/>
                  </a:lnTo>
                  <a:lnTo>
                    <a:pt x="120" y="540"/>
                  </a:lnTo>
                  <a:lnTo>
                    <a:pt x="126" y="540"/>
                  </a:lnTo>
                  <a:lnTo>
                    <a:pt x="126" y="546"/>
                  </a:lnTo>
                  <a:lnTo>
                    <a:pt x="126" y="552"/>
                  </a:lnTo>
                  <a:lnTo>
                    <a:pt x="120" y="552"/>
                  </a:lnTo>
                  <a:lnTo>
                    <a:pt x="120" y="558"/>
                  </a:lnTo>
                  <a:lnTo>
                    <a:pt x="126" y="558"/>
                  </a:lnTo>
                  <a:lnTo>
                    <a:pt x="120" y="558"/>
                  </a:lnTo>
                  <a:lnTo>
                    <a:pt x="126" y="558"/>
                  </a:lnTo>
                  <a:lnTo>
                    <a:pt x="126" y="564"/>
                  </a:lnTo>
                  <a:lnTo>
                    <a:pt x="126" y="570"/>
                  </a:lnTo>
                  <a:lnTo>
                    <a:pt x="132" y="570"/>
                  </a:lnTo>
                  <a:lnTo>
                    <a:pt x="138" y="570"/>
                  </a:lnTo>
                  <a:lnTo>
                    <a:pt x="138" y="576"/>
                  </a:lnTo>
                  <a:lnTo>
                    <a:pt x="144" y="570"/>
                  </a:lnTo>
                  <a:lnTo>
                    <a:pt x="150" y="570"/>
                  </a:lnTo>
                  <a:lnTo>
                    <a:pt x="150" y="564"/>
                  </a:lnTo>
                  <a:lnTo>
                    <a:pt x="150" y="558"/>
                  </a:lnTo>
                  <a:lnTo>
                    <a:pt x="156" y="558"/>
                  </a:lnTo>
                  <a:lnTo>
                    <a:pt x="162" y="552"/>
                  </a:lnTo>
                  <a:lnTo>
                    <a:pt x="168" y="546"/>
                  </a:lnTo>
                  <a:lnTo>
                    <a:pt x="168" y="540"/>
                  </a:lnTo>
                  <a:lnTo>
                    <a:pt x="174" y="540"/>
                  </a:lnTo>
                  <a:lnTo>
                    <a:pt x="180" y="540"/>
                  </a:lnTo>
                  <a:lnTo>
                    <a:pt x="186" y="540"/>
                  </a:lnTo>
                  <a:lnTo>
                    <a:pt x="186" y="534"/>
                  </a:lnTo>
                  <a:lnTo>
                    <a:pt x="186" y="528"/>
                  </a:lnTo>
                  <a:lnTo>
                    <a:pt x="186" y="522"/>
                  </a:lnTo>
                  <a:lnTo>
                    <a:pt x="192" y="522"/>
                  </a:lnTo>
                  <a:lnTo>
                    <a:pt x="198" y="522"/>
                  </a:lnTo>
                  <a:lnTo>
                    <a:pt x="204" y="522"/>
                  </a:lnTo>
                  <a:lnTo>
                    <a:pt x="210" y="522"/>
                  </a:lnTo>
                  <a:lnTo>
                    <a:pt x="210" y="516"/>
                  </a:lnTo>
                  <a:lnTo>
                    <a:pt x="210" y="510"/>
                  </a:lnTo>
                  <a:lnTo>
                    <a:pt x="216" y="510"/>
                  </a:lnTo>
                  <a:lnTo>
                    <a:pt x="216" y="504"/>
                  </a:lnTo>
                  <a:lnTo>
                    <a:pt x="216" y="498"/>
                  </a:lnTo>
                  <a:lnTo>
                    <a:pt x="222" y="498"/>
                  </a:lnTo>
                  <a:lnTo>
                    <a:pt x="222" y="492"/>
                  </a:lnTo>
                  <a:lnTo>
                    <a:pt x="222" y="486"/>
                  </a:lnTo>
                  <a:lnTo>
                    <a:pt x="228" y="486"/>
                  </a:lnTo>
                  <a:lnTo>
                    <a:pt x="228" y="480"/>
                  </a:lnTo>
                  <a:lnTo>
                    <a:pt x="222" y="480"/>
                  </a:lnTo>
                  <a:lnTo>
                    <a:pt x="222" y="474"/>
                  </a:lnTo>
                  <a:lnTo>
                    <a:pt x="222" y="468"/>
                  </a:lnTo>
                  <a:lnTo>
                    <a:pt x="222" y="462"/>
                  </a:lnTo>
                  <a:lnTo>
                    <a:pt x="222" y="456"/>
                  </a:lnTo>
                  <a:lnTo>
                    <a:pt x="222" y="450"/>
                  </a:lnTo>
                  <a:lnTo>
                    <a:pt x="228" y="450"/>
                  </a:lnTo>
                  <a:lnTo>
                    <a:pt x="228" y="444"/>
                  </a:lnTo>
                  <a:lnTo>
                    <a:pt x="228" y="438"/>
                  </a:lnTo>
                  <a:lnTo>
                    <a:pt x="222" y="438"/>
                  </a:lnTo>
                  <a:lnTo>
                    <a:pt x="222" y="432"/>
                  </a:lnTo>
                  <a:lnTo>
                    <a:pt x="222" y="426"/>
                  </a:lnTo>
                  <a:lnTo>
                    <a:pt x="222" y="420"/>
                  </a:lnTo>
                  <a:lnTo>
                    <a:pt x="228" y="420"/>
                  </a:lnTo>
                  <a:lnTo>
                    <a:pt x="228" y="414"/>
                  </a:lnTo>
                  <a:lnTo>
                    <a:pt x="234" y="414"/>
                  </a:lnTo>
                  <a:lnTo>
                    <a:pt x="234" y="408"/>
                  </a:lnTo>
                  <a:lnTo>
                    <a:pt x="240" y="408"/>
                  </a:lnTo>
                  <a:lnTo>
                    <a:pt x="240" y="402"/>
                  </a:lnTo>
                  <a:lnTo>
                    <a:pt x="246" y="402"/>
                  </a:lnTo>
                  <a:lnTo>
                    <a:pt x="246" y="396"/>
                  </a:lnTo>
                  <a:lnTo>
                    <a:pt x="252" y="390"/>
                  </a:lnTo>
                  <a:lnTo>
                    <a:pt x="252" y="384"/>
                  </a:lnTo>
                  <a:lnTo>
                    <a:pt x="252" y="378"/>
                  </a:lnTo>
                  <a:lnTo>
                    <a:pt x="258" y="378"/>
                  </a:lnTo>
                  <a:lnTo>
                    <a:pt x="258" y="372"/>
                  </a:lnTo>
                  <a:lnTo>
                    <a:pt x="264" y="366"/>
                  </a:lnTo>
                  <a:lnTo>
                    <a:pt x="270" y="366"/>
                  </a:lnTo>
                  <a:lnTo>
                    <a:pt x="270" y="360"/>
                  </a:lnTo>
                  <a:lnTo>
                    <a:pt x="276" y="360"/>
                  </a:lnTo>
                  <a:lnTo>
                    <a:pt x="282" y="360"/>
                  </a:lnTo>
                  <a:lnTo>
                    <a:pt x="282" y="354"/>
                  </a:lnTo>
                  <a:lnTo>
                    <a:pt x="288" y="354"/>
                  </a:lnTo>
                  <a:lnTo>
                    <a:pt x="294" y="348"/>
                  </a:lnTo>
                  <a:lnTo>
                    <a:pt x="300" y="342"/>
                  </a:lnTo>
                  <a:lnTo>
                    <a:pt x="300" y="336"/>
                  </a:lnTo>
                  <a:lnTo>
                    <a:pt x="306" y="336"/>
                  </a:lnTo>
                  <a:lnTo>
                    <a:pt x="306" y="330"/>
                  </a:lnTo>
                  <a:lnTo>
                    <a:pt x="312" y="324"/>
                  </a:lnTo>
                  <a:lnTo>
                    <a:pt x="312" y="318"/>
                  </a:lnTo>
                  <a:lnTo>
                    <a:pt x="306" y="312"/>
                  </a:lnTo>
                  <a:lnTo>
                    <a:pt x="306" y="306"/>
                  </a:lnTo>
                  <a:lnTo>
                    <a:pt x="312" y="306"/>
                  </a:lnTo>
                  <a:lnTo>
                    <a:pt x="312" y="300"/>
                  </a:lnTo>
                  <a:lnTo>
                    <a:pt x="312" y="294"/>
                  </a:lnTo>
                  <a:lnTo>
                    <a:pt x="312" y="288"/>
                  </a:lnTo>
                  <a:lnTo>
                    <a:pt x="318" y="288"/>
                  </a:lnTo>
                  <a:lnTo>
                    <a:pt x="318" y="282"/>
                  </a:lnTo>
                  <a:lnTo>
                    <a:pt x="324" y="282"/>
                  </a:lnTo>
                  <a:lnTo>
                    <a:pt x="324" y="276"/>
                  </a:lnTo>
                  <a:lnTo>
                    <a:pt x="324" y="270"/>
                  </a:lnTo>
                  <a:lnTo>
                    <a:pt x="318" y="270"/>
                  </a:lnTo>
                  <a:lnTo>
                    <a:pt x="318" y="264"/>
                  </a:lnTo>
                  <a:lnTo>
                    <a:pt x="318" y="258"/>
                  </a:lnTo>
                  <a:lnTo>
                    <a:pt x="318" y="252"/>
                  </a:lnTo>
                  <a:lnTo>
                    <a:pt x="318" y="246"/>
                  </a:lnTo>
                  <a:lnTo>
                    <a:pt x="318" y="240"/>
                  </a:lnTo>
                  <a:lnTo>
                    <a:pt x="318" y="234"/>
                  </a:lnTo>
                  <a:lnTo>
                    <a:pt x="324" y="234"/>
                  </a:lnTo>
                  <a:lnTo>
                    <a:pt x="324" y="228"/>
                  </a:lnTo>
                  <a:lnTo>
                    <a:pt x="324" y="222"/>
                  </a:lnTo>
                  <a:lnTo>
                    <a:pt x="324" y="216"/>
                  </a:lnTo>
                  <a:lnTo>
                    <a:pt x="330" y="216"/>
                  </a:lnTo>
                  <a:lnTo>
                    <a:pt x="330" y="210"/>
                  </a:lnTo>
                  <a:lnTo>
                    <a:pt x="330" y="204"/>
                  </a:lnTo>
                  <a:lnTo>
                    <a:pt x="330" y="198"/>
                  </a:lnTo>
                  <a:lnTo>
                    <a:pt x="330" y="192"/>
                  </a:lnTo>
                  <a:lnTo>
                    <a:pt x="330" y="186"/>
                  </a:lnTo>
                  <a:lnTo>
                    <a:pt x="330" y="180"/>
                  </a:lnTo>
                  <a:lnTo>
                    <a:pt x="330" y="174"/>
                  </a:lnTo>
                  <a:lnTo>
                    <a:pt x="336" y="174"/>
                  </a:lnTo>
                  <a:lnTo>
                    <a:pt x="336" y="168"/>
                  </a:lnTo>
                  <a:lnTo>
                    <a:pt x="336" y="162"/>
                  </a:lnTo>
                  <a:lnTo>
                    <a:pt x="342" y="156"/>
                  </a:lnTo>
                  <a:lnTo>
                    <a:pt x="342" y="150"/>
                  </a:lnTo>
                  <a:lnTo>
                    <a:pt x="348" y="150"/>
                  </a:lnTo>
                  <a:lnTo>
                    <a:pt x="348" y="144"/>
                  </a:lnTo>
                  <a:lnTo>
                    <a:pt x="348" y="138"/>
                  </a:lnTo>
                  <a:lnTo>
                    <a:pt x="348" y="132"/>
                  </a:lnTo>
                  <a:lnTo>
                    <a:pt x="354" y="132"/>
                  </a:lnTo>
                  <a:lnTo>
                    <a:pt x="354" y="126"/>
                  </a:lnTo>
                  <a:lnTo>
                    <a:pt x="360" y="126"/>
                  </a:lnTo>
                  <a:lnTo>
                    <a:pt x="360" y="120"/>
                  </a:lnTo>
                  <a:lnTo>
                    <a:pt x="360" y="114"/>
                  </a:lnTo>
                  <a:lnTo>
                    <a:pt x="360" y="108"/>
                  </a:lnTo>
                  <a:lnTo>
                    <a:pt x="360" y="102"/>
                  </a:lnTo>
                  <a:lnTo>
                    <a:pt x="360" y="96"/>
                  </a:lnTo>
                  <a:lnTo>
                    <a:pt x="360" y="90"/>
                  </a:lnTo>
                  <a:lnTo>
                    <a:pt x="360" y="84"/>
                  </a:lnTo>
                  <a:lnTo>
                    <a:pt x="360" y="78"/>
                  </a:lnTo>
                  <a:lnTo>
                    <a:pt x="360" y="72"/>
                  </a:lnTo>
                  <a:lnTo>
                    <a:pt x="360" y="66"/>
                  </a:lnTo>
                  <a:lnTo>
                    <a:pt x="354" y="66"/>
                  </a:lnTo>
                  <a:lnTo>
                    <a:pt x="354" y="60"/>
                  </a:lnTo>
                  <a:lnTo>
                    <a:pt x="360" y="54"/>
                  </a:lnTo>
                  <a:lnTo>
                    <a:pt x="360" y="60"/>
                  </a:lnTo>
                  <a:lnTo>
                    <a:pt x="360" y="54"/>
                  </a:lnTo>
                  <a:lnTo>
                    <a:pt x="366" y="54"/>
                  </a:lnTo>
                  <a:lnTo>
                    <a:pt x="372" y="48"/>
                  </a:lnTo>
                  <a:lnTo>
                    <a:pt x="372" y="42"/>
                  </a:lnTo>
                  <a:lnTo>
                    <a:pt x="378" y="42"/>
                  </a:lnTo>
                  <a:lnTo>
                    <a:pt x="378" y="36"/>
                  </a:lnTo>
                  <a:lnTo>
                    <a:pt x="384" y="30"/>
                  </a:lnTo>
                  <a:lnTo>
                    <a:pt x="384" y="24"/>
                  </a:lnTo>
                  <a:lnTo>
                    <a:pt x="390" y="24"/>
                  </a:lnTo>
                  <a:lnTo>
                    <a:pt x="390" y="18"/>
                  </a:lnTo>
                  <a:lnTo>
                    <a:pt x="396" y="18"/>
                  </a:lnTo>
                  <a:lnTo>
                    <a:pt x="402" y="18"/>
                  </a:lnTo>
                  <a:lnTo>
                    <a:pt x="402" y="12"/>
                  </a:lnTo>
                  <a:lnTo>
                    <a:pt x="408" y="12"/>
                  </a:lnTo>
                  <a:lnTo>
                    <a:pt x="414" y="12"/>
                  </a:lnTo>
                  <a:lnTo>
                    <a:pt x="420" y="12"/>
                  </a:lnTo>
                  <a:lnTo>
                    <a:pt x="426" y="18"/>
                  </a:lnTo>
                  <a:lnTo>
                    <a:pt x="432" y="18"/>
                  </a:lnTo>
                  <a:lnTo>
                    <a:pt x="432" y="24"/>
                  </a:lnTo>
                  <a:lnTo>
                    <a:pt x="438" y="24"/>
                  </a:lnTo>
                  <a:lnTo>
                    <a:pt x="444" y="24"/>
                  </a:lnTo>
                  <a:lnTo>
                    <a:pt x="444" y="30"/>
                  </a:lnTo>
                  <a:lnTo>
                    <a:pt x="450" y="30"/>
                  </a:lnTo>
                  <a:lnTo>
                    <a:pt x="450" y="36"/>
                  </a:lnTo>
                  <a:lnTo>
                    <a:pt x="456" y="36"/>
                  </a:lnTo>
                  <a:lnTo>
                    <a:pt x="462" y="42"/>
                  </a:lnTo>
                  <a:lnTo>
                    <a:pt x="462" y="48"/>
                  </a:lnTo>
                  <a:lnTo>
                    <a:pt x="462" y="54"/>
                  </a:lnTo>
                  <a:lnTo>
                    <a:pt x="468" y="54"/>
                  </a:lnTo>
                  <a:lnTo>
                    <a:pt x="474" y="54"/>
                  </a:lnTo>
                  <a:lnTo>
                    <a:pt x="480" y="54"/>
                  </a:lnTo>
                  <a:lnTo>
                    <a:pt x="486" y="54"/>
                  </a:lnTo>
                  <a:lnTo>
                    <a:pt x="492" y="54"/>
                  </a:lnTo>
                  <a:lnTo>
                    <a:pt x="498" y="54"/>
                  </a:lnTo>
                  <a:lnTo>
                    <a:pt x="498" y="60"/>
                  </a:lnTo>
                  <a:lnTo>
                    <a:pt x="504" y="60"/>
                  </a:lnTo>
                  <a:lnTo>
                    <a:pt x="510" y="60"/>
                  </a:lnTo>
                  <a:lnTo>
                    <a:pt x="516" y="60"/>
                  </a:lnTo>
                  <a:lnTo>
                    <a:pt x="522" y="60"/>
                  </a:lnTo>
                  <a:lnTo>
                    <a:pt x="528" y="60"/>
                  </a:lnTo>
                  <a:lnTo>
                    <a:pt x="534" y="60"/>
                  </a:lnTo>
                  <a:lnTo>
                    <a:pt x="540" y="60"/>
                  </a:lnTo>
                  <a:lnTo>
                    <a:pt x="540" y="66"/>
                  </a:lnTo>
                  <a:lnTo>
                    <a:pt x="546" y="66"/>
                  </a:lnTo>
                  <a:lnTo>
                    <a:pt x="552" y="66"/>
                  </a:lnTo>
                  <a:lnTo>
                    <a:pt x="558" y="66"/>
                  </a:lnTo>
                  <a:lnTo>
                    <a:pt x="558" y="72"/>
                  </a:lnTo>
                  <a:lnTo>
                    <a:pt x="564" y="72"/>
                  </a:lnTo>
                  <a:lnTo>
                    <a:pt x="570" y="72"/>
                  </a:lnTo>
                  <a:lnTo>
                    <a:pt x="576" y="66"/>
                  </a:lnTo>
                  <a:lnTo>
                    <a:pt x="576" y="60"/>
                  </a:lnTo>
                  <a:lnTo>
                    <a:pt x="582" y="60"/>
                  </a:lnTo>
                  <a:lnTo>
                    <a:pt x="582" y="54"/>
                  </a:lnTo>
                  <a:lnTo>
                    <a:pt x="582" y="48"/>
                  </a:lnTo>
                  <a:lnTo>
                    <a:pt x="588" y="48"/>
                  </a:lnTo>
                  <a:lnTo>
                    <a:pt x="588" y="42"/>
                  </a:lnTo>
                  <a:lnTo>
                    <a:pt x="588" y="36"/>
                  </a:lnTo>
                  <a:lnTo>
                    <a:pt x="594" y="36"/>
                  </a:lnTo>
                  <a:lnTo>
                    <a:pt x="600" y="36"/>
                  </a:lnTo>
                  <a:lnTo>
                    <a:pt x="594" y="36"/>
                  </a:lnTo>
                  <a:lnTo>
                    <a:pt x="594" y="30"/>
                  </a:lnTo>
                  <a:lnTo>
                    <a:pt x="600" y="30"/>
                  </a:lnTo>
                  <a:lnTo>
                    <a:pt x="600" y="36"/>
                  </a:lnTo>
                  <a:lnTo>
                    <a:pt x="606" y="36"/>
                  </a:lnTo>
                  <a:lnTo>
                    <a:pt x="612" y="36"/>
                  </a:lnTo>
                  <a:lnTo>
                    <a:pt x="618" y="36"/>
                  </a:lnTo>
                  <a:lnTo>
                    <a:pt x="618" y="42"/>
                  </a:lnTo>
                  <a:lnTo>
                    <a:pt x="624" y="42"/>
                  </a:lnTo>
                  <a:lnTo>
                    <a:pt x="630" y="42"/>
                  </a:lnTo>
                  <a:lnTo>
                    <a:pt x="630" y="36"/>
                  </a:lnTo>
                  <a:lnTo>
                    <a:pt x="636" y="36"/>
                  </a:lnTo>
                  <a:lnTo>
                    <a:pt x="642" y="36"/>
                  </a:lnTo>
                  <a:lnTo>
                    <a:pt x="642" y="30"/>
                  </a:lnTo>
                  <a:lnTo>
                    <a:pt x="648" y="36"/>
                  </a:lnTo>
                  <a:lnTo>
                    <a:pt x="648" y="30"/>
                  </a:lnTo>
                  <a:lnTo>
                    <a:pt x="654" y="30"/>
                  </a:lnTo>
                  <a:lnTo>
                    <a:pt x="660" y="30"/>
                  </a:lnTo>
                  <a:lnTo>
                    <a:pt x="660" y="24"/>
                  </a:lnTo>
                  <a:lnTo>
                    <a:pt x="666" y="24"/>
                  </a:lnTo>
                  <a:lnTo>
                    <a:pt x="672" y="24"/>
                  </a:lnTo>
                  <a:lnTo>
                    <a:pt x="672" y="18"/>
                  </a:lnTo>
                  <a:lnTo>
                    <a:pt x="678" y="18"/>
                  </a:lnTo>
                  <a:lnTo>
                    <a:pt x="684" y="18"/>
                  </a:lnTo>
                  <a:lnTo>
                    <a:pt x="678" y="18"/>
                  </a:lnTo>
                  <a:lnTo>
                    <a:pt x="678" y="12"/>
                  </a:lnTo>
                  <a:lnTo>
                    <a:pt x="684" y="12"/>
                  </a:lnTo>
                  <a:lnTo>
                    <a:pt x="684" y="18"/>
                  </a:lnTo>
                  <a:lnTo>
                    <a:pt x="684" y="12"/>
                  </a:lnTo>
                  <a:lnTo>
                    <a:pt x="684" y="18"/>
                  </a:lnTo>
                  <a:lnTo>
                    <a:pt x="690" y="18"/>
                  </a:lnTo>
                  <a:lnTo>
                    <a:pt x="696" y="18"/>
                  </a:lnTo>
                  <a:lnTo>
                    <a:pt x="696" y="24"/>
                  </a:lnTo>
                  <a:lnTo>
                    <a:pt x="702" y="24"/>
                  </a:lnTo>
                  <a:lnTo>
                    <a:pt x="708" y="24"/>
                  </a:lnTo>
                  <a:lnTo>
                    <a:pt x="714" y="24"/>
                  </a:lnTo>
                  <a:lnTo>
                    <a:pt x="720" y="24"/>
                  </a:lnTo>
                  <a:lnTo>
                    <a:pt x="720" y="18"/>
                  </a:lnTo>
                  <a:lnTo>
                    <a:pt x="726" y="18"/>
                  </a:lnTo>
                  <a:lnTo>
                    <a:pt x="732" y="18"/>
                  </a:lnTo>
                  <a:lnTo>
                    <a:pt x="732" y="12"/>
                  </a:lnTo>
                  <a:lnTo>
                    <a:pt x="732" y="6"/>
                  </a:lnTo>
                  <a:lnTo>
                    <a:pt x="738" y="6"/>
                  </a:lnTo>
                  <a:lnTo>
                    <a:pt x="732" y="6"/>
                  </a:lnTo>
                  <a:lnTo>
                    <a:pt x="732" y="0"/>
                  </a:lnTo>
                  <a:lnTo>
                    <a:pt x="738" y="0"/>
                  </a:lnTo>
                  <a:lnTo>
                    <a:pt x="744" y="0"/>
                  </a:lnTo>
                  <a:lnTo>
                    <a:pt x="750" y="0"/>
                  </a:lnTo>
                  <a:lnTo>
                    <a:pt x="750" y="6"/>
                  </a:lnTo>
                  <a:lnTo>
                    <a:pt x="750" y="0"/>
                  </a:lnTo>
                  <a:lnTo>
                    <a:pt x="750" y="6"/>
                  </a:lnTo>
                  <a:lnTo>
                    <a:pt x="756" y="6"/>
                  </a:lnTo>
                  <a:lnTo>
                    <a:pt x="762" y="6"/>
                  </a:lnTo>
                  <a:lnTo>
                    <a:pt x="762" y="12"/>
                  </a:lnTo>
                  <a:lnTo>
                    <a:pt x="762" y="6"/>
                  </a:lnTo>
                  <a:lnTo>
                    <a:pt x="762" y="12"/>
                  </a:lnTo>
                  <a:lnTo>
                    <a:pt x="768" y="12"/>
                  </a:lnTo>
                  <a:lnTo>
                    <a:pt x="762" y="12"/>
                  </a:lnTo>
                  <a:lnTo>
                    <a:pt x="768" y="12"/>
                  </a:lnTo>
                  <a:lnTo>
                    <a:pt x="768" y="6"/>
                  </a:lnTo>
                  <a:lnTo>
                    <a:pt x="768" y="12"/>
                  </a:lnTo>
                  <a:lnTo>
                    <a:pt x="774" y="12"/>
                  </a:lnTo>
                  <a:lnTo>
                    <a:pt x="774" y="6"/>
                  </a:lnTo>
                  <a:lnTo>
                    <a:pt x="774" y="12"/>
                  </a:lnTo>
                  <a:lnTo>
                    <a:pt x="774" y="6"/>
                  </a:lnTo>
                  <a:lnTo>
                    <a:pt x="774" y="12"/>
                  </a:lnTo>
                  <a:lnTo>
                    <a:pt x="774" y="6"/>
                  </a:lnTo>
                  <a:lnTo>
                    <a:pt x="780" y="6"/>
                  </a:lnTo>
                  <a:lnTo>
                    <a:pt x="780" y="12"/>
                  </a:lnTo>
                  <a:lnTo>
                    <a:pt x="786" y="12"/>
                  </a:lnTo>
                  <a:lnTo>
                    <a:pt x="780" y="12"/>
                  </a:lnTo>
                  <a:lnTo>
                    <a:pt x="786" y="12"/>
                  </a:lnTo>
                  <a:lnTo>
                    <a:pt x="792" y="12"/>
                  </a:lnTo>
                  <a:lnTo>
                    <a:pt x="792" y="18"/>
                  </a:lnTo>
                  <a:lnTo>
                    <a:pt x="798" y="18"/>
                  </a:lnTo>
                  <a:lnTo>
                    <a:pt x="792" y="18"/>
                  </a:lnTo>
                  <a:lnTo>
                    <a:pt x="798" y="18"/>
                  </a:lnTo>
                  <a:lnTo>
                    <a:pt x="804" y="18"/>
                  </a:lnTo>
                  <a:lnTo>
                    <a:pt x="810" y="18"/>
                  </a:lnTo>
                  <a:lnTo>
                    <a:pt x="810" y="12"/>
                  </a:lnTo>
                  <a:lnTo>
                    <a:pt x="810" y="18"/>
                  </a:lnTo>
                  <a:lnTo>
                    <a:pt x="816" y="18"/>
                  </a:lnTo>
                  <a:lnTo>
                    <a:pt x="822" y="18"/>
                  </a:lnTo>
                  <a:lnTo>
                    <a:pt x="822" y="12"/>
                  </a:lnTo>
                  <a:lnTo>
                    <a:pt x="828" y="12"/>
                  </a:lnTo>
                  <a:lnTo>
                    <a:pt x="834" y="12"/>
                  </a:lnTo>
                  <a:lnTo>
                    <a:pt x="840" y="12"/>
                  </a:lnTo>
                  <a:lnTo>
                    <a:pt x="846" y="12"/>
                  </a:lnTo>
                  <a:lnTo>
                    <a:pt x="846" y="18"/>
                  </a:lnTo>
                  <a:lnTo>
                    <a:pt x="852" y="18"/>
                  </a:lnTo>
                  <a:lnTo>
                    <a:pt x="852" y="24"/>
                  </a:lnTo>
                  <a:lnTo>
                    <a:pt x="858" y="24"/>
                  </a:lnTo>
                  <a:lnTo>
                    <a:pt x="858" y="30"/>
                  </a:lnTo>
                  <a:lnTo>
                    <a:pt x="858" y="24"/>
                  </a:lnTo>
                  <a:lnTo>
                    <a:pt x="864" y="24"/>
                  </a:lnTo>
                  <a:lnTo>
                    <a:pt x="864" y="30"/>
                  </a:lnTo>
                  <a:lnTo>
                    <a:pt x="870" y="30"/>
                  </a:lnTo>
                  <a:lnTo>
                    <a:pt x="870" y="36"/>
                  </a:lnTo>
                  <a:lnTo>
                    <a:pt x="870" y="42"/>
                  </a:lnTo>
                  <a:lnTo>
                    <a:pt x="876" y="48"/>
                  </a:lnTo>
                  <a:lnTo>
                    <a:pt x="876" y="42"/>
                  </a:lnTo>
                  <a:lnTo>
                    <a:pt x="876" y="48"/>
                  </a:lnTo>
                  <a:lnTo>
                    <a:pt x="882" y="48"/>
                  </a:lnTo>
                  <a:lnTo>
                    <a:pt x="882" y="54"/>
                  </a:lnTo>
                  <a:lnTo>
                    <a:pt x="888" y="54"/>
                  </a:lnTo>
                  <a:lnTo>
                    <a:pt x="894" y="54"/>
                  </a:lnTo>
                  <a:lnTo>
                    <a:pt x="894" y="60"/>
                  </a:lnTo>
                  <a:lnTo>
                    <a:pt x="894" y="54"/>
                  </a:lnTo>
                  <a:lnTo>
                    <a:pt x="894" y="60"/>
                  </a:lnTo>
                  <a:lnTo>
                    <a:pt x="900" y="60"/>
                  </a:lnTo>
                  <a:lnTo>
                    <a:pt x="900" y="54"/>
                  </a:lnTo>
                  <a:lnTo>
                    <a:pt x="900" y="60"/>
                  </a:lnTo>
                  <a:lnTo>
                    <a:pt x="906" y="60"/>
                  </a:lnTo>
                  <a:lnTo>
                    <a:pt x="912" y="54"/>
                  </a:lnTo>
                  <a:lnTo>
                    <a:pt x="918" y="54"/>
                  </a:lnTo>
                  <a:lnTo>
                    <a:pt x="918" y="48"/>
                  </a:lnTo>
                  <a:lnTo>
                    <a:pt x="924" y="48"/>
                  </a:lnTo>
                  <a:lnTo>
                    <a:pt x="918" y="48"/>
                  </a:lnTo>
                  <a:lnTo>
                    <a:pt x="924" y="48"/>
                  </a:lnTo>
                  <a:lnTo>
                    <a:pt x="930" y="48"/>
                  </a:lnTo>
                  <a:lnTo>
                    <a:pt x="936" y="48"/>
                  </a:lnTo>
                  <a:lnTo>
                    <a:pt x="942" y="54"/>
                  </a:lnTo>
                  <a:lnTo>
                    <a:pt x="948" y="54"/>
                  </a:lnTo>
                  <a:lnTo>
                    <a:pt x="948" y="60"/>
                  </a:lnTo>
                  <a:lnTo>
                    <a:pt x="948" y="54"/>
                  </a:lnTo>
                  <a:lnTo>
                    <a:pt x="954" y="54"/>
                  </a:lnTo>
                  <a:lnTo>
                    <a:pt x="954" y="48"/>
                  </a:lnTo>
                  <a:lnTo>
                    <a:pt x="960" y="48"/>
                  </a:lnTo>
                  <a:lnTo>
                    <a:pt x="960" y="42"/>
                  </a:lnTo>
                  <a:lnTo>
                    <a:pt x="966" y="42"/>
                  </a:lnTo>
                  <a:lnTo>
                    <a:pt x="960" y="42"/>
                  </a:lnTo>
                  <a:lnTo>
                    <a:pt x="966" y="42"/>
                  </a:lnTo>
                  <a:lnTo>
                    <a:pt x="966" y="36"/>
                  </a:lnTo>
                  <a:lnTo>
                    <a:pt x="966" y="42"/>
                  </a:lnTo>
                  <a:lnTo>
                    <a:pt x="972" y="42"/>
                  </a:lnTo>
                  <a:lnTo>
                    <a:pt x="978" y="42"/>
                  </a:lnTo>
                  <a:lnTo>
                    <a:pt x="978" y="48"/>
                  </a:lnTo>
                  <a:lnTo>
                    <a:pt x="984" y="48"/>
                  </a:lnTo>
                  <a:lnTo>
                    <a:pt x="978" y="48"/>
                  </a:lnTo>
                  <a:lnTo>
                    <a:pt x="984" y="48"/>
                  </a:lnTo>
                  <a:lnTo>
                    <a:pt x="984" y="54"/>
                  </a:lnTo>
                  <a:lnTo>
                    <a:pt x="984" y="60"/>
                  </a:lnTo>
                  <a:lnTo>
                    <a:pt x="990" y="60"/>
                  </a:lnTo>
                  <a:lnTo>
                    <a:pt x="990" y="66"/>
                  </a:lnTo>
                  <a:lnTo>
                    <a:pt x="996" y="66"/>
                  </a:lnTo>
                  <a:lnTo>
                    <a:pt x="996" y="72"/>
                  </a:lnTo>
                  <a:lnTo>
                    <a:pt x="1002" y="72"/>
                  </a:lnTo>
                  <a:lnTo>
                    <a:pt x="1002" y="78"/>
                  </a:lnTo>
                  <a:lnTo>
                    <a:pt x="1008" y="78"/>
                  </a:lnTo>
                  <a:lnTo>
                    <a:pt x="1014" y="78"/>
                  </a:lnTo>
                  <a:lnTo>
                    <a:pt x="1014" y="84"/>
                  </a:lnTo>
                  <a:lnTo>
                    <a:pt x="1020" y="84"/>
                  </a:lnTo>
                  <a:lnTo>
                    <a:pt x="1026" y="84"/>
                  </a:lnTo>
                  <a:lnTo>
                    <a:pt x="1026" y="90"/>
                  </a:lnTo>
                  <a:lnTo>
                    <a:pt x="1026" y="96"/>
                  </a:lnTo>
                  <a:lnTo>
                    <a:pt x="1026" y="102"/>
                  </a:lnTo>
                  <a:lnTo>
                    <a:pt x="1026" y="96"/>
                  </a:lnTo>
                  <a:lnTo>
                    <a:pt x="1032" y="96"/>
                  </a:lnTo>
                  <a:lnTo>
                    <a:pt x="1038" y="96"/>
                  </a:lnTo>
                  <a:lnTo>
                    <a:pt x="1038" y="102"/>
                  </a:lnTo>
                  <a:lnTo>
                    <a:pt x="1038" y="108"/>
                  </a:lnTo>
                  <a:lnTo>
                    <a:pt x="1044" y="108"/>
                  </a:lnTo>
                  <a:lnTo>
                    <a:pt x="1044" y="102"/>
                  </a:lnTo>
                  <a:lnTo>
                    <a:pt x="1044" y="108"/>
                  </a:lnTo>
                  <a:lnTo>
                    <a:pt x="1044" y="114"/>
                  </a:lnTo>
                  <a:lnTo>
                    <a:pt x="1038" y="114"/>
                  </a:lnTo>
                  <a:lnTo>
                    <a:pt x="1038" y="120"/>
                  </a:lnTo>
                  <a:lnTo>
                    <a:pt x="1038" y="126"/>
                  </a:lnTo>
                  <a:lnTo>
                    <a:pt x="1038" y="132"/>
                  </a:lnTo>
                  <a:lnTo>
                    <a:pt x="1032" y="132"/>
                  </a:lnTo>
                  <a:lnTo>
                    <a:pt x="1038" y="132"/>
                  </a:lnTo>
                  <a:lnTo>
                    <a:pt x="1038" y="138"/>
                  </a:lnTo>
                  <a:lnTo>
                    <a:pt x="1044" y="138"/>
                  </a:lnTo>
                  <a:lnTo>
                    <a:pt x="1044" y="144"/>
                  </a:lnTo>
                  <a:lnTo>
                    <a:pt x="1038" y="144"/>
                  </a:lnTo>
                  <a:lnTo>
                    <a:pt x="1038" y="150"/>
                  </a:lnTo>
                  <a:lnTo>
                    <a:pt x="1038" y="156"/>
                  </a:lnTo>
                  <a:lnTo>
                    <a:pt x="1032" y="156"/>
                  </a:lnTo>
                  <a:lnTo>
                    <a:pt x="1032" y="162"/>
                  </a:lnTo>
                  <a:lnTo>
                    <a:pt x="1038" y="162"/>
                  </a:lnTo>
                  <a:lnTo>
                    <a:pt x="1038" y="168"/>
                  </a:lnTo>
                  <a:lnTo>
                    <a:pt x="1044" y="168"/>
                  </a:lnTo>
                  <a:lnTo>
                    <a:pt x="1050" y="168"/>
                  </a:lnTo>
                  <a:lnTo>
                    <a:pt x="1050" y="174"/>
                  </a:lnTo>
                  <a:lnTo>
                    <a:pt x="1056" y="174"/>
                  </a:lnTo>
                  <a:lnTo>
                    <a:pt x="1062" y="174"/>
                  </a:lnTo>
                  <a:lnTo>
                    <a:pt x="1062" y="180"/>
                  </a:lnTo>
                  <a:lnTo>
                    <a:pt x="1068" y="180"/>
                  </a:lnTo>
                  <a:lnTo>
                    <a:pt x="1062" y="186"/>
                  </a:lnTo>
                  <a:lnTo>
                    <a:pt x="1056" y="192"/>
                  </a:lnTo>
                  <a:lnTo>
                    <a:pt x="1050" y="198"/>
                  </a:lnTo>
                  <a:lnTo>
                    <a:pt x="1050" y="204"/>
                  </a:lnTo>
                  <a:lnTo>
                    <a:pt x="1044" y="204"/>
                  </a:lnTo>
                  <a:lnTo>
                    <a:pt x="1044" y="210"/>
                  </a:lnTo>
                  <a:lnTo>
                    <a:pt x="1038" y="210"/>
                  </a:lnTo>
                  <a:lnTo>
                    <a:pt x="1032" y="216"/>
                  </a:lnTo>
                  <a:lnTo>
                    <a:pt x="1032" y="222"/>
                  </a:lnTo>
                  <a:lnTo>
                    <a:pt x="1026" y="222"/>
                  </a:lnTo>
                  <a:lnTo>
                    <a:pt x="1020" y="228"/>
                  </a:lnTo>
                  <a:lnTo>
                    <a:pt x="1020" y="234"/>
                  </a:lnTo>
                  <a:lnTo>
                    <a:pt x="1014" y="234"/>
                  </a:lnTo>
                  <a:lnTo>
                    <a:pt x="1008" y="234"/>
                  </a:lnTo>
                  <a:lnTo>
                    <a:pt x="1008" y="240"/>
                  </a:lnTo>
                  <a:lnTo>
                    <a:pt x="1002" y="246"/>
                  </a:lnTo>
                  <a:lnTo>
                    <a:pt x="1008" y="246"/>
                  </a:lnTo>
                  <a:lnTo>
                    <a:pt x="1002" y="246"/>
                  </a:lnTo>
                  <a:lnTo>
                    <a:pt x="1002" y="252"/>
                  </a:lnTo>
                  <a:lnTo>
                    <a:pt x="996" y="252"/>
                  </a:lnTo>
                  <a:lnTo>
                    <a:pt x="990" y="252"/>
                  </a:lnTo>
                  <a:lnTo>
                    <a:pt x="990" y="258"/>
                  </a:lnTo>
                  <a:lnTo>
                    <a:pt x="990" y="264"/>
                  </a:lnTo>
                  <a:lnTo>
                    <a:pt x="990" y="270"/>
                  </a:lnTo>
                  <a:lnTo>
                    <a:pt x="990" y="276"/>
                  </a:lnTo>
                  <a:lnTo>
                    <a:pt x="984" y="276"/>
                  </a:lnTo>
                  <a:lnTo>
                    <a:pt x="984" y="282"/>
                  </a:lnTo>
                  <a:lnTo>
                    <a:pt x="984" y="288"/>
                  </a:lnTo>
                  <a:lnTo>
                    <a:pt x="978" y="288"/>
                  </a:lnTo>
                  <a:lnTo>
                    <a:pt x="978" y="294"/>
                  </a:lnTo>
                  <a:lnTo>
                    <a:pt x="978" y="300"/>
                  </a:lnTo>
                  <a:lnTo>
                    <a:pt x="978" y="306"/>
                  </a:lnTo>
                  <a:lnTo>
                    <a:pt x="978" y="312"/>
                  </a:lnTo>
                  <a:lnTo>
                    <a:pt x="972" y="318"/>
                  </a:lnTo>
                  <a:lnTo>
                    <a:pt x="972" y="324"/>
                  </a:lnTo>
                  <a:lnTo>
                    <a:pt x="972" y="330"/>
                  </a:lnTo>
                  <a:lnTo>
                    <a:pt x="972" y="336"/>
                  </a:lnTo>
                  <a:lnTo>
                    <a:pt x="972" y="342"/>
                  </a:lnTo>
                  <a:lnTo>
                    <a:pt x="972" y="348"/>
                  </a:lnTo>
                  <a:lnTo>
                    <a:pt x="972" y="354"/>
                  </a:lnTo>
                  <a:lnTo>
                    <a:pt x="972" y="360"/>
                  </a:lnTo>
                  <a:lnTo>
                    <a:pt x="966" y="360"/>
                  </a:lnTo>
                  <a:lnTo>
                    <a:pt x="972" y="366"/>
                  </a:lnTo>
                  <a:lnTo>
                    <a:pt x="966" y="366"/>
                  </a:lnTo>
                  <a:lnTo>
                    <a:pt x="972" y="366"/>
                  </a:lnTo>
                  <a:lnTo>
                    <a:pt x="972" y="372"/>
                  </a:lnTo>
                  <a:lnTo>
                    <a:pt x="972" y="378"/>
                  </a:lnTo>
                  <a:lnTo>
                    <a:pt x="966" y="378"/>
                  </a:lnTo>
                  <a:lnTo>
                    <a:pt x="966" y="384"/>
                  </a:lnTo>
                  <a:lnTo>
                    <a:pt x="960" y="384"/>
                  </a:lnTo>
                  <a:lnTo>
                    <a:pt x="954" y="384"/>
                  </a:lnTo>
                  <a:lnTo>
                    <a:pt x="954" y="390"/>
                  </a:lnTo>
                  <a:lnTo>
                    <a:pt x="948" y="390"/>
                  </a:lnTo>
                  <a:lnTo>
                    <a:pt x="948" y="396"/>
                  </a:lnTo>
                  <a:lnTo>
                    <a:pt x="948" y="402"/>
                  </a:lnTo>
                  <a:lnTo>
                    <a:pt x="942" y="402"/>
                  </a:lnTo>
                  <a:lnTo>
                    <a:pt x="942" y="408"/>
                  </a:lnTo>
                  <a:lnTo>
                    <a:pt x="948" y="414"/>
                  </a:lnTo>
                  <a:lnTo>
                    <a:pt x="948" y="420"/>
                  </a:lnTo>
                  <a:lnTo>
                    <a:pt x="942" y="426"/>
                  </a:lnTo>
                  <a:lnTo>
                    <a:pt x="936" y="426"/>
                  </a:lnTo>
                  <a:lnTo>
                    <a:pt x="936" y="432"/>
                  </a:lnTo>
                  <a:lnTo>
                    <a:pt x="930" y="432"/>
                  </a:lnTo>
                  <a:lnTo>
                    <a:pt x="930" y="438"/>
                  </a:lnTo>
                  <a:lnTo>
                    <a:pt x="930" y="444"/>
                  </a:lnTo>
                  <a:lnTo>
                    <a:pt x="930" y="450"/>
                  </a:lnTo>
                  <a:lnTo>
                    <a:pt x="936" y="450"/>
                  </a:lnTo>
                  <a:lnTo>
                    <a:pt x="936" y="456"/>
                  </a:lnTo>
                  <a:lnTo>
                    <a:pt x="942" y="456"/>
                  </a:lnTo>
                  <a:lnTo>
                    <a:pt x="942" y="462"/>
                  </a:lnTo>
                  <a:lnTo>
                    <a:pt x="948" y="462"/>
                  </a:lnTo>
                  <a:lnTo>
                    <a:pt x="948" y="468"/>
                  </a:lnTo>
                  <a:lnTo>
                    <a:pt x="948" y="474"/>
                  </a:lnTo>
                  <a:lnTo>
                    <a:pt x="948" y="480"/>
                  </a:lnTo>
                  <a:lnTo>
                    <a:pt x="948" y="486"/>
                  </a:lnTo>
                  <a:lnTo>
                    <a:pt x="948" y="492"/>
                  </a:lnTo>
                  <a:lnTo>
                    <a:pt x="948" y="498"/>
                  </a:lnTo>
                  <a:lnTo>
                    <a:pt x="948" y="504"/>
                  </a:lnTo>
                  <a:lnTo>
                    <a:pt x="948" y="510"/>
                  </a:lnTo>
                  <a:lnTo>
                    <a:pt x="948" y="516"/>
                  </a:lnTo>
                  <a:lnTo>
                    <a:pt x="954" y="516"/>
                  </a:lnTo>
                  <a:lnTo>
                    <a:pt x="954" y="522"/>
                  </a:lnTo>
                  <a:lnTo>
                    <a:pt x="954" y="528"/>
                  </a:lnTo>
                  <a:lnTo>
                    <a:pt x="960" y="528"/>
                  </a:lnTo>
                  <a:lnTo>
                    <a:pt x="960" y="534"/>
                  </a:lnTo>
                  <a:lnTo>
                    <a:pt x="960" y="540"/>
                  </a:lnTo>
                  <a:lnTo>
                    <a:pt x="960" y="546"/>
                  </a:lnTo>
                  <a:lnTo>
                    <a:pt x="960" y="552"/>
                  </a:lnTo>
                  <a:lnTo>
                    <a:pt x="954" y="558"/>
                  </a:lnTo>
                  <a:lnTo>
                    <a:pt x="954" y="564"/>
                  </a:lnTo>
                  <a:lnTo>
                    <a:pt x="954" y="570"/>
                  </a:lnTo>
                  <a:lnTo>
                    <a:pt x="954" y="576"/>
                  </a:lnTo>
                  <a:lnTo>
                    <a:pt x="960" y="576"/>
                  </a:lnTo>
                  <a:lnTo>
                    <a:pt x="960" y="582"/>
                  </a:lnTo>
                  <a:lnTo>
                    <a:pt x="960" y="588"/>
                  </a:lnTo>
                  <a:lnTo>
                    <a:pt x="960" y="594"/>
                  </a:lnTo>
                  <a:lnTo>
                    <a:pt x="966" y="594"/>
                  </a:lnTo>
                  <a:lnTo>
                    <a:pt x="966" y="600"/>
                  </a:lnTo>
                  <a:lnTo>
                    <a:pt x="966" y="606"/>
                  </a:lnTo>
                  <a:lnTo>
                    <a:pt x="966" y="612"/>
                  </a:lnTo>
                  <a:lnTo>
                    <a:pt x="972" y="612"/>
                  </a:lnTo>
                  <a:lnTo>
                    <a:pt x="972" y="618"/>
                  </a:lnTo>
                  <a:lnTo>
                    <a:pt x="972" y="624"/>
                  </a:lnTo>
                  <a:lnTo>
                    <a:pt x="972" y="630"/>
                  </a:lnTo>
                  <a:lnTo>
                    <a:pt x="966" y="630"/>
                  </a:lnTo>
                  <a:lnTo>
                    <a:pt x="966" y="636"/>
                  </a:lnTo>
                  <a:lnTo>
                    <a:pt x="966" y="642"/>
                  </a:lnTo>
                  <a:lnTo>
                    <a:pt x="972" y="642"/>
                  </a:lnTo>
                  <a:lnTo>
                    <a:pt x="972" y="648"/>
                  </a:lnTo>
                  <a:lnTo>
                    <a:pt x="972" y="654"/>
                  </a:lnTo>
                  <a:lnTo>
                    <a:pt x="972" y="660"/>
                  </a:lnTo>
                  <a:lnTo>
                    <a:pt x="978" y="660"/>
                  </a:lnTo>
                  <a:lnTo>
                    <a:pt x="978" y="666"/>
                  </a:lnTo>
                  <a:lnTo>
                    <a:pt x="984" y="672"/>
                  </a:lnTo>
                  <a:lnTo>
                    <a:pt x="990" y="672"/>
                  </a:lnTo>
                  <a:lnTo>
                    <a:pt x="990" y="678"/>
                  </a:lnTo>
                  <a:lnTo>
                    <a:pt x="996" y="678"/>
                  </a:lnTo>
                  <a:lnTo>
                    <a:pt x="996" y="684"/>
                  </a:lnTo>
                  <a:lnTo>
                    <a:pt x="1002" y="684"/>
                  </a:lnTo>
                  <a:lnTo>
                    <a:pt x="1002" y="690"/>
                  </a:lnTo>
                  <a:lnTo>
                    <a:pt x="1008" y="690"/>
                  </a:lnTo>
                  <a:lnTo>
                    <a:pt x="1008" y="696"/>
                  </a:lnTo>
                  <a:lnTo>
                    <a:pt x="1014" y="702"/>
                  </a:lnTo>
                  <a:lnTo>
                    <a:pt x="1014" y="708"/>
                  </a:lnTo>
                  <a:lnTo>
                    <a:pt x="1014" y="714"/>
                  </a:lnTo>
                  <a:lnTo>
                    <a:pt x="1020" y="714"/>
                  </a:lnTo>
                  <a:lnTo>
                    <a:pt x="1020" y="720"/>
                  </a:lnTo>
                  <a:lnTo>
                    <a:pt x="1020" y="726"/>
                  </a:lnTo>
                  <a:lnTo>
                    <a:pt x="1026" y="732"/>
                  </a:lnTo>
                  <a:lnTo>
                    <a:pt x="1026" y="738"/>
                  </a:lnTo>
                  <a:lnTo>
                    <a:pt x="1026" y="744"/>
                  </a:lnTo>
                  <a:lnTo>
                    <a:pt x="1032" y="744"/>
                  </a:lnTo>
                  <a:lnTo>
                    <a:pt x="1032" y="750"/>
                  </a:lnTo>
                  <a:lnTo>
                    <a:pt x="1032" y="756"/>
                  </a:lnTo>
                  <a:lnTo>
                    <a:pt x="1038" y="756"/>
                  </a:lnTo>
                  <a:close/>
                  <a:moveTo>
                    <a:pt x="12" y="636"/>
                  </a:moveTo>
                  <a:lnTo>
                    <a:pt x="18" y="636"/>
                  </a:lnTo>
                  <a:lnTo>
                    <a:pt x="12" y="636"/>
                  </a:lnTo>
                  <a:close/>
                  <a:moveTo>
                    <a:pt x="36" y="630"/>
                  </a:moveTo>
                  <a:lnTo>
                    <a:pt x="42" y="630"/>
                  </a:lnTo>
                  <a:lnTo>
                    <a:pt x="36" y="630"/>
                  </a:lnTo>
                  <a:close/>
                  <a:moveTo>
                    <a:pt x="12" y="636"/>
                  </a:moveTo>
                  <a:lnTo>
                    <a:pt x="18" y="636"/>
                  </a:lnTo>
                  <a:lnTo>
                    <a:pt x="12" y="636"/>
                  </a:lnTo>
                  <a:close/>
                  <a:moveTo>
                    <a:pt x="36" y="630"/>
                  </a:moveTo>
                  <a:lnTo>
                    <a:pt x="42" y="630"/>
                  </a:lnTo>
                  <a:lnTo>
                    <a:pt x="36" y="63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6" name="Freeform 49"/>
            <p:cNvSpPr>
              <a:spLocks/>
            </p:cNvSpPr>
            <p:nvPr>
              <p:custDataLst>
                <p:tags r:id="rId44"/>
              </p:custDataLst>
            </p:nvPr>
          </p:nvSpPr>
          <p:spPr bwMode="gray">
            <a:xfrm>
              <a:off x="1860849" y="3436548"/>
              <a:ext cx="378112" cy="426210"/>
            </a:xfrm>
            <a:custGeom>
              <a:avLst/>
              <a:gdLst>
                <a:gd name="T0" fmla="*/ 30126 w 414"/>
                <a:gd name="T1" fmla="*/ 163809 h 486"/>
                <a:gd name="T2" fmla="*/ 19436 w 414"/>
                <a:gd name="T3" fmla="*/ 167709 h 486"/>
                <a:gd name="T4" fmla="*/ 14577 w 414"/>
                <a:gd name="T5" fmla="*/ 172584 h 486"/>
                <a:gd name="T6" fmla="*/ 8746 w 414"/>
                <a:gd name="T7" fmla="*/ 161858 h 486"/>
                <a:gd name="T8" fmla="*/ 0 w 414"/>
                <a:gd name="T9" fmla="*/ 153083 h 486"/>
                <a:gd name="T10" fmla="*/ 8746 w 414"/>
                <a:gd name="T11" fmla="*/ 144308 h 486"/>
                <a:gd name="T12" fmla="*/ 14577 w 414"/>
                <a:gd name="T13" fmla="*/ 142358 h 486"/>
                <a:gd name="T14" fmla="*/ 14577 w 414"/>
                <a:gd name="T15" fmla="*/ 131632 h 486"/>
                <a:gd name="T16" fmla="*/ 8746 w 414"/>
                <a:gd name="T17" fmla="*/ 124807 h 486"/>
                <a:gd name="T18" fmla="*/ 14577 w 414"/>
                <a:gd name="T19" fmla="*/ 120906 h 486"/>
                <a:gd name="T20" fmla="*/ 26239 w 414"/>
                <a:gd name="T21" fmla="*/ 117006 h 486"/>
                <a:gd name="T22" fmla="*/ 32069 w 414"/>
                <a:gd name="T23" fmla="*/ 112131 h 486"/>
                <a:gd name="T24" fmla="*/ 40815 w 414"/>
                <a:gd name="T25" fmla="*/ 120906 h 486"/>
                <a:gd name="T26" fmla="*/ 53448 w 414"/>
                <a:gd name="T27" fmla="*/ 117006 h 486"/>
                <a:gd name="T28" fmla="*/ 60251 w 414"/>
                <a:gd name="T29" fmla="*/ 117981 h 486"/>
                <a:gd name="T30" fmla="*/ 64138 w 414"/>
                <a:gd name="T31" fmla="*/ 105306 h 486"/>
                <a:gd name="T32" fmla="*/ 64138 w 414"/>
                <a:gd name="T33" fmla="*/ 97505 h 486"/>
                <a:gd name="T34" fmla="*/ 62195 w 414"/>
                <a:gd name="T35" fmla="*/ 81904 h 486"/>
                <a:gd name="T36" fmla="*/ 53448 w 414"/>
                <a:gd name="T37" fmla="*/ 73129 h 486"/>
                <a:gd name="T38" fmla="*/ 57335 w 414"/>
                <a:gd name="T39" fmla="*/ 64354 h 486"/>
                <a:gd name="T40" fmla="*/ 64138 w 414"/>
                <a:gd name="T41" fmla="*/ 57528 h 486"/>
                <a:gd name="T42" fmla="*/ 62195 w 414"/>
                <a:gd name="T43" fmla="*/ 47778 h 486"/>
                <a:gd name="T44" fmla="*/ 49561 w 414"/>
                <a:gd name="T45" fmla="*/ 47778 h 486"/>
                <a:gd name="T46" fmla="*/ 37899 w 414"/>
                <a:gd name="T47" fmla="*/ 47778 h 486"/>
                <a:gd name="T48" fmla="*/ 37899 w 414"/>
                <a:gd name="T49" fmla="*/ 42902 h 486"/>
                <a:gd name="T50" fmla="*/ 40815 w 414"/>
                <a:gd name="T51" fmla="*/ 37052 h 486"/>
                <a:gd name="T52" fmla="*/ 47618 w 414"/>
                <a:gd name="T53" fmla="*/ 30227 h 486"/>
                <a:gd name="T54" fmla="*/ 64138 w 414"/>
                <a:gd name="T55" fmla="*/ 30227 h 486"/>
                <a:gd name="T56" fmla="*/ 72884 w 414"/>
                <a:gd name="T57" fmla="*/ 32176 h 486"/>
                <a:gd name="T58" fmla="*/ 76772 w 414"/>
                <a:gd name="T59" fmla="*/ 32176 h 486"/>
                <a:gd name="T60" fmla="*/ 87461 w 414"/>
                <a:gd name="T61" fmla="*/ 34127 h 486"/>
                <a:gd name="T62" fmla="*/ 96207 w 414"/>
                <a:gd name="T63" fmla="*/ 39002 h 486"/>
                <a:gd name="T64" fmla="*/ 98151 w 414"/>
                <a:gd name="T65" fmla="*/ 28276 h 486"/>
                <a:gd name="T66" fmla="*/ 104953 w 414"/>
                <a:gd name="T67" fmla="*/ 17551 h 486"/>
                <a:gd name="T68" fmla="*/ 106897 w 414"/>
                <a:gd name="T69" fmla="*/ 3900 h 486"/>
                <a:gd name="T70" fmla="*/ 120501 w 414"/>
                <a:gd name="T71" fmla="*/ 0 h 486"/>
                <a:gd name="T72" fmla="*/ 133135 w 414"/>
                <a:gd name="T73" fmla="*/ 0 h 486"/>
                <a:gd name="T74" fmla="*/ 141881 w 414"/>
                <a:gd name="T75" fmla="*/ 0 h 486"/>
                <a:gd name="T76" fmla="*/ 147712 w 414"/>
                <a:gd name="T77" fmla="*/ 3900 h 486"/>
                <a:gd name="T78" fmla="*/ 143825 w 414"/>
                <a:gd name="T79" fmla="*/ 17551 h 486"/>
                <a:gd name="T80" fmla="*/ 137022 w 414"/>
                <a:gd name="T81" fmla="*/ 30227 h 486"/>
                <a:gd name="T82" fmla="*/ 135078 w 414"/>
                <a:gd name="T83" fmla="*/ 44852 h 486"/>
                <a:gd name="T84" fmla="*/ 133135 w 414"/>
                <a:gd name="T85" fmla="*/ 60454 h 486"/>
                <a:gd name="T86" fmla="*/ 131191 w 414"/>
                <a:gd name="T87" fmla="*/ 71179 h 486"/>
                <a:gd name="T88" fmla="*/ 128276 w 414"/>
                <a:gd name="T89" fmla="*/ 86779 h 486"/>
                <a:gd name="T90" fmla="*/ 115643 w 414"/>
                <a:gd name="T91" fmla="*/ 94580 h 486"/>
                <a:gd name="T92" fmla="*/ 106897 w 414"/>
                <a:gd name="T93" fmla="*/ 107255 h 486"/>
                <a:gd name="T94" fmla="*/ 98151 w 414"/>
                <a:gd name="T95" fmla="*/ 117006 h 486"/>
                <a:gd name="T96" fmla="*/ 98151 w 414"/>
                <a:gd name="T97" fmla="*/ 129682 h 486"/>
                <a:gd name="T98" fmla="*/ 98151 w 414"/>
                <a:gd name="T99" fmla="*/ 142358 h 486"/>
                <a:gd name="T100" fmla="*/ 92320 w 414"/>
                <a:gd name="T101" fmla="*/ 153083 h 486"/>
                <a:gd name="T102" fmla="*/ 81630 w 414"/>
                <a:gd name="T103" fmla="*/ 159909 h 486"/>
                <a:gd name="T104" fmla="*/ 70940 w 414"/>
                <a:gd name="T105" fmla="*/ 170634 h 486"/>
                <a:gd name="T106" fmla="*/ 64138 w 414"/>
                <a:gd name="T107" fmla="*/ 165759 h 486"/>
                <a:gd name="T108" fmla="*/ 60251 w 414"/>
                <a:gd name="T109" fmla="*/ 161858 h 486"/>
                <a:gd name="T110" fmla="*/ 49561 w 414"/>
                <a:gd name="T111" fmla="*/ 163809 h 486"/>
                <a:gd name="T112" fmla="*/ 44703 w 414"/>
                <a:gd name="T113" fmla="*/ 172584 h 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4" h="486">
                  <a:moveTo>
                    <a:pt x="108" y="462"/>
                  </a:moveTo>
                  <a:lnTo>
                    <a:pt x="102" y="462"/>
                  </a:lnTo>
                  <a:lnTo>
                    <a:pt x="102" y="456"/>
                  </a:lnTo>
                  <a:lnTo>
                    <a:pt x="96" y="456"/>
                  </a:lnTo>
                  <a:lnTo>
                    <a:pt x="96" y="450"/>
                  </a:lnTo>
                  <a:lnTo>
                    <a:pt x="90" y="450"/>
                  </a:lnTo>
                  <a:lnTo>
                    <a:pt x="84" y="450"/>
                  </a:lnTo>
                  <a:lnTo>
                    <a:pt x="84" y="456"/>
                  </a:lnTo>
                  <a:lnTo>
                    <a:pt x="78" y="456"/>
                  </a:lnTo>
                  <a:lnTo>
                    <a:pt x="72" y="462"/>
                  </a:lnTo>
                  <a:lnTo>
                    <a:pt x="66" y="462"/>
                  </a:lnTo>
                  <a:lnTo>
                    <a:pt x="66" y="468"/>
                  </a:lnTo>
                  <a:lnTo>
                    <a:pt x="60" y="468"/>
                  </a:lnTo>
                  <a:lnTo>
                    <a:pt x="60" y="474"/>
                  </a:lnTo>
                  <a:lnTo>
                    <a:pt x="60" y="468"/>
                  </a:lnTo>
                  <a:lnTo>
                    <a:pt x="54" y="468"/>
                  </a:lnTo>
                  <a:lnTo>
                    <a:pt x="54" y="474"/>
                  </a:lnTo>
                  <a:lnTo>
                    <a:pt x="54" y="480"/>
                  </a:lnTo>
                  <a:lnTo>
                    <a:pt x="48" y="480"/>
                  </a:lnTo>
                  <a:lnTo>
                    <a:pt x="48" y="486"/>
                  </a:lnTo>
                  <a:lnTo>
                    <a:pt x="42" y="486"/>
                  </a:lnTo>
                  <a:lnTo>
                    <a:pt x="42" y="480"/>
                  </a:lnTo>
                  <a:lnTo>
                    <a:pt x="42" y="474"/>
                  </a:lnTo>
                  <a:lnTo>
                    <a:pt x="42" y="480"/>
                  </a:lnTo>
                  <a:lnTo>
                    <a:pt x="36" y="474"/>
                  </a:lnTo>
                  <a:lnTo>
                    <a:pt x="36" y="468"/>
                  </a:lnTo>
                  <a:lnTo>
                    <a:pt x="30" y="468"/>
                  </a:lnTo>
                  <a:lnTo>
                    <a:pt x="30" y="462"/>
                  </a:lnTo>
                  <a:lnTo>
                    <a:pt x="36" y="462"/>
                  </a:lnTo>
                  <a:lnTo>
                    <a:pt x="30" y="456"/>
                  </a:lnTo>
                  <a:lnTo>
                    <a:pt x="30" y="450"/>
                  </a:lnTo>
                  <a:lnTo>
                    <a:pt x="24" y="450"/>
                  </a:lnTo>
                  <a:lnTo>
                    <a:pt x="18" y="444"/>
                  </a:lnTo>
                  <a:lnTo>
                    <a:pt x="12" y="438"/>
                  </a:lnTo>
                  <a:lnTo>
                    <a:pt x="12" y="432"/>
                  </a:lnTo>
                  <a:lnTo>
                    <a:pt x="6" y="432"/>
                  </a:lnTo>
                  <a:lnTo>
                    <a:pt x="6" y="426"/>
                  </a:lnTo>
                  <a:lnTo>
                    <a:pt x="0" y="426"/>
                  </a:lnTo>
                  <a:lnTo>
                    <a:pt x="6" y="426"/>
                  </a:lnTo>
                  <a:lnTo>
                    <a:pt x="0" y="426"/>
                  </a:lnTo>
                  <a:lnTo>
                    <a:pt x="0" y="420"/>
                  </a:lnTo>
                  <a:lnTo>
                    <a:pt x="0" y="414"/>
                  </a:lnTo>
                  <a:lnTo>
                    <a:pt x="0" y="408"/>
                  </a:lnTo>
                  <a:lnTo>
                    <a:pt x="6" y="408"/>
                  </a:lnTo>
                  <a:lnTo>
                    <a:pt x="6" y="402"/>
                  </a:lnTo>
                  <a:lnTo>
                    <a:pt x="12" y="402"/>
                  </a:lnTo>
                  <a:lnTo>
                    <a:pt x="18" y="402"/>
                  </a:lnTo>
                  <a:lnTo>
                    <a:pt x="24" y="402"/>
                  </a:lnTo>
                  <a:lnTo>
                    <a:pt x="24" y="408"/>
                  </a:lnTo>
                  <a:lnTo>
                    <a:pt x="30" y="408"/>
                  </a:lnTo>
                  <a:lnTo>
                    <a:pt x="36" y="408"/>
                  </a:lnTo>
                  <a:lnTo>
                    <a:pt x="36" y="414"/>
                  </a:lnTo>
                  <a:lnTo>
                    <a:pt x="42" y="408"/>
                  </a:lnTo>
                  <a:lnTo>
                    <a:pt x="42" y="402"/>
                  </a:lnTo>
                  <a:lnTo>
                    <a:pt x="36" y="402"/>
                  </a:lnTo>
                  <a:lnTo>
                    <a:pt x="42" y="396"/>
                  </a:lnTo>
                  <a:lnTo>
                    <a:pt x="48" y="390"/>
                  </a:lnTo>
                  <a:lnTo>
                    <a:pt x="48" y="384"/>
                  </a:lnTo>
                  <a:lnTo>
                    <a:pt x="42" y="384"/>
                  </a:lnTo>
                  <a:lnTo>
                    <a:pt x="42" y="378"/>
                  </a:lnTo>
                  <a:lnTo>
                    <a:pt x="48" y="378"/>
                  </a:lnTo>
                  <a:lnTo>
                    <a:pt x="48" y="372"/>
                  </a:lnTo>
                  <a:lnTo>
                    <a:pt x="48" y="366"/>
                  </a:lnTo>
                  <a:lnTo>
                    <a:pt x="42" y="366"/>
                  </a:lnTo>
                  <a:lnTo>
                    <a:pt x="36" y="366"/>
                  </a:lnTo>
                  <a:lnTo>
                    <a:pt x="36" y="360"/>
                  </a:lnTo>
                  <a:lnTo>
                    <a:pt x="30" y="360"/>
                  </a:lnTo>
                  <a:lnTo>
                    <a:pt x="24" y="360"/>
                  </a:lnTo>
                  <a:lnTo>
                    <a:pt x="24" y="354"/>
                  </a:lnTo>
                  <a:lnTo>
                    <a:pt x="30" y="354"/>
                  </a:lnTo>
                  <a:lnTo>
                    <a:pt x="30" y="348"/>
                  </a:lnTo>
                  <a:lnTo>
                    <a:pt x="24" y="348"/>
                  </a:lnTo>
                  <a:lnTo>
                    <a:pt x="24" y="342"/>
                  </a:lnTo>
                  <a:lnTo>
                    <a:pt x="24" y="336"/>
                  </a:lnTo>
                  <a:lnTo>
                    <a:pt x="24" y="330"/>
                  </a:lnTo>
                  <a:lnTo>
                    <a:pt x="24" y="336"/>
                  </a:lnTo>
                  <a:lnTo>
                    <a:pt x="30" y="336"/>
                  </a:lnTo>
                  <a:lnTo>
                    <a:pt x="30" y="342"/>
                  </a:lnTo>
                  <a:lnTo>
                    <a:pt x="36" y="336"/>
                  </a:lnTo>
                  <a:lnTo>
                    <a:pt x="42" y="336"/>
                  </a:lnTo>
                  <a:lnTo>
                    <a:pt x="48" y="336"/>
                  </a:lnTo>
                  <a:lnTo>
                    <a:pt x="48" y="342"/>
                  </a:lnTo>
                  <a:lnTo>
                    <a:pt x="54" y="336"/>
                  </a:lnTo>
                  <a:lnTo>
                    <a:pt x="60" y="336"/>
                  </a:lnTo>
                  <a:lnTo>
                    <a:pt x="66" y="336"/>
                  </a:lnTo>
                  <a:lnTo>
                    <a:pt x="72" y="336"/>
                  </a:lnTo>
                  <a:lnTo>
                    <a:pt x="72" y="330"/>
                  </a:lnTo>
                  <a:lnTo>
                    <a:pt x="72" y="324"/>
                  </a:lnTo>
                  <a:lnTo>
                    <a:pt x="72" y="318"/>
                  </a:lnTo>
                  <a:lnTo>
                    <a:pt x="72" y="312"/>
                  </a:lnTo>
                  <a:lnTo>
                    <a:pt x="72" y="306"/>
                  </a:lnTo>
                  <a:lnTo>
                    <a:pt x="72" y="312"/>
                  </a:lnTo>
                  <a:lnTo>
                    <a:pt x="78" y="306"/>
                  </a:lnTo>
                  <a:lnTo>
                    <a:pt x="84" y="306"/>
                  </a:lnTo>
                  <a:lnTo>
                    <a:pt x="90" y="306"/>
                  </a:lnTo>
                  <a:lnTo>
                    <a:pt x="90" y="312"/>
                  </a:lnTo>
                  <a:lnTo>
                    <a:pt x="90" y="318"/>
                  </a:lnTo>
                  <a:lnTo>
                    <a:pt x="96" y="318"/>
                  </a:lnTo>
                  <a:lnTo>
                    <a:pt x="96" y="324"/>
                  </a:lnTo>
                  <a:lnTo>
                    <a:pt x="102" y="324"/>
                  </a:lnTo>
                  <a:lnTo>
                    <a:pt x="102" y="330"/>
                  </a:lnTo>
                  <a:lnTo>
                    <a:pt x="102" y="336"/>
                  </a:lnTo>
                  <a:lnTo>
                    <a:pt x="108" y="336"/>
                  </a:lnTo>
                  <a:lnTo>
                    <a:pt x="114" y="336"/>
                  </a:lnTo>
                  <a:lnTo>
                    <a:pt x="120" y="336"/>
                  </a:lnTo>
                  <a:lnTo>
                    <a:pt x="126" y="336"/>
                  </a:lnTo>
                  <a:lnTo>
                    <a:pt x="132" y="336"/>
                  </a:lnTo>
                  <a:lnTo>
                    <a:pt x="132" y="330"/>
                  </a:lnTo>
                  <a:lnTo>
                    <a:pt x="138" y="330"/>
                  </a:lnTo>
                  <a:lnTo>
                    <a:pt x="138" y="324"/>
                  </a:lnTo>
                  <a:lnTo>
                    <a:pt x="144" y="324"/>
                  </a:lnTo>
                  <a:lnTo>
                    <a:pt x="150" y="324"/>
                  </a:lnTo>
                  <a:lnTo>
                    <a:pt x="150" y="330"/>
                  </a:lnTo>
                  <a:lnTo>
                    <a:pt x="150" y="336"/>
                  </a:lnTo>
                  <a:lnTo>
                    <a:pt x="150" y="342"/>
                  </a:lnTo>
                  <a:lnTo>
                    <a:pt x="156" y="342"/>
                  </a:lnTo>
                  <a:lnTo>
                    <a:pt x="162" y="342"/>
                  </a:lnTo>
                  <a:lnTo>
                    <a:pt x="162" y="336"/>
                  </a:lnTo>
                  <a:lnTo>
                    <a:pt x="168" y="336"/>
                  </a:lnTo>
                  <a:lnTo>
                    <a:pt x="168" y="330"/>
                  </a:lnTo>
                  <a:lnTo>
                    <a:pt x="162" y="324"/>
                  </a:lnTo>
                  <a:lnTo>
                    <a:pt x="168" y="324"/>
                  </a:lnTo>
                  <a:lnTo>
                    <a:pt x="168" y="318"/>
                  </a:lnTo>
                  <a:lnTo>
                    <a:pt x="168" y="312"/>
                  </a:lnTo>
                  <a:lnTo>
                    <a:pt x="174" y="312"/>
                  </a:lnTo>
                  <a:lnTo>
                    <a:pt x="180" y="306"/>
                  </a:lnTo>
                  <a:lnTo>
                    <a:pt x="180" y="300"/>
                  </a:lnTo>
                  <a:lnTo>
                    <a:pt x="180" y="294"/>
                  </a:lnTo>
                  <a:lnTo>
                    <a:pt x="174" y="294"/>
                  </a:lnTo>
                  <a:lnTo>
                    <a:pt x="180" y="294"/>
                  </a:lnTo>
                  <a:lnTo>
                    <a:pt x="180" y="288"/>
                  </a:lnTo>
                  <a:lnTo>
                    <a:pt x="180" y="282"/>
                  </a:lnTo>
                  <a:lnTo>
                    <a:pt x="186" y="282"/>
                  </a:lnTo>
                  <a:lnTo>
                    <a:pt x="180" y="282"/>
                  </a:lnTo>
                  <a:lnTo>
                    <a:pt x="180" y="276"/>
                  </a:lnTo>
                  <a:lnTo>
                    <a:pt x="180" y="270"/>
                  </a:lnTo>
                  <a:lnTo>
                    <a:pt x="180" y="264"/>
                  </a:lnTo>
                  <a:lnTo>
                    <a:pt x="180" y="258"/>
                  </a:lnTo>
                  <a:lnTo>
                    <a:pt x="180" y="252"/>
                  </a:lnTo>
                  <a:lnTo>
                    <a:pt x="180" y="246"/>
                  </a:lnTo>
                  <a:lnTo>
                    <a:pt x="186" y="240"/>
                  </a:lnTo>
                  <a:lnTo>
                    <a:pt x="180" y="234"/>
                  </a:lnTo>
                  <a:lnTo>
                    <a:pt x="180" y="228"/>
                  </a:lnTo>
                  <a:lnTo>
                    <a:pt x="174" y="228"/>
                  </a:lnTo>
                  <a:lnTo>
                    <a:pt x="168" y="228"/>
                  </a:lnTo>
                  <a:lnTo>
                    <a:pt x="168" y="222"/>
                  </a:lnTo>
                  <a:lnTo>
                    <a:pt x="162" y="222"/>
                  </a:lnTo>
                  <a:lnTo>
                    <a:pt x="162" y="216"/>
                  </a:lnTo>
                  <a:lnTo>
                    <a:pt x="156" y="216"/>
                  </a:lnTo>
                  <a:lnTo>
                    <a:pt x="150" y="216"/>
                  </a:lnTo>
                  <a:lnTo>
                    <a:pt x="150" y="210"/>
                  </a:lnTo>
                  <a:lnTo>
                    <a:pt x="150" y="204"/>
                  </a:lnTo>
                  <a:lnTo>
                    <a:pt x="156" y="204"/>
                  </a:lnTo>
                  <a:lnTo>
                    <a:pt x="156" y="198"/>
                  </a:lnTo>
                  <a:lnTo>
                    <a:pt x="150" y="198"/>
                  </a:lnTo>
                  <a:lnTo>
                    <a:pt x="150" y="192"/>
                  </a:lnTo>
                  <a:lnTo>
                    <a:pt x="150" y="186"/>
                  </a:lnTo>
                  <a:lnTo>
                    <a:pt x="156" y="186"/>
                  </a:lnTo>
                  <a:lnTo>
                    <a:pt x="156" y="180"/>
                  </a:lnTo>
                  <a:lnTo>
                    <a:pt x="162" y="180"/>
                  </a:lnTo>
                  <a:lnTo>
                    <a:pt x="162" y="174"/>
                  </a:lnTo>
                  <a:lnTo>
                    <a:pt x="168" y="174"/>
                  </a:lnTo>
                  <a:lnTo>
                    <a:pt x="174" y="174"/>
                  </a:lnTo>
                  <a:lnTo>
                    <a:pt x="174" y="168"/>
                  </a:lnTo>
                  <a:lnTo>
                    <a:pt x="180" y="168"/>
                  </a:lnTo>
                  <a:lnTo>
                    <a:pt x="174" y="168"/>
                  </a:lnTo>
                  <a:lnTo>
                    <a:pt x="174" y="162"/>
                  </a:lnTo>
                  <a:lnTo>
                    <a:pt x="180" y="162"/>
                  </a:lnTo>
                  <a:lnTo>
                    <a:pt x="180" y="156"/>
                  </a:lnTo>
                  <a:lnTo>
                    <a:pt x="186" y="156"/>
                  </a:lnTo>
                  <a:lnTo>
                    <a:pt x="186" y="150"/>
                  </a:lnTo>
                  <a:lnTo>
                    <a:pt x="180" y="150"/>
                  </a:lnTo>
                  <a:lnTo>
                    <a:pt x="180" y="144"/>
                  </a:lnTo>
                  <a:lnTo>
                    <a:pt x="174" y="144"/>
                  </a:lnTo>
                  <a:lnTo>
                    <a:pt x="174" y="138"/>
                  </a:lnTo>
                  <a:lnTo>
                    <a:pt x="174" y="132"/>
                  </a:lnTo>
                  <a:lnTo>
                    <a:pt x="174" y="126"/>
                  </a:lnTo>
                  <a:lnTo>
                    <a:pt x="168" y="126"/>
                  </a:lnTo>
                  <a:lnTo>
                    <a:pt x="162" y="126"/>
                  </a:lnTo>
                  <a:lnTo>
                    <a:pt x="156" y="126"/>
                  </a:lnTo>
                  <a:lnTo>
                    <a:pt x="150" y="126"/>
                  </a:lnTo>
                  <a:lnTo>
                    <a:pt x="144" y="126"/>
                  </a:lnTo>
                  <a:lnTo>
                    <a:pt x="138" y="126"/>
                  </a:lnTo>
                  <a:lnTo>
                    <a:pt x="138" y="132"/>
                  </a:lnTo>
                  <a:lnTo>
                    <a:pt x="132" y="132"/>
                  </a:lnTo>
                  <a:lnTo>
                    <a:pt x="126" y="132"/>
                  </a:lnTo>
                  <a:lnTo>
                    <a:pt x="120" y="132"/>
                  </a:lnTo>
                  <a:lnTo>
                    <a:pt x="120" y="138"/>
                  </a:lnTo>
                  <a:lnTo>
                    <a:pt x="114" y="132"/>
                  </a:lnTo>
                  <a:lnTo>
                    <a:pt x="114" y="138"/>
                  </a:lnTo>
                  <a:lnTo>
                    <a:pt x="108" y="138"/>
                  </a:lnTo>
                  <a:lnTo>
                    <a:pt x="108" y="132"/>
                  </a:lnTo>
                  <a:lnTo>
                    <a:pt x="114" y="132"/>
                  </a:lnTo>
                  <a:lnTo>
                    <a:pt x="114" y="126"/>
                  </a:lnTo>
                  <a:lnTo>
                    <a:pt x="114" y="132"/>
                  </a:lnTo>
                  <a:lnTo>
                    <a:pt x="114" y="126"/>
                  </a:lnTo>
                  <a:lnTo>
                    <a:pt x="114" y="120"/>
                  </a:lnTo>
                  <a:lnTo>
                    <a:pt x="108" y="120"/>
                  </a:lnTo>
                  <a:lnTo>
                    <a:pt x="114" y="120"/>
                  </a:lnTo>
                  <a:lnTo>
                    <a:pt x="108" y="120"/>
                  </a:lnTo>
                  <a:lnTo>
                    <a:pt x="114" y="120"/>
                  </a:lnTo>
                  <a:lnTo>
                    <a:pt x="108" y="120"/>
                  </a:lnTo>
                  <a:lnTo>
                    <a:pt x="108" y="114"/>
                  </a:lnTo>
                  <a:lnTo>
                    <a:pt x="108" y="108"/>
                  </a:lnTo>
                  <a:lnTo>
                    <a:pt x="108" y="102"/>
                  </a:lnTo>
                  <a:lnTo>
                    <a:pt x="114" y="102"/>
                  </a:lnTo>
                  <a:lnTo>
                    <a:pt x="108" y="102"/>
                  </a:lnTo>
                  <a:lnTo>
                    <a:pt x="114" y="102"/>
                  </a:lnTo>
                  <a:lnTo>
                    <a:pt x="108" y="102"/>
                  </a:lnTo>
                  <a:lnTo>
                    <a:pt x="108" y="96"/>
                  </a:lnTo>
                  <a:lnTo>
                    <a:pt x="114" y="96"/>
                  </a:lnTo>
                  <a:lnTo>
                    <a:pt x="114" y="90"/>
                  </a:lnTo>
                  <a:lnTo>
                    <a:pt x="114" y="84"/>
                  </a:lnTo>
                  <a:lnTo>
                    <a:pt x="120" y="84"/>
                  </a:lnTo>
                  <a:lnTo>
                    <a:pt x="126" y="84"/>
                  </a:lnTo>
                  <a:lnTo>
                    <a:pt x="132" y="84"/>
                  </a:lnTo>
                  <a:lnTo>
                    <a:pt x="138" y="84"/>
                  </a:lnTo>
                  <a:lnTo>
                    <a:pt x="144" y="84"/>
                  </a:lnTo>
                  <a:lnTo>
                    <a:pt x="150" y="84"/>
                  </a:lnTo>
                  <a:lnTo>
                    <a:pt x="156" y="84"/>
                  </a:lnTo>
                  <a:lnTo>
                    <a:pt x="162" y="84"/>
                  </a:lnTo>
                  <a:lnTo>
                    <a:pt x="168" y="84"/>
                  </a:lnTo>
                  <a:lnTo>
                    <a:pt x="174" y="84"/>
                  </a:lnTo>
                  <a:lnTo>
                    <a:pt x="180" y="84"/>
                  </a:lnTo>
                  <a:lnTo>
                    <a:pt x="186" y="84"/>
                  </a:lnTo>
                  <a:lnTo>
                    <a:pt x="186" y="78"/>
                  </a:lnTo>
                  <a:lnTo>
                    <a:pt x="192" y="84"/>
                  </a:lnTo>
                  <a:lnTo>
                    <a:pt x="198" y="84"/>
                  </a:lnTo>
                  <a:lnTo>
                    <a:pt x="198" y="90"/>
                  </a:lnTo>
                  <a:lnTo>
                    <a:pt x="198" y="84"/>
                  </a:lnTo>
                  <a:lnTo>
                    <a:pt x="198" y="90"/>
                  </a:lnTo>
                  <a:lnTo>
                    <a:pt x="204" y="90"/>
                  </a:lnTo>
                  <a:lnTo>
                    <a:pt x="204" y="84"/>
                  </a:lnTo>
                  <a:lnTo>
                    <a:pt x="204" y="90"/>
                  </a:lnTo>
                  <a:lnTo>
                    <a:pt x="210" y="90"/>
                  </a:lnTo>
                  <a:lnTo>
                    <a:pt x="216" y="90"/>
                  </a:lnTo>
                  <a:lnTo>
                    <a:pt x="216" y="96"/>
                  </a:lnTo>
                  <a:lnTo>
                    <a:pt x="216" y="90"/>
                  </a:lnTo>
                  <a:lnTo>
                    <a:pt x="216" y="96"/>
                  </a:lnTo>
                  <a:lnTo>
                    <a:pt x="216" y="90"/>
                  </a:lnTo>
                  <a:lnTo>
                    <a:pt x="222" y="90"/>
                  </a:lnTo>
                  <a:lnTo>
                    <a:pt x="228" y="90"/>
                  </a:lnTo>
                  <a:lnTo>
                    <a:pt x="222" y="90"/>
                  </a:lnTo>
                  <a:lnTo>
                    <a:pt x="228" y="90"/>
                  </a:lnTo>
                  <a:lnTo>
                    <a:pt x="228" y="96"/>
                  </a:lnTo>
                  <a:lnTo>
                    <a:pt x="234" y="96"/>
                  </a:lnTo>
                  <a:lnTo>
                    <a:pt x="240" y="96"/>
                  </a:lnTo>
                  <a:lnTo>
                    <a:pt x="246" y="96"/>
                  </a:lnTo>
                  <a:lnTo>
                    <a:pt x="252" y="96"/>
                  </a:lnTo>
                  <a:lnTo>
                    <a:pt x="258" y="96"/>
                  </a:lnTo>
                  <a:lnTo>
                    <a:pt x="258" y="102"/>
                  </a:lnTo>
                  <a:lnTo>
                    <a:pt x="264" y="102"/>
                  </a:lnTo>
                  <a:lnTo>
                    <a:pt x="264" y="108"/>
                  </a:lnTo>
                  <a:lnTo>
                    <a:pt x="270" y="108"/>
                  </a:lnTo>
                  <a:lnTo>
                    <a:pt x="270" y="114"/>
                  </a:lnTo>
                  <a:lnTo>
                    <a:pt x="270" y="108"/>
                  </a:lnTo>
                  <a:lnTo>
                    <a:pt x="276" y="108"/>
                  </a:lnTo>
                  <a:lnTo>
                    <a:pt x="276" y="102"/>
                  </a:lnTo>
                  <a:lnTo>
                    <a:pt x="276" y="96"/>
                  </a:lnTo>
                  <a:lnTo>
                    <a:pt x="270" y="96"/>
                  </a:lnTo>
                  <a:lnTo>
                    <a:pt x="270" y="90"/>
                  </a:lnTo>
                  <a:lnTo>
                    <a:pt x="270" y="84"/>
                  </a:lnTo>
                  <a:lnTo>
                    <a:pt x="276" y="84"/>
                  </a:lnTo>
                  <a:lnTo>
                    <a:pt x="276" y="78"/>
                  </a:lnTo>
                  <a:lnTo>
                    <a:pt x="282" y="78"/>
                  </a:lnTo>
                  <a:lnTo>
                    <a:pt x="282" y="72"/>
                  </a:lnTo>
                  <a:lnTo>
                    <a:pt x="282" y="66"/>
                  </a:lnTo>
                  <a:lnTo>
                    <a:pt x="288" y="66"/>
                  </a:lnTo>
                  <a:lnTo>
                    <a:pt x="288" y="60"/>
                  </a:lnTo>
                  <a:lnTo>
                    <a:pt x="288" y="54"/>
                  </a:lnTo>
                  <a:lnTo>
                    <a:pt x="294" y="54"/>
                  </a:lnTo>
                  <a:lnTo>
                    <a:pt x="294" y="48"/>
                  </a:lnTo>
                  <a:lnTo>
                    <a:pt x="294" y="42"/>
                  </a:lnTo>
                  <a:lnTo>
                    <a:pt x="294" y="36"/>
                  </a:lnTo>
                  <a:lnTo>
                    <a:pt x="300" y="30"/>
                  </a:lnTo>
                  <a:lnTo>
                    <a:pt x="294" y="30"/>
                  </a:lnTo>
                  <a:lnTo>
                    <a:pt x="294" y="24"/>
                  </a:lnTo>
                  <a:lnTo>
                    <a:pt x="300" y="24"/>
                  </a:lnTo>
                  <a:lnTo>
                    <a:pt x="300" y="18"/>
                  </a:lnTo>
                  <a:lnTo>
                    <a:pt x="300" y="12"/>
                  </a:lnTo>
                  <a:lnTo>
                    <a:pt x="300" y="6"/>
                  </a:lnTo>
                  <a:lnTo>
                    <a:pt x="306" y="6"/>
                  </a:lnTo>
                  <a:lnTo>
                    <a:pt x="312" y="6"/>
                  </a:lnTo>
                  <a:lnTo>
                    <a:pt x="318" y="6"/>
                  </a:lnTo>
                  <a:lnTo>
                    <a:pt x="324" y="6"/>
                  </a:lnTo>
                  <a:lnTo>
                    <a:pt x="330" y="6"/>
                  </a:lnTo>
                  <a:lnTo>
                    <a:pt x="336" y="6"/>
                  </a:lnTo>
                  <a:lnTo>
                    <a:pt x="336" y="0"/>
                  </a:lnTo>
                  <a:lnTo>
                    <a:pt x="342" y="0"/>
                  </a:lnTo>
                  <a:lnTo>
                    <a:pt x="348" y="0"/>
                  </a:lnTo>
                  <a:lnTo>
                    <a:pt x="354" y="0"/>
                  </a:lnTo>
                  <a:lnTo>
                    <a:pt x="360" y="0"/>
                  </a:lnTo>
                  <a:lnTo>
                    <a:pt x="366" y="0"/>
                  </a:lnTo>
                  <a:lnTo>
                    <a:pt x="372" y="0"/>
                  </a:lnTo>
                  <a:lnTo>
                    <a:pt x="372" y="6"/>
                  </a:lnTo>
                  <a:lnTo>
                    <a:pt x="372" y="0"/>
                  </a:lnTo>
                  <a:lnTo>
                    <a:pt x="378" y="0"/>
                  </a:lnTo>
                  <a:lnTo>
                    <a:pt x="378" y="6"/>
                  </a:lnTo>
                  <a:lnTo>
                    <a:pt x="384" y="6"/>
                  </a:lnTo>
                  <a:lnTo>
                    <a:pt x="390" y="6"/>
                  </a:lnTo>
                  <a:lnTo>
                    <a:pt x="390" y="12"/>
                  </a:lnTo>
                  <a:lnTo>
                    <a:pt x="390" y="6"/>
                  </a:lnTo>
                  <a:lnTo>
                    <a:pt x="396" y="6"/>
                  </a:lnTo>
                  <a:lnTo>
                    <a:pt x="396" y="0"/>
                  </a:lnTo>
                  <a:lnTo>
                    <a:pt x="402" y="6"/>
                  </a:lnTo>
                  <a:lnTo>
                    <a:pt x="402" y="0"/>
                  </a:lnTo>
                  <a:lnTo>
                    <a:pt x="402" y="6"/>
                  </a:lnTo>
                  <a:lnTo>
                    <a:pt x="402" y="0"/>
                  </a:lnTo>
                  <a:lnTo>
                    <a:pt x="408" y="0"/>
                  </a:lnTo>
                  <a:lnTo>
                    <a:pt x="408" y="6"/>
                  </a:lnTo>
                  <a:lnTo>
                    <a:pt x="414" y="6"/>
                  </a:lnTo>
                  <a:lnTo>
                    <a:pt x="414" y="12"/>
                  </a:lnTo>
                  <a:lnTo>
                    <a:pt x="414" y="18"/>
                  </a:lnTo>
                  <a:lnTo>
                    <a:pt x="414" y="24"/>
                  </a:lnTo>
                  <a:lnTo>
                    <a:pt x="414" y="30"/>
                  </a:lnTo>
                  <a:lnTo>
                    <a:pt x="408" y="30"/>
                  </a:lnTo>
                  <a:lnTo>
                    <a:pt x="408" y="36"/>
                  </a:lnTo>
                  <a:lnTo>
                    <a:pt x="402" y="36"/>
                  </a:lnTo>
                  <a:lnTo>
                    <a:pt x="402" y="42"/>
                  </a:lnTo>
                  <a:lnTo>
                    <a:pt x="402" y="48"/>
                  </a:lnTo>
                  <a:lnTo>
                    <a:pt x="402" y="54"/>
                  </a:lnTo>
                  <a:lnTo>
                    <a:pt x="396" y="54"/>
                  </a:lnTo>
                  <a:lnTo>
                    <a:pt x="396" y="60"/>
                  </a:lnTo>
                  <a:lnTo>
                    <a:pt x="390" y="66"/>
                  </a:lnTo>
                  <a:lnTo>
                    <a:pt x="390" y="72"/>
                  </a:lnTo>
                  <a:lnTo>
                    <a:pt x="390" y="78"/>
                  </a:lnTo>
                  <a:lnTo>
                    <a:pt x="384" y="78"/>
                  </a:lnTo>
                  <a:lnTo>
                    <a:pt x="384" y="84"/>
                  </a:lnTo>
                  <a:lnTo>
                    <a:pt x="384" y="90"/>
                  </a:lnTo>
                  <a:lnTo>
                    <a:pt x="384" y="96"/>
                  </a:lnTo>
                  <a:lnTo>
                    <a:pt x="384" y="102"/>
                  </a:lnTo>
                  <a:lnTo>
                    <a:pt x="384" y="108"/>
                  </a:lnTo>
                  <a:lnTo>
                    <a:pt x="384" y="114"/>
                  </a:lnTo>
                  <a:lnTo>
                    <a:pt x="384" y="120"/>
                  </a:lnTo>
                  <a:lnTo>
                    <a:pt x="378" y="120"/>
                  </a:lnTo>
                  <a:lnTo>
                    <a:pt x="378" y="126"/>
                  </a:lnTo>
                  <a:lnTo>
                    <a:pt x="378" y="132"/>
                  </a:lnTo>
                  <a:lnTo>
                    <a:pt x="378" y="138"/>
                  </a:lnTo>
                  <a:lnTo>
                    <a:pt x="372" y="138"/>
                  </a:lnTo>
                  <a:lnTo>
                    <a:pt x="372" y="144"/>
                  </a:lnTo>
                  <a:lnTo>
                    <a:pt x="372" y="150"/>
                  </a:lnTo>
                  <a:lnTo>
                    <a:pt x="372" y="156"/>
                  </a:lnTo>
                  <a:lnTo>
                    <a:pt x="372" y="162"/>
                  </a:lnTo>
                  <a:lnTo>
                    <a:pt x="372" y="168"/>
                  </a:lnTo>
                  <a:lnTo>
                    <a:pt x="372" y="174"/>
                  </a:lnTo>
                  <a:lnTo>
                    <a:pt x="378" y="174"/>
                  </a:lnTo>
                  <a:lnTo>
                    <a:pt x="378" y="180"/>
                  </a:lnTo>
                  <a:lnTo>
                    <a:pt x="378" y="186"/>
                  </a:lnTo>
                  <a:lnTo>
                    <a:pt x="372" y="186"/>
                  </a:lnTo>
                  <a:lnTo>
                    <a:pt x="372" y="192"/>
                  </a:lnTo>
                  <a:lnTo>
                    <a:pt x="366" y="192"/>
                  </a:lnTo>
                  <a:lnTo>
                    <a:pt x="366" y="198"/>
                  </a:lnTo>
                  <a:lnTo>
                    <a:pt x="366" y="204"/>
                  </a:lnTo>
                  <a:lnTo>
                    <a:pt x="366" y="210"/>
                  </a:lnTo>
                  <a:lnTo>
                    <a:pt x="360" y="210"/>
                  </a:lnTo>
                  <a:lnTo>
                    <a:pt x="360" y="216"/>
                  </a:lnTo>
                  <a:lnTo>
                    <a:pt x="366" y="222"/>
                  </a:lnTo>
                  <a:lnTo>
                    <a:pt x="366" y="228"/>
                  </a:lnTo>
                  <a:lnTo>
                    <a:pt x="360" y="234"/>
                  </a:lnTo>
                  <a:lnTo>
                    <a:pt x="360" y="240"/>
                  </a:lnTo>
                  <a:lnTo>
                    <a:pt x="354" y="240"/>
                  </a:lnTo>
                  <a:lnTo>
                    <a:pt x="354" y="246"/>
                  </a:lnTo>
                  <a:lnTo>
                    <a:pt x="348" y="252"/>
                  </a:lnTo>
                  <a:lnTo>
                    <a:pt x="342" y="258"/>
                  </a:lnTo>
                  <a:lnTo>
                    <a:pt x="336" y="258"/>
                  </a:lnTo>
                  <a:lnTo>
                    <a:pt x="336" y="264"/>
                  </a:lnTo>
                  <a:lnTo>
                    <a:pt x="330" y="264"/>
                  </a:lnTo>
                  <a:lnTo>
                    <a:pt x="324" y="264"/>
                  </a:lnTo>
                  <a:lnTo>
                    <a:pt x="324" y="270"/>
                  </a:lnTo>
                  <a:lnTo>
                    <a:pt x="318" y="270"/>
                  </a:lnTo>
                  <a:lnTo>
                    <a:pt x="312" y="276"/>
                  </a:lnTo>
                  <a:lnTo>
                    <a:pt x="312" y="282"/>
                  </a:lnTo>
                  <a:lnTo>
                    <a:pt x="306" y="282"/>
                  </a:lnTo>
                  <a:lnTo>
                    <a:pt x="306" y="288"/>
                  </a:lnTo>
                  <a:lnTo>
                    <a:pt x="306" y="294"/>
                  </a:lnTo>
                  <a:lnTo>
                    <a:pt x="300" y="300"/>
                  </a:lnTo>
                  <a:lnTo>
                    <a:pt x="300" y="306"/>
                  </a:lnTo>
                  <a:lnTo>
                    <a:pt x="294" y="306"/>
                  </a:lnTo>
                  <a:lnTo>
                    <a:pt x="294" y="312"/>
                  </a:lnTo>
                  <a:lnTo>
                    <a:pt x="288" y="312"/>
                  </a:lnTo>
                  <a:lnTo>
                    <a:pt x="288" y="318"/>
                  </a:lnTo>
                  <a:lnTo>
                    <a:pt x="282" y="318"/>
                  </a:lnTo>
                  <a:lnTo>
                    <a:pt x="282" y="324"/>
                  </a:lnTo>
                  <a:lnTo>
                    <a:pt x="276" y="324"/>
                  </a:lnTo>
                  <a:lnTo>
                    <a:pt x="276" y="330"/>
                  </a:lnTo>
                  <a:lnTo>
                    <a:pt x="276" y="336"/>
                  </a:lnTo>
                  <a:lnTo>
                    <a:pt x="276" y="342"/>
                  </a:lnTo>
                  <a:lnTo>
                    <a:pt x="282" y="342"/>
                  </a:lnTo>
                  <a:lnTo>
                    <a:pt x="282" y="348"/>
                  </a:lnTo>
                  <a:lnTo>
                    <a:pt x="282" y="354"/>
                  </a:lnTo>
                  <a:lnTo>
                    <a:pt x="276" y="354"/>
                  </a:lnTo>
                  <a:lnTo>
                    <a:pt x="276" y="360"/>
                  </a:lnTo>
                  <a:lnTo>
                    <a:pt x="276" y="366"/>
                  </a:lnTo>
                  <a:lnTo>
                    <a:pt x="276" y="372"/>
                  </a:lnTo>
                  <a:lnTo>
                    <a:pt x="276" y="378"/>
                  </a:lnTo>
                  <a:lnTo>
                    <a:pt x="276" y="384"/>
                  </a:lnTo>
                  <a:lnTo>
                    <a:pt x="282" y="384"/>
                  </a:lnTo>
                  <a:lnTo>
                    <a:pt x="282" y="390"/>
                  </a:lnTo>
                  <a:lnTo>
                    <a:pt x="276" y="390"/>
                  </a:lnTo>
                  <a:lnTo>
                    <a:pt x="276" y="396"/>
                  </a:lnTo>
                  <a:lnTo>
                    <a:pt x="276" y="402"/>
                  </a:lnTo>
                  <a:lnTo>
                    <a:pt x="270" y="402"/>
                  </a:lnTo>
                  <a:lnTo>
                    <a:pt x="270" y="408"/>
                  </a:lnTo>
                  <a:lnTo>
                    <a:pt x="270" y="414"/>
                  </a:lnTo>
                  <a:lnTo>
                    <a:pt x="264" y="414"/>
                  </a:lnTo>
                  <a:lnTo>
                    <a:pt x="264" y="420"/>
                  </a:lnTo>
                  <a:lnTo>
                    <a:pt x="264" y="426"/>
                  </a:lnTo>
                  <a:lnTo>
                    <a:pt x="258" y="426"/>
                  </a:lnTo>
                  <a:lnTo>
                    <a:pt x="252" y="426"/>
                  </a:lnTo>
                  <a:lnTo>
                    <a:pt x="246" y="426"/>
                  </a:lnTo>
                  <a:lnTo>
                    <a:pt x="240" y="426"/>
                  </a:lnTo>
                  <a:lnTo>
                    <a:pt x="240" y="432"/>
                  </a:lnTo>
                  <a:lnTo>
                    <a:pt x="240" y="438"/>
                  </a:lnTo>
                  <a:lnTo>
                    <a:pt x="240" y="444"/>
                  </a:lnTo>
                  <a:lnTo>
                    <a:pt x="234" y="444"/>
                  </a:lnTo>
                  <a:lnTo>
                    <a:pt x="228" y="444"/>
                  </a:lnTo>
                  <a:lnTo>
                    <a:pt x="222" y="444"/>
                  </a:lnTo>
                  <a:lnTo>
                    <a:pt x="222" y="450"/>
                  </a:lnTo>
                  <a:lnTo>
                    <a:pt x="216" y="456"/>
                  </a:lnTo>
                  <a:lnTo>
                    <a:pt x="210" y="462"/>
                  </a:lnTo>
                  <a:lnTo>
                    <a:pt x="204" y="462"/>
                  </a:lnTo>
                  <a:lnTo>
                    <a:pt x="204" y="468"/>
                  </a:lnTo>
                  <a:lnTo>
                    <a:pt x="204" y="474"/>
                  </a:lnTo>
                  <a:lnTo>
                    <a:pt x="198" y="474"/>
                  </a:lnTo>
                  <a:lnTo>
                    <a:pt x="192" y="480"/>
                  </a:lnTo>
                  <a:lnTo>
                    <a:pt x="192" y="474"/>
                  </a:lnTo>
                  <a:lnTo>
                    <a:pt x="186" y="474"/>
                  </a:lnTo>
                  <a:lnTo>
                    <a:pt x="180" y="474"/>
                  </a:lnTo>
                  <a:lnTo>
                    <a:pt x="180" y="468"/>
                  </a:lnTo>
                  <a:lnTo>
                    <a:pt x="180" y="462"/>
                  </a:lnTo>
                  <a:lnTo>
                    <a:pt x="174" y="462"/>
                  </a:lnTo>
                  <a:lnTo>
                    <a:pt x="180" y="462"/>
                  </a:lnTo>
                  <a:lnTo>
                    <a:pt x="174" y="462"/>
                  </a:lnTo>
                  <a:lnTo>
                    <a:pt x="174" y="456"/>
                  </a:lnTo>
                  <a:lnTo>
                    <a:pt x="180" y="456"/>
                  </a:lnTo>
                  <a:lnTo>
                    <a:pt x="180" y="450"/>
                  </a:lnTo>
                  <a:lnTo>
                    <a:pt x="180" y="444"/>
                  </a:lnTo>
                  <a:lnTo>
                    <a:pt x="174" y="444"/>
                  </a:lnTo>
                  <a:lnTo>
                    <a:pt x="168" y="444"/>
                  </a:lnTo>
                  <a:lnTo>
                    <a:pt x="168" y="450"/>
                  </a:lnTo>
                  <a:lnTo>
                    <a:pt x="162" y="450"/>
                  </a:lnTo>
                  <a:lnTo>
                    <a:pt x="156" y="450"/>
                  </a:lnTo>
                  <a:lnTo>
                    <a:pt x="156" y="456"/>
                  </a:lnTo>
                  <a:lnTo>
                    <a:pt x="150" y="456"/>
                  </a:lnTo>
                  <a:lnTo>
                    <a:pt x="150" y="450"/>
                  </a:lnTo>
                  <a:lnTo>
                    <a:pt x="144" y="450"/>
                  </a:lnTo>
                  <a:lnTo>
                    <a:pt x="138" y="450"/>
                  </a:lnTo>
                  <a:lnTo>
                    <a:pt x="138" y="456"/>
                  </a:lnTo>
                  <a:lnTo>
                    <a:pt x="144" y="456"/>
                  </a:lnTo>
                  <a:lnTo>
                    <a:pt x="144" y="462"/>
                  </a:lnTo>
                  <a:lnTo>
                    <a:pt x="138" y="462"/>
                  </a:lnTo>
                  <a:lnTo>
                    <a:pt x="138" y="468"/>
                  </a:lnTo>
                  <a:lnTo>
                    <a:pt x="132" y="468"/>
                  </a:lnTo>
                  <a:lnTo>
                    <a:pt x="132" y="474"/>
                  </a:lnTo>
                  <a:lnTo>
                    <a:pt x="126" y="474"/>
                  </a:lnTo>
                  <a:lnTo>
                    <a:pt x="126" y="480"/>
                  </a:lnTo>
                  <a:lnTo>
                    <a:pt x="120" y="474"/>
                  </a:lnTo>
                  <a:lnTo>
                    <a:pt x="120" y="468"/>
                  </a:lnTo>
                  <a:lnTo>
                    <a:pt x="114" y="468"/>
                  </a:lnTo>
                  <a:lnTo>
                    <a:pt x="114" y="462"/>
                  </a:lnTo>
                  <a:lnTo>
                    <a:pt x="108" y="462"/>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7" name="Freeform 50"/>
            <p:cNvSpPr>
              <a:spLocks noEditPoints="1"/>
            </p:cNvSpPr>
            <p:nvPr>
              <p:custDataLst>
                <p:tags r:id="rId45"/>
              </p:custDataLst>
            </p:nvPr>
          </p:nvSpPr>
          <p:spPr bwMode="gray">
            <a:xfrm>
              <a:off x="1735979" y="3500312"/>
              <a:ext cx="295254" cy="308750"/>
            </a:xfrm>
            <a:custGeom>
              <a:avLst/>
              <a:gdLst>
                <a:gd name="T0" fmla="*/ 44504 w 324"/>
                <a:gd name="T1" fmla="*/ 120720 h 354"/>
                <a:gd name="T2" fmla="*/ 37731 w 324"/>
                <a:gd name="T3" fmla="*/ 113960 h 354"/>
                <a:gd name="T4" fmla="*/ 29991 w 324"/>
                <a:gd name="T5" fmla="*/ 104302 h 354"/>
                <a:gd name="T6" fmla="*/ 27089 w 324"/>
                <a:gd name="T7" fmla="*/ 101405 h 354"/>
                <a:gd name="T8" fmla="*/ 19350 w 324"/>
                <a:gd name="T9" fmla="*/ 95611 h 354"/>
                <a:gd name="T10" fmla="*/ 12577 w 324"/>
                <a:gd name="T11" fmla="*/ 86918 h 354"/>
                <a:gd name="T12" fmla="*/ 8707 w 324"/>
                <a:gd name="T13" fmla="*/ 78227 h 354"/>
                <a:gd name="T14" fmla="*/ 6772 w 324"/>
                <a:gd name="T15" fmla="*/ 71466 h 354"/>
                <a:gd name="T16" fmla="*/ 1935 w 324"/>
                <a:gd name="T17" fmla="*/ 65672 h 354"/>
                <a:gd name="T18" fmla="*/ 0 w 324"/>
                <a:gd name="T19" fmla="*/ 59877 h 354"/>
                <a:gd name="T20" fmla="*/ 3870 w 324"/>
                <a:gd name="T21" fmla="*/ 60843 h 354"/>
                <a:gd name="T22" fmla="*/ 6772 w 324"/>
                <a:gd name="T23" fmla="*/ 59877 h 354"/>
                <a:gd name="T24" fmla="*/ 6772 w 324"/>
                <a:gd name="T25" fmla="*/ 59877 h 354"/>
                <a:gd name="T26" fmla="*/ 10642 w 324"/>
                <a:gd name="T27" fmla="*/ 51186 h 354"/>
                <a:gd name="T28" fmla="*/ 10642 w 324"/>
                <a:gd name="T29" fmla="*/ 42493 h 354"/>
                <a:gd name="T30" fmla="*/ 14512 w 324"/>
                <a:gd name="T31" fmla="*/ 42493 h 354"/>
                <a:gd name="T32" fmla="*/ 19350 w 324"/>
                <a:gd name="T33" fmla="*/ 44425 h 354"/>
                <a:gd name="T34" fmla="*/ 17415 w 324"/>
                <a:gd name="T35" fmla="*/ 40562 h 354"/>
                <a:gd name="T36" fmla="*/ 10642 w 324"/>
                <a:gd name="T37" fmla="*/ 33801 h 354"/>
                <a:gd name="T38" fmla="*/ 17415 w 324"/>
                <a:gd name="T39" fmla="*/ 31870 h 354"/>
                <a:gd name="T40" fmla="*/ 21285 w 324"/>
                <a:gd name="T41" fmla="*/ 26076 h 354"/>
                <a:gd name="T42" fmla="*/ 31926 w 324"/>
                <a:gd name="T43" fmla="*/ 27041 h 354"/>
                <a:gd name="T44" fmla="*/ 44504 w 324"/>
                <a:gd name="T45" fmla="*/ 27041 h 354"/>
                <a:gd name="T46" fmla="*/ 51276 w 324"/>
                <a:gd name="T47" fmla="*/ 21247 h 354"/>
                <a:gd name="T48" fmla="*/ 51276 w 324"/>
                <a:gd name="T49" fmla="*/ 8692 h 354"/>
                <a:gd name="T50" fmla="*/ 55146 w 324"/>
                <a:gd name="T51" fmla="*/ 0 h 354"/>
                <a:gd name="T52" fmla="*/ 59984 w 324"/>
                <a:gd name="T53" fmla="*/ 0 h 354"/>
                <a:gd name="T54" fmla="*/ 70626 w 324"/>
                <a:gd name="T55" fmla="*/ 1931 h 354"/>
                <a:gd name="T56" fmla="*/ 83203 w 324"/>
                <a:gd name="T57" fmla="*/ 1931 h 354"/>
                <a:gd name="T58" fmla="*/ 90943 w 324"/>
                <a:gd name="T59" fmla="*/ 1931 h 354"/>
                <a:gd name="T60" fmla="*/ 87073 w 324"/>
                <a:gd name="T61" fmla="*/ 10624 h 354"/>
                <a:gd name="T62" fmla="*/ 87073 w 324"/>
                <a:gd name="T63" fmla="*/ 14486 h 354"/>
                <a:gd name="T64" fmla="*/ 89008 w 324"/>
                <a:gd name="T65" fmla="*/ 17383 h 354"/>
                <a:gd name="T66" fmla="*/ 87073 w 324"/>
                <a:gd name="T67" fmla="*/ 23179 h 354"/>
                <a:gd name="T68" fmla="*/ 95780 w 324"/>
                <a:gd name="T69" fmla="*/ 21247 h 354"/>
                <a:gd name="T70" fmla="*/ 105455 w 324"/>
                <a:gd name="T71" fmla="*/ 19315 h 354"/>
                <a:gd name="T72" fmla="*/ 112227 w 324"/>
                <a:gd name="T73" fmla="*/ 26076 h 354"/>
                <a:gd name="T74" fmla="*/ 110292 w 324"/>
                <a:gd name="T75" fmla="*/ 31870 h 354"/>
                <a:gd name="T76" fmla="*/ 105455 w 324"/>
                <a:gd name="T77" fmla="*/ 35733 h 354"/>
                <a:gd name="T78" fmla="*/ 101585 w 324"/>
                <a:gd name="T79" fmla="*/ 44425 h 354"/>
                <a:gd name="T80" fmla="*/ 104487 w 324"/>
                <a:gd name="T81" fmla="*/ 51186 h 354"/>
                <a:gd name="T82" fmla="*/ 112227 w 324"/>
                <a:gd name="T83" fmla="*/ 55048 h 354"/>
                <a:gd name="T84" fmla="*/ 112227 w 324"/>
                <a:gd name="T85" fmla="*/ 67603 h 354"/>
                <a:gd name="T86" fmla="*/ 112227 w 324"/>
                <a:gd name="T87" fmla="*/ 76295 h 354"/>
                <a:gd name="T88" fmla="*/ 110292 w 324"/>
                <a:gd name="T89" fmla="*/ 84987 h 354"/>
                <a:gd name="T90" fmla="*/ 108357 w 324"/>
                <a:gd name="T91" fmla="*/ 93679 h 354"/>
                <a:gd name="T92" fmla="*/ 101585 w 324"/>
                <a:gd name="T93" fmla="*/ 90781 h 354"/>
                <a:gd name="T94" fmla="*/ 95780 w 324"/>
                <a:gd name="T95" fmla="*/ 93679 h 354"/>
                <a:gd name="T96" fmla="*/ 85138 w 324"/>
                <a:gd name="T97" fmla="*/ 90781 h 354"/>
                <a:gd name="T98" fmla="*/ 80300 w 324"/>
                <a:gd name="T99" fmla="*/ 82090 h 354"/>
                <a:gd name="T100" fmla="*/ 74496 w 324"/>
                <a:gd name="T101" fmla="*/ 86918 h 354"/>
                <a:gd name="T102" fmla="*/ 67724 w 324"/>
                <a:gd name="T103" fmla="*/ 93679 h 354"/>
                <a:gd name="T104" fmla="*/ 59984 w 324"/>
                <a:gd name="T105" fmla="*/ 93679 h 354"/>
                <a:gd name="T106" fmla="*/ 59984 w 324"/>
                <a:gd name="T107" fmla="*/ 97542 h 354"/>
                <a:gd name="T108" fmla="*/ 61919 w 324"/>
                <a:gd name="T109" fmla="*/ 104302 h 354"/>
                <a:gd name="T110" fmla="*/ 63854 w 324"/>
                <a:gd name="T111" fmla="*/ 110097 h 354"/>
                <a:gd name="T112" fmla="*/ 63854 w 324"/>
                <a:gd name="T113" fmla="*/ 118788 h 354"/>
                <a:gd name="T114" fmla="*/ 55146 w 324"/>
                <a:gd name="T115" fmla="*/ 115891 h 354"/>
                <a:gd name="T116" fmla="*/ 48374 w 324"/>
                <a:gd name="T117" fmla="*/ 122652 h 354"/>
                <a:gd name="T118" fmla="*/ 1935 w 324"/>
                <a:gd name="T119" fmla="*/ 63740 h 354"/>
                <a:gd name="T120" fmla="*/ 12577 w 324"/>
                <a:gd name="T121" fmla="*/ 3187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24" h="354">
                  <a:moveTo>
                    <a:pt x="138" y="354"/>
                  </a:moveTo>
                  <a:lnTo>
                    <a:pt x="138" y="348"/>
                  </a:lnTo>
                  <a:lnTo>
                    <a:pt x="138" y="354"/>
                  </a:lnTo>
                  <a:lnTo>
                    <a:pt x="132" y="348"/>
                  </a:lnTo>
                  <a:lnTo>
                    <a:pt x="126" y="348"/>
                  </a:lnTo>
                  <a:lnTo>
                    <a:pt x="126" y="342"/>
                  </a:lnTo>
                  <a:lnTo>
                    <a:pt x="126" y="336"/>
                  </a:lnTo>
                  <a:lnTo>
                    <a:pt x="120" y="336"/>
                  </a:lnTo>
                  <a:lnTo>
                    <a:pt x="120" y="330"/>
                  </a:lnTo>
                  <a:lnTo>
                    <a:pt x="114" y="330"/>
                  </a:lnTo>
                  <a:lnTo>
                    <a:pt x="114" y="324"/>
                  </a:lnTo>
                  <a:lnTo>
                    <a:pt x="108" y="324"/>
                  </a:lnTo>
                  <a:lnTo>
                    <a:pt x="108" y="318"/>
                  </a:lnTo>
                  <a:lnTo>
                    <a:pt x="102" y="312"/>
                  </a:lnTo>
                  <a:lnTo>
                    <a:pt x="96" y="306"/>
                  </a:lnTo>
                  <a:lnTo>
                    <a:pt x="90" y="306"/>
                  </a:lnTo>
                  <a:lnTo>
                    <a:pt x="90" y="300"/>
                  </a:lnTo>
                  <a:lnTo>
                    <a:pt x="84" y="294"/>
                  </a:lnTo>
                  <a:lnTo>
                    <a:pt x="84" y="300"/>
                  </a:lnTo>
                  <a:lnTo>
                    <a:pt x="90" y="300"/>
                  </a:lnTo>
                  <a:lnTo>
                    <a:pt x="84" y="300"/>
                  </a:lnTo>
                  <a:lnTo>
                    <a:pt x="84" y="294"/>
                  </a:lnTo>
                  <a:lnTo>
                    <a:pt x="78" y="294"/>
                  </a:lnTo>
                  <a:lnTo>
                    <a:pt x="78" y="288"/>
                  </a:lnTo>
                  <a:lnTo>
                    <a:pt x="72" y="288"/>
                  </a:lnTo>
                  <a:lnTo>
                    <a:pt x="72" y="282"/>
                  </a:lnTo>
                  <a:lnTo>
                    <a:pt x="66" y="282"/>
                  </a:lnTo>
                  <a:lnTo>
                    <a:pt x="66" y="276"/>
                  </a:lnTo>
                  <a:lnTo>
                    <a:pt x="60" y="276"/>
                  </a:lnTo>
                  <a:lnTo>
                    <a:pt x="54" y="270"/>
                  </a:lnTo>
                  <a:lnTo>
                    <a:pt x="48" y="264"/>
                  </a:lnTo>
                  <a:lnTo>
                    <a:pt x="48" y="258"/>
                  </a:lnTo>
                  <a:lnTo>
                    <a:pt x="48" y="252"/>
                  </a:lnTo>
                  <a:lnTo>
                    <a:pt x="42" y="252"/>
                  </a:lnTo>
                  <a:lnTo>
                    <a:pt x="42" y="246"/>
                  </a:lnTo>
                  <a:lnTo>
                    <a:pt x="36" y="246"/>
                  </a:lnTo>
                  <a:lnTo>
                    <a:pt x="36" y="240"/>
                  </a:lnTo>
                  <a:lnTo>
                    <a:pt x="30" y="240"/>
                  </a:lnTo>
                  <a:lnTo>
                    <a:pt x="30" y="234"/>
                  </a:lnTo>
                  <a:lnTo>
                    <a:pt x="30" y="228"/>
                  </a:lnTo>
                  <a:lnTo>
                    <a:pt x="30" y="222"/>
                  </a:lnTo>
                  <a:lnTo>
                    <a:pt x="24" y="222"/>
                  </a:lnTo>
                  <a:lnTo>
                    <a:pt x="24" y="216"/>
                  </a:lnTo>
                  <a:lnTo>
                    <a:pt x="24" y="210"/>
                  </a:lnTo>
                  <a:lnTo>
                    <a:pt x="18" y="210"/>
                  </a:lnTo>
                  <a:lnTo>
                    <a:pt x="18" y="204"/>
                  </a:lnTo>
                  <a:lnTo>
                    <a:pt x="12" y="204"/>
                  </a:lnTo>
                  <a:lnTo>
                    <a:pt x="18" y="204"/>
                  </a:lnTo>
                  <a:lnTo>
                    <a:pt x="12" y="204"/>
                  </a:lnTo>
                  <a:lnTo>
                    <a:pt x="18" y="204"/>
                  </a:lnTo>
                  <a:lnTo>
                    <a:pt x="18" y="198"/>
                  </a:lnTo>
                  <a:lnTo>
                    <a:pt x="12" y="198"/>
                  </a:lnTo>
                  <a:lnTo>
                    <a:pt x="12" y="192"/>
                  </a:lnTo>
                  <a:lnTo>
                    <a:pt x="6" y="186"/>
                  </a:lnTo>
                  <a:lnTo>
                    <a:pt x="12" y="192"/>
                  </a:lnTo>
                  <a:lnTo>
                    <a:pt x="12" y="186"/>
                  </a:lnTo>
                  <a:lnTo>
                    <a:pt x="6" y="186"/>
                  </a:lnTo>
                  <a:lnTo>
                    <a:pt x="6" y="180"/>
                  </a:lnTo>
                  <a:lnTo>
                    <a:pt x="0" y="174"/>
                  </a:lnTo>
                  <a:lnTo>
                    <a:pt x="0" y="168"/>
                  </a:lnTo>
                  <a:lnTo>
                    <a:pt x="6" y="168"/>
                  </a:lnTo>
                  <a:lnTo>
                    <a:pt x="0" y="168"/>
                  </a:lnTo>
                  <a:lnTo>
                    <a:pt x="6" y="174"/>
                  </a:lnTo>
                  <a:lnTo>
                    <a:pt x="6" y="180"/>
                  </a:lnTo>
                  <a:lnTo>
                    <a:pt x="6" y="174"/>
                  </a:lnTo>
                  <a:lnTo>
                    <a:pt x="12" y="174"/>
                  </a:lnTo>
                  <a:lnTo>
                    <a:pt x="12" y="168"/>
                  </a:lnTo>
                  <a:lnTo>
                    <a:pt x="18" y="168"/>
                  </a:lnTo>
                  <a:lnTo>
                    <a:pt x="12" y="168"/>
                  </a:lnTo>
                  <a:lnTo>
                    <a:pt x="18" y="168"/>
                  </a:lnTo>
                  <a:lnTo>
                    <a:pt x="12" y="168"/>
                  </a:lnTo>
                  <a:lnTo>
                    <a:pt x="18" y="168"/>
                  </a:lnTo>
                  <a:lnTo>
                    <a:pt x="18" y="174"/>
                  </a:lnTo>
                  <a:lnTo>
                    <a:pt x="18" y="168"/>
                  </a:lnTo>
                  <a:lnTo>
                    <a:pt x="18" y="174"/>
                  </a:lnTo>
                  <a:lnTo>
                    <a:pt x="18" y="168"/>
                  </a:lnTo>
                  <a:lnTo>
                    <a:pt x="24" y="168"/>
                  </a:lnTo>
                  <a:lnTo>
                    <a:pt x="18" y="168"/>
                  </a:lnTo>
                  <a:lnTo>
                    <a:pt x="24" y="168"/>
                  </a:lnTo>
                  <a:lnTo>
                    <a:pt x="24" y="162"/>
                  </a:lnTo>
                  <a:lnTo>
                    <a:pt x="30" y="162"/>
                  </a:lnTo>
                  <a:lnTo>
                    <a:pt x="30" y="156"/>
                  </a:lnTo>
                  <a:lnTo>
                    <a:pt x="30" y="150"/>
                  </a:lnTo>
                  <a:lnTo>
                    <a:pt x="30" y="144"/>
                  </a:lnTo>
                  <a:lnTo>
                    <a:pt x="36" y="144"/>
                  </a:lnTo>
                  <a:lnTo>
                    <a:pt x="36" y="138"/>
                  </a:lnTo>
                  <a:lnTo>
                    <a:pt x="36" y="132"/>
                  </a:lnTo>
                  <a:lnTo>
                    <a:pt x="36" y="126"/>
                  </a:lnTo>
                  <a:lnTo>
                    <a:pt x="36" y="120"/>
                  </a:lnTo>
                  <a:lnTo>
                    <a:pt x="30" y="120"/>
                  </a:lnTo>
                  <a:lnTo>
                    <a:pt x="36" y="120"/>
                  </a:lnTo>
                  <a:lnTo>
                    <a:pt x="30" y="120"/>
                  </a:lnTo>
                  <a:lnTo>
                    <a:pt x="30" y="114"/>
                  </a:lnTo>
                  <a:lnTo>
                    <a:pt x="36" y="114"/>
                  </a:lnTo>
                  <a:lnTo>
                    <a:pt x="36" y="120"/>
                  </a:lnTo>
                  <a:lnTo>
                    <a:pt x="42" y="120"/>
                  </a:lnTo>
                  <a:lnTo>
                    <a:pt x="42" y="126"/>
                  </a:lnTo>
                  <a:lnTo>
                    <a:pt x="42" y="120"/>
                  </a:lnTo>
                  <a:lnTo>
                    <a:pt x="48" y="120"/>
                  </a:lnTo>
                  <a:lnTo>
                    <a:pt x="48" y="126"/>
                  </a:lnTo>
                  <a:lnTo>
                    <a:pt x="48" y="120"/>
                  </a:lnTo>
                  <a:lnTo>
                    <a:pt x="54" y="126"/>
                  </a:lnTo>
                  <a:lnTo>
                    <a:pt x="60" y="126"/>
                  </a:lnTo>
                  <a:lnTo>
                    <a:pt x="66" y="120"/>
                  </a:lnTo>
                  <a:lnTo>
                    <a:pt x="60" y="120"/>
                  </a:lnTo>
                  <a:lnTo>
                    <a:pt x="54" y="120"/>
                  </a:lnTo>
                  <a:lnTo>
                    <a:pt x="48" y="120"/>
                  </a:lnTo>
                  <a:lnTo>
                    <a:pt x="48" y="114"/>
                  </a:lnTo>
                  <a:lnTo>
                    <a:pt x="42" y="114"/>
                  </a:lnTo>
                  <a:lnTo>
                    <a:pt x="42" y="108"/>
                  </a:lnTo>
                  <a:lnTo>
                    <a:pt x="36" y="108"/>
                  </a:lnTo>
                  <a:lnTo>
                    <a:pt x="36" y="102"/>
                  </a:lnTo>
                  <a:lnTo>
                    <a:pt x="30" y="102"/>
                  </a:lnTo>
                  <a:lnTo>
                    <a:pt x="30" y="96"/>
                  </a:lnTo>
                  <a:lnTo>
                    <a:pt x="36" y="96"/>
                  </a:lnTo>
                  <a:lnTo>
                    <a:pt x="42" y="96"/>
                  </a:lnTo>
                  <a:lnTo>
                    <a:pt x="48" y="96"/>
                  </a:lnTo>
                  <a:lnTo>
                    <a:pt x="48" y="102"/>
                  </a:lnTo>
                  <a:lnTo>
                    <a:pt x="48" y="96"/>
                  </a:lnTo>
                  <a:lnTo>
                    <a:pt x="48" y="90"/>
                  </a:lnTo>
                  <a:lnTo>
                    <a:pt x="48" y="84"/>
                  </a:lnTo>
                  <a:lnTo>
                    <a:pt x="48" y="78"/>
                  </a:lnTo>
                  <a:lnTo>
                    <a:pt x="48" y="72"/>
                  </a:lnTo>
                  <a:lnTo>
                    <a:pt x="48" y="78"/>
                  </a:lnTo>
                  <a:lnTo>
                    <a:pt x="54" y="72"/>
                  </a:lnTo>
                  <a:lnTo>
                    <a:pt x="60" y="72"/>
                  </a:lnTo>
                  <a:lnTo>
                    <a:pt x="60" y="78"/>
                  </a:lnTo>
                  <a:lnTo>
                    <a:pt x="66" y="78"/>
                  </a:lnTo>
                  <a:lnTo>
                    <a:pt x="72" y="78"/>
                  </a:lnTo>
                  <a:lnTo>
                    <a:pt x="78" y="78"/>
                  </a:lnTo>
                  <a:lnTo>
                    <a:pt x="84" y="78"/>
                  </a:lnTo>
                  <a:lnTo>
                    <a:pt x="90" y="78"/>
                  </a:lnTo>
                  <a:lnTo>
                    <a:pt x="96" y="78"/>
                  </a:lnTo>
                  <a:lnTo>
                    <a:pt x="102" y="78"/>
                  </a:lnTo>
                  <a:lnTo>
                    <a:pt x="108" y="78"/>
                  </a:lnTo>
                  <a:lnTo>
                    <a:pt x="114" y="78"/>
                  </a:lnTo>
                  <a:lnTo>
                    <a:pt x="120" y="78"/>
                  </a:lnTo>
                  <a:lnTo>
                    <a:pt x="126" y="78"/>
                  </a:lnTo>
                  <a:lnTo>
                    <a:pt x="132" y="78"/>
                  </a:lnTo>
                  <a:lnTo>
                    <a:pt x="138" y="78"/>
                  </a:lnTo>
                  <a:lnTo>
                    <a:pt x="144" y="78"/>
                  </a:lnTo>
                  <a:lnTo>
                    <a:pt x="144" y="72"/>
                  </a:lnTo>
                  <a:lnTo>
                    <a:pt x="144" y="66"/>
                  </a:lnTo>
                  <a:lnTo>
                    <a:pt x="144" y="60"/>
                  </a:lnTo>
                  <a:lnTo>
                    <a:pt x="144" y="54"/>
                  </a:lnTo>
                  <a:lnTo>
                    <a:pt x="144" y="48"/>
                  </a:lnTo>
                  <a:lnTo>
                    <a:pt x="144" y="42"/>
                  </a:lnTo>
                  <a:lnTo>
                    <a:pt x="144" y="36"/>
                  </a:lnTo>
                  <a:lnTo>
                    <a:pt x="144" y="30"/>
                  </a:lnTo>
                  <a:lnTo>
                    <a:pt x="144" y="24"/>
                  </a:lnTo>
                  <a:lnTo>
                    <a:pt x="144" y="18"/>
                  </a:lnTo>
                  <a:lnTo>
                    <a:pt x="144" y="12"/>
                  </a:lnTo>
                  <a:lnTo>
                    <a:pt x="144" y="6"/>
                  </a:lnTo>
                  <a:lnTo>
                    <a:pt x="150" y="6"/>
                  </a:lnTo>
                  <a:lnTo>
                    <a:pt x="156" y="6"/>
                  </a:lnTo>
                  <a:lnTo>
                    <a:pt x="156" y="0"/>
                  </a:lnTo>
                  <a:lnTo>
                    <a:pt x="162" y="0"/>
                  </a:lnTo>
                  <a:lnTo>
                    <a:pt x="162" y="6"/>
                  </a:lnTo>
                  <a:lnTo>
                    <a:pt x="162" y="0"/>
                  </a:lnTo>
                  <a:lnTo>
                    <a:pt x="162" y="6"/>
                  </a:lnTo>
                  <a:lnTo>
                    <a:pt x="162" y="0"/>
                  </a:lnTo>
                  <a:lnTo>
                    <a:pt x="168" y="0"/>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34" y="6"/>
                  </a:lnTo>
                  <a:lnTo>
                    <a:pt x="240" y="6"/>
                  </a:lnTo>
                  <a:lnTo>
                    <a:pt x="246" y="6"/>
                  </a:lnTo>
                  <a:lnTo>
                    <a:pt x="252" y="6"/>
                  </a:lnTo>
                  <a:lnTo>
                    <a:pt x="246" y="6"/>
                  </a:lnTo>
                  <a:lnTo>
                    <a:pt x="252" y="6"/>
                  </a:lnTo>
                  <a:lnTo>
                    <a:pt x="258" y="6"/>
                  </a:lnTo>
                  <a:lnTo>
                    <a:pt x="252" y="6"/>
                  </a:lnTo>
                  <a:lnTo>
                    <a:pt x="252" y="12"/>
                  </a:lnTo>
                  <a:lnTo>
                    <a:pt x="252" y="18"/>
                  </a:lnTo>
                  <a:lnTo>
                    <a:pt x="252" y="24"/>
                  </a:lnTo>
                  <a:lnTo>
                    <a:pt x="246" y="24"/>
                  </a:lnTo>
                  <a:lnTo>
                    <a:pt x="246" y="30"/>
                  </a:lnTo>
                  <a:lnTo>
                    <a:pt x="252" y="30"/>
                  </a:lnTo>
                  <a:lnTo>
                    <a:pt x="246" y="30"/>
                  </a:lnTo>
                  <a:lnTo>
                    <a:pt x="252" y="30"/>
                  </a:lnTo>
                  <a:lnTo>
                    <a:pt x="246" y="30"/>
                  </a:lnTo>
                  <a:lnTo>
                    <a:pt x="246" y="36"/>
                  </a:lnTo>
                  <a:lnTo>
                    <a:pt x="246" y="42"/>
                  </a:lnTo>
                  <a:lnTo>
                    <a:pt x="246" y="48"/>
                  </a:lnTo>
                  <a:lnTo>
                    <a:pt x="252" y="48"/>
                  </a:lnTo>
                  <a:lnTo>
                    <a:pt x="246" y="48"/>
                  </a:lnTo>
                  <a:lnTo>
                    <a:pt x="252" y="48"/>
                  </a:lnTo>
                  <a:lnTo>
                    <a:pt x="246" y="48"/>
                  </a:lnTo>
                  <a:lnTo>
                    <a:pt x="252" y="48"/>
                  </a:lnTo>
                  <a:lnTo>
                    <a:pt x="252" y="54"/>
                  </a:lnTo>
                  <a:lnTo>
                    <a:pt x="252" y="60"/>
                  </a:lnTo>
                  <a:lnTo>
                    <a:pt x="252" y="54"/>
                  </a:lnTo>
                  <a:lnTo>
                    <a:pt x="252" y="60"/>
                  </a:lnTo>
                  <a:lnTo>
                    <a:pt x="246" y="60"/>
                  </a:lnTo>
                  <a:lnTo>
                    <a:pt x="246" y="66"/>
                  </a:lnTo>
                  <a:lnTo>
                    <a:pt x="252" y="66"/>
                  </a:lnTo>
                  <a:lnTo>
                    <a:pt x="252" y="60"/>
                  </a:lnTo>
                  <a:lnTo>
                    <a:pt x="258" y="66"/>
                  </a:lnTo>
                  <a:lnTo>
                    <a:pt x="258" y="60"/>
                  </a:lnTo>
                  <a:lnTo>
                    <a:pt x="264" y="60"/>
                  </a:lnTo>
                  <a:lnTo>
                    <a:pt x="270" y="60"/>
                  </a:lnTo>
                  <a:lnTo>
                    <a:pt x="276" y="60"/>
                  </a:lnTo>
                  <a:lnTo>
                    <a:pt x="276" y="54"/>
                  </a:lnTo>
                  <a:lnTo>
                    <a:pt x="282" y="54"/>
                  </a:lnTo>
                  <a:lnTo>
                    <a:pt x="288" y="54"/>
                  </a:lnTo>
                  <a:lnTo>
                    <a:pt x="294" y="54"/>
                  </a:lnTo>
                  <a:lnTo>
                    <a:pt x="300" y="54"/>
                  </a:lnTo>
                  <a:lnTo>
                    <a:pt x="306" y="54"/>
                  </a:lnTo>
                  <a:lnTo>
                    <a:pt x="312" y="54"/>
                  </a:lnTo>
                  <a:lnTo>
                    <a:pt x="312" y="60"/>
                  </a:lnTo>
                  <a:lnTo>
                    <a:pt x="312" y="66"/>
                  </a:lnTo>
                  <a:lnTo>
                    <a:pt x="312" y="72"/>
                  </a:lnTo>
                  <a:lnTo>
                    <a:pt x="318" y="72"/>
                  </a:lnTo>
                  <a:lnTo>
                    <a:pt x="318" y="78"/>
                  </a:lnTo>
                  <a:lnTo>
                    <a:pt x="324" y="78"/>
                  </a:lnTo>
                  <a:lnTo>
                    <a:pt x="324" y="84"/>
                  </a:lnTo>
                  <a:lnTo>
                    <a:pt x="318" y="84"/>
                  </a:lnTo>
                  <a:lnTo>
                    <a:pt x="318" y="90"/>
                  </a:lnTo>
                  <a:lnTo>
                    <a:pt x="312" y="90"/>
                  </a:lnTo>
                  <a:lnTo>
                    <a:pt x="312" y="96"/>
                  </a:lnTo>
                  <a:lnTo>
                    <a:pt x="318" y="96"/>
                  </a:lnTo>
                  <a:lnTo>
                    <a:pt x="312" y="96"/>
                  </a:lnTo>
                  <a:lnTo>
                    <a:pt x="312" y="102"/>
                  </a:lnTo>
                  <a:lnTo>
                    <a:pt x="306" y="102"/>
                  </a:lnTo>
                  <a:lnTo>
                    <a:pt x="300" y="102"/>
                  </a:lnTo>
                  <a:lnTo>
                    <a:pt x="300" y="108"/>
                  </a:lnTo>
                  <a:lnTo>
                    <a:pt x="294" y="108"/>
                  </a:lnTo>
                  <a:lnTo>
                    <a:pt x="294" y="114"/>
                  </a:lnTo>
                  <a:lnTo>
                    <a:pt x="288" y="114"/>
                  </a:lnTo>
                  <a:lnTo>
                    <a:pt x="288" y="120"/>
                  </a:lnTo>
                  <a:lnTo>
                    <a:pt x="288" y="126"/>
                  </a:lnTo>
                  <a:lnTo>
                    <a:pt x="294" y="126"/>
                  </a:lnTo>
                  <a:lnTo>
                    <a:pt x="294" y="132"/>
                  </a:lnTo>
                  <a:lnTo>
                    <a:pt x="288" y="132"/>
                  </a:lnTo>
                  <a:lnTo>
                    <a:pt x="288" y="138"/>
                  </a:lnTo>
                  <a:lnTo>
                    <a:pt x="288" y="144"/>
                  </a:lnTo>
                  <a:lnTo>
                    <a:pt x="294" y="144"/>
                  </a:lnTo>
                  <a:lnTo>
                    <a:pt x="300" y="144"/>
                  </a:lnTo>
                  <a:lnTo>
                    <a:pt x="300" y="150"/>
                  </a:lnTo>
                  <a:lnTo>
                    <a:pt x="306" y="150"/>
                  </a:lnTo>
                  <a:lnTo>
                    <a:pt x="306" y="156"/>
                  </a:lnTo>
                  <a:lnTo>
                    <a:pt x="312" y="156"/>
                  </a:lnTo>
                  <a:lnTo>
                    <a:pt x="318" y="156"/>
                  </a:lnTo>
                  <a:lnTo>
                    <a:pt x="318" y="162"/>
                  </a:lnTo>
                  <a:lnTo>
                    <a:pt x="324" y="168"/>
                  </a:lnTo>
                  <a:lnTo>
                    <a:pt x="318" y="174"/>
                  </a:lnTo>
                  <a:lnTo>
                    <a:pt x="318" y="180"/>
                  </a:lnTo>
                  <a:lnTo>
                    <a:pt x="318" y="186"/>
                  </a:lnTo>
                  <a:lnTo>
                    <a:pt x="318" y="192"/>
                  </a:lnTo>
                  <a:lnTo>
                    <a:pt x="318" y="198"/>
                  </a:lnTo>
                  <a:lnTo>
                    <a:pt x="318" y="204"/>
                  </a:lnTo>
                  <a:lnTo>
                    <a:pt x="318" y="210"/>
                  </a:lnTo>
                  <a:lnTo>
                    <a:pt x="324" y="210"/>
                  </a:lnTo>
                  <a:lnTo>
                    <a:pt x="318" y="210"/>
                  </a:lnTo>
                  <a:lnTo>
                    <a:pt x="318" y="216"/>
                  </a:lnTo>
                  <a:lnTo>
                    <a:pt x="318" y="222"/>
                  </a:lnTo>
                  <a:lnTo>
                    <a:pt x="312" y="222"/>
                  </a:lnTo>
                  <a:lnTo>
                    <a:pt x="318" y="222"/>
                  </a:lnTo>
                  <a:lnTo>
                    <a:pt x="318" y="228"/>
                  </a:lnTo>
                  <a:lnTo>
                    <a:pt x="318" y="234"/>
                  </a:lnTo>
                  <a:lnTo>
                    <a:pt x="312" y="240"/>
                  </a:lnTo>
                  <a:lnTo>
                    <a:pt x="306" y="240"/>
                  </a:lnTo>
                  <a:lnTo>
                    <a:pt x="306" y="246"/>
                  </a:lnTo>
                  <a:lnTo>
                    <a:pt x="306" y="252"/>
                  </a:lnTo>
                  <a:lnTo>
                    <a:pt x="300" y="252"/>
                  </a:lnTo>
                  <a:lnTo>
                    <a:pt x="306" y="258"/>
                  </a:lnTo>
                  <a:lnTo>
                    <a:pt x="306" y="264"/>
                  </a:lnTo>
                  <a:lnTo>
                    <a:pt x="300" y="264"/>
                  </a:lnTo>
                  <a:lnTo>
                    <a:pt x="300" y="270"/>
                  </a:lnTo>
                  <a:lnTo>
                    <a:pt x="294" y="270"/>
                  </a:lnTo>
                  <a:lnTo>
                    <a:pt x="288" y="270"/>
                  </a:lnTo>
                  <a:lnTo>
                    <a:pt x="288" y="264"/>
                  </a:lnTo>
                  <a:lnTo>
                    <a:pt x="288" y="258"/>
                  </a:lnTo>
                  <a:lnTo>
                    <a:pt x="288" y="252"/>
                  </a:lnTo>
                  <a:lnTo>
                    <a:pt x="282" y="252"/>
                  </a:lnTo>
                  <a:lnTo>
                    <a:pt x="276" y="252"/>
                  </a:lnTo>
                  <a:lnTo>
                    <a:pt x="276" y="258"/>
                  </a:lnTo>
                  <a:lnTo>
                    <a:pt x="270" y="258"/>
                  </a:lnTo>
                  <a:lnTo>
                    <a:pt x="270" y="264"/>
                  </a:lnTo>
                  <a:lnTo>
                    <a:pt x="264" y="264"/>
                  </a:lnTo>
                  <a:lnTo>
                    <a:pt x="258" y="264"/>
                  </a:lnTo>
                  <a:lnTo>
                    <a:pt x="252" y="264"/>
                  </a:lnTo>
                  <a:lnTo>
                    <a:pt x="246" y="264"/>
                  </a:lnTo>
                  <a:lnTo>
                    <a:pt x="240" y="264"/>
                  </a:lnTo>
                  <a:lnTo>
                    <a:pt x="240" y="258"/>
                  </a:lnTo>
                  <a:lnTo>
                    <a:pt x="240" y="252"/>
                  </a:lnTo>
                  <a:lnTo>
                    <a:pt x="234" y="252"/>
                  </a:lnTo>
                  <a:lnTo>
                    <a:pt x="234" y="246"/>
                  </a:lnTo>
                  <a:lnTo>
                    <a:pt x="228" y="246"/>
                  </a:lnTo>
                  <a:lnTo>
                    <a:pt x="228" y="240"/>
                  </a:lnTo>
                  <a:lnTo>
                    <a:pt x="228" y="234"/>
                  </a:lnTo>
                  <a:lnTo>
                    <a:pt x="222" y="234"/>
                  </a:lnTo>
                  <a:lnTo>
                    <a:pt x="216" y="234"/>
                  </a:lnTo>
                  <a:lnTo>
                    <a:pt x="210" y="240"/>
                  </a:lnTo>
                  <a:lnTo>
                    <a:pt x="210" y="234"/>
                  </a:lnTo>
                  <a:lnTo>
                    <a:pt x="210" y="240"/>
                  </a:lnTo>
                  <a:lnTo>
                    <a:pt x="210" y="246"/>
                  </a:lnTo>
                  <a:lnTo>
                    <a:pt x="210" y="252"/>
                  </a:lnTo>
                  <a:lnTo>
                    <a:pt x="210" y="258"/>
                  </a:lnTo>
                  <a:lnTo>
                    <a:pt x="210" y="264"/>
                  </a:lnTo>
                  <a:lnTo>
                    <a:pt x="204" y="264"/>
                  </a:lnTo>
                  <a:lnTo>
                    <a:pt x="198" y="264"/>
                  </a:lnTo>
                  <a:lnTo>
                    <a:pt x="192" y="264"/>
                  </a:lnTo>
                  <a:lnTo>
                    <a:pt x="186" y="270"/>
                  </a:lnTo>
                  <a:lnTo>
                    <a:pt x="186" y="264"/>
                  </a:lnTo>
                  <a:lnTo>
                    <a:pt x="180" y="264"/>
                  </a:lnTo>
                  <a:lnTo>
                    <a:pt x="174" y="264"/>
                  </a:lnTo>
                  <a:lnTo>
                    <a:pt x="168" y="270"/>
                  </a:lnTo>
                  <a:lnTo>
                    <a:pt x="168" y="264"/>
                  </a:lnTo>
                  <a:lnTo>
                    <a:pt x="162" y="264"/>
                  </a:lnTo>
                  <a:lnTo>
                    <a:pt x="162" y="258"/>
                  </a:lnTo>
                  <a:lnTo>
                    <a:pt x="162" y="264"/>
                  </a:lnTo>
                  <a:lnTo>
                    <a:pt x="162" y="270"/>
                  </a:lnTo>
                  <a:lnTo>
                    <a:pt x="162" y="276"/>
                  </a:lnTo>
                  <a:lnTo>
                    <a:pt x="168" y="276"/>
                  </a:lnTo>
                  <a:lnTo>
                    <a:pt x="168" y="282"/>
                  </a:lnTo>
                  <a:lnTo>
                    <a:pt x="162" y="282"/>
                  </a:lnTo>
                  <a:lnTo>
                    <a:pt x="162" y="288"/>
                  </a:lnTo>
                  <a:lnTo>
                    <a:pt x="168" y="288"/>
                  </a:lnTo>
                  <a:lnTo>
                    <a:pt x="174" y="288"/>
                  </a:lnTo>
                  <a:lnTo>
                    <a:pt x="174" y="294"/>
                  </a:lnTo>
                  <a:lnTo>
                    <a:pt x="180" y="294"/>
                  </a:lnTo>
                  <a:lnTo>
                    <a:pt x="186" y="294"/>
                  </a:lnTo>
                  <a:lnTo>
                    <a:pt x="186" y="300"/>
                  </a:lnTo>
                  <a:lnTo>
                    <a:pt x="186" y="306"/>
                  </a:lnTo>
                  <a:lnTo>
                    <a:pt x="180" y="306"/>
                  </a:lnTo>
                  <a:lnTo>
                    <a:pt x="180" y="312"/>
                  </a:lnTo>
                  <a:lnTo>
                    <a:pt x="186" y="312"/>
                  </a:lnTo>
                  <a:lnTo>
                    <a:pt x="186" y="318"/>
                  </a:lnTo>
                  <a:lnTo>
                    <a:pt x="180" y="324"/>
                  </a:lnTo>
                  <a:lnTo>
                    <a:pt x="174" y="330"/>
                  </a:lnTo>
                  <a:lnTo>
                    <a:pt x="180" y="330"/>
                  </a:lnTo>
                  <a:lnTo>
                    <a:pt x="180" y="336"/>
                  </a:lnTo>
                  <a:lnTo>
                    <a:pt x="174" y="342"/>
                  </a:lnTo>
                  <a:lnTo>
                    <a:pt x="174" y="336"/>
                  </a:lnTo>
                  <a:lnTo>
                    <a:pt x="168" y="336"/>
                  </a:lnTo>
                  <a:lnTo>
                    <a:pt x="162" y="336"/>
                  </a:lnTo>
                  <a:lnTo>
                    <a:pt x="162" y="330"/>
                  </a:lnTo>
                  <a:lnTo>
                    <a:pt x="156" y="330"/>
                  </a:lnTo>
                  <a:lnTo>
                    <a:pt x="150" y="330"/>
                  </a:lnTo>
                  <a:lnTo>
                    <a:pt x="144" y="330"/>
                  </a:lnTo>
                  <a:lnTo>
                    <a:pt x="144" y="336"/>
                  </a:lnTo>
                  <a:lnTo>
                    <a:pt x="138" y="336"/>
                  </a:lnTo>
                  <a:lnTo>
                    <a:pt x="138" y="342"/>
                  </a:lnTo>
                  <a:lnTo>
                    <a:pt x="138" y="348"/>
                  </a:lnTo>
                  <a:lnTo>
                    <a:pt x="138" y="354"/>
                  </a:lnTo>
                  <a:close/>
                  <a:moveTo>
                    <a:pt x="48" y="114"/>
                  </a:moveTo>
                  <a:lnTo>
                    <a:pt x="48" y="120"/>
                  </a:lnTo>
                  <a:lnTo>
                    <a:pt x="49" y="120"/>
                  </a:lnTo>
                  <a:lnTo>
                    <a:pt x="48" y="114"/>
                  </a:lnTo>
                  <a:close/>
                  <a:moveTo>
                    <a:pt x="6" y="180"/>
                  </a:moveTo>
                  <a:lnTo>
                    <a:pt x="6" y="186"/>
                  </a:lnTo>
                  <a:lnTo>
                    <a:pt x="7" y="186"/>
                  </a:lnTo>
                  <a:lnTo>
                    <a:pt x="6" y="180"/>
                  </a:lnTo>
                  <a:close/>
                  <a:moveTo>
                    <a:pt x="36" y="84"/>
                  </a:moveTo>
                  <a:lnTo>
                    <a:pt x="36" y="90"/>
                  </a:lnTo>
                  <a:lnTo>
                    <a:pt x="37" y="90"/>
                  </a:lnTo>
                  <a:lnTo>
                    <a:pt x="36" y="84"/>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8" name="Freeform 51"/>
            <p:cNvSpPr>
              <a:spLocks noEditPoints="1"/>
            </p:cNvSpPr>
            <p:nvPr>
              <p:custDataLst>
                <p:tags r:id="rId46"/>
              </p:custDataLst>
            </p:nvPr>
          </p:nvSpPr>
          <p:spPr bwMode="gray">
            <a:xfrm>
              <a:off x="1884190" y="3831435"/>
              <a:ext cx="633687" cy="676790"/>
            </a:xfrm>
            <a:custGeom>
              <a:avLst/>
              <a:gdLst>
                <a:gd name="T0" fmla="*/ 182675 w 696"/>
                <a:gd name="T1" fmla="*/ 273684 h 774"/>
                <a:gd name="T2" fmla="*/ 172043 w 696"/>
                <a:gd name="T3" fmla="*/ 271743 h 774"/>
                <a:gd name="T4" fmla="*/ 159478 w 696"/>
                <a:gd name="T5" fmla="*/ 273684 h 774"/>
                <a:gd name="T6" fmla="*/ 140148 w 696"/>
                <a:gd name="T7" fmla="*/ 269802 h 774"/>
                <a:gd name="T8" fmla="*/ 123717 w 696"/>
                <a:gd name="T9" fmla="*/ 263008 h 774"/>
                <a:gd name="T10" fmla="*/ 65724 w 696"/>
                <a:gd name="T11" fmla="*/ 263008 h 774"/>
                <a:gd name="T12" fmla="*/ 37695 w 696"/>
                <a:gd name="T13" fmla="*/ 259126 h 774"/>
                <a:gd name="T14" fmla="*/ 23197 w 696"/>
                <a:gd name="T15" fmla="*/ 256214 h 774"/>
                <a:gd name="T16" fmla="*/ 8699 w 696"/>
                <a:gd name="T17" fmla="*/ 256214 h 774"/>
                <a:gd name="T18" fmla="*/ 1933 w 696"/>
                <a:gd name="T19" fmla="*/ 252333 h 774"/>
                <a:gd name="T20" fmla="*/ 3866 w 696"/>
                <a:gd name="T21" fmla="*/ 234864 h 774"/>
                <a:gd name="T22" fmla="*/ 8699 w 696"/>
                <a:gd name="T23" fmla="*/ 220305 h 774"/>
                <a:gd name="T24" fmla="*/ 12565 w 696"/>
                <a:gd name="T25" fmla="*/ 207689 h 774"/>
                <a:gd name="T26" fmla="*/ 17398 w 696"/>
                <a:gd name="T27" fmla="*/ 188279 h 774"/>
                <a:gd name="T28" fmla="*/ 17398 w 696"/>
                <a:gd name="T29" fmla="*/ 181485 h 774"/>
                <a:gd name="T30" fmla="*/ 26097 w 696"/>
                <a:gd name="T31" fmla="*/ 168868 h 774"/>
                <a:gd name="T32" fmla="*/ 40595 w 696"/>
                <a:gd name="T33" fmla="*/ 158193 h 774"/>
                <a:gd name="T34" fmla="*/ 42527 w 696"/>
                <a:gd name="T35" fmla="*/ 136842 h 774"/>
                <a:gd name="T36" fmla="*/ 40595 w 696"/>
                <a:gd name="T37" fmla="*/ 121313 h 774"/>
                <a:gd name="T38" fmla="*/ 33829 w 696"/>
                <a:gd name="T39" fmla="*/ 111608 h 774"/>
                <a:gd name="T40" fmla="*/ 27063 w 696"/>
                <a:gd name="T41" fmla="*/ 94139 h 774"/>
                <a:gd name="T42" fmla="*/ 29963 w 696"/>
                <a:gd name="T43" fmla="*/ 90258 h 774"/>
                <a:gd name="T44" fmla="*/ 33829 w 696"/>
                <a:gd name="T45" fmla="*/ 76670 h 774"/>
                <a:gd name="T46" fmla="*/ 26097 w 696"/>
                <a:gd name="T47" fmla="*/ 57260 h 774"/>
                <a:gd name="T48" fmla="*/ 17398 w 696"/>
                <a:gd name="T49" fmla="*/ 42703 h 774"/>
                <a:gd name="T50" fmla="*/ 14498 w 696"/>
                <a:gd name="T51" fmla="*/ 33968 h 774"/>
                <a:gd name="T52" fmla="*/ 27063 w 696"/>
                <a:gd name="T53" fmla="*/ 27174 h 774"/>
                <a:gd name="T54" fmla="*/ 46394 w 696"/>
                <a:gd name="T55" fmla="*/ 27174 h 774"/>
                <a:gd name="T56" fmla="*/ 63792 w 696"/>
                <a:gd name="T57" fmla="*/ 30086 h 774"/>
                <a:gd name="T58" fmla="*/ 85055 w 696"/>
                <a:gd name="T59" fmla="*/ 30086 h 774"/>
                <a:gd name="T60" fmla="*/ 97620 w 696"/>
                <a:gd name="T61" fmla="*/ 32027 h 774"/>
                <a:gd name="T62" fmla="*/ 99553 w 696"/>
                <a:gd name="T63" fmla="*/ 42703 h 774"/>
                <a:gd name="T64" fmla="*/ 104386 w 696"/>
                <a:gd name="T65" fmla="*/ 56289 h 774"/>
                <a:gd name="T66" fmla="*/ 110185 w 696"/>
                <a:gd name="T67" fmla="*/ 64053 h 774"/>
                <a:gd name="T68" fmla="*/ 120817 w 696"/>
                <a:gd name="T69" fmla="*/ 72788 h 774"/>
                <a:gd name="T70" fmla="*/ 134348 w 696"/>
                <a:gd name="T71" fmla="*/ 70848 h 774"/>
                <a:gd name="T72" fmla="*/ 152713 w 696"/>
                <a:gd name="T73" fmla="*/ 64053 h 774"/>
                <a:gd name="T74" fmla="*/ 163345 w 696"/>
                <a:gd name="T75" fmla="*/ 51437 h 774"/>
                <a:gd name="T76" fmla="*/ 175909 w 696"/>
                <a:gd name="T77" fmla="*/ 57260 h 774"/>
                <a:gd name="T78" fmla="*/ 202006 w 696"/>
                <a:gd name="T79" fmla="*/ 57260 h 774"/>
                <a:gd name="T80" fmla="*/ 202006 w 696"/>
                <a:gd name="T81" fmla="*/ 76670 h 774"/>
                <a:gd name="T82" fmla="*/ 202006 w 696"/>
                <a:gd name="T83" fmla="*/ 87346 h 774"/>
                <a:gd name="T84" fmla="*/ 203939 w 696"/>
                <a:gd name="T85" fmla="*/ 104815 h 774"/>
                <a:gd name="T86" fmla="*/ 209738 w 696"/>
                <a:gd name="T87" fmla="*/ 121313 h 774"/>
                <a:gd name="T88" fmla="*/ 212638 w 696"/>
                <a:gd name="T89" fmla="*/ 134901 h 774"/>
                <a:gd name="T90" fmla="*/ 227135 w 696"/>
                <a:gd name="T91" fmla="*/ 131989 h 774"/>
                <a:gd name="T92" fmla="*/ 241633 w 696"/>
                <a:gd name="T93" fmla="*/ 131989 h 774"/>
                <a:gd name="T94" fmla="*/ 243567 w 696"/>
                <a:gd name="T95" fmla="*/ 145576 h 774"/>
                <a:gd name="T96" fmla="*/ 241633 w 696"/>
                <a:gd name="T97" fmla="*/ 162075 h 774"/>
                <a:gd name="T98" fmla="*/ 203939 w 696"/>
                <a:gd name="T99" fmla="*/ 192161 h 774"/>
                <a:gd name="T100" fmla="*/ 207805 w 696"/>
                <a:gd name="T101" fmla="*/ 243598 h 774"/>
                <a:gd name="T102" fmla="*/ 218437 w 696"/>
                <a:gd name="T103" fmla="*/ 256214 h 774"/>
                <a:gd name="T104" fmla="*/ 231969 w 696"/>
                <a:gd name="T105" fmla="*/ 266890 h 774"/>
                <a:gd name="T106" fmla="*/ 17398 w 696"/>
                <a:gd name="T107" fmla="*/ 3882 h 774"/>
                <a:gd name="T108" fmla="*/ 27063 w 696"/>
                <a:gd name="T109" fmla="*/ 6793 h 774"/>
                <a:gd name="T110" fmla="*/ 17398 w 696"/>
                <a:gd name="T111" fmla="*/ 19410 h 774"/>
                <a:gd name="T112" fmla="*/ 12565 w 696"/>
                <a:gd name="T113" fmla="*/ 21351 h 774"/>
                <a:gd name="T114" fmla="*/ 1933 w 696"/>
                <a:gd name="T115" fmla="*/ 250391 h 774"/>
                <a:gd name="T116" fmla="*/ 21264 w 696"/>
                <a:gd name="T117" fmla="*/ 30086 h 774"/>
                <a:gd name="T118" fmla="*/ 23197 w 696"/>
                <a:gd name="T119" fmla="*/ 32027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96" h="774">
                  <a:moveTo>
                    <a:pt x="654" y="750"/>
                  </a:moveTo>
                  <a:lnTo>
                    <a:pt x="648" y="750"/>
                  </a:lnTo>
                  <a:lnTo>
                    <a:pt x="630" y="756"/>
                  </a:lnTo>
                  <a:lnTo>
                    <a:pt x="564" y="768"/>
                  </a:lnTo>
                  <a:lnTo>
                    <a:pt x="546" y="774"/>
                  </a:lnTo>
                  <a:lnTo>
                    <a:pt x="540" y="774"/>
                  </a:lnTo>
                  <a:lnTo>
                    <a:pt x="540" y="768"/>
                  </a:lnTo>
                  <a:lnTo>
                    <a:pt x="534" y="768"/>
                  </a:lnTo>
                  <a:lnTo>
                    <a:pt x="528" y="768"/>
                  </a:lnTo>
                  <a:lnTo>
                    <a:pt x="522" y="768"/>
                  </a:lnTo>
                  <a:lnTo>
                    <a:pt x="516" y="768"/>
                  </a:lnTo>
                  <a:lnTo>
                    <a:pt x="516" y="774"/>
                  </a:lnTo>
                  <a:lnTo>
                    <a:pt x="510" y="774"/>
                  </a:lnTo>
                  <a:lnTo>
                    <a:pt x="504" y="774"/>
                  </a:lnTo>
                  <a:lnTo>
                    <a:pt x="498" y="774"/>
                  </a:lnTo>
                  <a:lnTo>
                    <a:pt x="498" y="768"/>
                  </a:lnTo>
                  <a:lnTo>
                    <a:pt x="498" y="774"/>
                  </a:lnTo>
                  <a:lnTo>
                    <a:pt x="498" y="768"/>
                  </a:lnTo>
                  <a:lnTo>
                    <a:pt x="498" y="774"/>
                  </a:lnTo>
                  <a:lnTo>
                    <a:pt x="492" y="768"/>
                  </a:lnTo>
                  <a:lnTo>
                    <a:pt x="486" y="768"/>
                  </a:lnTo>
                  <a:lnTo>
                    <a:pt x="486" y="762"/>
                  </a:lnTo>
                  <a:lnTo>
                    <a:pt x="480" y="762"/>
                  </a:lnTo>
                  <a:lnTo>
                    <a:pt x="480" y="768"/>
                  </a:lnTo>
                  <a:lnTo>
                    <a:pt x="480" y="762"/>
                  </a:lnTo>
                  <a:lnTo>
                    <a:pt x="480" y="768"/>
                  </a:lnTo>
                  <a:lnTo>
                    <a:pt x="474" y="768"/>
                  </a:lnTo>
                  <a:lnTo>
                    <a:pt x="468" y="768"/>
                  </a:lnTo>
                  <a:lnTo>
                    <a:pt x="462" y="768"/>
                  </a:lnTo>
                  <a:lnTo>
                    <a:pt x="462" y="762"/>
                  </a:lnTo>
                  <a:lnTo>
                    <a:pt x="462" y="768"/>
                  </a:lnTo>
                  <a:lnTo>
                    <a:pt x="456" y="768"/>
                  </a:lnTo>
                  <a:lnTo>
                    <a:pt x="450" y="768"/>
                  </a:lnTo>
                  <a:lnTo>
                    <a:pt x="450" y="762"/>
                  </a:lnTo>
                  <a:lnTo>
                    <a:pt x="444" y="762"/>
                  </a:lnTo>
                  <a:lnTo>
                    <a:pt x="438" y="762"/>
                  </a:lnTo>
                  <a:lnTo>
                    <a:pt x="432" y="762"/>
                  </a:lnTo>
                  <a:lnTo>
                    <a:pt x="426" y="762"/>
                  </a:lnTo>
                  <a:lnTo>
                    <a:pt x="420" y="762"/>
                  </a:lnTo>
                  <a:lnTo>
                    <a:pt x="414" y="762"/>
                  </a:lnTo>
                  <a:lnTo>
                    <a:pt x="408" y="762"/>
                  </a:lnTo>
                  <a:lnTo>
                    <a:pt x="402" y="762"/>
                  </a:lnTo>
                  <a:lnTo>
                    <a:pt x="396" y="762"/>
                  </a:lnTo>
                  <a:lnTo>
                    <a:pt x="396" y="756"/>
                  </a:lnTo>
                  <a:lnTo>
                    <a:pt x="390" y="756"/>
                  </a:lnTo>
                  <a:lnTo>
                    <a:pt x="390" y="750"/>
                  </a:lnTo>
                  <a:lnTo>
                    <a:pt x="384" y="750"/>
                  </a:lnTo>
                  <a:lnTo>
                    <a:pt x="384" y="744"/>
                  </a:lnTo>
                  <a:lnTo>
                    <a:pt x="378" y="744"/>
                  </a:lnTo>
                  <a:lnTo>
                    <a:pt x="378" y="738"/>
                  </a:lnTo>
                  <a:lnTo>
                    <a:pt x="372" y="738"/>
                  </a:lnTo>
                  <a:lnTo>
                    <a:pt x="366" y="738"/>
                  </a:lnTo>
                  <a:lnTo>
                    <a:pt x="360" y="738"/>
                  </a:lnTo>
                  <a:lnTo>
                    <a:pt x="354" y="738"/>
                  </a:lnTo>
                  <a:lnTo>
                    <a:pt x="348" y="738"/>
                  </a:lnTo>
                  <a:lnTo>
                    <a:pt x="342" y="738"/>
                  </a:lnTo>
                  <a:lnTo>
                    <a:pt x="336" y="738"/>
                  </a:lnTo>
                  <a:lnTo>
                    <a:pt x="330" y="738"/>
                  </a:lnTo>
                  <a:lnTo>
                    <a:pt x="324" y="738"/>
                  </a:lnTo>
                  <a:lnTo>
                    <a:pt x="318" y="738"/>
                  </a:lnTo>
                  <a:lnTo>
                    <a:pt x="312" y="738"/>
                  </a:lnTo>
                  <a:lnTo>
                    <a:pt x="306" y="738"/>
                  </a:lnTo>
                  <a:lnTo>
                    <a:pt x="300" y="738"/>
                  </a:lnTo>
                  <a:lnTo>
                    <a:pt x="210" y="738"/>
                  </a:lnTo>
                  <a:lnTo>
                    <a:pt x="198" y="738"/>
                  </a:lnTo>
                  <a:lnTo>
                    <a:pt x="186" y="738"/>
                  </a:lnTo>
                  <a:lnTo>
                    <a:pt x="168" y="738"/>
                  </a:lnTo>
                  <a:lnTo>
                    <a:pt x="150" y="738"/>
                  </a:lnTo>
                  <a:lnTo>
                    <a:pt x="144" y="738"/>
                  </a:lnTo>
                  <a:lnTo>
                    <a:pt x="138" y="738"/>
                  </a:lnTo>
                  <a:lnTo>
                    <a:pt x="132" y="738"/>
                  </a:lnTo>
                  <a:lnTo>
                    <a:pt x="126" y="738"/>
                  </a:lnTo>
                  <a:lnTo>
                    <a:pt x="126" y="732"/>
                  </a:lnTo>
                  <a:lnTo>
                    <a:pt x="120" y="732"/>
                  </a:lnTo>
                  <a:lnTo>
                    <a:pt x="114" y="732"/>
                  </a:lnTo>
                  <a:lnTo>
                    <a:pt x="114" y="726"/>
                  </a:lnTo>
                  <a:lnTo>
                    <a:pt x="108" y="726"/>
                  </a:lnTo>
                  <a:lnTo>
                    <a:pt x="108" y="720"/>
                  </a:lnTo>
                  <a:lnTo>
                    <a:pt x="102" y="720"/>
                  </a:lnTo>
                  <a:lnTo>
                    <a:pt x="108" y="720"/>
                  </a:lnTo>
                  <a:lnTo>
                    <a:pt x="102" y="720"/>
                  </a:lnTo>
                  <a:lnTo>
                    <a:pt x="102" y="714"/>
                  </a:lnTo>
                  <a:lnTo>
                    <a:pt x="96" y="714"/>
                  </a:lnTo>
                  <a:lnTo>
                    <a:pt x="90" y="714"/>
                  </a:lnTo>
                  <a:lnTo>
                    <a:pt x="84" y="714"/>
                  </a:lnTo>
                  <a:lnTo>
                    <a:pt x="78" y="714"/>
                  </a:lnTo>
                  <a:lnTo>
                    <a:pt x="72" y="714"/>
                  </a:lnTo>
                  <a:lnTo>
                    <a:pt x="66" y="720"/>
                  </a:lnTo>
                  <a:lnTo>
                    <a:pt x="60" y="720"/>
                  </a:lnTo>
                  <a:lnTo>
                    <a:pt x="60" y="726"/>
                  </a:lnTo>
                  <a:lnTo>
                    <a:pt x="54" y="726"/>
                  </a:lnTo>
                  <a:lnTo>
                    <a:pt x="48" y="726"/>
                  </a:lnTo>
                  <a:lnTo>
                    <a:pt x="48" y="732"/>
                  </a:lnTo>
                  <a:lnTo>
                    <a:pt x="42" y="732"/>
                  </a:lnTo>
                  <a:lnTo>
                    <a:pt x="42" y="726"/>
                  </a:lnTo>
                  <a:lnTo>
                    <a:pt x="36" y="726"/>
                  </a:lnTo>
                  <a:lnTo>
                    <a:pt x="30" y="726"/>
                  </a:lnTo>
                  <a:lnTo>
                    <a:pt x="24" y="726"/>
                  </a:lnTo>
                  <a:lnTo>
                    <a:pt x="24" y="720"/>
                  </a:lnTo>
                  <a:lnTo>
                    <a:pt x="24" y="726"/>
                  </a:lnTo>
                  <a:lnTo>
                    <a:pt x="24" y="720"/>
                  </a:lnTo>
                  <a:lnTo>
                    <a:pt x="24" y="726"/>
                  </a:lnTo>
                  <a:lnTo>
                    <a:pt x="18" y="726"/>
                  </a:lnTo>
                  <a:lnTo>
                    <a:pt x="12" y="726"/>
                  </a:lnTo>
                  <a:lnTo>
                    <a:pt x="12" y="732"/>
                  </a:lnTo>
                  <a:lnTo>
                    <a:pt x="6" y="732"/>
                  </a:lnTo>
                  <a:lnTo>
                    <a:pt x="6" y="726"/>
                  </a:lnTo>
                  <a:lnTo>
                    <a:pt x="6" y="720"/>
                  </a:lnTo>
                  <a:lnTo>
                    <a:pt x="6" y="714"/>
                  </a:lnTo>
                  <a:lnTo>
                    <a:pt x="6" y="708"/>
                  </a:lnTo>
                  <a:lnTo>
                    <a:pt x="6" y="702"/>
                  </a:lnTo>
                  <a:lnTo>
                    <a:pt x="12" y="702"/>
                  </a:lnTo>
                  <a:lnTo>
                    <a:pt x="12" y="696"/>
                  </a:lnTo>
                  <a:lnTo>
                    <a:pt x="12" y="690"/>
                  </a:lnTo>
                  <a:lnTo>
                    <a:pt x="12" y="684"/>
                  </a:lnTo>
                  <a:lnTo>
                    <a:pt x="12" y="678"/>
                  </a:lnTo>
                  <a:lnTo>
                    <a:pt x="12" y="672"/>
                  </a:lnTo>
                  <a:lnTo>
                    <a:pt x="12" y="666"/>
                  </a:lnTo>
                  <a:lnTo>
                    <a:pt x="6" y="666"/>
                  </a:lnTo>
                  <a:lnTo>
                    <a:pt x="6" y="660"/>
                  </a:lnTo>
                  <a:lnTo>
                    <a:pt x="12" y="660"/>
                  </a:lnTo>
                  <a:lnTo>
                    <a:pt x="12" y="654"/>
                  </a:lnTo>
                  <a:lnTo>
                    <a:pt x="6" y="654"/>
                  </a:lnTo>
                  <a:lnTo>
                    <a:pt x="6" y="648"/>
                  </a:lnTo>
                  <a:lnTo>
                    <a:pt x="6" y="642"/>
                  </a:lnTo>
                  <a:lnTo>
                    <a:pt x="12" y="642"/>
                  </a:lnTo>
                  <a:lnTo>
                    <a:pt x="18" y="642"/>
                  </a:lnTo>
                  <a:lnTo>
                    <a:pt x="18" y="636"/>
                  </a:lnTo>
                  <a:lnTo>
                    <a:pt x="18" y="630"/>
                  </a:lnTo>
                  <a:lnTo>
                    <a:pt x="24" y="630"/>
                  </a:lnTo>
                  <a:lnTo>
                    <a:pt x="24" y="624"/>
                  </a:lnTo>
                  <a:lnTo>
                    <a:pt x="24" y="618"/>
                  </a:lnTo>
                  <a:lnTo>
                    <a:pt x="24" y="612"/>
                  </a:lnTo>
                  <a:lnTo>
                    <a:pt x="30" y="606"/>
                  </a:lnTo>
                  <a:lnTo>
                    <a:pt x="30" y="612"/>
                  </a:lnTo>
                  <a:lnTo>
                    <a:pt x="30" y="606"/>
                  </a:lnTo>
                  <a:lnTo>
                    <a:pt x="24" y="606"/>
                  </a:lnTo>
                  <a:lnTo>
                    <a:pt x="30" y="606"/>
                  </a:lnTo>
                  <a:lnTo>
                    <a:pt x="30" y="600"/>
                  </a:lnTo>
                  <a:lnTo>
                    <a:pt x="30" y="594"/>
                  </a:lnTo>
                  <a:lnTo>
                    <a:pt x="30" y="588"/>
                  </a:lnTo>
                  <a:lnTo>
                    <a:pt x="36" y="588"/>
                  </a:lnTo>
                  <a:lnTo>
                    <a:pt x="36" y="582"/>
                  </a:lnTo>
                  <a:lnTo>
                    <a:pt x="36" y="576"/>
                  </a:lnTo>
                  <a:lnTo>
                    <a:pt x="36" y="570"/>
                  </a:lnTo>
                  <a:lnTo>
                    <a:pt x="42" y="570"/>
                  </a:lnTo>
                  <a:lnTo>
                    <a:pt x="42" y="564"/>
                  </a:lnTo>
                  <a:lnTo>
                    <a:pt x="42" y="558"/>
                  </a:lnTo>
                  <a:lnTo>
                    <a:pt x="42" y="552"/>
                  </a:lnTo>
                  <a:lnTo>
                    <a:pt x="42" y="546"/>
                  </a:lnTo>
                  <a:lnTo>
                    <a:pt x="42" y="540"/>
                  </a:lnTo>
                  <a:lnTo>
                    <a:pt x="42" y="534"/>
                  </a:lnTo>
                  <a:lnTo>
                    <a:pt x="48" y="534"/>
                  </a:lnTo>
                  <a:lnTo>
                    <a:pt x="48" y="528"/>
                  </a:lnTo>
                  <a:lnTo>
                    <a:pt x="48" y="522"/>
                  </a:lnTo>
                  <a:lnTo>
                    <a:pt x="48" y="516"/>
                  </a:lnTo>
                  <a:lnTo>
                    <a:pt x="54" y="516"/>
                  </a:lnTo>
                  <a:lnTo>
                    <a:pt x="48" y="516"/>
                  </a:lnTo>
                  <a:lnTo>
                    <a:pt x="54" y="516"/>
                  </a:lnTo>
                  <a:lnTo>
                    <a:pt x="48" y="516"/>
                  </a:lnTo>
                  <a:lnTo>
                    <a:pt x="48" y="510"/>
                  </a:lnTo>
                  <a:lnTo>
                    <a:pt x="54" y="510"/>
                  </a:lnTo>
                  <a:lnTo>
                    <a:pt x="48" y="510"/>
                  </a:lnTo>
                  <a:lnTo>
                    <a:pt x="48" y="504"/>
                  </a:lnTo>
                  <a:lnTo>
                    <a:pt x="48" y="510"/>
                  </a:lnTo>
                  <a:lnTo>
                    <a:pt x="54" y="504"/>
                  </a:lnTo>
                  <a:lnTo>
                    <a:pt x="54" y="498"/>
                  </a:lnTo>
                  <a:lnTo>
                    <a:pt x="60" y="498"/>
                  </a:lnTo>
                  <a:lnTo>
                    <a:pt x="54" y="498"/>
                  </a:lnTo>
                  <a:lnTo>
                    <a:pt x="60" y="498"/>
                  </a:lnTo>
                  <a:lnTo>
                    <a:pt x="60" y="492"/>
                  </a:lnTo>
                  <a:lnTo>
                    <a:pt x="66" y="492"/>
                  </a:lnTo>
                  <a:lnTo>
                    <a:pt x="72" y="492"/>
                  </a:lnTo>
                  <a:lnTo>
                    <a:pt x="72" y="486"/>
                  </a:lnTo>
                  <a:lnTo>
                    <a:pt x="72" y="480"/>
                  </a:lnTo>
                  <a:lnTo>
                    <a:pt x="72" y="474"/>
                  </a:lnTo>
                  <a:lnTo>
                    <a:pt x="78" y="474"/>
                  </a:lnTo>
                  <a:lnTo>
                    <a:pt x="78" y="468"/>
                  </a:lnTo>
                  <a:lnTo>
                    <a:pt x="84" y="468"/>
                  </a:lnTo>
                  <a:lnTo>
                    <a:pt x="84" y="462"/>
                  </a:lnTo>
                  <a:lnTo>
                    <a:pt x="90" y="462"/>
                  </a:lnTo>
                  <a:lnTo>
                    <a:pt x="96" y="462"/>
                  </a:lnTo>
                  <a:lnTo>
                    <a:pt x="96" y="456"/>
                  </a:lnTo>
                  <a:lnTo>
                    <a:pt x="102" y="456"/>
                  </a:lnTo>
                  <a:lnTo>
                    <a:pt x="102" y="450"/>
                  </a:lnTo>
                  <a:lnTo>
                    <a:pt x="108" y="444"/>
                  </a:lnTo>
                  <a:lnTo>
                    <a:pt x="114" y="444"/>
                  </a:lnTo>
                  <a:lnTo>
                    <a:pt x="114" y="438"/>
                  </a:lnTo>
                  <a:lnTo>
                    <a:pt x="114" y="432"/>
                  </a:lnTo>
                  <a:lnTo>
                    <a:pt x="114" y="426"/>
                  </a:lnTo>
                  <a:lnTo>
                    <a:pt x="120" y="426"/>
                  </a:lnTo>
                  <a:lnTo>
                    <a:pt x="120" y="420"/>
                  </a:lnTo>
                  <a:lnTo>
                    <a:pt x="120" y="414"/>
                  </a:lnTo>
                  <a:lnTo>
                    <a:pt x="120" y="408"/>
                  </a:lnTo>
                  <a:lnTo>
                    <a:pt x="120" y="402"/>
                  </a:lnTo>
                  <a:lnTo>
                    <a:pt x="120" y="396"/>
                  </a:lnTo>
                  <a:lnTo>
                    <a:pt x="120" y="390"/>
                  </a:lnTo>
                  <a:lnTo>
                    <a:pt x="120" y="384"/>
                  </a:lnTo>
                  <a:lnTo>
                    <a:pt x="120" y="378"/>
                  </a:lnTo>
                  <a:lnTo>
                    <a:pt x="126" y="378"/>
                  </a:lnTo>
                  <a:lnTo>
                    <a:pt x="126" y="372"/>
                  </a:lnTo>
                  <a:lnTo>
                    <a:pt x="126" y="366"/>
                  </a:lnTo>
                  <a:lnTo>
                    <a:pt x="120" y="366"/>
                  </a:lnTo>
                  <a:lnTo>
                    <a:pt x="120" y="360"/>
                  </a:lnTo>
                  <a:lnTo>
                    <a:pt x="114" y="354"/>
                  </a:lnTo>
                  <a:lnTo>
                    <a:pt x="120" y="354"/>
                  </a:lnTo>
                  <a:lnTo>
                    <a:pt x="120" y="348"/>
                  </a:lnTo>
                  <a:lnTo>
                    <a:pt x="114" y="348"/>
                  </a:lnTo>
                  <a:lnTo>
                    <a:pt x="114" y="342"/>
                  </a:lnTo>
                  <a:lnTo>
                    <a:pt x="108" y="342"/>
                  </a:lnTo>
                  <a:lnTo>
                    <a:pt x="108" y="336"/>
                  </a:lnTo>
                  <a:lnTo>
                    <a:pt x="108" y="330"/>
                  </a:lnTo>
                  <a:lnTo>
                    <a:pt x="102" y="330"/>
                  </a:lnTo>
                  <a:lnTo>
                    <a:pt x="102" y="324"/>
                  </a:lnTo>
                  <a:lnTo>
                    <a:pt x="108" y="330"/>
                  </a:lnTo>
                  <a:lnTo>
                    <a:pt x="102" y="330"/>
                  </a:lnTo>
                  <a:lnTo>
                    <a:pt x="102" y="324"/>
                  </a:lnTo>
                  <a:lnTo>
                    <a:pt x="102" y="318"/>
                  </a:lnTo>
                  <a:lnTo>
                    <a:pt x="96" y="318"/>
                  </a:lnTo>
                  <a:lnTo>
                    <a:pt x="96" y="312"/>
                  </a:lnTo>
                  <a:lnTo>
                    <a:pt x="96" y="306"/>
                  </a:lnTo>
                  <a:lnTo>
                    <a:pt x="90" y="300"/>
                  </a:lnTo>
                  <a:lnTo>
                    <a:pt x="90" y="294"/>
                  </a:lnTo>
                  <a:lnTo>
                    <a:pt x="90" y="288"/>
                  </a:lnTo>
                  <a:lnTo>
                    <a:pt x="84" y="288"/>
                  </a:lnTo>
                  <a:lnTo>
                    <a:pt x="90" y="288"/>
                  </a:lnTo>
                  <a:lnTo>
                    <a:pt x="84" y="282"/>
                  </a:lnTo>
                  <a:lnTo>
                    <a:pt x="84" y="276"/>
                  </a:lnTo>
                  <a:lnTo>
                    <a:pt x="84" y="270"/>
                  </a:lnTo>
                  <a:lnTo>
                    <a:pt x="78" y="270"/>
                  </a:lnTo>
                  <a:lnTo>
                    <a:pt x="78" y="264"/>
                  </a:lnTo>
                  <a:lnTo>
                    <a:pt x="78" y="258"/>
                  </a:lnTo>
                  <a:lnTo>
                    <a:pt x="78" y="252"/>
                  </a:lnTo>
                  <a:lnTo>
                    <a:pt x="84" y="252"/>
                  </a:lnTo>
                  <a:lnTo>
                    <a:pt x="84" y="246"/>
                  </a:lnTo>
                  <a:lnTo>
                    <a:pt x="84" y="252"/>
                  </a:lnTo>
                  <a:lnTo>
                    <a:pt x="78" y="252"/>
                  </a:lnTo>
                  <a:lnTo>
                    <a:pt x="78" y="258"/>
                  </a:lnTo>
                  <a:lnTo>
                    <a:pt x="78" y="264"/>
                  </a:lnTo>
                  <a:lnTo>
                    <a:pt x="78" y="258"/>
                  </a:lnTo>
                  <a:lnTo>
                    <a:pt x="84" y="258"/>
                  </a:lnTo>
                  <a:lnTo>
                    <a:pt x="84" y="252"/>
                  </a:lnTo>
                  <a:lnTo>
                    <a:pt x="90" y="246"/>
                  </a:lnTo>
                  <a:lnTo>
                    <a:pt x="90" y="240"/>
                  </a:lnTo>
                  <a:lnTo>
                    <a:pt x="96" y="240"/>
                  </a:lnTo>
                  <a:lnTo>
                    <a:pt x="96" y="246"/>
                  </a:lnTo>
                  <a:lnTo>
                    <a:pt x="96" y="240"/>
                  </a:lnTo>
                  <a:lnTo>
                    <a:pt x="102" y="240"/>
                  </a:lnTo>
                  <a:lnTo>
                    <a:pt x="102" y="234"/>
                  </a:lnTo>
                  <a:lnTo>
                    <a:pt x="96" y="234"/>
                  </a:lnTo>
                  <a:lnTo>
                    <a:pt x="96" y="228"/>
                  </a:lnTo>
                  <a:lnTo>
                    <a:pt x="96" y="222"/>
                  </a:lnTo>
                  <a:lnTo>
                    <a:pt x="96" y="216"/>
                  </a:lnTo>
                  <a:lnTo>
                    <a:pt x="90" y="210"/>
                  </a:lnTo>
                  <a:lnTo>
                    <a:pt x="90" y="204"/>
                  </a:lnTo>
                  <a:lnTo>
                    <a:pt x="84" y="198"/>
                  </a:lnTo>
                  <a:lnTo>
                    <a:pt x="84" y="192"/>
                  </a:lnTo>
                  <a:lnTo>
                    <a:pt x="84" y="186"/>
                  </a:lnTo>
                  <a:lnTo>
                    <a:pt x="78" y="186"/>
                  </a:lnTo>
                  <a:lnTo>
                    <a:pt x="78" y="180"/>
                  </a:lnTo>
                  <a:lnTo>
                    <a:pt x="78" y="174"/>
                  </a:lnTo>
                  <a:lnTo>
                    <a:pt x="72" y="174"/>
                  </a:lnTo>
                  <a:lnTo>
                    <a:pt x="72" y="168"/>
                  </a:lnTo>
                  <a:lnTo>
                    <a:pt x="72" y="162"/>
                  </a:lnTo>
                  <a:lnTo>
                    <a:pt x="66" y="162"/>
                  </a:lnTo>
                  <a:lnTo>
                    <a:pt x="66" y="156"/>
                  </a:lnTo>
                  <a:lnTo>
                    <a:pt x="66" y="150"/>
                  </a:lnTo>
                  <a:lnTo>
                    <a:pt x="66" y="144"/>
                  </a:lnTo>
                  <a:lnTo>
                    <a:pt x="66" y="138"/>
                  </a:lnTo>
                  <a:lnTo>
                    <a:pt x="60" y="138"/>
                  </a:lnTo>
                  <a:lnTo>
                    <a:pt x="60" y="132"/>
                  </a:lnTo>
                  <a:lnTo>
                    <a:pt x="54" y="132"/>
                  </a:lnTo>
                  <a:lnTo>
                    <a:pt x="54" y="126"/>
                  </a:lnTo>
                  <a:lnTo>
                    <a:pt x="54" y="120"/>
                  </a:lnTo>
                  <a:lnTo>
                    <a:pt x="48" y="120"/>
                  </a:lnTo>
                  <a:lnTo>
                    <a:pt x="48" y="114"/>
                  </a:lnTo>
                  <a:lnTo>
                    <a:pt x="42" y="108"/>
                  </a:lnTo>
                  <a:lnTo>
                    <a:pt x="42" y="102"/>
                  </a:lnTo>
                  <a:lnTo>
                    <a:pt x="36" y="102"/>
                  </a:lnTo>
                  <a:lnTo>
                    <a:pt x="36" y="96"/>
                  </a:lnTo>
                  <a:lnTo>
                    <a:pt x="36" y="90"/>
                  </a:lnTo>
                  <a:lnTo>
                    <a:pt x="42" y="90"/>
                  </a:lnTo>
                  <a:lnTo>
                    <a:pt x="36" y="96"/>
                  </a:lnTo>
                  <a:lnTo>
                    <a:pt x="42" y="96"/>
                  </a:lnTo>
                  <a:lnTo>
                    <a:pt x="36" y="96"/>
                  </a:lnTo>
                  <a:lnTo>
                    <a:pt x="42" y="96"/>
                  </a:lnTo>
                  <a:lnTo>
                    <a:pt x="48" y="96"/>
                  </a:lnTo>
                  <a:lnTo>
                    <a:pt x="48" y="90"/>
                  </a:lnTo>
                  <a:lnTo>
                    <a:pt x="48" y="96"/>
                  </a:lnTo>
                  <a:lnTo>
                    <a:pt x="48" y="90"/>
                  </a:lnTo>
                  <a:lnTo>
                    <a:pt x="54" y="90"/>
                  </a:lnTo>
                  <a:lnTo>
                    <a:pt x="60" y="90"/>
                  </a:lnTo>
                  <a:lnTo>
                    <a:pt x="66" y="90"/>
                  </a:lnTo>
                  <a:lnTo>
                    <a:pt x="72" y="90"/>
                  </a:lnTo>
                  <a:lnTo>
                    <a:pt x="72" y="84"/>
                  </a:lnTo>
                  <a:lnTo>
                    <a:pt x="78" y="84"/>
                  </a:lnTo>
                  <a:lnTo>
                    <a:pt x="78" y="78"/>
                  </a:lnTo>
                  <a:lnTo>
                    <a:pt x="78" y="84"/>
                  </a:lnTo>
                  <a:lnTo>
                    <a:pt x="84" y="84"/>
                  </a:lnTo>
                  <a:lnTo>
                    <a:pt x="90" y="78"/>
                  </a:lnTo>
                  <a:lnTo>
                    <a:pt x="96" y="84"/>
                  </a:lnTo>
                  <a:lnTo>
                    <a:pt x="96" y="78"/>
                  </a:lnTo>
                  <a:lnTo>
                    <a:pt x="102" y="78"/>
                  </a:lnTo>
                  <a:lnTo>
                    <a:pt x="108" y="84"/>
                  </a:lnTo>
                  <a:lnTo>
                    <a:pt x="114" y="84"/>
                  </a:lnTo>
                  <a:lnTo>
                    <a:pt x="120" y="84"/>
                  </a:lnTo>
                  <a:lnTo>
                    <a:pt x="126" y="78"/>
                  </a:lnTo>
                  <a:lnTo>
                    <a:pt x="132" y="78"/>
                  </a:lnTo>
                  <a:lnTo>
                    <a:pt x="132" y="84"/>
                  </a:lnTo>
                  <a:lnTo>
                    <a:pt x="138" y="84"/>
                  </a:lnTo>
                  <a:lnTo>
                    <a:pt x="138" y="78"/>
                  </a:lnTo>
                  <a:lnTo>
                    <a:pt x="144" y="78"/>
                  </a:lnTo>
                  <a:lnTo>
                    <a:pt x="144" y="84"/>
                  </a:lnTo>
                  <a:lnTo>
                    <a:pt x="150" y="84"/>
                  </a:lnTo>
                  <a:lnTo>
                    <a:pt x="156" y="84"/>
                  </a:lnTo>
                  <a:lnTo>
                    <a:pt x="162" y="84"/>
                  </a:lnTo>
                  <a:lnTo>
                    <a:pt x="168" y="84"/>
                  </a:lnTo>
                  <a:lnTo>
                    <a:pt x="174" y="84"/>
                  </a:lnTo>
                  <a:lnTo>
                    <a:pt x="180" y="84"/>
                  </a:lnTo>
                  <a:lnTo>
                    <a:pt x="186" y="84"/>
                  </a:lnTo>
                  <a:lnTo>
                    <a:pt x="186" y="78"/>
                  </a:lnTo>
                  <a:lnTo>
                    <a:pt x="192" y="78"/>
                  </a:lnTo>
                  <a:lnTo>
                    <a:pt x="198" y="78"/>
                  </a:lnTo>
                  <a:lnTo>
                    <a:pt x="204" y="84"/>
                  </a:lnTo>
                  <a:lnTo>
                    <a:pt x="210" y="84"/>
                  </a:lnTo>
                  <a:lnTo>
                    <a:pt x="216" y="84"/>
                  </a:lnTo>
                  <a:lnTo>
                    <a:pt x="222" y="78"/>
                  </a:lnTo>
                  <a:lnTo>
                    <a:pt x="228" y="78"/>
                  </a:lnTo>
                  <a:lnTo>
                    <a:pt x="234" y="84"/>
                  </a:lnTo>
                  <a:lnTo>
                    <a:pt x="240" y="84"/>
                  </a:lnTo>
                  <a:lnTo>
                    <a:pt x="246" y="84"/>
                  </a:lnTo>
                  <a:lnTo>
                    <a:pt x="246" y="78"/>
                  </a:lnTo>
                  <a:lnTo>
                    <a:pt x="246" y="84"/>
                  </a:lnTo>
                  <a:lnTo>
                    <a:pt x="252" y="84"/>
                  </a:lnTo>
                  <a:lnTo>
                    <a:pt x="252" y="78"/>
                  </a:lnTo>
                  <a:lnTo>
                    <a:pt x="258" y="78"/>
                  </a:lnTo>
                  <a:lnTo>
                    <a:pt x="264" y="78"/>
                  </a:lnTo>
                  <a:lnTo>
                    <a:pt x="264" y="84"/>
                  </a:lnTo>
                  <a:lnTo>
                    <a:pt x="270" y="84"/>
                  </a:lnTo>
                  <a:lnTo>
                    <a:pt x="276" y="84"/>
                  </a:lnTo>
                  <a:lnTo>
                    <a:pt x="276" y="90"/>
                  </a:lnTo>
                  <a:lnTo>
                    <a:pt x="276" y="96"/>
                  </a:lnTo>
                  <a:lnTo>
                    <a:pt x="282" y="96"/>
                  </a:lnTo>
                  <a:lnTo>
                    <a:pt x="276" y="96"/>
                  </a:lnTo>
                  <a:lnTo>
                    <a:pt x="282" y="96"/>
                  </a:lnTo>
                  <a:lnTo>
                    <a:pt x="282" y="102"/>
                  </a:lnTo>
                  <a:lnTo>
                    <a:pt x="282" y="108"/>
                  </a:lnTo>
                  <a:lnTo>
                    <a:pt x="282" y="114"/>
                  </a:lnTo>
                  <a:lnTo>
                    <a:pt x="282" y="108"/>
                  </a:lnTo>
                  <a:lnTo>
                    <a:pt x="282" y="114"/>
                  </a:lnTo>
                  <a:lnTo>
                    <a:pt x="288" y="120"/>
                  </a:lnTo>
                  <a:lnTo>
                    <a:pt x="282" y="120"/>
                  </a:lnTo>
                  <a:lnTo>
                    <a:pt x="288" y="120"/>
                  </a:lnTo>
                  <a:lnTo>
                    <a:pt x="288" y="126"/>
                  </a:lnTo>
                  <a:lnTo>
                    <a:pt x="288" y="132"/>
                  </a:lnTo>
                  <a:lnTo>
                    <a:pt x="294" y="132"/>
                  </a:lnTo>
                  <a:lnTo>
                    <a:pt x="294" y="138"/>
                  </a:lnTo>
                  <a:lnTo>
                    <a:pt x="294" y="144"/>
                  </a:lnTo>
                  <a:lnTo>
                    <a:pt x="300" y="144"/>
                  </a:lnTo>
                  <a:lnTo>
                    <a:pt x="300" y="150"/>
                  </a:lnTo>
                  <a:lnTo>
                    <a:pt x="294" y="150"/>
                  </a:lnTo>
                  <a:lnTo>
                    <a:pt x="300" y="156"/>
                  </a:lnTo>
                  <a:lnTo>
                    <a:pt x="294" y="156"/>
                  </a:lnTo>
                  <a:lnTo>
                    <a:pt x="300" y="156"/>
                  </a:lnTo>
                  <a:lnTo>
                    <a:pt x="300" y="162"/>
                  </a:lnTo>
                  <a:lnTo>
                    <a:pt x="306" y="162"/>
                  </a:lnTo>
                  <a:lnTo>
                    <a:pt x="306" y="168"/>
                  </a:lnTo>
                  <a:lnTo>
                    <a:pt x="312" y="168"/>
                  </a:lnTo>
                  <a:lnTo>
                    <a:pt x="306" y="168"/>
                  </a:lnTo>
                  <a:lnTo>
                    <a:pt x="306" y="174"/>
                  </a:lnTo>
                  <a:lnTo>
                    <a:pt x="312" y="174"/>
                  </a:lnTo>
                  <a:lnTo>
                    <a:pt x="312" y="180"/>
                  </a:lnTo>
                  <a:lnTo>
                    <a:pt x="318" y="180"/>
                  </a:lnTo>
                  <a:lnTo>
                    <a:pt x="312" y="180"/>
                  </a:lnTo>
                  <a:lnTo>
                    <a:pt x="318" y="186"/>
                  </a:lnTo>
                  <a:lnTo>
                    <a:pt x="318" y="192"/>
                  </a:lnTo>
                  <a:lnTo>
                    <a:pt x="324" y="192"/>
                  </a:lnTo>
                  <a:lnTo>
                    <a:pt x="324" y="198"/>
                  </a:lnTo>
                  <a:lnTo>
                    <a:pt x="330" y="204"/>
                  </a:lnTo>
                  <a:lnTo>
                    <a:pt x="324" y="204"/>
                  </a:lnTo>
                  <a:lnTo>
                    <a:pt x="330" y="204"/>
                  </a:lnTo>
                  <a:lnTo>
                    <a:pt x="330" y="210"/>
                  </a:lnTo>
                  <a:lnTo>
                    <a:pt x="336" y="210"/>
                  </a:lnTo>
                  <a:lnTo>
                    <a:pt x="336" y="204"/>
                  </a:lnTo>
                  <a:lnTo>
                    <a:pt x="342" y="204"/>
                  </a:lnTo>
                  <a:lnTo>
                    <a:pt x="348" y="204"/>
                  </a:lnTo>
                  <a:lnTo>
                    <a:pt x="354" y="204"/>
                  </a:lnTo>
                  <a:lnTo>
                    <a:pt x="360" y="204"/>
                  </a:lnTo>
                  <a:lnTo>
                    <a:pt x="360" y="198"/>
                  </a:lnTo>
                  <a:lnTo>
                    <a:pt x="366" y="198"/>
                  </a:lnTo>
                  <a:lnTo>
                    <a:pt x="372" y="198"/>
                  </a:lnTo>
                  <a:lnTo>
                    <a:pt x="372" y="204"/>
                  </a:lnTo>
                  <a:lnTo>
                    <a:pt x="372" y="198"/>
                  </a:lnTo>
                  <a:lnTo>
                    <a:pt x="372" y="204"/>
                  </a:lnTo>
                  <a:lnTo>
                    <a:pt x="378" y="204"/>
                  </a:lnTo>
                  <a:lnTo>
                    <a:pt x="378" y="198"/>
                  </a:lnTo>
                  <a:lnTo>
                    <a:pt x="384" y="198"/>
                  </a:lnTo>
                  <a:lnTo>
                    <a:pt x="396" y="198"/>
                  </a:lnTo>
                  <a:lnTo>
                    <a:pt x="402" y="198"/>
                  </a:lnTo>
                  <a:lnTo>
                    <a:pt x="408" y="198"/>
                  </a:lnTo>
                  <a:lnTo>
                    <a:pt x="414" y="198"/>
                  </a:lnTo>
                  <a:lnTo>
                    <a:pt x="420" y="198"/>
                  </a:lnTo>
                  <a:lnTo>
                    <a:pt x="426" y="198"/>
                  </a:lnTo>
                  <a:lnTo>
                    <a:pt x="432" y="198"/>
                  </a:lnTo>
                  <a:lnTo>
                    <a:pt x="432" y="192"/>
                  </a:lnTo>
                  <a:lnTo>
                    <a:pt x="432" y="186"/>
                  </a:lnTo>
                  <a:lnTo>
                    <a:pt x="432" y="180"/>
                  </a:lnTo>
                  <a:lnTo>
                    <a:pt x="432" y="174"/>
                  </a:lnTo>
                  <a:lnTo>
                    <a:pt x="438" y="174"/>
                  </a:lnTo>
                  <a:lnTo>
                    <a:pt x="438" y="168"/>
                  </a:lnTo>
                  <a:lnTo>
                    <a:pt x="438" y="162"/>
                  </a:lnTo>
                  <a:lnTo>
                    <a:pt x="438" y="156"/>
                  </a:lnTo>
                  <a:lnTo>
                    <a:pt x="438" y="150"/>
                  </a:lnTo>
                  <a:lnTo>
                    <a:pt x="444" y="150"/>
                  </a:lnTo>
                  <a:lnTo>
                    <a:pt x="438" y="144"/>
                  </a:lnTo>
                  <a:lnTo>
                    <a:pt x="450" y="144"/>
                  </a:lnTo>
                  <a:lnTo>
                    <a:pt x="456" y="144"/>
                  </a:lnTo>
                  <a:lnTo>
                    <a:pt x="462" y="144"/>
                  </a:lnTo>
                  <a:lnTo>
                    <a:pt x="468" y="144"/>
                  </a:lnTo>
                  <a:lnTo>
                    <a:pt x="474" y="144"/>
                  </a:lnTo>
                  <a:lnTo>
                    <a:pt x="480" y="144"/>
                  </a:lnTo>
                  <a:lnTo>
                    <a:pt x="486" y="144"/>
                  </a:lnTo>
                  <a:lnTo>
                    <a:pt x="486" y="138"/>
                  </a:lnTo>
                  <a:lnTo>
                    <a:pt x="492" y="138"/>
                  </a:lnTo>
                  <a:lnTo>
                    <a:pt x="498" y="138"/>
                  </a:lnTo>
                  <a:lnTo>
                    <a:pt x="498" y="144"/>
                  </a:lnTo>
                  <a:lnTo>
                    <a:pt x="498" y="150"/>
                  </a:lnTo>
                  <a:lnTo>
                    <a:pt x="498" y="156"/>
                  </a:lnTo>
                  <a:lnTo>
                    <a:pt x="498" y="162"/>
                  </a:lnTo>
                  <a:lnTo>
                    <a:pt x="504" y="162"/>
                  </a:lnTo>
                  <a:lnTo>
                    <a:pt x="510" y="162"/>
                  </a:lnTo>
                  <a:lnTo>
                    <a:pt x="516" y="162"/>
                  </a:lnTo>
                  <a:lnTo>
                    <a:pt x="522" y="162"/>
                  </a:lnTo>
                  <a:lnTo>
                    <a:pt x="534" y="162"/>
                  </a:lnTo>
                  <a:lnTo>
                    <a:pt x="540" y="162"/>
                  </a:lnTo>
                  <a:lnTo>
                    <a:pt x="546" y="162"/>
                  </a:lnTo>
                  <a:lnTo>
                    <a:pt x="552" y="162"/>
                  </a:lnTo>
                  <a:lnTo>
                    <a:pt x="558" y="162"/>
                  </a:lnTo>
                  <a:lnTo>
                    <a:pt x="564" y="162"/>
                  </a:lnTo>
                  <a:lnTo>
                    <a:pt x="570" y="162"/>
                  </a:lnTo>
                  <a:lnTo>
                    <a:pt x="570" y="168"/>
                  </a:lnTo>
                  <a:lnTo>
                    <a:pt x="570" y="174"/>
                  </a:lnTo>
                  <a:lnTo>
                    <a:pt x="570" y="180"/>
                  </a:lnTo>
                  <a:lnTo>
                    <a:pt x="564" y="180"/>
                  </a:lnTo>
                  <a:lnTo>
                    <a:pt x="564" y="186"/>
                  </a:lnTo>
                  <a:lnTo>
                    <a:pt x="564" y="192"/>
                  </a:lnTo>
                  <a:lnTo>
                    <a:pt x="564" y="198"/>
                  </a:lnTo>
                  <a:lnTo>
                    <a:pt x="564" y="204"/>
                  </a:lnTo>
                  <a:lnTo>
                    <a:pt x="570" y="204"/>
                  </a:lnTo>
                  <a:lnTo>
                    <a:pt x="570" y="210"/>
                  </a:lnTo>
                  <a:lnTo>
                    <a:pt x="570" y="216"/>
                  </a:lnTo>
                  <a:lnTo>
                    <a:pt x="576" y="216"/>
                  </a:lnTo>
                  <a:lnTo>
                    <a:pt x="576" y="222"/>
                  </a:lnTo>
                  <a:lnTo>
                    <a:pt x="570" y="222"/>
                  </a:lnTo>
                  <a:lnTo>
                    <a:pt x="576" y="222"/>
                  </a:lnTo>
                  <a:lnTo>
                    <a:pt x="576" y="228"/>
                  </a:lnTo>
                  <a:lnTo>
                    <a:pt x="576" y="234"/>
                  </a:lnTo>
                  <a:lnTo>
                    <a:pt x="570" y="234"/>
                  </a:lnTo>
                  <a:lnTo>
                    <a:pt x="576" y="234"/>
                  </a:lnTo>
                  <a:lnTo>
                    <a:pt x="570" y="234"/>
                  </a:lnTo>
                  <a:lnTo>
                    <a:pt x="570" y="240"/>
                  </a:lnTo>
                  <a:lnTo>
                    <a:pt x="570" y="246"/>
                  </a:lnTo>
                  <a:lnTo>
                    <a:pt x="570" y="252"/>
                  </a:lnTo>
                  <a:lnTo>
                    <a:pt x="570" y="258"/>
                  </a:lnTo>
                  <a:lnTo>
                    <a:pt x="570" y="264"/>
                  </a:lnTo>
                  <a:lnTo>
                    <a:pt x="570" y="270"/>
                  </a:lnTo>
                  <a:lnTo>
                    <a:pt x="570" y="276"/>
                  </a:lnTo>
                  <a:lnTo>
                    <a:pt x="564" y="276"/>
                  </a:lnTo>
                  <a:lnTo>
                    <a:pt x="564" y="282"/>
                  </a:lnTo>
                  <a:lnTo>
                    <a:pt x="570" y="282"/>
                  </a:lnTo>
                  <a:lnTo>
                    <a:pt x="570" y="288"/>
                  </a:lnTo>
                  <a:lnTo>
                    <a:pt x="570" y="294"/>
                  </a:lnTo>
                  <a:lnTo>
                    <a:pt x="576" y="294"/>
                  </a:lnTo>
                  <a:lnTo>
                    <a:pt x="576" y="300"/>
                  </a:lnTo>
                  <a:lnTo>
                    <a:pt x="576" y="306"/>
                  </a:lnTo>
                  <a:lnTo>
                    <a:pt x="582" y="306"/>
                  </a:lnTo>
                  <a:lnTo>
                    <a:pt x="588" y="306"/>
                  </a:lnTo>
                  <a:lnTo>
                    <a:pt x="588" y="312"/>
                  </a:lnTo>
                  <a:lnTo>
                    <a:pt x="588" y="318"/>
                  </a:lnTo>
                  <a:lnTo>
                    <a:pt x="588" y="324"/>
                  </a:lnTo>
                  <a:lnTo>
                    <a:pt x="594" y="324"/>
                  </a:lnTo>
                  <a:lnTo>
                    <a:pt x="594" y="330"/>
                  </a:lnTo>
                  <a:lnTo>
                    <a:pt x="594" y="336"/>
                  </a:lnTo>
                  <a:lnTo>
                    <a:pt x="594" y="342"/>
                  </a:lnTo>
                  <a:lnTo>
                    <a:pt x="594" y="348"/>
                  </a:lnTo>
                  <a:lnTo>
                    <a:pt x="594" y="354"/>
                  </a:lnTo>
                  <a:lnTo>
                    <a:pt x="594" y="360"/>
                  </a:lnTo>
                  <a:lnTo>
                    <a:pt x="588" y="360"/>
                  </a:lnTo>
                  <a:lnTo>
                    <a:pt x="588" y="366"/>
                  </a:lnTo>
                  <a:lnTo>
                    <a:pt x="588" y="372"/>
                  </a:lnTo>
                  <a:lnTo>
                    <a:pt x="588" y="378"/>
                  </a:lnTo>
                  <a:lnTo>
                    <a:pt x="594" y="378"/>
                  </a:lnTo>
                  <a:lnTo>
                    <a:pt x="594" y="384"/>
                  </a:lnTo>
                  <a:lnTo>
                    <a:pt x="594" y="378"/>
                  </a:lnTo>
                  <a:lnTo>
                    <a:pt x="600" y="378"/>
                  </a:lnTo>
                  <a:lnTo>
                    <a:pt x="606" y="378"/>
                  </a:lnTo>
                  <a:lnTo>
                    <a:pt x="606" y="372"/>
                  </a:lnTo>
                  <a:lnTo>
                    <a:pt x="612" y="372"/>
                  </a:lnTo>
                  <a:lnTo>
                    <a:pt x="618" y="378"/>
                  </a:lnTo>
                  <a:lnTo>
                    <a:pt x="624" y="378"/>
                  </a:lnTo>
                  <a:lnTo>
                    <a:pt x="624" y="372"/>
                  </a:lnTo>
                  <a:lnTo>
                    <a:pt x="630" y="372"/>
                  </a:lnTo>
                  <a:lnTo>
                    <a:pt x="630" y="378"/>
                  </a:lnTo>
                  <a:lnTo>
                    <a:pt x="636" y="378"/>
                  </a:lnTo>
                  <a:lnTo>
                    <a:pt x="642" y="378"/>
                  </a:lnTo>
                  <a:lnTo>
                    <a:pt x="642" y="372"/>
                  </a:lnTo>
                  <a:lnTo>
                    <a:pt x="642" y="378"/>
                  </a:lnTo>
                  <a:lnTo>
                    <a:pt x="642" y="372"/>
                  </a:lnTo>
                  <a:lnTo>
                    <a:pt x="648" y="372"/>
                  </a:lnTo>
                  <a:lnTo>
                    <a:pt x="654" y="372"/>
                  </a:lnTo>
                  <a:lnTo>
                    <a:pt x="654" y="366"/>
                  </a:lnTo>
                  <a:lnTo>
                    <a:pt x="660" y="366"/>
                  </a:lnTo>
                  <a:lnTo>
                    <a:pt x="666" y="366"/>
                  </a:lnTo>
                  <a:lnTo>
                    <a:pt x="666" y="372"/>
                  </a:lnTo>
                  <a:lnTo>
                    <a:pt x="672" y="372"/>
                  </a:lnTo>
                  <a:lnTo>
                    <a:pt x="678" y="372"/>
                  </a:lnTo>
                  <a:lnTo>
                    <a:pt x="684" y="372"/>
                  </a:lnTo>
                  <a:lnTo>
                    <a:pt x="684" y="366"/>
                  </a:lnTo>
                  <a:lnTo>
                    <a:pt x="690" y="366"/>
                  </a:lnTo>
                  <a:lnTo>
                    <a:pt x="690" y="372"/>
                  </a:lnTo>
                  <a:lnTo>
                    <a:pt x="690" y="378"/>
                  </a:lnTo>
                  <a:lnTo>
                    <a:pt x="690" y="384"/>
                  </a:lnTo>
                  <a:lnTo>
                    <a:pt x="690" y="390"/>
                  </a:lnTo>
                  <a:lnTo>
                    <a:pt x="696" y="390"/>
                  </a:lnTo>
                  <a:lnTo>
                    <a:pt x="690" y="390"/>
                  </a:lnTo>
                  <a:lnTo>
                    <a:pt x="690" y="396"/>
                  </a:lnTo>
                  <a:lnTo>
                    <a:pt x="690" y="402"/>
                  </a:lnTo>
                  <a:lnTo>
                    <a:pt x="690" y="408"/>
                  </a:lnTo>
                  <a:lnTo>
                    <a:pt x="684" y="408"/>
                  </a:lnTo>
                  <a:lnTo>
                    <a:pt x="690" y="408"/>
                  </a:lnTo>
                  <a:lnTo>
                    <a:pt x="690" y="414"/>
                  </a:lnTo>
                  <a:lnTo>
                    <a:pt x="690" y="420"/>
                  </a:lnTo>
                  <a:lnTo>
                    <a:pt x="690" y="426"/>
                  </a:lnTo>
                  <a:lnTo>
                    <a:pt x="690" y="432"/>
                  </a:lnTo>
                  <a:lnTo>
                    <a:pt x="690" y="438"/>
                  </a:lnTo>
                  <a:lnTo>
                    <a:pt x="690" y="444"/>
                  </a:lnTo>
                  <a:lnTo>
                    <a:pt x="690" y="450"/>
                  </a:lnTo>
                  <a:lnTo>
                    <a:pt x="690" y="456"/>
                  </a:lnTo>
                  <a:lnTo>
                    <a:pt x="684" y="456"/>
                  </a:lnTo>
                  <a:lnTo>
                    <a:pt x="684" y="462"/>
                  </a:lnTo>
                  <a:lnTo>
                    <a:pt x="684" y="468"/>
                  </a:lnTo>
                  <a:lnTo>
                    <a:pt x="684" y="474"/>
                  </a:lnTo>
                  <a:lnTo>
                    <a:pt x="684" y="480"/>
                  </a:lnTo>
                  <a:lnTo>
                    <a:pt x="690" y="480"/>
                  </a:lnTo>
                  <a:lnTo>
                    <a:pt x="660" y="486"/>
                  </a:lnTo>
                  <a:lnTo>
                    <a:pt x="600" y="486"/>
                  </a:lnTo>
                  <a:lnTo>
                    <a:pt x="576" y="486"/>
                  </a:lnTo>
                  <a:lnTo>
                    <a:pt x="576" y="510"/>
                  </a:lnTo>
                  <a:lnTo>
                    <a:pt x="576" y="528"/>
                  </a:lnTo>
                  <a:lnTo>
                    <a:pt x="576" y="540"/>
                  </a:lnTo>
                  <a:lnTo>
                    <a:pt x="576" y="546"/>
                  </a:lnTo>
                  <a:lnTo>
                    <a:pt x="576" y="600"/>
                  </a:lnTo>
                  <a:lnTo>
                    <a:pt x="576" y="618"/>
                  </a:lnTo>
                  <a:lnTo>
                    <a:pt x="576" y="654"/>
                  </a:lnTo>
                  <a:lnTo>
                    <a:pt x="576" y="660"/>
                  </a:lnTo>
                  <a:lnTo>
                    <a:pt x="576" y="666"/>
                  </a:lnTo>
                  <a:lnTo>
                    <a:pt x="576" y="672"/>
                  </a:lnTo>
                  <a:lnTo>
                    <a:pt x="582" y="672"/>
                  </a:lnTo>
                  <a:lnTo>
                    <a:pt x="582" y="678"/>
                  </a:lnTo>
                  <a:lnTo>
                    <a:pt x="582" y="684"/>
                  </a:lnTo>
                  <a:lnTo>
                    <a:pt x="588" y="684"/>
                  </a:lnTo>
                  <a:lnTo>
                    <a:pt x="588" y="690"/>
                  </a:lnTo>
                  <a:lnTo>
                    <a:pt x="594" y="690"/>
                  </a:lnTo>
                  <a:lnTo>
                    <a:pt x="594" y="696"/>
                  </a:lnTo>
                  <a:lnTo>
                    <a:pt x="600" y="696"/>
                  </a:lnTo>
                  <a:lnTo>
                    <a:pt x="600" y="702"/>
                  </a:lnTo>
                  <a:lnTo>
                    <a:pt x="606" y="702"/>
                  </a:lnTo>
                  <a:lnTo>
                    <a:pt x="606" y="708"/>
                  </a:lnTo>
                  <a:lnTo>
                    <a:pt x="612" y="708"/>
                  </a:lnTo>
                  <a:lnTo>
                    <a:pt x="612" y="714"/>
                  </a:lnTo>
                  <a:lnTo>
                    <a:pt x="618" y="714"/>
                  </a:lnTo>
                  <a:lnTo>
                    <a:pt x="618" y="720"/>
                  </a:lnTo>
                  <a:lnTo>
                    <a:pt x="624" y="720"/>
                  </a:lnTo>
                  <a:lnTo>
                    <a:pt x="624" y="726"/>
                  </a:lnTo>
                  <a:lnTo>
                    <a:pt x="630" y="726"/>
                  </a:lnTo>
                  <a:lnTo>
                    <a:pt x="630" y="732"/>
                  </a:lnTo>
                  <a:lnTo>
                    <a:pt x="636" y="732"/>
                  </a:lnTo>
                  <a:lnTo>
                    <a:pt x="636" y="738"/>
                  </a:lnTo>
                  <a:lnTo>
                    <a:pt x="642" y="738"/>
                  </a:lnTo>
                  <a:lnTo>
                    <a:pt x="642" y="744"/>
                  </a:lnTo>
                  <a:lnTo>
                    <a:pt x="648" y="744"/>
                  </a:lnTo>
                  <a:lnTo>
                    <a:pt x="654" y="744"/>
                  </a:lnTo>
                  <a:lnTo>
                    <a:pt x="654" y="750"/>
                  </a:lnTo>
                  <a:close/>
                  <a:moveTo>
                    <a:pt x="24" y="36"/>
                  </a:moveTo>
                  <a:lnTo>
                    <a:pt x="24" y="30"/>
                  </a:lnTo>
                  <a:lnTo>
                    <a:pt x="30" y="30"/>
                  </a:lnTo>
                  <a:lnTo>
                    <a:pt x="30" y="24"/>
                  </a:lnTo>
                  <a:lnTo>
                    <a:pt x="30" y="18"/>
                  </a:lnTo>
                  <a:lnTo>
                    <a:pt x="36" y="18"/>
                  </a:lnTo>
                  <a:lnTo>
                    <a:pt x="36" y="24"/>
                  </a:lnTo>
                  <a:lnTo>
                    <a:pt x="36" y="18"/>
                  </a:lnTo>
                  <a:lnTo>
                    <a:pt x="42" y="18"/>
                  </a:lnTo>
                  <a:lnTo>
                    <a:pt x="42" y="12"/>
                  </a:lnTo>
                  <a:lnTo>
                    <a:pt x="48" y="12"/>
                  </a:lnTo>
                  <a:lnTo>
                    <a:pt x="54" y="6"/>
                  </a:lnTo>
                  <a:lnTo>
                    <a:pt x="60" y="6"/>
                  </a:lnTo>
                  <a:lnTo>
                    <a:pt x="60" y="0"/>
                  </a:lnTo>
                  <a:lnTo>
                    <a:pt x="66" y="0"/>
                  </a:lnTo>
                  <a:lnTo>
                    <a:pt x="72" y="0"/>
                  </a:lnTo>
                  <a:lnTo>
                    <a:pt x="72" y="6"/>
                  </a:lnTo>
                  <a:lnTo>
                    <a:pt x="78" y="6"/>
                  </a:lnTo>
                  <a:lnTo>
                    <a:pt x="78" y="12"/>
                  </a:lnTo>
                  <a:lnTo>
                    <a:pt x="84" y="12"/>
                  </a:lnTo>
                  <a:lnTo>
                    <a:pt x="78" y="12"/>
                  </a:lnTo>
                  <a:lnTo>
                    <a:pt x="78" y="18"/>
                  </a:lnTo>
                  <a:lnTo>
                    <a:pt x="72" y="18"/>
                  </a:lnTo>
                  <a:lnTo>
                    <a:pt x="66" y="18"/>
                  </a:lnTo>
                  <a:lnTo>
                    <a:pt x="66" y="24"/>
                  </a:lnTo>
                  <a:lnTo>
                    <a:pt x="60" y="24"/>
                  </a:lnTo>
                  <a:lnTo>
                    <a:pt x="60" y="30"/>
                  </a:lnTo>
                  <a:lnTo>
                    <a:pt x="54" y="30"/>
                  </a:lnTo>
                  <a:lnTo>
                    <a:pt x="54" y="36"/>
                  </a:lnTo>
                  <a:lnTo>
                    <a:pt x="48" y="36"/>
                  </a:lnTo>
                  <a:lnTo>
                    <a:pt x="48" y="42"/>
                  </a:lnTo>
                  <a:lnTo>
                    <a:pt x="48" y="48"/>
                  </a:lnTo>
                  <a:lnTo>
                    <a:pt x="48" y="54"/>
                  </a:lnTo>
                  <a:lnTo>
                    <a:pt x="48" y="60"/>
                  </a:lnTo>
                  <a:lnTo>
                    <a:pt x="48" y="66"/>
                  </a:lnTo>
                  <a:lnTo>
                    <a:pt x="48" y="72"/>
                  </a:lnTo>
                  <a:lnTo>
                    <a:pt x="42" y="72"/>
                  </a:lnTo>
                  <a:lnTo>
                    <a:pt x="36" y="72"/>
                  </a:lnTo>
                  <a:lnTo>
                    <a:pt x="30" y="72"/>
                  </a:lnTo>
                  <a:lnTo>
                    <a:pt x="30" y="78"/>
                  </a:lnTo>
                  <a:lnTo>
                    <a:pt x="30" y="72"/>
                  </a:lnTo>
                  <a:lnTo>
                    <a:pt x="30" y="66"/>
                  </a:lnTo>
                  <a:lnTo>
                    <a:pt x="30" y="60"/>
                  </a:lnTo>
                  <a:lnTo>
                    <a:pt x="36" y="60"/>
                  </a:lnTo>
                  <a:lnTo>
                    <a:pt x="30" y="60"/>
                  </a:lnTo>
                  <a:lnTo>
                    <a:pt x="30" y="54"/>
                  </a:lnTo>
                  <a:lnTo>
                    <a:pt x="30" y="48"/>
                  </a:lnTo>
                  <a:lnTo>
                    <a:pt x="30" y="42"/>
                  </a:lnTo>
                  <a:lnTo>
                    <a:pt x="24" y="42"/>
                  </a:lnTo>
                  <a:lnTo>
                    <a:pt x="24" y="36"/>
                  </a:lnTo>
                  <a:close/>
                  <a:moveTo>
                    <a:pt x="0" y="690"/>
                  </a:moveTo>
                  <a:lnTo>
                    <a:pt x="6" y="684"/>
                  </a:lnTo>
                  <a:lnTo>
                    <a:pt x="6" y="690"/>
                  </a:lnTo>
                  <a:lnTo>
                    <a:pt x="6" y="696"/>
                  </a:lnTo>
                  <a:lnTo>
                    <a:pt x="6" y="702"/>
                  </a:lnTo>
                  <a:lnTo>
                    <a:pt x="6" y="696"/>
                  </a:lnTo>
                  <a:lnTo>
                    <a:pt x="6" y="690"/>
                  </a:lnTo>
                  <a:lnTo>
                    <a:pt x="0" y="690"/>
                  </a:lnTo>
                  <a:close/>
                  <a:moveTo>
                    <a:pt x="72" y="84"/>
                  </a:moveTo>
                  <a:lnTo>
                    <a:pt x="72" y="90"/>
                  </a:lnTo>
                  <a:lnTo>
                    <a:pt x="73" y="90"/>
                  </a:lnTo>
                  <a:lnTo>
                    <a:pt x="72" y="84"/>
                  </a:lnTo>
                  <a:close/>
                  <a:moveTo>
                    <a:pt x="54" y="90"/>
                  </a:moveTo>
                  <a:lnTo>
                    <a:pt x="60" y="90"/>
                  </a:lnTo>
                  <a:lnTo>
                    <a:pt x="54" y="90"/>
                  </a:lnTo>
                  <a:close/>
                  <a:moveTo>
                    <a:pt x="60" y="84"/>
                  </a:moveTo>
                  <a:lnTo>
                    <a:pt x="66" y="84"/>
                  </a:lnTo>
                  <a:lnTo>
                    <a:pt x="66" y="90"/>
                  </a:lnTo>
                  <a:lnTo>
                    <a:pt x="60" y="90"/>
                  </a:lnTo>
                  <a:lnTo>
                    <a:pt x="60" y="84"/>
                  </a:lnTo>
                  <a:close/>
                  <a:moveTo>
                    <a:pt x="84" y="240"/>
                  </a:moveTo>
                  <a:lnTo>
                    <a:pt x="90" y="240"/>
                  </a:lnTo>
                  <a:lnTo>
                    <a:pt x="90" y="246"/>
                  </a:lnTo>
                  <a:lnTo>
                    <a:pt x="84" y="246"/>
                  </a:lnTo>
                  <a:lnTo>
                    <a:pt x="84" y="240"/>
                  </a:lnTo>
                  <a:close/>
                  <a:moveTo>
                    <a:pt x="60" y="90"/>
                  </a:moveTo>
                  <a:lnTo>
                    <a:pt x="66" y="90"/>
                  </a:lnTo>
                  <a:lnTo>
                    <a:pt x="60" y="9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19" name="Freeform 52"/>
            <p:cNvSpPr>
              <a:spLocks/>
            </p:cNvSpPr>
            <p:nvPr>
              <p:custDataLst>
                <p:tags r:id="rId47"/>
              </p:custDataLst>
            </p:nvPr>
          </p:nvSpPr>
          <p:spPr bwMode="gray">
            <a:xfrm>
              <a:off x="2310148" y="4497039"/>
              <a:ext cx="471473" cy="477668"/>
            </a:xfrm>
            <a:custGeom>
              <a:avLst/>
              <a:gdLst>
                <a:gd name="T0" fmla="*/ 178005 w 516"/>
                <a:gd name="T1" fmla="*/ 96174 h 546"/>
                <a:gd name="T2" fmla="*/ 170223 w 516"/>
                <a:gd name="T3" fmla="*/ 101032 h 546"/>
                <a:gd name="T4" fmla="*/ 161468 w 516"/>
                <a:gd name="T5" fmla="*/ 104918 h 546"/>
                <a:gd name="T6" fmla="*/ 154660 w 516"/>
                <a:gd name="T7" fmla="*/ 111718 h 546"/>
                <a:gd name="T8" fmla="*/ 150769 w 516"/>
                <a:gd name="T9" fmla="*/ 115604 h 546"/>
                <a:gd name="T10" fmla="*/ 145906 w 516"/>
                <a:gd name="T11" fmla="*/ 120461 h 546"/>
                <a:gd name="T12" fmla="*/ 143960 w 516"/>
                <a:gd name="T13" fmla="*/ 121432 h 546"/>
                <a:gd name="T14" fmla="*/ 137151 w 516"/>
                <a:gd name="T15" fmla="*/ 128232 h 546"/>
                <a:gd name="T16" fmla="*/ 133260 w 516"/>
                <a:gd name="T17" fmla="*/ 138919 h 546"/>
                <a:gd name="T18" fmla="*/ 128397 w 516"/>
                <a:gd name="T19" fmla="*/ 143775 h 546"/>
                <a:gd name="T20" fmla="*/ 120615 w 516"/>
                <a:gd name="T21" fmla="*/ 147661 h 546"/>
                <a:gd name="T22" fmla="*/ 113807 w 516"/>
                <a:gd name="T23" fmla="*/ 156405 h 546"/>
                <a:gd name="T24" fmla="*/ 109915 w 516"/>
                <a:gd name="T25" fmla="*/ 167091 h 546"/>
                <a:gd name="T26" fmla="*/ 101161 w 516"/>
                <a:gd name="T27" fmla="*/ 169033 h 546"/>
                <a:gd name="T28" fmla="*/ 87544 w 516"/>
                <a:gd name="T29" fmla="*/ 169033 h 546"/>
                <a:gd name="T30" fmla="*/ 76844 w 516"/>
                <a:gd name="T31" fmla="*/ 167091 h 546"/>
                <a:gd name="T32" fmla="*/ 71008 w 516"/>
                <a:gd name="T33" fmla="*/ 161262 h 546"/>
                <a:gd name="T34" fmla="*/ 67116 w 516"/>
                <a:gd name="T35" fmla="*/ 158347 h 546"/>
                <a:gd name="T36" fmla="*/ 62253 w 516"/>
                <a:gd name="T37" fmla="*/ 161262 h 546"/>
                <a:gd name="T38" fmla="*/ 57389 w 516"/>
                <a:gd name="T39" fmla="*/ 165148 h 546"/>
                <a:gd name="T40" fmla="*/ 53499 w 516"/>
                <a:gd name="T41" fmla="*/ 169033 h 546"/>
                <a:gd name="T42" fmla="*/ 51553 w 516"/>
                <a:gd name="T43" fmla="*/ 180691 h 546"/>
                <a:gd name="T44" fmla="*/ 42799 w 516"/>
                <a:gd name="T45" fmla="*/ 184577 h 546"/>
                <a:gd name="T46" fmla="*/ 34045 w 516"/>
                <a:gd name="T47" fmla="*/ 190406 h 546"/>
                <a:gd name="T48" fmla="*/ 26263 w 516"/>
                <a:gd name="T49" fmla="*/ 192349 h 546"/>
                <a:gd name="T50" fmla="*/ 17509 w 516"/>
                <a:gd name="T51" fmla="*/ 192349 h 546"/>
                <a:gd name="T52" fmla="*/ 12645 w 516"/>
                <a:gd name="T53" fmla="*/ 192349 h 546"/>
                <a:gd name="T54" fmla="*/ 12645 w 516"/>
                <a:gd name="T55" fmla="*/ 188463 h 546"/>
                <a:gd name="T56" fmla="*/ 14590 w 516"/>
                <a:gd name="T57" fmla="*/ 181663 h 546"/>
                <a:gd name="T58" fmla="*/ 14590 w 516"/>
                <a:gd name="T59" fmla="*/ 170977 h 546"/>
                <a:gd name="T60" fmla="*/ 12645 w 516"/>
                <a:gd name="T61" fmla="*/ 162233 h 546"/>
                <a:gd name="T62" fmla="*/ 10700 w 516"/>
                <a:gd name="T63" fmla="*/ 161262 h 546"/>
                <a:gd name="T64" fmla="*/ 6809 w 516"/>
                <a:gd name="T65" fmla="*/ 151547 h 546"/>
                <a:gd name="T66" fmla="*/ 0 w 516"/>
                <a:gd name="T67" fmla="*/ 145719 h 546"/>
                <a:gd name="T68" fmla="*/ 0 w 516"/>
                <a:gd name="T69" fmla="*/ 133089 h 546"/>
                <a:gd name="T70" fmla="*/ 0 w 516"/>
                <a:gd name="T71" fmla="*/ 120461 h 546"/>
                <a:gd name="T72" fmla="*/ 0 w 516"/>
                <a:gd name="T73" fmla="*/ 106860 h 546"/>
                <a:gd name="T74" fmla="*/ 0 w 516"/>
                <a:gd name="T75" fmla="*/ 94232 h 546"/>
                <a:gd name="T76" fmla="*/ 19454 w 516"/>
                <a:gd name="T77" fmla="*/ 44687 h 546"/>
                <a:gd name="T78" fmla="*/ 62253 w 516"/>
                <a:gd name="T79" fmla="*/ 3886 h 546"/>
                <a:gd name="T80" fmla="*/ 68090 w 516"/>
                <a:gd name="T81" fmla="*/ 8743 h 546"/>
                <a:gd name="T82" fmla="*/ 74898 w 516"/>
                <a:gd name="T83" fmla="*/ 12629 h 546"/>
                <a:gd name="T84" fmla="*/ 81707 w 516"/>
                <a:gd name="T85" fmla="*/ 6800 h 546"/>
                <a:gd name="T86" fmla="*/ 87544 w 516"/>
                <a:gd name="T87" fmla="*/ 3886 h 546"/>
                <a:gd name="T88" fmla="*/ 94352 w 516"/>
                <a:gd name="T89" fmla="*/ 1943 h 546"/>
                <a:gd name="T90" fmla="*/ 101161 w 516"/>
                <a:gd name="T91" fmla="*/ 0 h 546"/>
                <a:gd name="T92" fmla="*/ 103107 w 516"/>
                <a:gd name="T93" fmla="*/ 1943 h 546"/>
                <a:gd name="T94" fmla="*/ 109915 w 516"/>
                <a:gd name="T95" fmla="*/ 10686 h 546"/>
                <a:gd name="T96" fmla="*/ 115751 w 516"/>
                <a:gd name="T97" fmla="*/ 21372 h 546"/>
                <a:gd name="T98" fmla="*/ 120615 w 516"/>
                <a:gd name="T99" fmla="*/ 32058 h 546"/>
                <a:gd name="T100" fmla="*/ 124506 w 516"/>
                <a:gd name="T101" fmla="*/ 37887 h 546"/>
                <a:gd name="T102" fmla="*/ 133260 w 516"/>
                <a:gd name="T103" fmla="*/ 42744 h 546"/>
                <a:gd name="T104" fmla="*/ 142015 w 516"/>
                <a:gd name="T105" fmla="*/ 46630 h 546"/>
                <a:gd name="T106" fmla="*/ 145906 w 516"/>
                <a:gd name="T107" fmla="*/ 56344 h 546"/>
                <a:gd name="T108" fmla="*/ 152714 w 516"/>
                <a:gd name="T109" fmla="*/ 62173 h 546"/>
                <a:gd name="T110" fmla="*/ 154660 w 516"/>
                <a:gd name="T111" fmla="*/ 72859 h 546"/>
                <a:gd name="T112" fmla="*/ 158550 w 516"/>
                <a:gd name="T113" fmla="*/ 76745 h 546"/>
                <a:gd name="T114" fmla="*/ 170223 w 516"/>
                <a:gd name="T115" fmla="*/ 81602 h 546"/>
                <a:gd name="T116" fmla="*/ 180923 w 516"/>
                <a:gd name="T117" fmla="*/ 83546 h 546"/>
                <a:gd name="T118" fmla="*/ 181896 w 516"/>
                <a:gd name="T119" fmla="*/ 90346 h 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16" h="546">
                  <a:moveTo>
                    <a:pt x="516" y="258"/>
                  </a:moveTo>
                  <a:lnTo>
                    <a:pt x="510" y="258"/>
                  </a:lnTo>
                  <a:lnTo>
                    <a:pt x="504" y="258"/>
                  </a:lnTo>
                  <a:lnTo>
                    <a:pt x="498" y="258"/>
                  </a:lnTo>
                  <a:lnTo>
                    <a:pt x="498" y="264"/>
                  </a:lnTo>
                  <a:lnTo>
                    <a:pt x="498" y="270"/>
                  </a:lnTo>
                  <a:lnTo>
                    <a:pt x="498" y="276"/>
                  </a:lnTo>
                  <a:lnTo>
                    <a:pt x="492" y="276"/>
                  </a:lnTo>
                  <a:lnTo>
                    <a:pt x="486" y="276"/>
                  </a:lnTo>
                  <a:lnTo>
                    <a:pt x="480" y="276"/>
                  </a:lnTo>
                  <a:lnTo>
                    <a:pt x="480" y="282"/>
                  </a:lnTo>
                  <a:lnTo>
                    <a:pt x="474" y="282"/>
                  </a:lnTo>
                  <a:lnTo>
                    <a:pt x="468" y="282"/>
                  </a:lnTo>
                  <a:lnTo>
                    <a:pt x="462" y="282"/>
                  </a:lnTo>
                  <a:lnTo>
                    <a:pt x="456" y="282"/>
                  </a:lnTo>
                  <a:lnTo>
                    <a:pt x="456" y="288"/>
                  </a:lnTo>
                  <a:lnTo>
                    <a:pt x="450" y="288"/>
                  </a:lnTo>
                  <a:lnTo>
                    <a:pt x="450" y="294"/>
                  </a:lnTo>
                  <a:lnTo>
                    <a:pt x="450" y="300"/>
                  </a:lnTo>
                  <a:lnTo>
                    <a:pt x="444" y="300"/>
                  </a:lnTo>
                  <a:lnTo>
                    <a:pt x="444" y="306"/>
                  </a:lnTo>
                  <a:lnTo>
                    <a:pt x="438" y="306"/>
                  </a:lnTo>
                  <a:lnTo>
                    <a:pt x="438" y="312"/>
                  </a:lnTo>
                  <a:lnTo>
                    <a:pt x="432" y="312"/>
                  </a:lnTo>
                  <a:lnTo>
                    <a:pt x="432" y="318"/>
                  </a:lnTo>
                  <a:lnTo>
                    <a:pt x="432" y="324"/>
                  </a:lnTo>
                  <a:lnTo>
                    <a:pt x="426" y="324"/>
                  </a:lnTo>
                  <a:lnTo>
                    <a:pt x="426" y="318"/>
                  </a:lnTo>
                  <a:lnTo>
                    <a:pt x="426" y="324"/>
                  </a:lnTo>
                  <a:lnTo>
                    <a:pt x="420" y="324"/>
                  </a:lnTo>
                  <a:lnTo>
                    <a:pt x="420" y="330"/>
                  </a:lnTo>
                  <a:lnTo>
                    <a:pt x="414" y="330"/>
                  </a:lnTo>
                  <a:lnTo>
                    <a:pt x="414" y="336"/>
                  </a:lnTo>
                  <a:lnTo>
                    <a:pt x="408" y="336"/>
                  </a:lnTo>
                  <a:lnTo>
                    <a:pt x="408" y="330"/>
                  </a:lnTo>
                  <a:lnTo>
                    <a:pt x="408" y="336"/>
                  </a:lnTo>
                  <a:lnTo>
                    <a:pt x="408" y="330"/>
                  </a:lnTo>
                  <a:lnTo>
                    <a:pt x="408" y="336"/>
                  </a:lnTo>
                  <a:lnTo>
                    <a:pt x="402" y="336"/>
                  </a:lnTo>
                  <a:lnTo>
                    <a:pt x="396" y="336"/>
                  </a:lnTo>
                  <a:lnTo>
                    <a:pt x="396" y="342"/>
                  </a:lnTo>
                  <a:lnTo>
                    <a:pt x="402" y="342"/>
                  </a:lnTo>
                  <a:lnTo>
                    <a:pt x="396" y="342"/>
                  </a:lnTo>
                  <a:lnTo>
                    <a:pt x="390" y="342"/>
                  </a:lnTo>
                  <a:lnTo>
                    <a:pt x="390" y="348"/>
                  </a:lnTo>
                  <a:lnTo>
                    <a:pt x="384" y="348"/>
                  </a:lnTo>
                  <a:lnTo>
                    <a:pt x="384" y="354"/>
                  </a:lnTo>
                  <a:lnTo>
                    <a:pt x="384" y="360"/>
                  </a:lnTo>
                  <a:lnTo>
                    <a:pt x="384" y="366"/>
                  </a:lnTo>
                  <a:lnTo>
                    <a:pt x="384" y="372"/>
                  </a:lnTo>
                  <a:lnTo>
                    <a:pt x="378" y="372"/>
                  </a:lnTo>
                  <a:lnTo>
                    <a:pt x="378" y="378"/>
                  </a:lnTo>
                  <a:lnTo>
                    <a:pt x="378" y="384"/>
                  </a:lnTo>
                  <a:lnTo>
                    <a:pt x="372" y="390"/>
                  </a:lnTo>
                  <a:lnTo>
                    <a:pt x="372" y="384"/>
                  </a:lnTo>
                  <a:lnTo>
                    <a:pt x="372" y="390"/>
                  </a:lnTo>
                  <a:lnTo>
                    <a:pt x="366" y="390"/>
                  </a:lnTo>
                  <a:lnTo>
                    <a:pt x="366" y="396"/>
                  </a:lnTo>
                  <a:lnTo>
                    <a:pt x="360" y="396"/>
                  </a:lnTo>
                  <a:lnTo>
                    <a:pt x="360" y="402"/>
                  </a:lnTo>
                  <a:lnTo>
                    <a:pt x="360" y="408"/>
                  </a:lnTo>
                  <a:lnTo>
                    <a:pt x="354" y="408"/>
                  </a:lnTo>
                  <a:lnTo>
                    <a:pt x="348" y="408"/>
                  </a:lnTo>
                  <a:lnTo>
                    <a:pt x="342" y="408"/>
                  </a:lnTo>
                  <a:lnTo>
                    <a:pt x="336" y="408"/>
                  </a:lnTo>
                  <a:lnTo>
                    <a:pt x="336" y="414"/>
                  </a:lnTo>
                  <a:lnTo>
                    <a:pt x="330" y="414"/>
                  </a:lnTo>
                  <a:lnTo>
                    <a:pt x="324" y="414"/>
                  </a:lnTo>
                  <a:lnTo>
                    <a:pt x="324" y="420"/>
                  </a:lnTo>
                  <a:lnTo>
                    <a:pt x="324" y="426"/>
                  </a:lnTo>
                  <a:lnTo>
                    <a:pt x="324" y="432"/>
                  </a:lnTo>
                  <a:lnTo>
                    <a:pt x="318" y="438"/>
                  </a:lnTo>
                  <a:lnTo>
                    <a:pt x="318" y="444"/>
                  </a:lnTo>
                  <a:lnTo>
                    <a:pt x="312" y="450"/>
                  </a:lnTo>
                  <a:lnTo>
                    <a:pt x="312" y="456"/>
                  </a:lnTo>
                  <a:lnTo>
                    <a:pt x="312" y="462"/>
                  </a:lnTo>
                  <a:lnTo>
                    <a:pt x="312" y="468"/>
                  </a:lnTo>
                  <a:lnTo>
                    <a:pt x="306" y="468"/>
                  </a:lnTo>
                  <a:lnTo>
                    <a:pt x="300" y="474"/>
                  </a:lnTo>
                  <a:lnTo>
                    <a:pt x="294" y="474"/>
                  </a:lnTo>
                  <a:lnTo>
                    <a:pt x="294" y="480"/>
                  </a:lnTo>
                  <a:lnTo>
                    <a:pt x="294" y="474"/>
                  </a:lnTo>
                  <a:lnTo>
                    <a:pt x="288" y="474"/>
                  </a:lnTo>
                  <a:lnTo>
                    <a:pt x="282" y="474"/>
                  </a:lnTo>
                  <a:lnTo>
                    <a:pt x="276" y="474"/>
                  </a:lnTo>
                  <a:lnTo>
                    <a:pt x="270" y="480"/>
                  </a:lnTo>
                  <a:lnTo>
                    <a:pt x="264" y="480"/>
                  </a:lnTo>
                  <a:lnTo>
                    <a:pt x="258" y="480"/>
                  </a:lnTo>
                  <a:lnTo>
                    <a:pt x="252" y="480"/>
                  </a:lnTo>
                  <a:lnTo>
                    <a:pt x="246" y="474"/>
                  </a:lnTo>
                  <a:lnTo>
                    <a:pt x="240" y="474"/>
                  </a:lnTo>
                  <a:lnTo>
                    <a:pt x="234" y="474"/>
                  </a:lnTo>
                  <a:lnTo>
                    <a:pt x="234" y="468"/>
                  </a:lnTo>
                  <a:lnTo>
                    <a:pt x="228" y="468"/>
                  </a:lnTo>
                  <a:lnTo>
                    <a:pt x="222" y="468"/>
                  </a:lnTo>
                  <a:lnTo>
                    <a:pt x="216" y="468"/>
                  </a:lnTo>
                  <a:lnTo>
                    <a:pt x="210" y="468"/>
                  </a:lnTo>
                  <a:lnTo>
                    <a:pt x="210" y="462"/>
                  </a:lnTo>
                  <a:lnTo>
                    <a:pt x="204" y="462"/>
                  </a:lnTo>
                  <a:lnTo>
                    <a:pt x="204" y="456"/>
                  </a:lnTo>
                  <a:lnTo>
                    <a:pt x="198" y="456"/>
                  </a:lnTo>
                  <a:lnTo>
                    <a:pt x="198" y="450"/>
                  </a:lnTo>
                  <a:lnTo>
                    <a:pt x="198" y="456"/>
                  </a:lnTo>
                  <a:lnTo>
                    <a:pt x="198" y="450"/>
                  </a:lnTo>
                  <a:lnTo>
                    <a:pt x="192" y="450"/>
                  </a:lnTo>
                  <a:lnTo>
                    <a:pt x="192" y="444"/>
                  </a:lnTo>
                  <a:lnTo>
                    <a:pt x="186" y="450"/>
                  </a:lnTo>
                  <a:lnTo>
                    <a:pt x="186" y="444"/>
                  </a:lnTo>
                  <a:lnTo>
                    <a:pt x="180" y="450"/>
                  </a:lnTo>
                  <a:lnTo>
                    <a:pt x="180" y="444"/>
                  </a:lnTo>
                  <a:lnTo>
                    <a:pt x="180" y="450"/>
                  </a:lnTo>
                  <a:lnTo>
                    <a:pt x="180" y="444"/>
                  </a:lnTo>
                  <a:lnTo>
                    <a:pt x="174" y="444"/>
                  </a:lnTo>
                  <a:lnTo>
                    <a:pt x="174" y="450"/>
                  </a:lnTo>
                  <a:lnTo>
                    <a:pt x="168" y="450"/>
                  </a:lnTo>
                  <a:lnTo>
                    <a:pt x="162" y="450"/>
                  </a:lnTo>
                  <a:lnTo>
                    <a:pt x="162" y="456"/>
                  </a:lnTo>
                  <a:lnTo>
                    <a:pt x="156" y="456"/>
                  </a:lnTo>
                  <a:lnTo>
                    <a:pt x="162" y="456"/>
                  </a:lnTo>
                  <a:lnTo>
                    <a:pt x="162" y="462"/>
                  </a:lnTo>
                  <a:lnTo>
                    <a:pt x="156" y="462"/>
                  </a:lnTo>
                  <a:lnTo>
                    <a:pt x="156" y="456"/>
                  </a:lnTo>
                  <a:lnTo>
                    <a:pt x="156" y="462"/>
                  </a:lnTo>
                  <a:lnTo>
                    <a:pt x="156" y="468"/>
                  </a:lnTo>
                  <a:lnTo>
                    <a:pt x="156" y="474"/>
                  </a:lnTo>
                  <a:lnTo>
                    <a:pt x="150" y="474"/>
                  </a:lnTo>
                  <a:lnTo>
                    <a:pt x="150" y="480"/>
                  </a:lnTo>
                  <a:lnTo>
                    <a:pt x="150" y="486"/>
                  </a:lnTo>
                  <a:lnTo>
                    <a:pt x="150" y="492"/>
                  </a:lnTo>
                  <a:lnTo>
                    <a:pt x="144" y="492"/>
                  </a:lnTo>
                  <a:lnTo>
                    <a:pt x="144" y="498"/>
                  </a:lnTo>
                  <a:lnTo>
                    <a:pt x="144" y="504"/>
                  </a:lnTo>
                  <a:lnTo>
                    <a:pt x="138" y="504"/>
                  </a:lnTo>
                  <a:lnTo>
                    <a:pt x="132" y="504"/>
                  </a:lnTo>
                  <a:lnTo>
                    <a:pt x="132" y="510"/>
                  </a:lnTo>
                  <a:lnTo>
                    <a:pt x="126" y="510"/>
                  </a:lnTo>
                  <a:lnTo>
                    <a:pt x="126" y="516"/>
                  </a:lnTo>
                  <a:lnTo>
                    <a:pt x="120" y="516"/>
                  </a:lnTo>
                  <a:lnTo>
                    <a:pt x="120" y="522"/>
                  </a:lnTo>
                  <a:lnTo>
                    <a:pt x="114" y="522"/>
                  </a:lnTo>
                  <a:lnTo>
                    <a:pt x="114" y="528"/>
                  </a:lnTo>
                  <a:lnTo>
                    <a:pt x="108" y="534"/>
                  </a:lnTo>
                  <a:lnTo>
                    <a:pt x="102" y="534"/>
                  </a:lnTo>
                  <a:lnTo>
                    <a:pt x="96" y="534"/>
                  </a:lnTo>
                  <a:lnTo>
                    <a:pt x="96" y="540"/>
                  </a:lnTo>
                  <a:lnTo>
                    <a:pt x="90" y="546"/>
                  </a:lnTo>
                  <a:lnTo>
                    <a:pt x="84" y="546"/>
                  </a:lnTo>
                  <a:lnTo>
                    <a:pt x="78" y="546"/>
                  </a:lnTo>
                  <a:lnTo>
                    <a:pt x="78" y="540"/>
                  </a:lnTo>
                  <a:lnTo>
                    <a:pt x="72" y="540"/>
                  </a:lnTo>
                  <a:lnTo>
                    <a:pt x="72" y="546"/>
                  </a:lnTo>
                  <a:lnTo>
                    <a:pt x="66" y="546"/>
                  </a:lnTo>
                  <a:lnTo>
                    <a:pt x="60" y="546"/>
                  </a:lnTo>
                  <a:lnTo>
                    <a:pt x="54" y="546"/>
                  </a:lnTo>
                  <a:lnTo>
                    <a:pt x="54" y="540"/>
                  </a:lnTo>
                  <a:lnTo>
                    <a:pt x="48" y="540"/>
                  </a:lnTo>
                  <a:lnTo>
                    <a:pt x="42" y="540"/>
                  </a:lnTo>
                  <a:lnTo>
                    <a:pt x="42" y="546"/>
                  </a:lnTo>
                  <a:lnTo>
                    <a:pt x="36" y="546"/>
                  </a:lnTo>
                  <a:lnTo>
                    <a:pt x="36" y="540"/>
                  </a:lnTo>
                  <a:lnTo>
                    <a:pt x="30" y="540"/>
                  </a:lnTo>
                  <a:lnTo>
                    <a:pt x="36" y="540"/>
                  </a:lnTo>
                  <a:lnTo>
                    <a:pt x="30" y="540"/>
                  </a:lnTo>
                  <a:lnTo>
                    <a:pt x="36" y="534"/>
                  </a:lnTo>
                  <a:lnTo>
                    <a:pt x="30" y="534"/>
                  </a:lnTo>
                  <a:lnTo>
                    <a:pt x="36" y="534"/>
                  </a:lnTo>
                  <a:lnTo>
                    <a:pt x="30" y="528"/>
                  </a:lnTo>
                  <a:lnTo>
                    <a:pt x="36" y="528"/>
                  </a:lnTo>
                  <a:lnTo>
                    <a:pt x="30" y="528"/>
                  </a:lnTo>
                  <a:lnTo>
                    <a:pt x="30" y="522"/>
                  </a:lnTo>
                  <a:lnTo>
                    <a:pt x="30" y="516"/>
                  </a:lnTo>
                  <a:lnTo>
                    <a:pt x="36" y="516"/>
                  </a:lnTo>
                  <a:lnTo>
                    <a:pt x="36" y="510"/>
                  </a:lnTo>
                  <a:lnTo>
                    <a:pt x="42" y="510"/>
                  </a:lnTo>
                  <a:lnTo>
                    <a:pt x="42" y="504"/>
                  </a:lnTo>
                  <a:lnTo>
                    <a:pt x="48" y="498"/>
                  </a:lnTo>
                  <a:lnTo>
                    <a:pt x="42" y="498"/>
                  </a:lnTo>
                  <a:lnTo>
                    <a:pt x="42" y="492"/>
                  </a:lnTo>
                  <a:lnTo>
                    <a:pt x="42" y="486"/>
                  </a:lnTo>
                  <a:lnTo>
                    <a:pt x="42" y="480"/>
                  </a:lnTo>
                  <a:lnTo>
                    <a:pt x="36" y="474"/>
                  </a:lnTo>
                  <a:lnTo>
                    <a:pt x="36" y="468"/>
                  </a:lnTo>
                  <a:lnTo>
                    <a:pt x="36" y="462"/>
                  </a:lnTo>
                  <a:lnTo>
                    <a:pt x="30" y="462"/>
                  </a:lnTo>
                  <a:lnTo>
                    <a:pt x="36" y="462"/>
                  </a:lnTo>
                  <a:lnTo>
                    <a:pt x="36" y="456"/>
                  </a:lnTo>
                  <a:lnTo>
                    <a:pt x="30" y="456"/>
                  </a:lnTo>
                  <a:lnTo>
                    <a:pt x="30" y="450"/>
                  </a:lnTo>
                  <a:lnTo>
                    <a:pt x="24" y="450"/>
                  </a:lnTo>
                  <a:lnTo>
                    <a:pt x="30" y="450"/>
                  </a:lnTo>
                  <a:lnTo>
                    <a:pt x="30" y="444"/>
                  </a:lnTo>
                  <a:lnTo>
                    <a:pt x="30" y="450"/>
                  </a:lnTo>
                  <a:lnTo>
                    <a:pt x="24" y="444"/>
                  </a:lnTo>
                  <a:lnTo>
                    <a:pt x="24" y="438"/>
                  </a:lnTo>
                  <a:lnTo>
                    <a:pt x="18" y="438"/>
                  </a:lnTo>
                  <a:lnTo>
                    <a:pt x="24" y="438"/>
                  </a:lnTo>
                  <a:lnTo>
                    <a:pt x="18" y="432"/>
                  </a:lnTo>
                  <a:lnTo>
                    <a:pt x="18" y="426"/>
                  </a:lnTo>
                  <a:lnTo>
                    <a:pt x="12" y="426"/>
                  </a:lnTo>
                  <a:lnTo>
                    <a:pt x="6" y="426"/>
                  </a:lnTo>
                  <a:lnTo>
                    <a:pt x="6" y="420"/>
                  </a:lnTo>
                  <a:lnTo>
                    <a:pt x="0" y="420"/>
                  </a:lnTo>
                  <a:lnTo>
                    <a:pt x="0" y="414"/>
                  </a:lnTo>
                  <a:lnTo>
                    <a:pt x="0" y="408"/>
                  </a:lnTo>
                  <a:lnTo>
                    <a:pt x="0" y="402"/>
                  </a:lnTo>
                  <a:lnTo>
                    <a:pt x="0" y="396"/>
                  </a:lnTo>
                  <a:lnTo>
                    <a:pt x="0" y="390"/>
                  </a:lnTo>
                  <a:lnTo>
                    <a:pt x="0" y="384"/>
                  </a:lnTo>
                  <a:lnTo>
                    <a:pt x="0" y="378"/>
                  </a:lnTo>
                  <a:lnTo>
                    <a:pt x="0" y="372"/>
                  </a:lnTo>
                  <a:lnTo>
                    <a:pt x="0" y="366"/>
                  </a:lnTo>
                  <a:lnTo>
                    <a:pt x="0" y="360"/>
                  </a:lnTo>
                  <a:lnTo>
                    <a:pt x="0" y="354"/>
                  </a:lnTo>
                  <a:lnTo>
                    <a:pt x="0" y="348"/>
                  </a:lnTo>
                  <a:lnTo>
                    <a:pt x="0" y="342"/>
                  </a:lnTo>
                  <a:lnTo>
                    <a:pt x="0" y="336"/>
                  </a:lnTo>
                  <a:lnTo>
                    <a:pt x="0" y="330"/>
                  </a:lnTo>
                  <a:lnTo>
                    <a:pt x="0" y="324"/>
                  </a:lnTo>
                  <a:lnTo>
                    <a:pt x="0"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54" y="246"/>
                  </a:lnTo>
                  <a:lnTo>
                    <a:pt x="54" y="186"/>
                  </a:lnTo>
                  <a:lnTo>
                    <a:pt x="54" y="126"/>
                  </a:lnTo>
                  <a:lnTo>
                    <a:pt x="54" y="78"/>
                  </a:lnTo>
                  <a:lnTo>
                    <a:pt x="54" y="30"/>
                  </a:lnTo>
                  <a:lnTo>
                    <a:pt x="78" y="30"/>
                  </a:lnTo>
                  <a:lnTo>
                    <a:pt x="162" y="12"/>
                  </a:lnTo>
                  <a:lnTo>
                    <a:pt x="168" y="12"/>
                  </a:lnTo>
                  <a:lnTo>
                    <a:pt x="174" y="12"/>
                  </a:lnTo>
                  <a:lnTo>
                    <a:pt x="180" y="12"/>
                  </a:lnTo>
                  <a:lnTo>
                    <a:pt x="186" y="12"/>
                  </a:lnTo>
                  <a:lnTo>
                    <a:pt x="180" y="12"/>
                  </a:lnTo>
                  <a:lnTo>
                    <a:pt x="186" y="18"/>
                  </a:lnTo>
                  <a:lnTo>
                    <a:pt x="186" y="24"/>
                  </a:lnTo>
                  <a:lnTo>
                    <a:pt x="192" y="24"/>
                  </a:lnTo>
                  <a:lnTo>
                    <a:pt x="192" y="30"/>
                  </a:lnTo>
                  <a:lnTo>
                    <a:pt x="198" y="30"/>
                  </a:lnTo>
                  <a:lnTo>
                    <a:pt x="198" y="36"/>
                  </a:lnTo>
                  <a:lnTo>
                    <a:pt x="198" y="42"/>
                  </a:lnTo>
                  <a:lnTo>
                    <a:pt x="204" y="36"/>
                  </a:lnTo>
                  <a:lnTo>
                    <a:pt x="210" y="36"/>
                  </a:lnTo>
                  <a:lnTo>
                    <a:pt x="210" y="30"/>
                  </a:lnTo>
                  <a:lnTo>
                    <a:pt x="216" y="30"/>
                  </a:lnTo>
                  <a:lnTo>
                    <a:pt x="216" y="24"/>
                  </a:lnTo>
                  <a:lnTo>
                    <a:pt x="222" y="24"/>
                  </a:lnTo>
                  <a:lnTo>
                    <a:pt x="222" y="18"/>
                  </a:lnTo>
                  <a:lnTo>
                    <a:pt x="228" y="18"/>
                  </a:lnTo>
                  <a:lnTo>
                    <a:pt x="228" y="12"/>
                  </a:lnTo>
                  <a:lnTo>
                    <a:pt x="234" y="12"/>
                  </a:lnTo>
                  <a:lnTo>
                    <a:pt x="240" y="12"/>
                  </a:lnTo>
                  <a:lnTo>
                    <a:pt x="240" y="6"/>
                  </a:lnTo>
                  <a:lnTo>
                    <a:pt x="246" y="6"/>
                  </a:lnTo>
                  <a:lnTo>
                    <a:pt x="246" y="12"/>
                  </a:lnTo>
                  <a:lnTo>
                    <a:pt x="252" y="12"/>
                  </a:lnTo>
                  <a:lnTo>
                    <a:pt x="258" y="12"/>
                  </a:lnTo>
                  <a:lnTo>
                    <a:pt x="258" y="6"/>
                  </a:lnTo>
                  <a:lnTo>
                    <a:pt x="264" y="6"/>
                  </a:lnTo>
                  <a:lnTo>
                    <a:pt x="258" y="6"/>
                  </a:lnTo>
                  <a:lnTo>
                    <a:pt x="264" y="6"/>
                  </a:lnTo>
                  <a:lnTo>
                    <a:pt x="264" y="0"/>
                  </a:lnTo>
                  <a:lnTo>
                    <a:pt x="264" y="6"/>
                  </a:lnTo>
                  <a:lnTo>
                    <a:pt x="264" y="0"/>
                  </a:lnTo>
                  <a:lnTo>
                    <a:pt x="270" y="0"/>
                  </a:lnTo>
                  <a:lnTo>
                    <a:pt x="276" y="0"/>
                  </a:lnTo>
                  <a:lnTo>
                    <a:pt x="282" y="0"/>
                  </a:lnTo>
                  <a:lnTo>
                    <a:pt x="276" y="0"/>
                  </a:lnTo>
                  <a:lnTo>
                    <a:pt x="282" y="0"/>
                  </a:lnTo>
                  <a:lnTo>
                    <a:pt x="288" y="0"/>
                  </a:lnTo>
                  <a:lnTo>
                    <a:pt x="294" y="0"/>
                  </a:lnTo>
                  <a:lnTo>
                    <a:pt x="288" y="0"/>
                  </a:lnTo>
                  <a:lnTo>
                    <a:pt x="288" y="6"/>
                  </a:lnTo>
                  <a:lnTo>
                    <a:pt x="294" y="6"/>
                  </a:lnTo>
                  <a:lnTo>
                    <a:pt x="294" y="12"/>
                  </a:lnTo>
                  <a:lnTo>
                    <a:pt x="294" y="18"/>
                  </a:lnTo>
                  <a:lnTo>
                    <a:pt x="300" y="18"/>
                  </a:lnTo>
                  <a:lnTo>
                    <a:pt x="300" y="24"/>
                  </a:lnTo>
                  <a:lnTo>
                    <a:pt x="306" y="30"/>
                  </a:lnTo>
                  <a:lnTo>
                    <a:pt x="306" y="36"/>
                  </a:lnTo>
                  <a:lnTo>
                    <a:pt x="312" y="36"/>
                  </a:lnTo>
                  <a:lnTo>
                    <a:pt x="312" y="42"/>
                  </a:lnTo>
                  <a:lnTo>
                    <a:pt x="318" y="48"/>
                  </a:lnTo>
                  <a:lnTo>
                    <a:pt x="318" y="54"/>
                  </a:lnTo>
                  <a:lnTo>
                    <a:pt x="324" y="60"/>
                  </a:lnTo>
                  <a:lnTo>
                    <a:pt x="330" y="66"/>
                  </a:lnTo>
                  <a:lnTo>
                    <a:pt x="330" y="72"/>
                  </a:lnTo>
                  <a:lnTo>
                    <a:pt x="330" y="78"/>
                  </a:lnTo>
                  <a:lnTo>
                    <a:pt x="336" y="78"/>
                  </a:lnTo>
                  <a:lnTo>
                    <a:pt x="336" y="84"/>
                  </a:lnTo>
                  <a:lnTo>
                    <a:pt x="336" y="90"/>
                  </a:lnTo>
                  <a:lnTo>
                    <a:pt x="336" y="96"/>
                  </a:lnTo>
                  <a:lnTo>
                    <a:pt x="342" y="96"/>
                  </a:lnTo>
                  <a:lnTo>
                    <a:pt x="342" y="102"/>
                  </a:lnTo>
                  <a:lnTo>
                    <a:pt x="348" y="102"/>
                  </a:lnTo>
                  <a:lnTo>
                    <a:pt x="354" y="108"/>
                  </a:lnTo>
                  <a:lnTo>
                    <a:pt x="348" y="108"/>
                  </a:lnTo>
                  <a:lnTo>
                    <a:pt x="354" y="108"/>
                  </a:lnTo>
                  <a:lnTo>
                    <a:pt x="354" y="114"/>
                  </a:lnTo>
                  <a:lnTo>
                    <a:pt x="360" y="114"/>
                  </a:lnTo>
                  <a:lnTo>
                    <a:pt x="366" y="114"/>
                  </a:lnTo>
                  <a:lnTo>
                    <a:pt x="366" y="120"/>
                  </a:lnTo>
                  <a:lnTo>
                    <a:pt x="372" y="120"/>
                  </a:lnTo>
                  <a:lnTo>
                    <a:pt x="372" y="126"/>
                  </a:lnTo>
                  <a:lnTo>
                    <a:pt x="378" y="126"/>
                  </a:lnTo>
                  <a:lnTo>
                    <a:pt x="384" y="126"/>
                  </a:lnTo>
                  <a:lnTo>
                    <a:pt x="384" y="132"/>
                  </a:lnTo>
                  <a:lnTo>
                    <a:pt x="390" y="132"/>
                  </a:lnTo>
                  <a:lnTo>
                    <a:pt x="396" y="132"/>
                  </a:lnTo>
                  <a:lnTo>
                    <a:pt x="402" y="132"/>
                  </a:lnTo>
                  <a:lnTo>
                    <a:pt x="402" y="138"/>
                  </a:lnTo>
                  <a:lnTo>
                    <a:pt x="402" y="144"/>
                  </a:lnTo>
                  <a:lnTo>
                    <a:pt x="402" y="150"/>
                  </a:lnTo>
                  <a:lnTo>
                    <a:pt x="402" y="156"/>
                  </a:lnTo>
                  <a:lnTo>
                    <a:pt x="408" y="156"/>
                  </a:lnTo>
                  <a:lnTo>
                    <a:pt x="414" y="156"/>
                  </a:lnTo>
                  <a:lnTo>
                    <a:pt x="420" y="156"/>
                  </a:lnTo>
                  <a:lnTo>
                    <a:pt x="426" y="156"/>
                  </a:lnTo>
                  <a:lnTo>
                    <a:pt x="426" y="162"/>
                  </a:lnTo>
                  <a:lnTo>
                    <a:pt x="426" y="168"/>
                  </a:lnTo>
                  <a:lnTo>
                    <a:pt x="426" y="174"/>
                  </a:lnTo>
                  <a:lnTo>
                    <a:pt x="426" y="180"/>
                  </a:lnTo>
                  <a:lnTo>
                    <a:pt x="426" y="186"/>
                  </a:lnTo>
                  <a:lnTo>
                    <a:pt x="426" y="192"/>
                  </a:lnTo>
                  <a:lnTo>
                    <a:pt x="426" y="198"/>
                  </a:lnTo>
                  <a:lnTo>
                    <a:pt x="432" y="198"/>
                  </a:lnTo>
                  <a:lnTo>
                    <a:pt x="432" y="204"/>
                  </a:lnTo>
                  <a:lnTo>
                    <a:pt x="438" y="204"/>
                  </a:lnTo>
                  <a:lnTo>
                    <a:pt x="438" y="210"/>
                  </a:lnTo>
                  <a:lnTo>
                    <a:pt x="438" y="216"/>
                  </a:lnTo>
                  <a:lnTo>
                    <a:pt x="444" y="216"/>
                  </a:lnTo>
                  <a:lnTo>
                    <a:pt x="438" y="216"/>
                  </a:lnTo>
                  <a:lnTo>
                    <a:pt x="444" y="216"/>
                  </a:lnTo>
                  <a:lnTo>
                    <a:pt x="444" y="222"/>
                  </a:lnTo>
                  <a:lnTo>
                    <a:pt x="450" y="222"/>
                  </a:lnTo>
                  <a:lnTo>
                    <a:pt x="456" y="222"/>
                  </a:lnTo>
                  <a:lnTo>
                    <a:pt x="462" y="222"/>
                  </a:lnTo>
                  <a:lnTo>
                    <a:pt x="468" y="228"/>
                  </a:lnTo>
                  <a:lnTo>
                    <a:pt x="474" y="228"/>
                  </a:lnTo>
                  <a:lnTo>
                    <a:pt x="480" y="228"/>
                  </a:lnTo>
                  <a:lnTo>
                    <a:pt x="486" y="228"/>
                  </a:lnTo>
                  <a:lnTo>
                    <a:pt x="486" y="234"/>
                  </a:lnTo>
                  <a:lnTo>
                    <a:pt x="492" y="234"/>
                  </a:lnTo>
                  <a:lnTo>
                    <a:pt x="498" y="234"/>
                  </a:lnTo>
                  <a:lnTo>
                    <a:pt x="504" y="234"/>
                  </a:lnTo>
                  <a:lnTo>
                    <a:pt x="504" y="240"/>
                  </a:lnTo>
                  <a:lnTo>
                    <a:pt x="498" y="240"/>
                  </a:lnTo>
                  <a:lnTo>
                    <a:pt x="498" y="246"/>
                  </a:lnTo>
                  <a:lnTo>
                    <a:pt x="504" y="246"/>
                  </a:lnTo>
                  <a:lnTo>
                    <a:pt x="504" y="252"/>
                  </a:lnTo>
                  <a:lnTo>
                    <a:pt x="510" y="252"/>
                  </a:lnTo>
                  <a:lnTo>
                    <a:pt x="516" y="252"/>
                  </a:lnTo>
                  <a:lnTo>
                    <a:pt x="516" y="258"/>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0" name="Freeform 53"/>
            <p:cNvSpPr>
              <a:spLocks/>
            </p:cNvSpPr>
            <p:nvPr>
              <p:custDataLst>
                <p:tags r:id="rId48"/>
              </p:custDataLst>
            </p:nvPr>
          </p:nvSpPr>
          <p:spPr bwMode="gray">
            <a:xfrm>
              <a:off x="2573893" y="4387410"/>
              <a:ext cx="399118" cy="345667"/>
            </a:xfrm>
            <a:custGeom>
              <a:avLst/>
              <a:gdLst>
                <a:gd name="T0" fmla="*/ 115139 w 438"/>
                <a:gd name="T1" fmla="*/ 138570 h 396"/>
                <a:gd name="T2" fmla="*/ 106431 w 438"/>
                <a:gd name="T3" fmla="*/ 138570 h 396"/>
                <a:gd name="T4" fmla="*/ 101594 w 438"/>
                <a:gd name="T5" fmla="*/ 140508 h 396"/>
                <a:gd name="T6" fmla="*/ 93853 w 438"/>
                <a:gd name="T7" fmla="*/ 138570 h 396"/>
                <a:gd name="T8" fmla="*/ 85146 w 438"/>
                <a:gd name="T9" fmla="*/ 136632 h 396"/>
                <a:gd name="T10" fmla="*/ 76437 w 438"/>
                <a:gd name="T11" fmla="*/ 134694 h 396"/>
                <a:gd name="T12" fmla="*/ 76437 w 438"/>
                <a:gd name="T13" fmla="*/ 127910 h 396"/>
                <a:gd name="T14" fmla="*/ 67729 w 438"/>
                <a:gd name="T15" fmla="*/ 125973 h 396"/>
                <a:gd name="T16" fmla="*/ 57086 w 438"/>
                <a:gd name="T17" fmla="*/ 124035 h 396"/>
                <a:gd name="T18" fmla="*/ 53216 w 438"/>
                <a:gd name="T19" fmla="*/ 121127 h 396"/>
                <a:gd name="T20" fmla="*/ 48378 w 438"/>
                <a:gd name="T21" fmla="*/ 115313 h 396"/>
                <a:gd name="T22" fmla="*/ 48378 w 438"/>
                <a:gd name="T23" fmla="*/ 104654 h 396"/>
                <a:gd name="T24" fmla="*/ 42573 w 438"/>
                <a:gd name="T25" fmla="*/ 100778 h 396"/>
                <a:gd name="T26" fmla="*/ 40638 w 438"/>
                <a:gd name="T27" fmla="*/ 92057 h 396"/>
                <a:gd name="T28" fmla="*/ 31929 w 438"/>
                <a:gd name="T29" fmla="*/ 90119 h 396"/>
                <a:gd name="T30" fmla="*/ 26124 w 438"/>
                <a:gd name="T31" fmla="*/ 85274 h 396"/>
                <a:gd name="T32" fmla="*/ 21286 w 438"/>
                <a:gd name="T33" fmla="*/ 81397 h 396"/>
                <a:gd name="T34" fmla="*/ 17416 w 438"/>
                <a:gd name="T35" fmla="*/ 74615 h 396"/>
                <a:gd name="T36" fmla="*/ 12578 w 438"/>
                <a:gd name="T37" fmla="*/ 65893 h 396"/>
                <a:gd name="T38" fmla="*/ 6773 w 438"/>
                <a:gd name="T39" fmla="*/ 57172 h 396"/>
                <a:gd name="T40" fmla="*/ 1935 w 438"/>
                <a:gd name="T41" fmla="*/ 49420 h 396"/>
                <a:gd name="T42" fmla="*/ 3871 w 438"/>
                <a:gd name="T43" fmla="*/ 44575 h 396"/>
                <a:gd name="T44" fmla="*/ 12578 w 438"/>
                <a:gd name="T45" fmla="*/ 46513 h 396"/>
                <a:gd name="T46" fmla="*/ 17416 w 438"/>
                <a:gd name="T47" fmla="*/ 49420 h 396"/>
                <a:gd name="T48" fmla="*/ 26124 w 438"/>
                <a:gd name="T49" fmla="*/ 46513 h 396"/>
                <a:gd name="T50" fmla="*/ 29994 w 438"/>
                <a:gd name="T51" fmla="*/ 49420 h 396"/>
                <a:gd name="T52" fmla="*/ 37735 w 438"/>
                <a:gd name="T53" fmla="*/ 44575 h 396"/>
                <a:gd name="T54" fmla="*/ 42573 w 438"/>
                <a:gd name="T55" fmla="*/ 37792 h 396"/>
                <a:gd name="T56" fmla="*/ 46443 w 438"/>
                <a:gd name="T57" fmla="*/ 31978 h 396"/>
                <a:gd name="T58" fmla="*/ 53216 w 438"/>
                <a:gd name="T59" fmla="*/ 26164 h 396"/>
                <a:gd name="T60" fmla="*/ 59989 w 438"/>
                <a:gd name="T61" fmla="*/ 21319 h 396"/>
                <a:gd name="T62" fmla="*/ 67729 w 438"/>
                <a:gd name="T63" fmla="*/ 19380 h 396"/>
                <a:gd name="T64" fmla="*/ 71599 w 438"/>
                <a:gd name="T65" fmla="*/ 12597 h 396"/>
                <a:gd name="T66" fmla="*/ 76437 w 438"/>
                <a:gd name="T67" fmla="*/ 3876 h 396"/>
                <a:gd name="T68" fmla="*/ 85146 w 438"/>
                <a:gd name="T69" fmla="*/ 0 h 396"/>
                <a:gd name="T70" fmla="*/ 95788 w 438"/>
                <a:gd name="T71" fmla="*/ 0 h 396"/>
                <a:gd name="T72" fmla="*/ 101594 w 438"/>
                <a:gd name="T73" fmla="*/ 3876 h 396"/>
                <a:gd name="T74" fmla="*/ 110302 w 438"/>
                <a:gd name="T75" fmla="*/ 6783 h 396"/>
                <a:gd name="T76" fmla="*/ 117075 w 438"/>
                <a:gd name="T77" fmla="*/ 6783 h 396"/>
                <a:gd name="T78" fmla="*/ 123848 w 438"/>
                <a:gd name="T79" fmla="*/ 10659 h 396"/>
                <a:gd name="T80" fmla="*/ 131588 w 438"/>
                <a:gd name="T81" fmla="*/ 12597 h 396"/>
                <a:gd name="T82" fmla="*/ 138361 w 438"/>
                <a:gd name="T83" fmla="*/ 17442 h 396"/>
                <a:gd name="T84" fmla="*/ 149004 w 438"/>
                <a:gd name="T85" fmla="*/ 19380 h 396"/>
                <a:gd name="T86" fmla="*/ 152875 w 438"/>
                <a:gd name="T87" fmla="*/ 21319 h 396"/>
                <a:gd name="T88" fmla="*/ 152875 w 438"/>
                <a:gd name="T89" fmla="*/ 30039 h 396"/>
                <a:gd name="T90" fmla="*/ 152875 w 438"/>
                <a:gd name="T91" fmla="*/ 36823 h 396"/>
                <a:gd name="T92" fmla="*/ 152875 w 438"/>
                <a:gd name="T93" fmla="*/ 42637 h 396"/>
                <a:gd name="T94" fmla="*/ 152875 w 438"/>
                <a:gd name="T95" fmla="*/ 53296 h 396"/>
                <a:gd name="T96" fmla="*/ 152875 w 438"/>
                <a:gd name="T97" fmla="*/ 57172 h 396"/>
                <a:gd name="T98" fmla="*/ 152875 w 438"/>
                <a:gd name="T99" fmla="*/ 63955 h 396"/>
                <a:gd name="T100" fmla="*/ 149004 w 438"/>
                <a:gd name="T101" fmla="*/ 65893 h 396"/>
                <a:gd name="T102" fmla="*/ 149004 w 438"/>
                <a:gd name="T103" fmla="*/ 70738 h 396"/>
                <a:gd name="T104" fmla="*/ 149004 w 438"/>
                <a:gd name="T105" fmla="*/ 76552 h 396"/>
                <a:gd name="T106" fmla="*/ 152875 w 438"/>
                <a:gd name="T107" fmla="*/ 83336 h 396"/>
                <a:gd name="T108" fmla="*/ 152875 w 438"/>
                <a:gd name="T109" fmla="*/ 92057 h 396"/>
                <a:gd name="T110" fmla="*/ 150939 w 438"/>
                <a:gd name="T111" fmla="*/ 95933 h 396"/>
                <a:gd name="T112" fmla="*/ 142231 w 438"/>
                <a:gd name="T113" fmla="*/ 104654 h 396"/>
                <a:gd name="T114" fmla="*/ 142231 w 438"/>
                <a:gd name="T115" fmla="*/ 113376 h 396"/>
                <a:gd name="T116" fmla="*/ 142231 w 438"/>
                <a:gd name="T117" fmla="*/ 120159 h 396"/>
                <a:gd name="T118" fmla="*/ 123848 w 438"/>
                <a:gd name="T119" fmla="*/ 138570 h 3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396">
                  <a:moveTo>
                    <a:pt x="342" y="396"/>
                  </a:moveTo>
                  <a:lnTo>
                    <a:pt x="336" y="396"/>
                  </a:lnTo>
                  <a:lnTo>
                    <a:pt x="330" y="396"/>
                  </a:lnTo>
                  <a:lnTo>
                    <a:pt x="324" y="396"/>
                  </a:lnTo>
                  <a:lnTo>
                    <a:pt x="324" y="390"/>
                  </a:lnTo>
                  <a:lnTo>
                    <a:pt x="324" y="396"/>
                  </a:lnTo>
                  <a:lnTo>
                    <a:pt x="318" y="390"/>
                  </a:lnTo>
                  <a:lnTo>
                    <a:pt x="312" y="390"/>
                  </a:lnTo>
                  <a:lnTo>
                    <a:pt x="306" y="390"/>
                  </a:lnTo>
                  <a:lnTo>
                    <a:pt x="300" y="390"/>
                  </a:lnTo>
                  <a:lnTo>
                    <a:pt x="300" y="396"/>
                  </a:lnTo>
                  <a:lnTo>
                    <a:pt x="300" y="390"/>
                  </a:lnTo>
                  <a:lnTo>
                    <a:pt x="294" y="390"/>
                  </a:lnTo>
                  <a:lnTo>
                    <a:pt x="294" y="396"/>
                  </a:lnTo>
                  <a:lnTo>
                    <a:pt x="288" y="396"/>
                  </a:lnTo>
                  <a:lnTo>
                    <a:pt x="282" y="396"/>
                  </a:lnTo>
                  <a:lnTo>
                    <a:pt x="282" y="390"/>
                  </a:lnTo>
                  <a:lnTo>
                    <a:pt x="276" y="390"/>
                  </a:lnTo>
                  <a:lnTo>
                    <a:pt x="270" y="390"/>
                  </a:lnTo>
                  <a:lnTo>
                    <a:pt x="264" y="390"/>
                  </a:lnTo>
                  <a:lnTo>
                    <a:pt x="264" y="384"/>
                  </a:lnTo>
                  <a:lnTo>
                    <a:pt x="258" y="384"/>
                  </a:lnTo>
                  <a:lnTo>
                    <a:pt x="252" y="384"/>
                  </a:lnTo>
                  <a:lnTo>
                    <a:pt x="246" y="384"/>
                  </a:lnTo>
                  <a:lnTo>
                    <a:pt x="240" y="384"/>
                  </a:lnTo>
                  <a:lnTo>
                    <a:pt x="234" y="384"/>
                  </a:lnTo>
                  <a:lnTo>
                    <a:pt x="228" y="384"/>
                  </a:lnTo>
                  <a:lnTo>
                    <a:pt x="228" y="378"/>
                  </a:lnTo>
                  <a:lnTo>
                    <a:pt x="222" y="378"/>
                  </a:lnTo>
                  <a:lnTo>
                    <a:pt x="216" y="378"/>
                  </a:lnTo>
                  <a:lnTo>
                    <a:pt x="216" y="372"/>
                  </a:lnTo>
                  <a:lnTo>
                    <a:pt x="210" y="372"/>
                  </a:lnTo>
                  <a:lnTo>
                    <a:pt x="210" y="366"/>
                  </a:lnTo>
                  <a:lnTo>
                    <a:pt x="216" y="366"/>
                  </a:lnTo>
                  <a:lnTo>
                    <a:pt x="216" y="360"/>
                  </a:lnTo>
                  <a:lnTo>
                    <a:pt x="210" y="360"/>
                  </a:lnTo>
                  <a:lnTo>
                    <a:pt x="204" y="360"/>
                  </a:lnTo>
                  <a:lnTo>
                    <a:pt x="198" y="360"/>
                  </a:lnTo>
                  <a:lnTo>
                    <a:pt x="198" y="354"/>
                  </a:lnTo>
                  <a:lnTo>
                    <a:pt x="192" y="354"/>
                  </a:lnTo>
                  <a:lnTo>
                    <a:pt x="186" y="354"/>
                  </a:lnTo>
                  <a:lnTo>
                    <a:pt x="180" y="354"/>
                  </a:lnTo>
                  <a:lnTo>
                    <a:pt x="174" y="348"/>
                  </a:lnTo>
                  <a:lnTo>
                    <a:pt x="168" y="348"/>
                  </a:lnTo>
                  <a:lnTo>
                    <a:pt x="162" y="348"/>
                  </a:lnTo>
                  <a:lnTo>
                    <a:pt x="156" y="348"/>
                  </a:lnTo>
                  <a:lnTo>
                    <a:pt x="156" y="342"/>
                  </a:lnTo>
                  <a:lnTo>
                    <a:pt x="150" y="342"/>
                  </a:lnTo>
                  <a:lnTo>
                    <a:pt x="156" y="342"/>
                  </a:lnTo>
                  <a:lnTo>
                    <a:pt x="150" y="342"/>
                  </a:lnTo>
                  <a:lnTo>
                    <a:pt x="150" y="336"/>
                  </a:lnTo>
                  <a:lnTo>
                    <a:pt x="150" y="330"/>
                  </a:lnTo>
                  <a:lnTo>
                    <a:pt x="144" y="330"/>
                  </a:lnTo>
                  <a:lnTo>
                    <a:pt x="144" y="324"/>
                  </a:lnTo>
                  <a:lnTo>
                    <a:pt x="138" y="324"/>
                  </a:lnTo>
                  <a:lnTo>
                    <a:pt x="138" y="318"/>
                  </a:lnTo>
                  <a:lnTo>
                    <a:pt x="138" y="312"/>
                  </a:lnTo>
                  <a:lnTo>
                    <a:pt x="138" y="306"/>
                  </a:lnTo>
                  <a:lnTo>
                    <a:pt x="138" y="300"/>
                  </a:lnTo>
                  <a:lnTo>
                    <a:pt x="138" y="294"/>
                  </a:lnTo>
                  <a:lnTo>
                    <a:pt x="138" y="288"/>
                  </a:lnTo>
                  <a:lnTo>
                    <a:pt x="138" y="282"/>
                  </a:lnTo>
                  <a:lnTo>
                    <a:pt x="132" y="282"/>
                  </a:lnTo>
                  <a:lnTo>
                    <a:pt x="126" y="282"/>
                  </a:lnTo>
                  <a:lnTo>
                    <a:pt x="120" y="282"/>
                  </a:lnTo>
                  <a:lnTo>
                    <a:pt x="114" y="282"/>
                  </a:lnTo>
                  <a:lnTo>
                    <a:pt x="114" y="276"/>
                  </a:lnTo>
                  <a:lnTo>
                    <a:pt x="114" y="270"/>
                  </a:lnTo>
                  <a:lnTo>
                    <a:pt x="114" y="264"/>
                  </a:lnTo>
                  <a:lnTo>
                    <a:pt x="114" y="258"/>
                  </a:lnTo>
                  <a:lnTo>
                    <a:pt x="108" y="258"/>
                  </a:lnTo>
                  <a:lnTo>
                    <a:pt x="102" y="258"/>
                  </a:lnTo>
                  <a:lnTo>
                    <a:pt x="96" y="258"/>
                  </a:lnTo>
                  <a:lnTo>
                    <a:pt x="96" y="252"/>
                  </a:lnTo>
                  <a:lnTo>
                    <a:pt x="90" y="252"/>
                  </a:lnTo>
                  <a:lnTo>
                    <a:pt x="84" y="252"/>
                  </a:lnTo>
                  <a:lnTo>
                    <a:pt x="84" y="246"/>
                  </a:lnTo>
                  <a:lnTo>
                    <a:pt x="78" y="246"/>
                  </a:lnTo>
                  <a:lnTo>
                    <a:pt x="78" y="240"/>
                  </a:lnTo>
                  <a:lnTo>
                    <a:pt x="72" y="240"/>
                  </a:lnTo>
                  <a:lnTo>
                    <a:pt x="66" y="240"/>
                  </a:lnTo>
                  <a:lnTo>
                    <a:pt x="66" y="234"/>
                  </a:lnTo>
                  <a:lnTo>
                    <a:pt x="60" y="234"/>
                  </a:lnTo>
                  <a:lnTo>
                    <a:pt x="66" y="234"/>
                  </a:lnTo>
                  <a:lnTo>
                    <a:pt x="60" y="228"/>
                  </a:lnTo>
                  <a:lnTo>
                    <a:pt x="54" y="228"/>
                  </a:lnTo>
                  <a:lnTo>
                    <a:pt x="54" y="222"/>
                  </a:lnTo>
                  <a:lnTo>
                    <a:pt x="48" y="222"/>
                  </a:lnTo>
                  <a:lnTo>
                    <a:pt x="48" y="216"/>
                  </a:lnTo>
                  <a:lnTo>
                    <a:pt x="48" y="210"/>
                  </a:lnTo>
                  <a:lnTo>
                    <a:pt x="48" y="204"/>
                  </a:lnTo>
                  <a:lnTo>
                    <a:pt x="42" y="204"/>
                  </a:lnTo>
                  <a:lnTo>
                    <a:pt x="42" y="198"/>
                  </a:lnTo>
                  <a:lnTo>
                    <a:pt x="42" y="192"/>
                  </a:lnTo>
                  <a:lnTo>
                    <a:pt x="36" y="186"/>
                  </a:lnTo>
                  <a:lnTo>
                    <a:pt x="30" y="180"/>
                  </a:lnTo>
                  <a:lnTo>
                    <a:pt x="30" y="174"/>
                  </a:lnTo>
                  <a:lnTo>
                    <a:pt x="24" y="168"/>
                  </a:lnTo>
                  <a:lnTo>
                    <a:pt x="24" y="162"/>
                  </a:lnTo>
                  <a:lnTo>
                    <a:pt x="18" y="162"/>
                  </a:lnTo>
                  <a:lnTo>
                    <a:pt x="18" y="156"/>
                  </a:lnTo>
                  <a:lnTo>
                    <a:pt x="12" y="150"/>
                  </a:lnTo>
                  <a:lnTo>
                    <a:pt x="12" y="144"/>
                  </a:lnTo>
                  <a:lnTo>
                    <a:pt x="6" y="144"/>
                  </a:lnTo>
                  <a:lnTo>
                    <a:pt x="6" y="138"/>
                  </a:lnTo>
                  <a:lnTo>
                    <a:pt x="6" y="132"/>
                  </a:lnTo>
                  <a:lnTo>
                    <a:pt x="0" y="132"/>
                  </a:lnTo>
                  <a:lnTo>
                    <a:pt x="0" y="126"/>
                  </a:lnTo>
                  <a:lnTo>
                    <a:pt x="6" y="126"/>
                  </a:lnTo>
                  <a:lnTo>
                    <a:pt x="12" y="126"/>
                  </a:lnTo>
                  <a:lnTo>
                    <a:pt x="18" y="126"/>
                  </a:lnTo>
                  <a:lnTo>
                    <a:pt x="24" y="126"/>
                  </a:lnTo>
                  <a:lnTo>
                    <a:pt x="30" y="126"/>
                  </a:lnTo>
                  <a:lnTo>
                    <a:pt x="30" y="132"/>
                  </a:lnTo>
                  <a:lnTo>
                    <a:pt x="36" y="132"/>
                  </a:lnTo>
                  <a:lnTo>
                    <a:pt x="36" y="138"/>
                  </a:lnTo>
                  <a:lnTo>
                    <a:pt x="42" y="138"/>
                  </a:lnTo>
                  <a:lnTo>
                    <a:pt x="48" y="138"/>
                  </a:lnTo>
                  <a:lnTo>
                    <a:pt x="48" y="132"/>
                  </a:lnTo>
                  <a:lnTo>
                    <a:pt x="48" y="138"/>
                  </a:lnTo>
                  <a:lnTo>
                    <a:pt x="48" y="132"/>
                  </a:lnTo>
                  <a:lnTo>
                    <a:pt x="54" y="132"/>
                  </a:lnTo>
                  <a:lnTo>
                    <a:pt x="60" y="132"/>
                  </a:lnTo>
                  <a:lnTo>
                    <a:pt x="66" y="132"/>
                  </a:lnTo>
                  <a:lnTo>
                    <a:pt x="72" y="132"/>
                  </a:lnTo>
                  <a:lnTo>
                    <a:pt x="72" y="138"/>
                  </a:lnTo>
                  <a:lnTo>
                    <a:pt x="78" y="138"/>
                  </a:lnTo>
                  <a:lnTo>
                    <a:pt x="84" y="138"/>
                  </a:lnTo>
                  <a:lnTo>
                    <a:pt x="84" y="144"/>
                  </a:lnTo>
                  <a:lnTo>
                    <a:pt x="84" y="138"/>
                  </a:lnTo>
                  <a:lnTo>
                    <a:pt x="90" y="138"/>
                  </a:lnTo>
                  <a:lnTo>
                    <a:pt x="96" y="138"/>
                  </a:lnTo>
                  <a:lnTo>
                    <a:pt x="96" y="132"/>
                  </a:lnTo>
                  <a:lnTo>
                    <a:pt x="102" y="132"/>
                  </a:lnTo>
                  <a:lnTo>
                    <a:pt x="108" y="126"/>
                  </a:lnTo>
                  <a:lnTo>
                    <a:pt x="108" y="120"/>
                  </a:lnTo>
                  <a:lnTo>
                    <a:pt x="114" y="120"/>
                  </a:lnTo>
                  <a:lnTo>
                    <a:pt x="114" y="114"/>
                  </a:lnTo>
                  <a:lnTo>
                    <a:pt x="120" y="114"/>
                  </a:lnTo>
                  <a:lnTo>
                    <a:pt x="120" y="108"/>
                  </a:lnTo>
                  <a:lnTo>
                    <a:pt x="126" y="108"/>
                  </a:lnTo>
                  <a:lnTo>
                    <a:pt x="126" y="102"/>
                  </a:lnTo>
                  <a:lnTo>
                    <a:pt x="132" y="102"/>
                  </a:lnTo>
                  <a:lnTo>
                    <a:pt x="132" y="96"/>
                  </a:lnTo>
                  <a:lnTo>
                    <a:pt x="132" y="90"/>
                  </a:lnTo>
                  <a:lnTo>
                    <a:pt x="138" y="90"/>
                  </a:lnTo>
                  <a:lnTo>
                    <a:pt x="138" y="84"/>
                  </a:lnTo>
                  <a:lnTo>
                    <a:pt x="144" y="84"/>
                  </a:lnTo>
                  <a:lnTo>
                    <a:pt x="144" y="78"/>
                  </a:lnTo>
                  <a:lnTo>
                    <a:pt x="150" y="72"/>
                  </a:lnTo>
                  <a:lnTo>
                    <a:pt x="156" y="72"/>
                  </a:lnTo>
                  <a:lnTo>
                    <a:pt x="162" y="72"/>
                  </a:lnTo>
                  <a:lnTo>
                    <a:pt x="162" y="66"/>
                  </a:lnTo>
                  <a:lnTo>
                    <a:pt x="168" y="66"/>
                  </a:lnTo>
                  <a:lnTo>
                    <a:pt x="168" y="60"/>
                  </a:lnTo>
                  <a:lnTo>
                    <a:pt x="174" y="60"/>
                  </a:lnTo>
                  <a:lnTo>
                    <a:pt x="180" y="60"/>
                  </a:lnTo>
                  <a:lnTo>
                    <a:pt x="180" y="54"/>
                  </a:lnTo>
                  <a:lnTo>
                    <a:pt x="186" y="54"/>
                  </a:lnTo>
                  <a:lnTo>
                    <a:pt x="192" y="54"/>
                  </a:lnTo>
                  <a:lnTo>
                    <a:pt x="198" y="54"/>
                  </a:lnTo>
                  <a:lnTo>
                    <a:pt x="198" y="48"/>
                  </a:lnTo>
                  <a:lnTo>
                    <a:pt x="204" y="42"/>
                  </a:lnTo>
                  <a:lnTo>
                    <a:pt x="198" y="36"/>
                  </a:lnTo>
                  <a:lnTo>
                    <a:pt x="204" y="36"/>
                  </a:lnTo>
                  <a:lnTo>
                    <a:pt x="204" y="30"/>
                  </a:lnTo>
                  <a:lnTo>
                    <a:pt x="204" y="24"/>
                  </a:lnTo>
                  <a:lnTo>
                    <a:pt x="204" y="18"/>
                  </a:lnTo>
                  <a:lnTo>
                    <a:pt x="210" y="18"/>
                  </a:lnTo>
                  <a:lnTo>
                    <a:pt x="216" y="12"/>
                  </a:lnTo>
                  <a:lnTo>
                    <a:pt x="222" y="6"/>
                  </a:lnTo>
                  <a:lnTo>
                    <a:pt x="228" y="6"/>
                  </a:lnTo>
                  <a:lnTo>
                    <a:pt x="234" y="6"/>
                  </a:lnTo>
                  <a:lnTo>
                    <a:pt x="234" y="0"/>
                  </a:lnTo>
                  <a:lnTo>
                    <a:pt x="240" y="0"/>
                  </a:lnTo>
                  <a:lnTo>
                    <a:pt x="246" y="0"/>
                  </a:lnTo>
                  <a:lnTo>
                    <a:pt x="252" y="0"/>
                  </a:lnTo>
                  <a:lnTo>
                    <a:pt x="258" y="0"/>
                  </a:lnTo>
                  <a:lnTo>
                    <a:pt x="264" y="0"/>
                  </a:lnTo>
                  <a:lnTo>
                    <a:pt x="270" y="0"/>
                  </a:lnTo>
                  <a:lnTo>
                    <a:pt x="276" y="0"/>
                  </a:lnTo>
                  <a:lnTo>
                    <a:pt x="282" y="0"/>
                  </a:lnTo>
                  <a:lnTo>
                    <a:pt x="288" y="0"/>
                  </a:lnTo>
                  <a:lnTo>
                    <a:pt x="288" y="6"/>
                  </a:lnTo>
                  <a:lnTo>
                    <a:pt x="288" y="12"/>
                  </a:lnTo>
                  <a:lnTo>
                    <a:pt x="288" y="18"/>
                  </a:lnTo>
                  <a:lnTo>
                    <a:pt x="294" y="18"/>
                  </a:lnTo>
                  <a:lnTo>
                    <a:pt x="300" y="18"/>
                  </a:lnTo>
                  <a:lnTo>
                    <a:pt x="306" y="18"/>
                  </a:lnTo>
                  <a:lnTo>
                    <a:pt x="312" y="18"/>
                  </a:lnTo>
                  <a:lnTo>
                    <a:pt x="318" y="18"/>
                  </a:lnTo>
                  <a:lnTo>
                    <a:pt x="318" y="24"/>
                  </a:lnTo>
                  <a:lnTo>
                    <a:pt x="324" y="24"/>
                  </a:lnTo>
                  <a:lnTo>
                    <a:pt x="324" y="18"/>
                  </a:lnTo>
                  <a:lnTo>
                    <a:pt x="330" y="18"/>
                  </a:lnTo>
                  <a:lnTo>
                    <a:pt x="336" y="18"/>
                  </a:lnTo>
                  <a:lnTo>
                    <a:pt x="336" y="24"/>
                  </a:lnTo>
                  <a:lnTo>
                    <a:pt x="342" y="24"/>
                  </a:lnTo>
                  <a:lnTo>
                    <a:pt x="342" y="30"/>
                  </a:lnTo>
                  <a:lnTo>
                    <a:pt x="348" y="30"/>
                  </a:lnTo>
                  <a:lnTo>
                    <a:pt x="354" y="30"/>
                  </a:lnTo>
                  <a:lnTo>
                    <a:pt x="360" y="30"/>
                  </a:lnTo>
                  <a:lnTo>
                    <a:pt x="360" y="36"/>
                  </a:lnTo>
                  <a:lnTo>
                    <a:pt x="366" y="36"/>
                  </a:lnTo>
                  <a:lnTo>
                    <a:pt x="372" y="36"/>
                  </a:lnTo>
                  <a:lnTo>
                    <a:pt x="372" y="42"/>
                  </a:lnTo>
                  <a:lnTo>
                    <a:pt x="378" y="42"/>
                  </a:lnTo>
                  <a:lnTo>
                    <a:pt x="378" y="48"/>
                  </a:lnTo>
                  <a:lnTo>
                    <a:pt x="384" y="48"/>
                  </a:lnTo>
                  <a:lnTo>
                    <a:pt x="390" y="48"/>
                  </a:lnTo>
                  <a:lnTo>
                    <a:pt x="396" y="48"/>
                  </a:lnTo>
                  <a:lnTo>
                    <a:pt x="402" y="48"/>
                  </a:lnTo>
                  <a:lnTo>
                    <a:pt x="408" y="54"/>
                  </a:lnTo>
                  <a:lnTo>
                    <a:pt x="414" y="54"/>
                  </a:lnTo>
                  <a:lnTo>
                    <a:pt x="420" y="54"/>
                  </a:lnTo>
                  <a:lnTo>
                    <a:pt x="420" y="60"/>
                  </a:lnTo>
                  <a:lnTo>
                    <a:pt x="414" y="60"/>
                  </a:lnTo>
                  <a:lnTo>
                    <a:pt x="420" y="60"/>
                  </a:lnTo>
                  <a:lnTo>
                    <a:pt x="426" y="60"/>
                  </a:lnTo>
                  <a:lnTo>
                    <a:pt x="432" y="60"/>
                  </a:lnTo>
                  <a:lnTo>
                    <a:pt x="432" y="66"/>
                  </a:lnTo>
                  <a:lnTo>
                    <a:pt x="426" y="72"/>
                  </a:lnTo>
                  <a:lnTo>
                    <a:pt x="426" y="78"/>
                  </a:lnTo>
                  <a:lnTo>
                    <a:pt x="432" y="78"/>
                  </a:lnTo>
                  <a:lnTo>
                    <a:pt x="432" y="84"/>
                  </a:lnTo>
                  <a:lnTo>
                    <a:pt x="432" y="90"/>
                  </a:lnTo>
                  <a:lnTo>
                    <a:pt x="432" y="96"/>
                  </a:lnTo>
                  <a:lnTo>
                    <a:pt x="438" y="96"/>
                  </a:lnTo>
                  <a:lnTo>
                    <a:pt x="438" y="102"/>
                  </a:lnTo>
                  <a:lnTo>
                    <a:pt x="432" y="102"/>
                  </a:lnTo>
                  <a:lnTo>
                    <a:pt x="432" y="108"/>
                  </a:lnTo>
                  <a:lnTo>
                    <a:pt x="432" y="114"/>
                  </a:lnTo>
                  <a:lnTo>
                    <a:pt x="438" y="114"/>
                  </a:lnTo>
                  <a:lnTo>
                    <a:pt x="432" y="114"/>
                  </a:lnTo>
                  <a:lnTo>
                    <a:pt x="432" y="120"/>
                  </a:lnTo>
                  <a:lnTo>
                    <a:pt x="432" y="126"/>
                  </a:lnTo>
                  <a:lnTo>
                    <a:pt x="432" y="132"/>
                  </a:lnTo>
                  <a:lnTo>
                    <a:pt x="432" y="138"/>
                  </a:lnTo>
                  <a:lnTo>
                    <a:pt x="432" y="144"/>
                  </a:lnTo>
                  <a:lnTo>
                    <a:pt x="432" y="150"/>
                  </a:lnTo>
                  <a:lnTo>
                    <a:pt x="432" y="156"/>
                  </a:lnTo>
                  <a:lnTo>
                    <a:pt x="438" y="156"/>
                  </a:lnTo>
                  <a:lnTo>
                    <a:pt x="432" y="162"/>
                  </a:lnTo>
                  <a:lnTo>
                    <a:pt x="432" y="168"/>
                  </a:lnTo>
                  <a:lnTo>
                    <a:pt x="432" y="162"/>
                  </a:lnTo>
                  <a:lnTo>
                    <a:pt x="432" y="168"/>
                  </a:lnTo>
                  <a:lnTo>
                    <a:pt x="426" y="168"/>
                  </a:lnTo>
                  <a:lnTo>
                    <a:pt x="426" y="174"/>
                  </a:lnTo>
                  <a:lnTo>
                    <a:pt x="432" y="174"/>
                  </a:lnTo>
                  <a:lnTo>
                    <a:pt x="432" y="180"/>
                  </a:lnTo>
                  <a:lnTo>
                    <a:pt x="426" y="180"/>
                  </a:lnTo>
                  <a:lnTo>
                    <a:pt x="426" y="186"/>
                  </a:lnTo>
                  <a:lnTo>
                    <a:pt x="426" y="180"/>
                  </a:lnTo>
                  <a:lnTo>
                    <a:pt x="420" y="180"/>
                  </a:lnTo>
                  <a:lnTo>
                    <a:pt x="420" y="186"/>
                  </a:lnTo>
                  <a:lnTo>
                    <a:pt x="414" y="186"/>
                  </a:lnTo>
                  <a:lnTo>
                    <a:pt x="420" y="186"/>
                  </a:lnTo>
                  <a:lnTo>
                    <a:pt x="420" y="192"/>
                  </a:lnTo>
                  <a:lnTo>
                    <a:pt x="414" y="192"/>
                  </a:lnTo>
                  <a:lnTo>
                    <a:pt x="420" y="198"/>
                  </a:lnTo>
                  <a:lnTo>
                    <a:pt x="426" y="198"/>
                  </a:lnTo>
                  <a:lnTo>
                    <a:pt x="426" y="204"/>
                  </a:lnTo>
                  <a:lnTo>
                    <a:pt x="426" y="210"/>
                  </a:lnTo>
                  <a:lnTo>
                    <a:pt x="426" y="216"/>
                  </a:lnTo>
                  <a:lnTo>
                    <a:pt x="420" y="216"/>
                  </a:lnTo>
                  <a:lnTo>
                    <a:pt x="420" y="222"/>
                  </a:lnTo>
                  <a:lnTo>
                    <a:pt x="426" y="222"/>
                  </a:lnTo>
                  <a:lnTo>
                    <a:pt x="426" y="228"/>
                  </a:lnTo>
                  <a:lnTo>
                    <a:pt x="426" y="234"/>
                  </a:lnTo>
                  <a:lnTo>
                    <a:pt x="432" y="234"/>
                  </a:lnTo>
                  <a:lnTo>
                    <a:pt x="432" y="240"/>
                  </a:lnTo>
                  <a:lnTo>
                    <a:pt x="438" y="240"/>
                  </a:lnTo>
                  <a:lnTo>
                    <a:pt x="438" y="246"/>
                  </a:lnTo>
                  <a:lnTo>
                    <a:pt x="432" y="252"/>
                  </a:lnTo>
                  <a:lnTo>
                    <a:pt x="432" y="258"/>
                  </a:lnTo>
                  <a:lnTo>
                    <a:pt x="426" y="258"/>
                  </a:lnTo>
                  <a:lnTo>
                    <a:pt x="426" y="264"/>
                  </a:lnTo>
                  <a:lnTo>
                    <a:pt x="426" y="258"/>
                  </a:lnTo>
                  <a:lnTo>
                    <a:pt x="426" y="264"/>
                  </a:lnTo>
                  <a:lnTo>
                    <a:pt x="426" y="270"/>
                  </a:lnTo>
                  <a:lnTo>
                    <a:pt x="420" y="276"/>
                  </a:lnTo>
                  <a:lnTo>
                    <a:pt x="420" y="282"/>
                  </a:lnTo>
                  <a:lnTo>
                    <a:pt x="414" y="288"/>
                  </a:lnTo>
                  <a:lnTo>
                    <a:pt x="408" y="288"/>
                  </a:lnTo>
                  <a:lnTo>
                    <a:pt x="402" y="294"/>
                  </a:lnTo>
                  <a:lnTo>
                    <a:pt x="408" y="294"/>
                  </a:lnTo>
                  <a:lnTo>
                    <a:pt x="408" y="300"/>
                  </a:lnTo>
                  <a:lnTo>
                    <a:pt x="408" y="306"/>
                  </a:lnTo>
                  <a:lnTo>
                    <a:pt x="402" y="312"/>
                  </a:lnTo>
                  <a:lnTo>
                    <a:pt x="402" y="318"/>
                  </a:lnTo>
                  <a:lnTo>
                    <a:pt x="396" y="318"/>
                  </a:lnTo>
                  <a:lnTo>
                    <a:pt x="396" y="324"/>
                  </a:lnTo>
                  <a:lnTo>
                    <a:pt x="402" y="324"/>
                  </a:lnTo>
                  <a:lnTo>
                    <a:pt x="402" y="330"/>
                  </a:lnTo>
                  <a:lnTo>
                    <a:pt x="402" y="336"/>
                  </a:lnTo>
                  <a:lnTo>
                    <a:pt x="402" y="330"/>
                  </a:lnTo>
                  <a:lnTo>
                    <a:pt x="396" y="336"/>
                  </a:lnTo>
                  <a:lnTo>
                    <a:pt x="372" y="366"/>
                  </a:lnTo>
                  <a:lnTo>
                    <a:pt x="354" y="384"/>
                  </a:lnTo>
                  <a:lnTo>
                    <a:pt x="348" y="390"/>
                  </a:lnTo>
                  <a:lnTo>
                    <a:pt x="342" y="39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1" name="Freeform 54"/>
            <p:cNvSpPr>
              <a:spLocks/>
            </p:cNvSpPr>
            <p:nvPr>
              <p:custDataLst>
                <p:tags r:id="rId49"/>
              </p:custDataLst>
            </p:nvPr>
          </p:nvSpPr>
          <p:spPr bwMode="gray">
            <a:xfrm>
              <a:off x="2409345" y="4014895"/>
              <a:ext cx="596343" cy="497804"/>
            </a:xfrm>
            <a:custGeom>
              <a:avLst/>
              <a:gdLst>
                <a:gd name="T0" fmla="*/ 149223 w 654"/>
                <a:gd name="T1" fmla="*/ 151045 h 570"/>
                <a:gd name="T2" fmla="*/ 136626 w 654"/>
                <a:gd name="T3" fmla="*/ 161696 h 570"/>
                <a:gd name="T4" fmla="*/ 127905 w 654"/>
                <a:gd name="T5" fmla="*/ 172346 h 570"/>
                <a:gd name="T6" fmla="*/ 115309 w 654"/>
                <a:gd name="T7" fmla="*/ 181060 h 570"/>
                <a:gd name="T8" fmla="*/ 106588 w 654"/>
                <a:gd name="T9" fmla="*/ 191711 h 570"/>
                <a:gd name="T10" fmla="*/ 93991 w 654"/>
                <a:gd name="T11" fmla="*/ 199457 h 570"/>
                <a:gd name="T12" fmla="*/ 81394 w 654"/>
                <a:gd name="T13" fmla="*/ 198489 h 570"/>
                <a:gd name="T14" fmla="*/ 72674 w 654"/>
                <a:gd name="T15" fmla="*/ 195585 h 570"/>
                <a:gd name="T16" fmla="*/ 62015 w 654"/>
                <a:gd name="T17" fmla="*/ 191711 h 570"/>
                <a:gd name="T18" fmla="*/ 46511 w 654"/>
                <a:gd name="T19" fmla="*/ 189775 h 570"/>
                <a:gd name="T20" fmla="*/ 21317 w 654"/>
                <a:gd name="T21" fmla="*/ 184933 h 570"/>
                <a:gd name="T22" fmla="*/ 10659 w 654"/>
                <a:gd name="T23" fmla="*/ 176219 h 570"/>
                <a:gd name="T24" fmla="*/ 1938 w 654"/>
                <a:gd name="T25" fmla="*/ 165569 h 570"/>
                <a:gd name="T26" fmla="*/ 0 w 654"/>
                <a:gd name="T27" fmla="*/ 117157 h 570"/>
                <a:gd name="T28" fmla="*/ 37791 w 654"/>
                <a:gd name="T29" fmla="*/ 91014 h 570"/>
                <a:gd name="T30" fmla="*/ 40697 w 654"/>
                <a:gd name="T31" fmla="*/ 74555 h 570"/>
                <a:gd name="T32" fmla="*/ 40697 w 654"/>
                <a:gd name="T33" fmla="*/ 63904 h 570"/>
                <a:gd name="T34" fmla="*/ 46511 w 654"/>
                <a:gd name="T35" fmla="*/ 60031 h 570"/>
                <a:gd name="T36" fmla="*/ 55232 w 654"/>
                <a:gd name="T37" fmla="*/ 63904 h 570"/>
                <a:gd name="T38" fmla="*/ 65891 w 654"/>
                <a:gd name="T39" fmla="*/ 63904 h 570"/>
                <a:gd name="T40" fmla="*/ 72674 w 654"/>
                <a:gd name="T41" fmla="*/ 71650 h 570"/>
                <a:gd name="T42" fmla="*/ 85271 w 654"/>
                <a:gd name="T43" fmla="*/ 76491 h 570"/>
                <a:gd name="T44" fmla="*/ 97867 w 654"/>
                <a:gd name="T45" fmla="*/ 74555 h 570"/>
                <a:gd name="T46" fmla="*/ 106588 w 654"/>
                <a:gd name="T47" fmla="*/ 71650 h 570"/>
                <a:gd name="T48" fmla="*/ 115309 w 654"/>
                <a:gd name="T49" fmla="*/ 83269 h 570"/>
                <a:gd name="T50" fmla="*/ 125967 w 654"/>
                <a:gd name="T51" fmla="*/ 87141 h 570"/>
                <a:gd name="T52" fmla="*/ 129843 w 654"/>
                <a:gd name="T53" fmla="*/ 93919 h 570"/>
                <a:gd name="T54" fmla="*/ 138564 w 654"/>
                <a:gd name="T55" fmla="*/ 104570 h 570"/>
                <a:gd name="T56" fmla="*/ 147285 w 654"/>
                <a:gd name="T57" fmla="*/ 101665 h 570"/>
                <a:gd name="T58" fmla="*/ 155037 w 654"/>
                <a:gd name="T59" fmla="*/ 100696 h 570"/>
                <a:gd name="T60" fmla="*/ 155037 w 654"/>
                <a:gd name="T61" fmla="*/ 81332 h 570"/>
                <a:gd name="T62" fmla="*/ 142440 w 654"/>
                <a:gd name="T63" fmla="*/ 85205 h 570"/>
                <a:gd name="T64" fmla="*/ 131781 w 654"/>
                <a:gd name="T65" fmla="*/ 76491 h 570"/>
                <a:gd name="T66" fmla="*/ 127905 w 654"/>
                <a:gd name="T67" fmla="*/ 63904 h 570"/>
                <a:gd name="T68" fmla="*/ 131781 w 654"/>
                <a:gd name="T69" fmla="*/ 49380 h 570"/>
                <a:gd name="T70" fmla="*/ 131781 w 654"/>
                <a:gd name="T71" fmla="*/ 33889 h 570"/>
                <a:gd name="T72" fmla="*/ 127905 w 654"/>
                <a:gd name="T73" fmla="*/ 23238 h 570"/>
                <a:gd name="T74" fmla="*/ 131781 w 654"/>
                <a:gd name="T75" fmla="*/ 17428 h 570"/>
                <a:gd name="T76" fmla="*/ 140502 w 654"/>
                <a:gd name="T77" fmla="*/ 6778 h 570"/>
                <a:gd name="T78" fmla="*/ 161820 w 654"/>
                <a:gd name="T79" fmla="*/ 1936 h 570"/>
                <a:gd name="T80" fmla="*/ 177323 w 654"/>
                <a:gd name="T81" fmla="*/ 6778 h 570"/>
                <a:gd name="T82" fmla="*/ 191858 w 654"/>
                <a:gd name="T83" fmla="*/ 14523 h 570"/>
                <a:gd name="T84" fmla="*/ 206392 w 654"/>
                <a:gd name="T85" fmla="*/ 19365 h 570"/>
                <a:gd name="T86" fmla="*/ 218020 w 654"/>
                <a:gd name="T87" fmla="*/ 26143 h 570"/>
                <a:gd name="T88" fmla="*/ 221897 w 654"/>
                <a:gd name="T89" fmla="*/ 30016 h 570"/>
                <a:gd name="T90" fmla="*/ 223834 w 654"/>
                <a:gd name="T91" fmla="*/ 37761 h 570"/>
                <a:gd name="T92" fmla="*/ 232555 w 654"/>
                <a:gd name="T93" fmla="*/ 49380 h 570"/>
                <a:gd name="T94" fmla="*/ 225772 w 654"/>
                <a:gd name="T95" fmla="*/ 57126 h 570"/>
                <a:gd name="T96" fmla="*/ 223834 w 654"/>
                <a:gd name="T97" fmla="*/ 65840 h 570"/>
                <a:gd name="T98" fmla="*/ 223834 w 654"/>
                <a:gd name="T99" fmla="*/ 76491 h 570"/>
                <a:gd name="T100" fmla="*/ 223834 w 654"/>
                <a:gd name="T101" fmla="*/ 87141 h 570"/>
                <a:gd name="T102" fmla="*/ 218020 w 654"/>
                <a:gd name="T103" fmla="*/ 101665 h 570"/>
                <a:gd name="T104" fmla="*/ 213175 w 654"/>
                <a:gd name="T105" fmla="*/ 112316 h 570"/>
                <a:gd name="T106" fmla="*/ 221897 w 654"/>
                <a:gd name="T107" fmla="*/ 117157 h 570"/>
                <a:gd name="T108" fmla="*/ 204455 w 654"/>
                <a:gd name="T109" fmla="*/ 123935 h 570"/>
                <a:gd name="T110" fmla="*/ 189920 w 654"/>
                <a:gd name="T111" fmla="*/ 129744 h 570"/>
                <a:gd name="T112" fmla="*/ 168603 w 654"/>
                <a:gd name="T113" fmla="*/ 135553 h 570"/>
                <a:gd name="T114" fmla="*/ 165695 w 654"/>
                <a:gd name="T115" fmla="*/ 145236 h 5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54" h="570">
                  <a:moveTo>
                    <a:pt x="468" y="426"/>
                  </a:moveTo>
                  <a:lnTo>
                    <a:pt x="462" y="426"/>
                  </a:lnTo>
                  <a:lnTo>
                    <a:pt x="456" y="426"/>
                  </a:lnTo>
                  <a:lnTo>
                    <a:pt x="450" y="426"/>
                  </a:lnTo>
                  <a:lnTo>
                    <a:pt x="444" y="426"/>
                  </a:lnTo>
                  <a:lnTo>
                    <a:pt x="438" y="426"/>
                  </a:lnTo>
                  <a:lnTo>
                    <a:pt x="432" y="426"/>
                  </a:lnTo>
                  <a:lnTo>
                    <a:pt x="426" y="426"/>
                  </a:lnTo>
                  <a:lnTo>
                    <a:pt x="420" y="426"/>
                  </a:lnTo>
                  <a:lnTo>
                    <a:pt x="414" y="426"/>
                  </a:lnTo>
                  <a:lnTo>
                    <a:pt x="414" y="432"/>
                  </a:lnTo>
                  <a:lnTo>
                    <a:pt x="408" y="432"/>
                  </a:lnTo>
                  <a:lnTo>
                    <a:pt x="402" y="432"/>
                  </a:lnTo>
                  <a:lnTo>
                    <a:pt x="396" y="438"/>
                  </a:lnTo>
                  <a:lnTo>
                    <a:pt x="390" y="444"/>
                  </a:lnTo>
                  <a:lnTo>
                    <a:pt x="384" y="444"/>
                  </a:lnTo>
                  <a:lnTo>
                    <a:pt x="384" y="450"/>
                  </a:lnTo>
                  <a:lnTo>
                    <a:pt x="384" y="456"/>
                  </a:lnTo>
                  <a:lnTo>
                    <a:pt x="384" y="462"/>
                  </a:lnTo>
                  <a:lnTo>
                    <a:pt x="378" y="462"/>
                  </a:lnTo>
                  <a:lnTo>
                    <a:pt x="384" y="468"/>
                  </a:lnTo>
                  <a:lnTo>
                    <a:pt x="378" y="474"/>
                  </a:lnTo>
                  <a:lnTo>
                    <a:pt x="378" y="480"/>
                  </a:lnTo>
                  <a:lnTo>
                    <a:pt x="372" y="480"/>
                  </a:lnTo>
                  <a:lnTo>
                    <a:pt x="366" y="480"/>
                  </a:lnTo>
                  <a:lnTo>
                    <a:pt x="360" y="480"/>
                  </a:lnTo>
                  <a:lnTo>
                    <a:pt x="360" y="486"/>
                  </a:lnTo>
                  <a:lnTo>
                    <a:pt x="354" y="486"/>
                  </a:lnTo>
                  <a:lnTo>
                    <a:pt x="348" y="486"/>
                  </a:lnTo>
                  <a:lnTo>
                    <a:pt x="348" y="492"/>
                  </a:lnTo>
                  <a:lnTo>
                    <a:pt x="342" y="492"/>
                  </a:lnTo>
                  <a:lnTo>
                    <a:pt x="342" y="498"/>
                  </a:lnTo>
                  <a:lnTo>
                    <a:pt x="336" y="498"/>
                  </a:lnTo>
                  <a:lnTo>
                    <a:pt x="330" y="498"/>
                  </a:lnTo>
                  <a:lnTo>
                    <a:pt x="324" y="504"/>
                  </a:lnTo>
                  <a:lnTo>
                    <a:pt x="324" y="510"/>
                  </a:lnTo>
                  <a:lnTo>
                    <a:pt x="318" y="510"/>
                  </a:lnTo>
                  <a:lnTo>
                    <a:pt x="318" y="516"/>
                  </a:lnTo>
                  <a:lnTo>
                    <a:pt x="312" y="516"/>
                  </a:lnTo>
                  <a:lnTo>
                    <a:pt x="312" y="522"/>
                  </a:lnTo>
                  <a:lnTo>
                    <a:pt x="312" y="528"/>
                  </a:lnTo>
                  <a:lnTo>
                    <a:pt x="306" y="528"/>
                  </a:lnTo>
                  <a:lnTo>
                    <a:pt x="306" y="534"/>
                  </a:lnTo>
                  <a:lnTo>
                    <a:pt x="300" y="534"/>
                  </a:lnTo>
                  <a:lnTo>
                    <a:pt x="300" y="540"/>
                  </a:lnTo>
                  <a:lnTo>
                    <a:pt x="294" y="540"/>
                  </a:lnTo>
                  <a:lnTo>
                    <a:pt x="294" y="546"/>
                  </a:lnTo>
                  <a:lnTo>
                    <a:pt x="288" y="546"/>
                  </a:lnTo>
                  <a:lnTo>
                    <a:pt x="288" y="552"/>
                  </a:lnTo>
                  <a:lnTo>
                    <a:pt x="282" y="558"/>
                  </a:lnTo>
                  <a:lnTo>
                    <a:pt x="276" y="558"/>
                  </a:lnTo>
                  <a:lnTo>
                    <a:pt x="276" y="564"/>
                  </a:lnTo>
                  <a:lnTo>
                    <a:pt x="270" y="564"/>
                  </a:lnTo>
                  <a:lnTo>
                    <a:pt x="264" y="564"/>
                  </a:lnTo>
                  <a:lnTo>
                    <a:pt x="264" y="570"/>
                  </a:lnTo>
                  <a:lnTo>
                    <a:pt x="264" y="564"/>
                  </a:lnTo>
                  <a:lnTo>
                    <a:pt x="258" y="564"/>
                  </a:lnTo>
                  <a:lnTo>
                    <a:pt x="252" y="564"/>
                  </a:lnTo>
                  <a:lnTo>
                    <a:pt x="252" y="558"/>
                  </a:lnTo>
                  <a:lnTo>
                    <a:pt x="246" y="558"/>
                  </a:lnTo>
                  <a:lnTo>
                    <a:pt x="240" y="558"/>
                  </a:lnTo>
                  <a:lnTo>
                    <a:pt x="234" y="558"/>
                  </a:lnTo>
                  <a:lnTo>
                    <a:pt x="228" y="558"/>
                  </a:lnTo>
                  <a:lnTo>
                    <a:pt x="228" y="564"/>
                  </a:lnTo>
                  <a:lnTo>
                    <a:pt x="228" y="558"/>
                  </a:lnTo>
                  <a:lnTo>
                    <a:pt x="228" y="564"/>
                  </a:lnTo>
                  <a:lnTo>
                    <a:pt x="222" y="564"/>
                  </a:lnTo>
                  <a:lnTo>
                    <a:pt x="216" y="564"/>
                  </a:lnTo>
                  <a:lnTo>
                    <a:pt x="216" y="558"/>
                  </a:lnTo>
                  <a:lnTo>
                    <a:pt x="210" y="558"/>
                  </a:lnTo>
                  <a:lnTo>
                    <a:pt x="210" y="552"/>
                  </a:lnTo>
                  <a:lnTo>
                    <a:pt x="204" y="552"/>
                  </a:lnTo>
                  <a:lnTo>
                    <a:pt x="198" y="552"/>
                  </a:lnTo>
                  <a:lnTo>
                    <a:pt x="192" y="552"/>
                  </a:lnTo>
                  <a:lnTo>
                    <a:pt x="186" y="552"/>
                  </a:lnTo>
                  <a:lnTo>
                    <a:pt x="180" y="552"/>
                  </a:lnTo>
                  <a:lnTo>
                    <a:pt x="180" y="546"/>
                  </a:lnTo>
                  <a:lnTo>
                    <a:pt x="180" y="552"/>
                  </a:lnTo>
                  <a:lnTo>
                    <a:pt x="180" y="546"/>
                  </a:lnTo>
                  <a:lnTo>
                    <a:pt x="174" y="546"/>
                  </a:lnTo>
                  <a:lnTo>
                    <a:pt x="174" y="540"/>
                  </a:lnTo>
                  <a:lnTo>
                    <a:pt x="168" y="540"/>
                  </a:lnTo>
                  <a:lnTo>
                    <a:pt x="168" y="534"/>
                  </a:lnTo>
                  <a:lnTo>
                    <a:pt x="168" y="540"/>
                  </a:lnTo>
                  <a:lnTo>
                    <a:pt x="162" y="534"/>
                  </a:lnTo>
                  <a:lnTo>
                    <a:pt x="156" y="534"/>
                  </a:lnTo>
                  <a:lnTo>
                    <a:pt x="150" y="534"/>
                  </a:lnTo>
                  <a:lnTo>
                    <a:pt x="144" y="534"/>
                  </a:lnTo>
                  <a:lnTo>
                    <a:pt x="138" y="534"/>
                  </a:lnTo>
                  <a:lnTo>
                    <a:pt x="132" y="534"/>
                  </a:lnTo>
                  <a:lnTo>
                    <a:pt x="126" y="534"/>
                  </a:lnTo>
                  <a:lnTo>
                    <a:pt x="84" y="540"/>
                  </a:lnTo>
                  <a:lnTo>
                    <a:pt x="78" y="540"/>
                  </a:lnTo>
                  <a:lnTo>
                    <a:pt x="78" y="534"/>
                  </a:lnTo>
                  <a:lnTo>
                    <a:pt x="72" y="534"/>
                  </a:lnTo>
                  <a:lnTo>
                    <a:pt x="66" y="534"/>
                  </a:lnTo>
                  <a:lnTo>
                    <a:pt x="66" y="528"/>
                  </a:lnTo>
                  <a:lnTo>
                    <a:pt x="60" y="528"/>
                  </a:lnTo>
                  <a:lnTo>
                    <a:pt x="60" y="522"/>
                  </a:lnTo>
                  <a:lnTo>
                    <a:pt x="54" y="522"/>
                  </a:lnTo>
                  <a:lnTo>
                    <a:pt x="54" y="516"/>
                  </a:lnTo>
                  <a:lnTo>
                    <a:pt x="48" y="516"/>
                  </a:lnTo>
                  <a:lnTo>
                    <a:pt x="48" y="510"/>
                  </a:lnTo>
                  <a:lnTo>
                    <a:pt x="42" y="510"/>
                  </a:lnTo>
                  <a:lnTo>
                    <a:pt x="42" y="504"/>
                  </a:lnTo>
                  <a:lnTo>
                    <a:pt x="36" y="504"/>
                  </a:lnTo>
                  <a:lnTo>
                    <a:pt x="36" y="498"/>
                  </a:lnTo>
                  <a:lnTo>
                    <a:pt x="30" y="498"/>
                  </a:lnTo>
                  <a:lnTo>
                    <a:pt x="30" y="492"/>
                  </a:lnTo>
                  <a:lnTo>
                    <a:pt x="24" y="492"/>
                  </a:lnTo>
                  <a:lnTo>
                    <a:pt x="24" y="486"/>
                  </a:lnTo>
                  <a:lnTo>
                    <a:pt x="18" y="486"/>
                  </a:lnTo>
                  <a:lnTo>
                    <a:pt x="18" y="480"/>
                  </a:lnTo>
                  <a:lnTo>
                    <a:pt x="12" y="480"/>
                  </a:lnTo>
                  <a:lnTo>
                    <a:pt x="12" y="474"/>
                  </a:lnTo>
                  <a:lnTo>
                    <a:pt x="6" y="474"/>
                  </a:lnTo>
                  <a:lnTo>
                    <a:pt x="6" y="468"/>
                  </a:lnTo>
                  <a:lnTo>
                    <a:pt x="6" y="462"/>
                  </a:lnTo>
                  <a:lnTo>
                    <a:pt x="0" y="462"/>
                  </a:lnTo>
                  <a:lnTo>
                    <a:pt x="0" y="456"/>
                  </a:lnTo>
                  <a:lnTo>
                    <a:pt x="0" y="450"/>
                  </a:lnTo>
                  <a:lnTo>
                    <a:pt x="0" y="444"/>
                  </a:lnTo>
                  <a:lnTo>
                    <a:pt x="0" y="408"/>
                  </a:lnTo>
                  <a:lnTo>
                    <a:pt x="0" y="390"/>
                  </a:lnTo>
                  <a:lnTo>
                    <a:pt x="0" y="336"/>
                  </a:lnTo>
                  <a:lnTo>
                    <a:pt x="0" y="330"/>
                  </a:lnTo>
                  <a:lnTo>
                    <a:pt x="0" y="318"/>
                  </a:lnTo>
                  <a:lnTo>
                    <a:pt x="0" y="300"/>
                  </a:lnTo>
                  <a:lnTo>
                    <a:pt x="0" y="276"/>
                  </a:lnTo>
                  <a:lnTo>
                    <a:pt x="24" y="276"/>
                  </a:lnTo>
                  <a:lnTo>
                    <a:pt x="84" y="276"/>
                  </a:lnTo>
                  <a:lnTo>
                    <a:pt x="114" y="270"/>
                  </a:lnTo>
                  <a:lnTo>
                    <a:pt x="108" y="270"/>
                  </a:lnTo>
                  <a:lnTo>
                    <a:pt x="108" y="264"/>
                  </a:lnTo>
                  <a:lnTo>
                    <a:pt x="108" y="258"/>
                  </a:lnTo>
                  <a:lnTo>
                    <a:pt x="108" y="252"/>
                  </a:lnTo>
                  <a:lnTo>
                    <a:pt x="108" y="246"/>
                  </a:lnTo>
                  <a:lnTo>
                    <a:pt x="114" y="246"/>
                  </a:lnTo>
                  <a:lnTo>
                    <a:pt x="114" y="240"/>
                  </a:lnTo>
                  <a:lnTo>
                    <a:pt x="114" y="234"/>
                  </a:lnTo>
                  <a:lnTo>
                    <a:pt x="114" y="228"/>
                  </a:lnTo>
                  <a:lnTo>
                    <a:pt x="114" y="222"/>
                  </a:lnTo>
                  <a:lnTo>
                    <a:pt x="114" y="216"/>
                  </a:lnTo>
                  <a:lnTo>
                    <a:pt x="114" y="210"/>
                  </a:lnTo>
                  <a:lnTo>
                    <a:pt x="114" y="204"/>
                  </a:lnTo>
                  <a:lnTo>
                    <a:pt x="114" y="198"/>
                  </a:lnTo>
                  <a:lnTo>
                    <a:pt x="108" y="198"/>
                  </a:lnTo>
                  <a:lnTo>
                    <a:pt x="114" y="198"/>
                  </a:lnTo>
                  <a:lnTo>
                    <a:pt x="114" y="192"/>
                  </a:lnTo>
                  <a:lnTo>
                    <a:pt x="114" y="186"/>
                  </a:lnTo>
                  <a:lnTo>
                    <a:pt x="114" y="180"/>
                  </a:lnTo>
                  <a:lnTo>
                    <a:pt x="120" y="180"/>
                  </a:lnTo>
                  <a:lnTo>
                    <a:pt x="114" y="180"/>
                  </a:lnTo>
                  <a:lnTo>
                    <a:pt x="114" y="174"/>
                  </a:lnTo>
                  <a:lnTo>
                    <a:pt x="114" y="168"/>
                  </a:lnTo>
                  <a:lnTo>
                    <a:pt x="114" y="162"/>
                  </a:lnTo>
                  <a:lnTo>
                    <a:pt x="114" y="156"/>
                  </a:lnTo>
                  <a:lnTo>
                    <a:pt x="120" y="156"/>
                  </a:lnTo>
                  <a:lnTo>
                    <a:pt x="120" y="162"/>
                  </a:lnTo>
                  <a:lnTo>
                    <a:pt x="126" y="162"/>
                  </a:lnTo>
                  <a:lnTo>
                    <a:pt x="132" y="162"/>
                  </a:lnTo>
                  <a:lnTo>
                    <a:pt x="132" y="168"/>
                  </a:lnTo>
                  <a:lnTo>
                    <a:pt x="132" y="174"/>
                  </a:lnTo>
                  <a:lnTo>
                    <a:pt x="132" y="180"/>
                  </a:lnTo>
                  <a:lnTo>
                    <a:pt x="126" y="180"/>
                  </a:lnTo>
                  <a:lnTo>
                    <a:pt x="132" y="180"/>
                  </a:lnTo>
                  <a:lnTo>
                    <a:pt x="132" y="186"/>
                  </a:lnTo>
                  <a:lnTo>
                    <a:pt x="138" y="186"/>
                  </a:lnTo>
                  <a:lnTo>
                    <a:pt x="144" y="186"/>
                  </a:lnTo>
                  <a:lnTo>
                    <a:pt x="150" y="180"/>
                  </a:lnTo>
                  <a:lnTo>
                    <a:pt x="156" y="180"/>
                  </a:lnTo>
                  <a:lnTo>
                    <a:pt x="156" y="174"/>
                  </a:lnTo>
                  <a:lnTo>
                    <a:pt x="162" y="174"/>
                  </a:lnTo>
                  <a:lnTo>
                    <a:pt x="168" y="174"/>
                  </a:lnTo>
                  <a:lnTo>
                    <a:pt x="174" y="174"/>
                  </a:lnTo>
                  <a:lnTo>
                    <a:pt x="180" y="174"/>
                  </a:lnTo>
                  <a:lnTo>
                    <a:pt x="186" y="174"/>
                  </a:lnTo>
                  <a:lnTo>
                    <a:pt x="186" y="168"/>
                  </a:lnTo>
                  <a:lnTo>
                    <a:pt x="186" y="174"/>
                  </a:lnTo>
                  <a:lnTo>
                    <a:pt x="186" y="180"/>
                  </a:lnTo>
                  <a:lnTo>
                    <a:pt x="186" y="186"/>
                  </a:lnTo>
                  <a:lnTo>
                    <a:pt x="186" y="192"/>
                  </a:lnTo>
                  <a:lnTo>
                    <a:pt x="186" y="198"/>
                  </a:lnTo>
                  <a:lnTo>
                    <a:pt x="192" y="198"/>
                  </a:lnTo>
                  <a:lnTo>
                    <a:pt x="198" y="198"/>
                  </a:lnTo>
                  <a:lnTo>
                    <a:pt x="198" y="204"/>
                  </a:lnTo>
                  <a:lnTo>
                    <a:pt x="204" y="204"/>
                  </a:lnTo>
                  <a:lnTo>
                    <a:pt x="204" y="198"/>
                  </a:lnTo>
                  <a:lnTo>
                    <a:pt x="204" y="204"/>
                  </a:lnTo>
                  <a:lnTo>
                    <a:pt x="210" y="204"/>
                  </a:lnTo>
                  <a:lnTo>
                    <a:pt x="216" y="204"/>
                  </a:lnTo>
                  <a:lnTo>
                    <a:pt x="216" y="210"/>
                  </a:lnTo>
                  <a:lnTo>
                    <a:pt x="222" y="210"/>
                  </a:lnTo>
                  <a:lnTo>
                    <a:pt x="222" y="216"/>
                  </a:lnTo>
                  <a:lnTo>
                    <a:pt x="222" y="210"/>
                  </a:lnTo>
                  <a:lnTo>
                    <a:pt x="228" y="216"/>
                  </a:lnTo>
                  <a:lnTo>
                    <a:pt x="234" y="210"/>
                  </a:lnTo>
                  <a:lnTo>
                    <a:pt x="240" y="216"/>
                  </a:lnTo>
                  <a:lnTo>
                    <a:pt x="246" y="216"/>
                  </a:lnTo>
                  <a:lnTo>
                    <a:pt x="246" y="210"/>
                  </a:lnTo>
                  <a:lnTo>
                    <a:pt x="252" y="210"/>
                  </a:lnTo>
                  <a:lnTo>
                    <a:pt x="252" y="216"/>
                  </a:lnTo>
                  <a:lnTo>
                    <a:pt x="258" y="216"/>
                  </a:lnTo>
                  <a:lnTo>
                    <a:pt x="264" y="216"/>
                  </a:lnTo>
                  <a:lnTo>
                    <a:pt x="270" y="216"/>
                  </a:lnTo>
                  <a:lnTo>
                    <a:pt x="276" y="216"/>
                  </a:lnTo>
                  <a:lnTo>
                    <a:pt x="276" y="210"/>
                  </a:lnTo>
                  <a:lnTo>
                    <a:pt x="282" y="210"/>
                  </a:lnTo>
                  <a:lnTo>
                    <a:pt x="282" y="204"/>
                  </a:lnTo>
                  <a:lnTo>
                    <a:pt x="282" y="198"/>
                  </a:lnTo>
                  <a:lnTo>
                    <a:pt x="282" y="192"/>
                  </a:lnTo>
                  <a:lnTo>
                    <a:pt x="288" y="192"/>
                  </a:lnTo>
                  <a:lnTo>
                    <a:pt x="294" y="192"/>
                  </a:lnTo>
                  <a:lnTo>
                    <a:pt x="294" y="198"/>
                  </a:lnTo>
                  <a:lnTo>
                    <a:pt x="294" y="204"/>
                  </a:lnTo>
                  <a:lnTo>
                    <a:pt x="300" y="204"/>
                  </a:lnTo>
                  <a:lnTo>
                    <a:pt x="300" y="210"/>
                  </a:lnTo>
                  <a:lnTo>
                    <a:pt x="306" y="210"/>
                  </a:lnTo>
                  <a:lnTo>
                    <a:pt x="306" y="216"/>
                  </a:lnTo>
                  <a:lnTo>
                    <a:pt x="306" y="222"/>
                  </a:lnTo>
                  <a:lnTo>
                    <a:pt x="306" y="228"/>
                  </a:lnTo>
                  <a:lnTo>
                    <a:pt x="312" y="228"/>
                  </a:lnTo>
                  <a:lnTo>
                    <a:pt x="312" y="234"/>
                  </a:lnTo>
                  <a:lnTo>
                    <a:pt x="318" y="234"/>
                  </a:lnTo>
                  <a:lnTo>
                    <a:pt x="324" y="234"/>
                  </a:lnTo>
                  <a:lnTo>
                    <a:pt x="324" y="228"/>
                  </a:lnTo>
                  <a:lnTo>
                    <a:pt x="330" y="228"/>
                  </a:lnTo>
                  <a:lnTo>
                    <a:pt x="330" y="234"/>
                  </a:lnTo>
                  <a:lnTo>
                    <a:pt x="336" y="234"/>
                  </a:lnTo>
                  <a:lnTo>
                    <a:pt x="342" y="234"/>
                  </a:lnTo>
                  <a:lnTo>
                    <a:pt x="342" y="240"/>
                  </a:lnTo>
                  <a:lnTo>
                    <a:pt x="348" y="240"/>
                  </a:lnTo>
                  <a:lnTo>
                    <a:pt x="354" y="240"/>
                  </a:lnTo>
                  <a:lnTo>
                    <a:pt x="354" y="246"/>
                  </a:lnTo>
                  <a:lnTo>
                    <a:pt x="360" y="246"/>
                  </a:lnTo>
                  <a:lnTo>
                    <a:pt x="360" y="252"/>
                  </a:lnTo>
                  <a:lnTo>
                    <a:pt x="366" y="252"/>
                  </a:lnTo>
                  <a:lnTo>
                    <a:pt x="366" y="258"/>
                  </a:lnTo>
                  <a:lnTo>
                    <a:pt x="360" y="258"/>
                  </a:lnTo>
                  <a:lnTo>
                    <a:pt x="366" y="258"/>
                  </a:lnTo>
                  <a:lnTo>
                    <a:pt x="366" y="264"/>
                  </a:lnTo>
                  <a:lnTo>
                    <a:pt x="366" y="270"/>
                  </a:lnTo>
                  <a:lnTo>
                    <a:pt x="366" y="264"/>
                  </a:lnTo>
                  <a:lnTo>
                    <a:pt x="372" y="264"/>
                  </a:lnTo>
                  <a:lnTo>
                    <a:pt x="378" y="264"/>
                  </a:lnTo>
                  <a:lnTo>
                    <a:pt x="378" y="270"/>
                  </a:lnTo>
                  <a:lnTo>
                    <a:pt x="378" y="276"/>
                  </a:lnTo>
                  <a:lnTo>
                    <a:pt x="384" y="276"/>
                  </a:lnTo>
                  <a:lnTo>
                    <a:pt x="384" y="282"/>
                  </a:lnTo>
                  <a:lnTo>
                    <a:pt x="384" y="288"/>
                  </a:lnTo>
                  <a:lnTo>
                    <a:pt x="390" y="288"/>
                  </a:lnTo>
                  <a:lnTo>
                    <a:pt x="390" y="294"/>
                  </a:lnTo>
                  <a:lnTo>
                    <a:pt x="390" y="300"/>
                  </a:lnTo>
                  <a:lnTo>
                    <a:pt x="390" y="294"/>
                  </a:lnTo>
                  <a:lnTo>
                    <a:pt x="396" y="294"/>
                  </a:lnTo>
                  <a:lnTo>
                    <a:pt x="402" y="294"/>
                  </a:lnTo>
                  <a:lnTo>
                    <a:pt x="402" y="300"/>
                  </a:lnTo>
                  <a:lnTo>
                    <a:pt x="402" y="294"/>
                  </a:lnTo>
                  <a:lnTo>
                    <a:pt x="408" y="294"/>
                  </a:lnTo>
                  <a:lnTo>
                    <a:pt x="414" y="294"/>
                  </a:lnTo>
                  <a:lnTo>
                    <a:pt x="414" y="288"/>
                  </a:lnTo>
                  <a:lnTo>
                    <a:pt x="420" y="288"/>
                  </a:lnTo>
                  <a:lnTo>
                    <a:pt x="426" y="288"/>
                  </a:lnTo>
                  <a:lnTo>
                    <a:pt x="426" y="294"/>
                  </a:lnTo>
                  <a:lnTo>
                    <a:pt x="426" y="300"/>
                  </a:lnTo>
                  <a:lnTo>
                    <a:pt x="432" y="300"/>
                  </a:lnTo>
                  <a:lnTo>
                    <a:pt x="438" y="300"/>
                  </a:lnTo>
                  <a:lnTo>
                    <a:pt x="438" y="294"/>
                  </a:lnTo>
                  <a:lnTo>
                    <a:pt x="438" y="288"/>
                  </a:lnTo>
                  <a:lnTo>
                    <a:pt x="438" y="282"/>
                  </a:lnTo>
                  <a:lnTo>
                    <a:pt x="438" y="276"/>
                  </a:lnTo>
                  <a:lnTo>
                    <a:pt x="438" y="270"/>
                  </a:lnTo>
                  <a:lnTo>
                    <a:pt x="438" y="264"/>
                  </a:lnTo>
                  <a:lnTo>
                    <a:pt x="438" y="258"/>
                  </a:lnTo>
                  <a:lnTo>
                    <a:pt x="438" y="252"/>
                  </a:lnTo>
                  <a:lnTo>
                    <a:pt x="438" y="246"/>
                  </a:lnTo>
                  <a:lnTo>
                    <a:pt x="438" y="240"/>
                  </a:lnTo>
                  <a:lnTo>
                    <a:pt x="438" y="234"/>
                  </a:lnTo>
                  <a:lnTo>
                    <a:pt x="438" y="228"/>
                  </a:lnTo>
                  <a:lnTo>
                    <a:pt x="432" y="228"/>
                  </a:lnTo>
                  <a:lnTo>
                    <a:pt x="426" y="228"/>
                  </a:lnTo>
                  <a:lnTo>
                    <a:pt x="420" y="228"/>
                  </a:lnTo>
                  <a:lnTo>
                    <a:pt x="414" y="234"/>
                  </a:lnTo>
                  <a:lnTo>
                    <a:pt x="420" y="240"/>
                  </a:lnTo>
                  <a:lnTo>
                    <a:pt x="420" y="246"/>
                  </a:lnTo>
                  <a:lnTo>
                    <a:pt x="414" y="240"/>
                  </a:lnTo>
                  <a:lnTo>
                    <a:pt x="408" y="240"/>
                  </a:lnTo>
                  <a:lnTo>
                    <a:pt x="402" y="240"/>
                  </a:lnTo>
                  <a:lnTo>
                    <a:pt x="396" y="240"/>
                  </a:lnTo>
                  <a:lnTo>
                    <a:pt x="390" y="240"/>
                  </a:lnTo>
                  <a:lnTo>
                    <a:pt x="390" y="234"/>
                  </a:lnTo>
                  <a:lnTo>
                    <a:pt x="390" y="228"/>
                  </a:lnTo>
                  <a:lnTo>
                    <a:pt x="384" y="228"/>
                  </a:lnTo>
                  <a:lnTo>
                    <a:pt x="384" y="222"/>
                  </a:lnTo>
                  <a:lnTo>
                    <a:pt x="378" y="222"/>
                  </a:lnTo>
                  <a:lnTo>
                    <a:pt x="378" y="216"/>
                  </a:lnTo>
                  <a:lnTo>
                    <a:pt x="372" y="216"/>
                  </a:lnTo>
                  <a:lnTo>
                    <a:pt x="372" y="210"/>
                  </a:lnTo>
                  <a:lnTo>
                    <a:pt x="366" y="210"/>
                  </a:lnTo>
                  <a:lnTo>
                    <a:pt x="360" y="210"/>
                  </a:lnTo>
                  <a:lnTo>
                    <a:pt x="360" y="204"/>
                  </a:lnTo>
                  <a:lnTo>
                    <a:pt x="360" y="198"/>
                  </a:lnTo>
                  <a:lnTo>
                    <a:pt x="360" y="192"/>
                  </a:lnTo>
                  <a:lnTo>
                    <a:pt x="354" y="192"/>
                  </a:lnTo>
                  <a:lnTo>
                    <a:pt x="360" y="186"/>
                  </a:lnTo>
                  <a:lnTo>
                    <a:pt x="360" y="180"/>
                  </a:lnTo>
                  <a:lnTo>
                    <a:pt x="360" y="174"/>
                  </a:lnTo>
                  <a:lnTo>
                    <a:pt x="360" y="168"/>
                  </a:lnTo>
                  <a:lnTo>
                    <a:pt x="360" y="162"/>
                  </a:lnTo>
                  <a:lnTo>
                    <a:pt x="366" y="162"/>
                  </a:lnTo>
                  <a:lnTo>
                    <a:pt x="366" y="156"/>
                  </a:lnTo>
                  <a:lnTo>
                    <a:pt x="366" y="150"/>
                  </a:lnTo>
                  <a:lnTo>
                    <a:pt x="366" y="144"/>
                  </a:lnTo>
                  <a:lnTo>
                    <a:pt x="372" y="144"/>
                  </a:lnTo>
                  <a:lnTo>
                    <a:pt x="372" y="138"/>
                  </a:lnTo>
                  <a:lnTo>
                    <a:pt x="372" y="132"/>
                  </a:lnTo>
                  <a:lnTo>
                    <a:pt x="372" y="126"/>
                  </a:lnTo>
                  <a:lnTo>
                    <a:pt x="372" y="120"/>
                  </a:lnTo>
                  <a:lnTo>
                    <a:pt x="366" y="120"/>
                  </a:lnTo>
                  <a:lnTo>
                    <a:pt x="366" y="114"/>
                  </a:lnTo>
                  <a:lnTo>
                    <a:pt x="372" y="114"/>
                  </a:lnTo>
                  <a:lnTo>
                    <a:pt x="372" y="108"/>
                  </a:lnTo>
                  <a:lnTo>
                    <a:pt x="372" y="102"/>
                  </a:lnTo>
                  <a:lnTo>
                    <a:pt x="372" y="96"/>
                  </a:lnTo>
                  <a:lnTo>
                    <a:pt x="372" y="90"/>
                  </a:lnTo>
                  <a:lnTo>
                    <a:pt x="372" y="84"/>
                  </a:lnTo>
                  <a:lnTo>
                    <a:pt x="372" y="78"/>
                  </a:lnTo>
                  <a:lnTo>
                    <a:pt x="366" y="78"/>
                  </a:lnTo>
                  <a:lnTo>
                    <a:pt x="372" y="78"/>
                  </a:lnTo>
                  <a:lnTo>
                    <a:pt x="366" y="78"/>
                  </a:lnTo>
                  <a:lnTo>
                    <a:pt x="366" y="72"/>
                  </a:lnTo>
                  <a:lnTo>
                    <a:pt x="366" y="66"/>
                  </a:lnTo>
                  <a:lnTo>
                    <a:pt x="360" y="66"/>
                  </a:lnTo>
                  <a:lnTo>
                    <a:pt x="360" y="72"/>
                  </a:lnTo>
                  <a:lnTo>
                    <a:pt x="354" y="72"/>
                  </a:lnTo>
                  <a:lnTo>
                    <a:pt x="354" y="66"/>
                  </a:lnTo>
                  <a:lnTo>
                    <a:pt x="354" y="60"/>
                  </a:lnTo>
                  <a:lnTo>
                    <a:pt x="360" y="60"/>
                  </a:lnTo>
                  <a:lnTo>
                    <a:pt x="360" y="54"/>
                  </a:lnTo>
                  <a:lnTo>
                    <a:pt x="366" y="54"/>
                  </a:lnTo>
                  <a:lnTo>
                    <a:pt x="372" y="54"/>
                  </a:lnTo>
                  <a:lnTo>
                    <a:pt x="372" y="48"/>
                  </a:lnTo>
                  <a:lnTo>
                    <a:pt x="378" y="48"/>
                  </a:lnTo>
                  <a:lnTo>
                    <a:pt x="378" y="42"/>
                  </a:lnTo>
                  <a:lnTo>
                    <a:pt x="384" y="36"/>
                  </a:lnTo>
                  <a:lnTo>
                    <a:pt x="384" y="30"/>
                  </a:lnTo>
                  <a:lnTo>
                    <a:pt x="390" y="30"/>
                  </a:lnTo>
                  <a:lnTo>
                    <a:pt x="390" y="24"/>
                  </a:lnTo>
                  <a:lnTo>
                    <a:pt x="384" y="18"/>
                  </a:lnTo>
                  <a:lnTo>
                    <a:pt x="390" y="18"/>
                  </a:lnTo>
                  <a:lnTo>
                    <a:pt x="396" y="18"/>
                  </a:lnTo>
                  <a:lnTo>
                    <a:pt x="402" y="12"/>
                  </a:lnTo>
                  <a:lnTo>
                    <a:pt x="408" y="12"/>
                  </a:lnTo>
                  <a:lnTo>
                    <a:pt x="414" y="12"/>
                  </a:lnTo>
                  <a:lnTo>
                    <a:pt x="420" y="12"/>
                  </a:lnTo>
                  <a:lnTo>
                    <a:pt x="426" y="12"/>
                  </a:lnTo>
                  <a:lnTo>
                    <a:pt x="432" y="12"/>
                  </a:lnTo>
                  <a:lnTo>
                    <a:pt x="438" y="12"/>
                  </a:lnTo>
                  <a:lnTo>
                    <a:pt x="444" y="6"/>
                  </a:lnTo>
                  <a:lnTo>
                    <a:pt x="456" y="6"/>
                  </a:lnTo>
                  <a:lnTo>
                    <a:pt x="462" y="6"/>
                  </a:lnTo>
                  <a:lnTo>
                    <a:pt x="468" y="6"/>
                  </a:lnTo>
                  <a:lnTo>
                    <a:pt x="474" y="6"/>
                  </a:lnTo>
                  <a:lnTo>
                    <a:pt x="480" y="6"/>
                  </a:lnTo>
                  <a:lnTo>
                    <a:pt x="486" y="6"/>
                  </a:lnTo>
                  <a:lnTo>
                    <a:pt x="492" y="0"/>
                  </a:lnTo>
                  <a:lnTo>
                    <a:pt x="492" y="6"/>
                  </a:lnTo>
                  <a:lnTo>
                    <a:pt x="498" y="12"/>
                  </a:lnTo>
                  <a:lnTo>
                    <a:pt x="498" y="18"/>
                  </a:lnTo>
                  <a:lnTo>
                    <a:pt x="504" y="24"/>
                  </a:lnTo>
                  <a:lnTo>
                    <a:pt x="510" y="24"/>
                  </a:lnTo>
                  <a:lnTo>
                    <a:pt x="516" y="24"/>
                  </a:lnTo>
                  <a:lnTo>
                    <a:pt x="522" y="24"/>
                  </a:lnTo>
                  <a:lnTo>
                    <a:pt x="528" y="24"/>
                  </a:lnTo>
                  <a:lnTo>
                    <a:pt x="528" y="30"/>
                  </a:lnTo>
                  <a:lnTo>
                    <a:pt x="534" y="30"/>
                  </a:lnTo>
                  <a:lnTo>
                    <a:pt x="534" y="36"/>
                  </a:lnTo>
                  <a:lnTo>
                    <a:pt x="540" y="42"/>
                  </a:lnTo>
                  <a:lnTo>
                    <a:pt x="546" y="42"/>
                  </a:lnTo>
                  <a:lnTo>
                    <a:pt x="552" y="42"/>
                  </a:lnTo>
                  <a:lnTo>
                    <a:pt x="552" y="48"/>
                  </a:lnTo>
                  <a:lnTo>
                    <a:pt x="558" y="48"/>
                  </a:lnTo>
                  <a:lnTo>
                    <a:pt x="564" y="48"/>
                  </a:lnTo>
                  <a:lnTo>
                    <a:pt x="570" y="48"/>
                  </a:lnTo>
                  <a:lnTo>
                    <a:pt x="570" y="54"/>
                  </a:lnTo>
                  <a:lnTo>
                    <a:pt x="576" y="54"/>
                  </a:lnTo>
                  <a:lnTo>
                    <a:pt x="582" y="54"/>
                  </a:lnTo>
                  <a:lnTo>
                    <a:pt x="588" y="54"/>
                  </a:lnTo>
                  <a:lnTo>
                    <a:pt x="582" y="54"/>
                  </a:lnTo>
                  <a:lnTo>
                    <a:pt x="588" y="60"/>
                  </a:lnTo>
                  <a:lnTo>
                    <a:pt x="594" y="60"/>
                  </a:lnTo>
                  <a:lnTo>
                    <a:pt x="600" y="60"/>
                  </a:lnTo>
                  <a:lnTo>
                    <a:pt x="600" y="66"/>
                  </a:lnTo>
                  <a:lnTo>
                    <a:pt x="606" y="66"/>
                  </a:lnTo>
                  <a:lnTo>
                    <a:pt x="612" y="66"/>
                  </a:lnTo>
                  <a:lnTo>
                    <a:pt x="612" y="72"/>
                  </a:lnTo>
                  <a:lnTo>
                    <a:pt x="612" y="78"/>
                  </a:lnTo>
                  <a:lnTo>
                    <a:pt x="618" y="78"/>
                  </a:lnTo>
                  <a:lnTo>
                    <a:pt x="612" y="78"/>
                  </a:lnTo>
                  <a:lnTo>
                    <a:pt x="612" y="84"/>
                  </a:lnTo>
                  <a:lnTo>
                    <a:pt x="618" y="84"/>
                  </a:lnTo>
                  <a:lnTo>
                    <a:pt x="618" y="78"/>
                  </a:lnTo>
                  <a:lnTo>
                    <a:pt x="618" y="84"/>
                  </a:lnTo>
                  <a:lnTo>
                    <a:pt x="624" y="78"/>
                  </a:lnTo>
                  <a:lnTo>
                    <a:pt x="624" y="84"/>
                  </a:lnTo>
                  <a:lnTo>
                    <a:pt x="624" y="78"/>
                  </a:lnTo>
                  <a:lnTo>
                    <a:pt x="624" y="84"/>
                  </a:lnTo>
                  <a:lnTo>
                    <a:pt x="624" y="90"/>
                  </a:lnTo>
                  <a:lnTo>
                    <a:pt x="630" y="90"/>
                  </a:lnTo>
                  <a:lnTo>
                    <a:pt x="630" y="96"/>
                  </a:lnTo>
                  <a:lnTo>
                    <a:pt x="636" y="96"/>
                  </a:lnTo>
                  <a:lnTo>
                    <a:pt x="636" y="102"/>
                  </a:lnTo>
                  <a:lnTo>
                    <a:pt x="630" y="102"/>
                  </a:lnTo>
                  <a:lnTo>
                    <a:pt x="630" y="108"/>
                  </a:lnTo>
                  <a:lnTo>
                    <a:pt x="636" y="108"/>
                  </a:lnTo>
                  <a:lnTo>
                    <a:pt x="636" y="114"/>
                  </a:lnTo>
                  <a:lnTo>
                    <a:pt x="642" y="114"/>
                  </a:lnTo>
                  <a:lnTo>
                    <a:pt x="642" y="120"/>
                  </a:lnTo>
                  <a:lnTo>
                    <a:pt x="642" y="126"/>
                  </a:lnTo>
                  <a:lnTo>
                    <a:pt x="648" y="126"/>
                  </a:lnTo>
                  <a:lnTo>
                    <a:pt x="648" y="132"/>
                  </a:lnTo>
                  <a:lnTo>
                    <a:pt x="654" y="132"/>
                  </a:lnTo>
                  <a:lnTo>
                    <a:pt x="654" y="138"/>
                  </a:lnTo>
                  <a:lnTo>
                    <a:pt x="648" y="138"/>
                  </a:lnTo>
                  <a:lnTo>
                    <a:pt x="648" y="144"/>
                  </a:lnTo>
                  <a:lnTo>
                    <a:pt x="642" y="144"/>
                  </a:lnTo>
                  <a:lnTo>
                    <a:pt x="642" y="150"/>
                  </a:lnTo>
                  <a:lnTo>
                    <a:pt x="636" y="150"/>
                  </a:lnTo>
                  <a:lnTo>
                    <a:pt x="630" y="150"/>
                  </a:lnTo>
                  <a:lnTo>
                    <a:pt x="630" y="156"/>
                  </a:lnTo>
                  <a:lnTo>
                    <a:pt x="630" y="162"/>
                  </a:lnTo>
                  <a:lnTo>
                    <a:pt x="636" y="162"/>
                  </a:lnTo>
                  <a:lnTo>
                    <a:pt x="636" y="168"/>
                  </a:lnTo>
                  <a:lnTo>
                    <a:pt x="636" y="174"/>
                  </a:lnTo>
                  <a:lnTo>
                    <a:pt x="630" y="174"/>
                  </a:lnTo>
                  <a:lnTo>
                    <a:pt x="630" y="180"/>
                  </a:lnTo>
                  <a:lnTo>
                    <a:pt x="630" y="186"/>
                  </a:lnTo>
                  <a:lnTo>
                    <a:pt x="630" y="180"/>
                  </a:lnTo>
                  <a:lnTo>
                    <a:pt x="624" y="180"/>
                  </a:lnTo>
                  <a:lnTo>
                    <a:pt x="624" y="186"/>
                  </a:lnTo>
                  <a:lnTo>
                    <a:pt x="630" y="186"/>
                  </a:lnTo>
                  <a:lnTo>
                    <a:pt x="624" y="186"/>
                  </a:lnTo>
                  <a:lnTo>
                    <a:pt x="630" y="186"/>
                  </a:lnTo>
                  <a:lnTo>
                    <a:pt x="630" y="192"/>
                  </a:lnTo>
                  <a:lnTo>
                    <a:pt x="624" y="192"/>
                  </a:lnTo>
                  <a:lnTo>
                    <a:pt x="630" y="192"/>
                  </a:lnTo>
                  <a:lnTo>
                    <a:pt x="630" y="198"/>
                  </a:lnTo>
                  <a:lnTo>
                    <a:pt x="630" y="204"/>
                  </a:lnTo>
                  <a:lnTo>
                    <a:pt x="630" y="210"/>
                  </a:lnTo>
                  <a:lnTo>
                    <a:pt x="630" y="216"/>
                  </a:lnTo>
                  <a:lnTo>
                    <a:pt x="630" y="222"/>
                  </a:lnTo>
                  <a:lnTo>
                    <a:pt x="630" y="228"/>
                  </a:lnTo>
                  <a:lnTo>
                    <a:pt x="630" y="234"/>
                  </a:lnTo>
                  <a:lnTo>
                    <a:pt x="636" y="234"/>
                  </a:lnTo>
                  <a:lnTo>
                    <a:pt x="642" y="234"/>
                  </a:lnTo>
                  <a:lnTo>
                    <a:pt x="642" y="240"/>
                  </a:lnTo>
                  <a:lnTo>
                    <a:pt x="636" y="240"/>
                  </a:lnTo>
                  <a:lnTo>
                    <a:pt x="636" y="246"/>
                  </a:lnTo>
                  <a:lnTo>
                    <a:pt x="630" y="246"/>
                  </a:lnTo>
                  <a:lnTo>
                    <a:pt x="624" y="252"/>
                  </a:lnTo>
                  <a:lnTo>
                    <a:pt x="618" y="252"/>
                  </a:lnTo>
                  <a:lnTo>
                    <a:pt x="612" y="252"/>
                  </a:lnTo>
                  <a:lnTo>
                    <a:pt x="612" y="258"/>
                  </a:lnTo>
                  <a:lnTo>
                    <a:pt x="612" y="264"/>
                  </a:lnTo>
                  <a:lnTo>
                    <a:pt x="612" y="270"/>
                  </a:lnTo>
                  <a:lnTo>
                    <a:pt x="612" y="276"/>
                  </a:lnTo>
                  <a:lnTo>
                    <a:pt x="612" y="282"/>
                  </a:lnTo>
                  <a:lnTo>
                    <a:pt x="612" y="288"/>
                  </a:lnTo>
                  <a:lnTo>
                    <a:pt x="612" y="294"/>
                  </a:lnTo>
                  <a:lnTo>
                    <a:pt x="606" y="294"/>
                  </a:lnTo>
                  <a:lnTo>
                    <a:pt x="606" y="300"/>
                  </a:lnTo>
                  <a:lnTo>
                    <a:pt x="606" y="306"/>
                  </a:lnTo>
                  <a:lnTo>
                    <a:pt x="600" y="306"/>
                  </a:lnTo>
                  <a:lnTo>
                    <a:pt x="594" y="306"/>
                  </a:lnTo>
                  <a:lnTo>
                    <a:pt x="600" y="312"/>
                  </a:lnTo>
                  <a:lnTo>
                    <a:pt x="606" y="312"/>
                  </a:lnTo>
                  <a:lnTo>
                    <a:pt x="600" y="318"/>
                  </a:lnTo>
                  <a:lnTo>
                    <a:pt x="606" y="318"/>
                  </a:lnTo>
                  <a:lnTo>
                    <a:pt x="606" y="324"/>
                  </a:lnTo>
                  <a:lnTo>
                    <a:pt x="612" y="324"/>
                  </a:lnTo>
                  <a:lnTo>
                    <a:pt x="612" y="330"/>
                  </a:lnTo>
                  <a:lnTo>
                    <a:pt x="612" y="324"/>
                  </a:lnTo>
                  <a:lnTo>
                    <a:pt x="612" y="330"/>
                  </a:lnTo>
                  <a:lnTo>
                    <a:pt x="618" y="336"/>
                  </a:lnTo>
                  <a:lnTo>
                    <a:pt x="618" y="330"/>
                  </a:lnTo>
                  <a:lnTo>
                    <a:pt x="624" y="330"/>
                  </a:lnTo>
                  <a:lnTo>
                    <a:pt x="624" y="324"/>
                  </a:lnTo>
                  <a:lnTo>
                    <a:pt x="624" y="330"/>
                  </a:lnTo>
                  <a:lnTo>
                    <a:pt x="618" y="336"/>
                  </a:lnTo>
                  <a:lnTo>
                    <a:pt x="612" y="336"/>
                  </a:lnTo>
                  <a:lnTo>
                    <a:pt x="606" y="336"/>
                  </a:lnTo>
                  <a:lnTo>
                    <a:pt x="594" y="342"/>
                  </a:lnTo>
                  <a:lnTo>
                    <a:pt x="588" y="342"/>
                  </a:lnTo>
                  <a:lnTo>
                    <a:pt x="582" y="348"/>
                  </a:lnTo>
                  <a:lnTo>
                    <a:pt x="576" y="348"/>
                  </a:lnTo>
                  <a:lnTo>
                    <a:pt x="570" y="348"/>
                  </a:lnTo>
                  <a:lnTo>
                    <a:pt x="564" y="348"/>
                  </a:lnTo>
                  <a:lnTo>
                    <a:pt x="564" y="354"/>
                  </a:lnTo>
                  <a:lnTo>
                    <a:pt x="558" y="354"/>
                  </a:lnTo>
                  <a:lnTo>
                    <a:pt x="552" y="354"/>
                  </a:lnTo>
                  <a:lnTo>
                    <a:pt x="546" y="360"/>
                  </a:lnTo>
                  <a:lnTo>
                    <a:pt x="540" y="360"/>
                  </a:lnTo>
                  <a:lnTo>
                    <a:pt x="534" y="360"/>
                  </a:lnTo>
                  <a:lnTo>
                    <a:pt x="534" y="366"/>
                  </a:lnTo>
                  <a:lnTo>
                    <a:pt x="528" y="366"/>
                  </a:lnTo>
                  <a:lnTo>
                    <a:pt x="522" y="366"/>
                  </a:lnTo>
                  <a:lnTo>
                    <a:pt x="516" y="366"/>
                  </a:lnTo>
                  <a:lnTo>
                    <a:pt x="510" y="372"/>
                  </a:lnTo>
                  <a:lnTo>
                    <a:pt x="504" y="372"/>
                  </a:lnTo>
                  <a:lnTo>
                    <a:pt x="492" y="378"/>
                  </a:lnTo>
                  <a:lnTo>
                    <a:pt x="486" y="378"/>
                  </a:lnTo>
                  <a:lnTo>
                    <a:pt x="480" y="378"/>
                  </a:lnTo>
                  <a:lnTo>
                    <a:pt x="474" y="384"/>
                  </a:lnTo>
                  <a:lnTo>
                    <a:pt x="468" y="384"/>
                  </a:lnTo>
                  <a:lnTo>
                    <a:pt x="462" y="384"/>
                  </a:lnTo>
                  <a:lnTo>
                    <a:pt x="456" y="390"/>
                  </a:lnTo>
                  <a:lnTo>
                    <a:pt x="462" y="390"/>
                  </a:lnTo>
                  <a:lnTo>
                    <a:pt x="456" y="390"/>
                  </a:lnTo>
                  <a:lnTo>
                    <a:pt x="456" y="396"/>
                  </a:lnTo>
                  <a:lnTo>
                    <a:pt x="462" y="396"/>
                  </a:lnTo>
                  <a:lnTo>
                    <a:pt x="462" y="402"/>
                  </a:lnTo>
                  <a:lnTo>
                    <a:pt x="468" y="408"/>
                  </a:lnTo>
                  <a:lnTo>
                    <a:pt x="468" y="414"/>
                  </a:lnTo>
                  <a:lnTo>
                    <a:pt x="468" y="420"/>
                  </a:lnTo>
                  <a:lnTo>
                    <a:pt x="468" y="426"/>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2" name="Freeform 55"/>
            <p:cNvSpPr>
              <a:spLocks noEditPoints="1"/>
            </p:cNvSpPr>
            <p:nvPr>
              <p:custDataLst>
                <p:tags r:id="rId50"/>
              </p:custDataLst>
            </p:nvPr>
          </p:nvSpPr>
          <p:spPr bwMode="gray">
            <a:xfrm>
              <a:off x="2949670" y="4071948"/>
              <a:ext cx="165716" cy="388176"/>
            </a:xfrm>
            <a:custGeom>
              <a:avLst/>
              <a:gdLst>
                <a:gd name="T0" fmla="*/ 10861 w 180"/>
                <a:gd name="T1" fmla="*/ 1941 h 444"/>
                <a:gd name="T2" fmla="*/ 15798 w 180"/>
                <a:gd name="T3" fmla="*/ 3881 h 444"/>
                <a:gd name="T4" fmla="*/ 22710 w 180"/>
                <a:gd name="T5" fmla="*/ 3881 h 444"/>
                <a:gd name="T6" fmla="*/ 26660 w 180"/>
                <a:gd name="T7" fmla="*/ 6792 h 444"/>
                <a:gd name="T8" fmla="*/ 30609 w 180"/>
                <a:gd name="T9" fmla="*/ 3881 h 444"/>
                <a:gd name="T10" fmla="*/ 37521 w 180"/>
                <a:gd name="T11" fmla="*/ 12613 h 444"/>
                <a:gd name="T12" fmla="*/ 37521 w 180"/>
                <a:gd name="T13" fmla="*/ 14553 h 444"/>
                <a:gd name="T14" fmla="*/ 39496 w 180"/>
                <a:gd name="T15" fmla="*/ 23285 h 444"/>
                <a:gd name="T16" fmla="*/ 39496 w 180"/>
                <a:gd name="T17" fmla="*/ 30076 h 444"/>
                <a:gd name="T18" fmla="*/ 39496 w 180"/>
                <a:gd name="T19" fmla="*/ 33958 h 444"/>
                <a:gd name="T20" fmla="*/ 46407 w 180"/>
                <a:gd name="T21" fmla="*/ 40749 h 444"/>
                <a:gd name="T22" fmla="*/ 39496 w 180"/>
                <a:gd name="T23" fmla="*/ 44630 h 444"/>
                <a:gd name="T24" fmla="*/ 35546 w 180"/>
                <a:gd name="T25" fmla="*/ 57242 h 444"/>
                <a:gd name="T26" fmla="*/ 37521 w 180"/>
                <a:gd name="T27" fmla="*/ 70826 h 444"/>
                <a:gd name="T28" fmla="*/ 37521 w 180"/>
                <a:gd name="T29" fmla="*/ 79558 h 444"/>
                <a:gd name="T30" fmla="*/ 44433 w 180"/>
                <a:gd name="T31" fmla="*/ 83439 h 444"/>
                <a:gd name="T32" fmla="*/ 53319 w 180"/>
                <a:gd name="T33" fmla="*/ 92171 h 444"/>
                <a:gd name="T34" fmla="*/ 64180 w 180"/>
                <a:gd name="T35" fmla="*/ 106724 h 444"/>
                <a:gd name="T36" fmla="*/ 66155 w 180"/>
                <a:gd name="T37" fmla="*/ 121277 h 444"/>
                <a:gd name="T38" fmla="*/ 64180 w 180"/>
                <a:gd name="T39" fmla="*/ 134860 h 444"/>
                <a:gd name="T40" fmla="*/ 57269 w 180"/>
                <a:gd name="T41" fmla="*/ 138741 h 444"/>
                <a:gd name="T42" fmla="*/ 53319 w 180"/>
                <a:gd name="T43" fmla="*/ 140681 h 444"/>
                <a:gd name="T44" fmla="*/ 50357 w 180"/>
                <a:gd name="T45" fmla="*/ 145533 h 444"/>
                <a:gd name="T46" fmla="*/ 55294 w 180"/>
                <a:gd name="T47" fmla="*/ 151354 h 444"/>
                <a:gd name="T48" fmla="*/ 55294 w 180"/>
                <a:gd name="T49" fmla="*/ 158145 h 444"/>
                <a:gd name="T50" fmla="*/ 50357 w 180"/>
                <a:gd name="T51" fmla="*/ 154264 h 444"/>
                <a:gd name="T52" fmla="*/ 46407 w 180"/>
                <a:gd name="T53" fmla="*/ 149413 h 444"/>
                <a:gd name="T54" fmla="*/ 39496 w 180"/>
                <a:gd name="T55" fmla="*/ 140681 h 444"/>
                <a:gd name="T56" fmla="*/ 37521 w 180"/>
                <a:gd name="T57" fmla="*/ 136801 h 444"/>
                <a:gd name="T58" fmla="*/ 33571 w 180"/>
                <a:gd name="T59" fmla="*/ 130979 h 444"/>
                <a:gd name="T60" fmla="*/ 35546 w 180"/>
                <a:gd name="T61" fmla="*/ 126128 h 444"/>
                <a:gd name="T62" fmla="*/ 39496 w 180"/>
                <a:gd name="T63" fmla="*/ 120307 h 444"/>
                <a:gd name="T64" fmla="*/ 39496 w 180"/>
                <a:gd name="T65" fmla="*/ 108664 h 444"/>
                <a:gd name="T66" fmla="*/ 37521 w 180"/>
                <a:gd name="T67" fmla="*/ 104783 h 444"/>
                <a:gd name="T68" fmla="*/ 28634 w 180"/>
                <a:gd name="T69" fmla="*/ 104783 h 444"/>
                <a:gd name="T70" fmla="*/ 19747 w 180"/>
                <a:gd name="T71" fmla="*/ 106724 h 444"/>
                <a:gd name="T72" fmla="*/ 15798 w 180"/>
                <a:gd name="T73" fmla="*/ 100903 h 444"/>
                <a:gd name="T74" fmla="*/ 10861 w 180"/>
                <a:gd name="T75" fmla="*/ 94111 h 444"/>
                <a:gd name="T76" fmla="*/ 6911 w 180"/>
                <a:gd name="T77" fmla="*/ 94111 h 444"/>
                <a:gd name="T78" fmla="*/ 3949 w 180"/>
                <a:gd name="T79" fmla="*/ 90230 h 444"/>
                <a:gd name="T80" fmla="*/ 1975 w 180"/>
                <a:gd name="T81" fmla="*/ 85379 h 444"/>
                <a:gd name="T82" fmla="*/ 6911 w 180"/>
                <a:gd name="T83" fmla="*/ 79558 h 444"/>
                <a:gd name="T84" fmla="*/ 6911 w 180"/>
                <a:gd name="T85" fmla="*/ 67915 h 444"/>
                <a:gd name="T86" fmla="*/ 15798 w 180"/>
                <a:gd name="T87" fmla="*/ 64034 h 444"/>
                <a:gd name="T88" fmla="*/ 12836 w 180"/>
                <a:gd name="T89" fmla="*/ 60154 h 444"/>
                <a:gd name="T90" fmla="*/ 12836 w 180"/>
                <a:gd name="T91" fmla="*/ 49481 h 444"/>
                <a:gd name="T92" fmla="*/ 12836 w 180"/>
                <a:gd name="T93" fmla="*/ 42690 h 444"/>
                <a:gd name="T94" fmla="*/ 12836 w 180"/>
                <a:gd name="T95" fmla="*/ 40749 h 444"/>
                <a:gd name="T96" fmla="*/ 15798 w 180"/>
                <a:gd name="T97" fmla="*/ 36868 h 444"/>
                <a:gd name="T98" fmla="*/ 15798 w 180"/>
                <a:gd name="T99" fmla="*/ 30076 h 444"/>
                <a:gd name="T100" fmla="*/ 22710 w 180"/>
                <a:gd name="T101" fmla="*/ 26196 h 444"/>
                <a:gd name="T102" fmla="*/ 17773 w 180"/>
                <a:gd name="T103" fmla="*/ 19405 h 444"/>
                <a:gd name="T104" fmla="*/ 12836 w 180"/>
                <a:gd name="T105" fmla="*/ 12613 h 444"/>
                <a:gd name="T106" fmla="*/ 10861 w 180"/>
                <a:gd name="T107" fmla="*/ 8732 h 444"/>
                <a:gd name="T108" fmla="*/ 8887 w 180"/>
                <a:gd name="T109" fmla="*/ 6792 h 444"/>
                <a:gd name="T110" fmla="*/ 8887 w 180"/>
                <a:gd name="T111" fmla="*/ 3881 h 444"/>
                <a:gd name="T112" fmla="*/ 44433 w 180"/>
                <a:gd name="T113" fmla="*/ 56273 h 4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0" h="444">
                  <a:moveTo>
                    <a:pt x="18" y="6"/>
                  </a:moveTo>
                  <a:lnTo>
                    <a:pt x="18" y="0"/>
                  </a:lnTo>
                  <a:lnTo>
                    <a:pt x="18" y="6"/>
                  </a:lnTo>
                  <a:lnTo>
                    <a:pt x="24" y="6"/>
                  </a:lnTo>
                  <a:lnTo>
                    <a:pt x="30" y="6"/>
                  </a:lnTo>
                  <a:lnTo>
                    <a:pt x="30" y="12"/>
                  </a:lnTo>
                  <a:lnTo>
                    <a:pt x="30" y="6"/>
                  </a:lnTo>
                  <a:lnTo>
                    <a:pt x="36" y="6"/>
                  </a:lnTo>
                  <a:lnTo>
                    <a:pt x="36" y="12"/>
                  </a:lnTo>
                  <a:lnTo>
                    <a:pt x="42" y="12"/>
                  </a:lnTo>
                  <a:lnTo>
                    <a:pt x="42" y="18"/>
                  </a:lnTo>
                  <a:lnTo>
                    <a:pt x="48" y="18"/>
                  </a:lnTo>
                  <a:lnTo>
                    <a:pt x="48" y="12"/>
                  </a:lnTo>
                  <a:lnTo>
                    <a:pt x="54" y="12"/>
                  </a:lnTo>
                  <a:lnTo>
                    <a:pt x="60" y="12"/>
                  </a:lnTo>
                  <a:lnTo>
                    <a:pt x="60" y="18"/>
                  </a:lnTo>
                  <a:lnTo>
                    <a:pt x="60" y="12"/>
                  </a:lnTo>
                  <a:lnTo>
                    <a:pt x="66" y="12"/>
                  </a:lnTo>
                  <a:lnTo>
                    <a:pt x="66" y="18"/>
                  </a:lnTo>
                  <a:lnTo>
                    <a:pt x="72" y="18"/>
                  </a:lnTo>
                  <a:lnTo>
                    <a:pt x="72" y="12"/>
                  </a:lnTo>
                  <a:lnTo>
                    <a:pt x="78" y="12"/>
                  </a:lnTo>
                  <a:lnTo>
                    <a:pt x="78" y="6"/>
                  </a:lnTo>
                  <a:lnTo>
                    <a:pt x="78" y="12"/>
                  </a:lnTo>
                  <a:lnTo>
                    <a:pt x="84" y="12"/>
                  </a:lnTo>
                  <a:lnTo>
                    <a:pt x="90" y="24"/>
                  </a:lnTo>
                  <a:lnTo>
                    <a:pt x="96" y="24"/>
                  </a:lnTo>
                  <a:lnTo>
                    <a:pt x="96" y="30"/>
                  </a:lnTo>
                  <a:lnTo>
                    <a:pt x="102" y="30"/>
                  </a:lnTo>
                  <a:lnTo>
                    <a:pt x="102" y="36"/>
                  </a:lnTo>
                  <a:lnTo>
                    <a:pt x="102" y="42"/>
                  </a:lnTo>
                  <a:lnTo>
                    <a:pt x="108" y="42"/>
                  </a:lnTo>
                  <a:lnTo>
                    <a:pt x="102" y="42"/>
                  </a:lnTo>
                  <a:lnTo>
                    <a:pt x="108" y="42"/>
                  </a:lnTo>
                  <a:lnTo>
                    <a:pt x="102" y="42"/>
                  </a:lnTo>
                  <a:lnTo>
                    <a:pt x="108" y="42"/>
                  </a:lnTo>
                  <a:lnTo>
                    <a:pt x="108" y="48"/>
                  </a:lnTo>
                  <a:lnTo>
                    <a:pt x="108" y="54"/>
                  </a:lnTo>
                  <a:lnTo>
                    <a:pt x="108" y="60"/>
                  </a:lnTo>
                  <a:lnTo>
                    <a:pt x="108" y="66"/>
                  </a:lnTo>
                  <a:lnTo>
                    <a:pt x="108" y="72"/>
                  </a:lnTo>
                  <a:lnTo>
                    <a:pt x="108" y="78"/>
                  </a:lnTo>
                  <a:lnTo>
                    <a:pt x="114" y="78"/>
                  </a:lnTo>
                  <a:lnTo>
                    <a:pt x="114" y="84"/>
                  </a:lnTo>
                  <a:lnTo>
                    <a:pt x="108" y="84"/>
                  </a:lnTo>
                  <a:lnTo>
                    <a:pt x="114" y="84"/>
                  </a:lnTo>
                  <a:lnTo>
                    <a:pt x="108" y="90"/>
                  </a:lnTo>
                  <a:lnTo>
                    <a:pt x="114" y="90"/>
                  </a:lnTo>
                  <a:lnTo>
                    <a:pt x="108" y="90"/>
                  </a:lnTo>
                  <a:lnTo>
                    <a:pt x="108" y="96"/>
                  </a:lnTo>
                  <a:lnTo>
                    <a:pt x="108" y="102"/>
                  </a:lnTo>
                  <a:lnTo>
                    <a:pt x="114" y="102"/>
                  </a:lnTo>
                  <a:lnTo>
                    <a:pt x="120" y="108"/>
                  </a:lnTo>
                  <a:lnTo>
                    <a:pt x="120" y="114"/>
                  </a:lnTo>
                  <a:lnTo>
                    <a:pt x="126" y="114"/>
                  </a:lnTo>
                  <a:lnTo>
                    <a:pt x="126" y="120"/>
                  </a:lnTo>
                  <a:lnTo>
                    <a:pt x="126" y="126"/>
                  </a:lnTo>
                  <a:lnTo>
                    <a:pt x="120" y="126"/>
                  </a:lnTo>
                  <a:lnTo>
                    <a:pt x="114" y="126"/>
                  </a:lnTo>
                  <a:lnTo>
                    <a:pt x="108" y="126"/>
                  </a:lnTo>
                  <a:lnTo>
                    <a:pt x="108" y="132"/>
                  </a:lnTo>
                  <a:lnTo>
                    <a:pt x="108" y="138"/>
                  </a:lnTo>
                  <a:lnTo>
                    <a:pt x="102" y="150"/>
                  </a:lnTo>
                  <a:lnTo>
                    <a:pt x="102" y="156"/>
                  </a:lnTo>
                  <a:lnTo>
                    <a:pt x="96" y="162"/>
                  </a:lnTo>
                  <a:lnTo>
                    <a:pt x="96" y="168"/>
                  </a:lnTo>
                  <a:lnTo>
                    <a:pt x="102" y="180"/>
                  </a:lnTo>
                  <a:lnTo>
                    <a:pt x="102" y="186"/>
                  </a:lnTo>
                  <a:lnTo>
                    <a:pt x="102" y="192"/>
                  </a:lnTo>
                  <a:lnTo>
                    <a:pt x="102" y="198"/>
                  </a:lnTo>
                  <a:lnTo>
                    <a:pt x="102" y="204"/>
                  </a:lnTo>
                  <a:lnTo>
                    <a:pt x="108" y="210"/>
                  </a:lnTo>
                  <a:lnTo>
                    <a:pt x="108" y="216"/>
                  </a:lnTo>
                  <a:lnTo>
                    <a:pt x="108" y="222"/>
                  </a:lnTo>
                  <a:lnTo>
                    <a:pt x="102" y="222"/>
                  </a:lnTo>
                  <a:lnTo>
                    <a:pt x="102" y="228"/>
                  </a:lnTo>
                  <a:lnTo>
                    <a:pt x="108" y="228"/>
                  </a:lnTo>
                  <a:lnTo>
                    <a:pt x="108" y="234"/>
                  </a:lnTo>
                  <a:lnTo>
                    <a:pt x="114" y="234"/>
                  </a:lnTo>
                  <a:lnTo>
                    <a:pt x="120" y="234"/>
                  </a:lnTo>
                  <a:lnTo>
                    <a:pt x="126" y="234"/>
                  </a:lnTo>
                  <a:lnTo>
                    <a:pt x="132" y="240"/>
                  </a:lnTo>
                  <a:lnTo>
                    <a:pt x="132" y="246"/>
                  </a:lnTo>
                  <a:lnTo>
                    <a:pt x="138" y="246"/>
                  </a:lnTo>
                  <a:lnTo>
                    <a:pt x="144" y="258"/>
                  </a:lnTo>
                  <a:lnTo>
                    <a:pt x="150" y="264"/>
                  </a:lnTo>
                  <a:lnTo>
                    <a:pt x="156" y="276"/>
                  </a:lnTo>
                  <a:lnTo>
                    <a:pt x="162" y="282"/>
                  </a:lnTo>
                  <a:lnTo>
                    <a:pt x="174" y="294"/>
                  </a:lnTo>
                  <a:lnTo>
                    <a:pt x="174" y="300"/>
                  </a:lnTo>
                  <a:lnTo>
                    <a:pt x="180" y="306"/>
                  </a:lnTo>
                  <a:lnTo>
                    <a:pt x="180" y="318"/>
                  </a:lnTo>
                  <a:lnTo>
                    <a:pt x="174" y="330"/>
                  </a:lnTo>
                  <a:lnTo>
                    <a:pt x="174" y="336"/>
                  </a:lnTo>
                  <a:lnTo>
                    <a:pt x="180" y="342"/>
                  </a:lnTo>
                  <a:lnTo>
                    <a:pt x="180" y="348"/>
                  </a:lnTo>
                  <a:lnTo>
                    <a:pt x="180" y="354"/>
                  </a:lnTo>
                  <a:lnTo>
                    <a:pt x="180" y="360"/>
                  </a:lnTo>
                  <a:lnTo>
                    <a:pt x="174" y="372"/>
                  </a:lnTo>
                  <a:lnTo>
                    <a:pt x="174" y="378"/>
                  </a:lnTo>
                  <a:lnTo>
                    <a:pt x="174" y="384"/>
                  </a:lnTo>
                  <a:lnTo>
                    <a:pt x="168" y="384"/>
                  </a:lnTo>
                  <a:lnTo>
                    <a:pt x="168" y="390"/>
                  </a:lnTo>
                  <a:lnTo>
                    <a:pt x="162" y="390"/>
                  </a:lnTo>
                  <a:lnTo>
                    <a:pt x="156" y="390"/>
                  </a:lnTo>
                  <a:lnTo>
                    <a:pt x="156" y="384"/>
                  </a:lnTo>
                  <a:lnTo>
                    <a:pt x="156" y="390"/>
                  </a:lnTo>
                  <a:lnTo>
                    <a:pt x="150" y="390"/>
                  </a:lnTo>
                  <a:lnTo>
                    <a:pt x="150" y="396"/>
                  </a:lnTo>
                  <a:lnTo>
                    <a:pt x="144" y="396"/>
                  </a:lnTo>
                  <a:lnTo>
                    <a:pt x="144" y="402"/>
                  </a:lnTo>
                  <a:lnTo>
                    <a:pt x="150" y="402"/>
                  </a:lnTo>
                  <a:lnTo>
                    <a:pt x="144" y="402"/>
                  </a:lnTo>
                  <a:lnTo>
                    <a:pt x="144" y="408"/>
                  </a:lnTo>
                  <a:lnTo>
                    <a:pt x="138" y="408"/>
                  </a:lnTo>
                  <a:lnTo>
                    <a:pt x="138" y="414"/>
                  </a:lnTo>
                  <a:lnTo>
                    <a:pt x="144" y="414"/>
                  </a:lnTo>
                  <a:lnTo>
                    <a:pt x="144" y="420"/>
                  </a:lnTo>
                  <a:lnTo>
                    <a:pt x="144" y="426"/>
                  </a:lnTo>
                  <a:lnTo>
                    <a:pt x="150" y="426"/>
                  </a:lnTo>
                  <a:lnTo>
                    <a:pt x="150" y="432"/>
                  </a:lnTo>
                  <a:lnTo>
                    <a:pt x="144" y="432"/>
                  </a:lnTo>
                  <a:lnTo>
                    <a:pt x="144" y="438"/>
                  </a:lnTo>
                  <a:lnTo>
                    <a:pt x="150" y="438"/>
                  </a:lnTo>
                  <a:lnTo>
                    <a:pt x="150" y="444"/>
                  </a:lnTo>
                  <a:lnTo>
                    <a:pt x="138" y="444"/>
                  </a:lnTo>
                  <a:lnTo>
                    <a:pt x="132" y="444"/>
                  </a:lnTo>
                  <a:lnTo>
                    <a:pt x="132" y="438"/>
                  </a:lnTo>
                  <a:lnTo>
                    <a:pt x="138" y="438"/>
                  </a:lnTo>
                  <a:lnTo>
                    <a:pt x="138" y="432"/>
                  </a:lnTo>
                  <a:lnTo>
                    <a:pt x="138" y="426"/>
                  </a:lnTo>
                  <a:lnTo>
                    <a:pt x="132" y="426"/>
                  </a:lnTo>
                  <a:lnTo>
                    <a:pt x="126" y="420"/>
                  </a:lnTo>
                  <a:lnTo>
                    <a:pt x="126" y="426"/>
                  </a:lnTo>
                  <a:lnTo>
                    <a:pt x="126" y="420"/>
                  </a:lnTo>
                  <a:lnTo>
                    <a:pt x="120" y="414"/>
                  </a:lnTo>
                  <a:lnTo>
                    <a:pt x="120" y="408"/>
                  </a:lnTo>
                  <a:lnTo>
                    <a:pt x="114" y="408"/>
                  </a:lnTo>
                  <a:lnTo>
                    <a:pt x="108" y="402"/>
                  </a:lnTo>
                  <a:lnTo>
                    <a:pt x="108" y="396"/>
                  </a:lnTo>
                  <a:lnTo>
                    <a:pt x="102" y="396"/>
                  </a:lnTo>
                  <a:lnTo>
                    <a:pt x="96" y="396"/>
                  </a:lnTo>
                  <a:lnTo>
                    <a:pt x="96" y="390"/>
                  </a:lnTo>
                  <a:lnTo>
                    <a:pt x="96" y="384"/>
                  </a:lnTo>
                  <a:lnTo>
                    <a:pt x="102" y="384"/>
                  </a:lnTo>
                  <a:lnTo>
                    <a:pt x="96" y="384"/>
                  </a:lnTo>
                  <a:lnTo>
                    <a:pt x="96" y="378"/>
                  </a:lnTo>
                  <a:lnTo>
                    <a:pt x="90" y="378"/>
                  </a:lnTo>
                  <a:lnTo>
                    <a:pt x="90" y="372"/>
                  </a:lnTo>
                  <a:lnTo>
                    <a:pt x="90" y="366"/>
                  </a:lnTo>
                  <a:lnTo>
                    <a:pt x="96" y="366"/>
                  </a:lnTo>
                  <a:lnTo>
                    <a:pt x="96" y="360"/>
                  </a:lnTo>
                  <a:lnTo>
                    <a:pt x="102" y="360"/>
                  </a:lnTo>
                  <a:lnTo>
                    <a:pt x="102" y="354"/>
                  </a:lnTo>
                  <a:lnTo>
                    <a:pt x="96" y="354"/>
                  </a:lnTo>
                  <a:lnTo>
                    <a:pt x="96" y="348"/>
                  </a:lnTo>
                  <a:lnTo>
                    <a:pt x="102" y="348"/>
                  </a:lnTo>
                  <a:lnTo>
                    <a:pt x="102" y="342"/>
                  </a:lnTo>
                  <a:lnTo>
                    <a:pt x="108" y="342"/>
                  </a:lnTo>
                  <a:lnTo>
                    <a:pt x="108" y="336"/>
                  </a:lnTo>
                  <a:lnTo>
                    <a:pt x="108" y="330"/>
                  </a:lnTo>
                  <a:lnTo>
                    <a:pt x="108" y="324"/>
                  </a:lnTo>
                  <a:lnTo>
                    <a:pt x="108" y="318"/>
                  </a:lnTo>
                  <a:lnTo>
                    <a:pt x="108" y="312"/>
                  </a:lnTo>
                  <a:lnTo>
                    <a:pt x="108" y="306"/>
                  </a:lnTo>
                  <a:lnTo>
                    <a:pt x="102" y="306"/>
                  </a:lnTo>
                  <a:lnTo>
                    <a:pt x="102" y="300"/>
                  </a:lnTo>
                  <a:lnTo>
                    <a:pt x="108" y="300"/>
                  </a:lnTo>
                  <a:lnTo>
                    <a:pt x="102" y="300"/>
                  </a:lnTo>
                  <a:lnTo>
                    <a:pt x="102" y="294"/>
                  </a:lnTo>
                  <a:lnTo>
                    <a:pt x="96" y="288"/>
                  </a:lnTo>
                  <a:lnTo>
                    <a:pt x="90" y="288"/>
                  </a:lnTo>
                  <a:lnTo>
                    <a:pt x="84" y="288"/>
                  </a:lnTo>
                  <a:lnTo>
                    <a:pt x="78" y="288"/>
                  </a:lnTo>
                  <a:lnTo>
                    <a:pt x="78" y="294"/>
                  </a:lnTo>
                  <a:lnTo>
                    <a:pt x="72" y="294"/>
                  </a:lnTo>
                  <a:lnTo>
                    <a:pt x="66" y="294"/>
                  </a:lnTo>
                  <a:lnTo>
                    <a:pt x="60" y="294"/>
                  </a:lnTo>
                  <a:lnTo>
                    <a:pt x="60" y="300"/>
                  </a:lnTo>
                  <a:lnTo>
                    <a:pt x="54" y="300"/>
                  </a:lnTo>
                  <a:lnTo>
                    <a:pt x="54" y="294"/>
                  </a:lnTo>
                  <a:lnTo>
                    <a:pt x="48" y="294"/>
                  </a:lnTo>
                  <a:lnTo>
                    <a:pt x="48" y="288"/>
                  </a:lnTo>
                  <a:lnTo>
                    <a:pt x="42" y="288"/>
                  </a:lnTo>
                  <a:lnTo>
                    <a:pt x="42" y="282"/>
                  </a:lnTo>
                  <a:lnTo>
                    <a:pt x="42" y="276"/>
                  </a:lnTo>
                  <a:lnTo>
                    <a:pt x="36" y="276"/>
                  </a:lnTo>
                  <a:lnTo>
                    <a:pt x="36" y="270"/>
                  </a:lnTo>
                  <a:lnTo>
                    <a:pt x="36" y="264"/>
                  </a:lnTo>
                  <a:lnTo>
                    <a:pt x="30" y="264"/>
                  </a:lnTo>
                  <a:lnTo>
                    <a:pt x="30" y="258"/>
                  </a:lnTo>
                  <a:lnTo>
                    <a:pt x="30" y="264"/>
                  </a:lnTo>
                  <a:lnTo>
                    <a:pt x="24" y="264"/>
                  </a:lnTo>
                  <a:lnTo>
                    <a:pt x="24" y="270"/>
                  </a:lnTo>
                  <a:lnTo>
                    <a:pt x="18" y="264"/>
                  </a:lnTo>
                  <a:lnTo>
                    <a:pt x="18" y="258"/>
                  </a:lnTo>
                  <a:lnTo>
                    <a:pt x="18" y="264"/>
                  </a:lnTo>
                  <a:lnTo>
                    <a:pt x="18" y="258"/>
                  </a:lnTo>
                  <a:lnTo>
                    <a:pt x="12" y="258"/>
                  </a:lnTo>
                  <a:lnTo>
                    <a:pt x="12" y="252"/>
                  </a:lnTo>
                  <a:lnTo>
                    <a:pt x="6" y="252"/>
                  </a:lnTo>
                  <a:lnTo>
                    <a:pt x="12" y="246"/>
                  </a:lnTo>
                  <a:lnTo>
                    <a:pt x="6" y="246"/>
                  </a:lnTo>
                  <a:lnTo>
                    <a:pt x="0" y="240"/>
                  </a:lnTo>
                  <a:lnTo>
                    <a:pt x="6" y="240"/>
                  </a:lnTo>
                  <a:lnTo>
                    <a:pt x="12" y="240"/>
                  </a:lnTo>
                  <a:lnTo>
                    <a:pt x="12" y="234"/>
                  </a:lnTo>
                  <a:lnTo>
                    <a:pt x="12" y="228"/>
                  </a:lnTo>
                  <a:lnTo>
                    <a:pt x="18" y="228"/>
                  </a:lnTo>
                  <a:lnTo>
                    <a:pt x="18" y="222"/>
                  </a:lnTo>
                  <a:lnTo>
                    <a:pt x="18" y="216"/>
                  </a:lnTo>
                  <a:lnTo>
                    <a:pt x="18" y="210"/>
                  </a:lnTo>
                  <a:lnTo>
                    <a:pt x="18" y="204"/>
                  </a:lnTo>
                  <a:lnTo>
                    <a:pt x="18" y="198"/>
                  </a:lnTo>
                  <a:lnTo>
                    <a:pt x="18" y="192"/>
                  </a:lnTo>
                  <a:lnTo>
                    <a:pt x="18" y="186"/>
                  </a:lnTo>
                  <a:lnTo>
                    <a:pt x="24" y="186"/>
                  </a:lnTo>
                  <a:lnTo>
                    <a:pt x="30" y="186"/>
                  </a:lnTo>
                  <a:lnTo>
                    <a:pt x="36" y="180"/>
                  </a:lnTo>
                  <a:lnTo>
                    <a:pt x="42" y="180"/>
                  </a:lnTo>
                  <a:lnTo>
                    <a:pt x="42" y="174"/>
                  </a:lnTo>
                  <a:lnTo>
                    <a:pt x="48" y="174"/>
                  </a:lnTo>
                  <a:lnTo>
                    <a:pt x="48" y="168"/>
                  </a:lnTo>
                  <a:lnTo>
                    <a:pt x="42" y="168"/>
                  </a:lnTo>
                  <a:lnTo>
                    <a:pt x="36" y="168"/>
                  </a:lnTo>
                  <a:lnTo>
                    <a:pt x="36" y="162"/>
                  </a:lnTo>
                  <a:lnTo>
                    <a:pt x="36" y="156"/>
                  </a:lnTo>
                  <a:lnTo>
                    <a:pt x="36" y="150"/>
                  </a:lnTo>
                  <a:lnTo>
                    <a:pt x="36" y="144"/>
                  </a:lnTo>
                  <a:lnTo>
                    <a:pt x="36" y="138"/>
                  </a:lnTo>
                  <a:lnTo>
                    <a:pt x="36" y="132"/>
                  </a:lnTo>
                  <a:lnTo>
                    <a:pt x="36" y="126"/>
                  </a:lnTo>
                  <a:lnTo>
                    <a:pt x="30" y="126"/>
                  </a:lnTo>
                  <a:lnTo>
                    <a:pt x="36" y="126"/>
                  </a:lnTo>
                  <a:lnTo>
                    <a:pt x="36" y="120"/>
                  </a:lnTo>
                  <a:lnTo>
                    <a:pt x="30" y="120"/>
                  </a:lnTo>
                  <a:lnTo>
                    <a:pt x="36" y="120"/>
                  </a:lnTo>
                  <a:lnTo>
                    <a:pt x="30" y="120"/>
                  </a:lnTo>
                  <a:lnTo>
                    <a:pt x="30" y="114"/>
                  </a:lnTo>
                  <a:lnTo>
                    <a:pt x="36" y="114"/>
                  </a:lnTo>
                  <a:lnTo>
                    <a:pt x="36" y="120"/>
                  </a:lnTo>
                  <a:lnTo>
                    <a:pt x="36" y="114"/>
                  </a:lnTo>
                  <a:lnTo>
                    <a:pt x="36" y="108"/>
                  </a:lnTo>
                  <a:lnTo>
                    <a:pt x="42" y="108"/>
                  </a:lnTo>
                  <a:lnTo>
                    <a:pt x="42" y="102"/>
                  </a:lnTo>
                  <a:lnTo>
                    <a:pt x="42" y="96"/>
                  </a:lnTo>
                  <a:lnTo>
                    <a:pt x="36" y="96"/>
                  </a:lnTo>
                  <a:lnTo>
                    <a:pt x="36" y="90"/>
                  </a:lnTo>
                  <a:lnTo>
                    <a:pt x="36" y="84"/>
                  </a:lnTo>
                  <a:lnTo>
                    <a:pt x="42" y="84"/>
                  </a:lnTo>
                  <a:lnTo>
                    <a:pt x="48" y="84"/>
                  </a:lnTo>
                  <a:lnTo>
                    <a:pt x="48" y="78"/>
                  </a:lnTo>
                  <a:lnTo>
                    <a:pt x="54" y="78"/>
                  </a:lnTo>
                  <a:lnTo>
                    <a:pt x="54" y="72"/>
                  </a:lnTo>
                  <a:lnTo>
                    <a:pt x="60" y="72"/>
                  </a:lnTo>
                  <a:lnTo>
                    <a:pt x="60" y="66"/>
                  </a:lnTo>
                  <a:lnTo>
                    <a:pt x="54" y="66"/>
                  </a:lnTo>
                  <a:lnTo>
                    <a:pt x="54" y="60"/>
                  </a:lnTo>
                  <a:lnTo>
                    <a:pt x="48" y="60"/>
                  </a:lnTo>
                  <a:lnTo>
                    <a:pt x="48" y="54"/>
                  </a:lnTo>
                  <a:lnTo>
                    <a:pt x="48" y="48"/>
                  </a:lnTo>
                  <a:lnTo>
                    <a:pt x="42" y="48"/>
                  </a:lnTo>
                  <a:lnTo>
                    <a:pt x="42" y="42"/>
                  </a:lnTo>
                  <a:lnTo>
                    <a:pt x="36" y="42"/>
                  </a:lnTo>
                  <a:lnTo>
                    <a:pt x="36" y="36"/>
                  </a:lnTo>
                  <a:lnTo>
                    <a:pt x="42" y="36"/>
                  </a:lnTo>
                  <a:lnTo>
                    <a:pt x="42" y="30"/>
                  </a:lnTo>
                  <a:lnTo>
                    <a:pt x="36" y="30"/>
                  </a:lnTo>
                  <a:lnTo>
                    <a:pt x="36" y="24"/>
                  </a:lnTo>
                  <a:lnTo>
                    <a:pt x="30" y="24"/>
                  </a:lnTo>
                  <a:lnTo>
                    <a:pt x="30" y="18"/>
                  </a:lnTo>
                  <a:lnTo>
                    <a:pt x="30" y="12"/>
                  </a:lnTo>
                  <a:lnTo>
                    <a:pt x="30" y="18"/>
                  </a:lnTo>
                  <a:lnTo>
                    <a:pt x="30" y="12"/>
                  </a:lnTo>
                  <a:lnTo>
                    <a:pt x="24" y="18"/>
                  </a:lnTo>
                  <a:lnTo>
                    <a:pt x="24" y="12"/>
                  </a:lnTo>
                  <a:lnTo>
                    <a:pt x="24" y="18"/>
                  </a:lnTo>
                  <a:lnTo>
                    <a:pt x="18" y="18"/>
                  </a:lnTo>
                  <a:lnTo>
                    <a:pt x="18" y="12"/>
                  </a:lnTo>
                  <a:lnTo>
                    <a:pt x="24" y="12"/>
                  </a:lnTo>
                  <a:lnTo>
                    <a:pt x="18" y="12"/>
                  </a:lnTo>
                  <a:lnTo>
                    <a:pt x="18" y="6"/>
                  </a:lnTo>
                  <a:close/>
                  <a:moveTo>
                    <a:pt x="114" y="150"/>
                  </a:moveTo>
                  <a:lnTo>
                    <a:pt x="120" y="150"/>
                  </a:lnTo>
                  <a:lnTo>
                    <a:pt x="120" y="156"/>
                  </a:lnTo>
                  <a:lnTo>
                    <a:pt x="114" y="156"/>
                  </a:lnTo>
                  <a:lnTo>
                    <a:pt x="114" y="150"/>
                  </a:lnTo>
                  <a:close/>
                </a:path>
              </a:pathLst>
            </a:custGeom>
            <a:solidFill>
              <a:schemeClr val="accent3"/>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3" name="Freeform 56"/>
            <p:cNvSpPr>
              <a:spLocks noEditPoints="1"/>
            </p:cNvSpPr>
            <p:nvPr>
              <p:custDataLst>
                <p:tags r:id="rId51"/>
              </p:custDataLst>
            </p:nvPr>
          </p:nvSpPr>
          <p:spPr bwMode="gray">
            <a:xfrm>
              <a:off x="3487663" y="4171508"/>
              <a:ext cx="64186" cy="52577"/>
            </a:xfrm>
            <a:custGeom>
              <a:avLst/>
              <a:gdLst>
                <a:gd name="T0" fmla="*/ 0 w 72"/>
                <a:gd name="T1" fmla="*/ 6741 h 60"/>
                <a:gd name="T2" fmla="*/ 0 w 72"/>
                <a:gd name="T3" fmla="*/ 3852 h 60"/>
                <a:gd name="T4" fmla="*/ 0 w 72"/>
                <a:gd name="T5" fmla="*/ 1926 h 60"/>
                <a:gd name="T6" fmla="*/ 1868 w 72"/>
                <a:gd name="T7" fmla="*/ 0 h 60"/>
                <a:gd name="T8" fmla="*/ 3738 w 72"/>
                <a:gd name="T9" fmla="*/ 0 h 60"/>
                <a:gd name="T10" fmla="*/ 3738 w 72"/>
                <a:gd name="T11" fmla="*/ 1926 h 60"/>
                <a:gd name="T12" fmla="*/ 3738 w 72"/>
                <a:gd name="T13" fmla="*/ 3852 h 60"/>
                <a:gd name="T14" fmla="*/ 3738 w 72"/>
                <a:gd name="T15" fmla="*/ 6741 h 60"/>
                <a:gd name="T16" fmla="*/ 3738 w 72"/>
                <a:gd name="T17" fmla="*/ 7704 h 60"/>
                <a:gd name="T18" fmla="*/ 3738 w 72"/>
                <a:gd name="T19" fmla="*/ 10594 h 60"/>
                <a:gd name="T20" fmla="*/ 6540 w 72"/>
                <a:gd name="T21" fmla="*/ 10594 h 60"/>
                <a:gd name="T22" fmla="*/ 3738 w 72"/>
                <a:gd name="T23" fmla="*/ 10594 h 60"/>
                <a:gd name="T24" fmla="*/ 3738 w 72"/>
                <a:gd name="T25" fmla="*/ 12520 h 60"/>
                <a:gd name="T26" fmla="*/ 3738 w 72"/>
                <a:gd name="T27" fmla="*/ 10594 h 60"/>
                <a:gd name="T28" fmla="*/ 1868 w 72"/>
                <a:gd name="T29" fmla="*/ 10594 h 60"/>
                <a:gd name="T30" fmla="*/ 0 w 72"/>
                <a:gd name="T31" fmla="*/ 10594 h 60"/>
                <a:gd name="T32" fmla="*/ 0 w 72"/>
                <a:gd name="T33" fmla="*/ 7704 h 60"/>
                <a:gd name="T34" fmla="*/ 0 w 72"/>
                <a:gd name="T35" fmla="*/ 6741 h 60"/>
                <a:gd name="T36" fmla="*/ 24294 w 72"/>
                <a:gd name="T37" fmla="*/ 14446 h 60"/>
                <a:gd name="T38" fmla="*/ 24294 w 72"/>
                <a:gd name="T39" fmla="*/ 16372 h 60"/>
                <a:gd name="T40" fmla="*/ 24294 w 72"/>
                <a:gd name="T41" fmla="*/ 18298 h 60"/>
                <a:gd name="T42" fmla="*/ 24294 w 72"/>
                <a:gd name="T43" fmla="*/ 21188 h 60"/>
                <a:gd name="T44" fmla="*/ 24294 w 72"/>
                <a:gd name="T45" fmla="*/ 18298 h 60"/>
                <a:gd name="T46" fmla="*/ 21490 w 72"/>
                <a:gd name="T47" fmla="*/ 18298 h 60"/>
                <a:gd name="T48" fmla="*/ 21490 w 72"/>
                <a:gd name="T49" fmla="*/ 16372 h 60"/>
                <a:gd name="T50" fmla="*/ 20556 w 72"/>
                <a:gd name="T51" fmla="*/ 16372 h 60"/>
                <a:gd name="T52" fmla="*/ 17753 w 72"/>
                <a:gd name="T53" fmla="*/ 16372 h 60"/>
                <a:gd name="T54" fmla="*/ 20556 w 72"/>
                <a:gd name="T55" fmla="*/ 16372 h 60"/>
                <a:gd name="T56" fmla="*/ 21490 w 72"/>
                <a:gd name="T57" fmla="*/ 16372 h 60"/>
                <a:gd name="T58" fmla="*/ 21490 w 72"/>
                <a:gd name="T59" fmla="*/ 14446 h 60"/>
                <a:gd name="T60" fmla="*/ 24294 w 72"/>
                <a:gd name="T61" fmla="*/ 14446 h 60"/>
                <a:gd name="T62" fmla="*/ 10278 w 72"/>
                <a:gd name="T63" fmla="*/ 18298 h 60"/>
                <a:gd name="T64" fmla="*/ 12147 w 72"/>
                <a:gd name="T65" fmla="*/ 18298 h 60"/>
                <a:gd name="T66" fmla="*/ 12147 w 72"/>
                <a:gd name="T67" fmla="*/ 21188 h 60"/>
                <a:gd name="T68" fmla="*/ 10278 w 72"/>
                <a:gd name="T69" fmla="*/ 21188 h 60"/>
                <a:gd name="T70" fmla="*/ 10278 w 72"/>
                <a:gd name="T71" fmla="*/ 18298 h 60"/>
                <a:gd name="T72" fmla="*/ 10278 w 72"/>
                <a:gd name="T73" fmla="*/ 21188 h 60"/>
                <a:gd name="T74" fmla="*/ 10278 w 72"/>
                <a:gd name="T75" fmla="*/ 18298 h 60"/>
                <a:gd name="T76" fmla="*/ 10278 w 72"/>
                <a:gd name="T77" fmla="*/ 21188 h 60"/>
                <a:gd name="T78" fmla="*/ 10278 w 72"/>
                <a:gd name="T79" fmla="*/ 18298 h 60"/>
                <a:gd name="T80" fmla="*/ 10278 w 72"/>
                <a:gd name="T81" fmla="*/ 21188 h 60"/>
                <a:gd name="T82" fmla="*/ 10278 w 72"/>
                <a:gd name="T83" fmla="*/ 18298 h 60"/>
                <a:gd name="T84" fmla="*/ 7475 w 72"/>
                <a:gd name="T85" fmla="*/ 18298 h 60"/>
                <a:gd name="T86" fmla="*/ 7475 w 72"/>
                <a:gd name="T87" fmla="*/ 16372 h 60"/>
                <a:gd name="T88" fmla="*/ 10278 w 72"/>
                <a:gd name="T89" fmla="*/ 18298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60">
                  <a:moveTo>
                    <a:pt x="0" y="18"/>
                  </a:moveTo>
                  <a:lnTo>
                    <a:pt x="0" y="12"/>
                  </a:lnTo>
                  <a:lnTo>
                    <a:pt x="0" y="6"/>
                  </a:lnTo>
                  <a:lnTo>
                    <a:pt x="6" y="0"/>
                  </a:lnTo>
                  <a:lnTo>
                    <a:pt x="12" y="0"/>
                  </a:lnTo>
                  <a:lnTo>
                    <a:pt x="12" y="6"/>
                  </a:lnTo>
                  <a:lnTo>
                    <a:pt x="12" y="12"/>
                  </a:lnTo>
                  <a:lnTo>
                    <a:pt x="12" y="18"/>
                  </a:lnTo>
                  <a:lnTo>
                    <a:pt x="12" y="24"/>
                  </a:lnTo>
                  <a:lnTo>
                    <a:pt x="12" y="30"/>
                  </a:lnTo>
                  <a:lnTo>
                    <a:pt x="18" y="30"/>
                  </a:lnTo>
                  <a:lnTo>
                    <a:pt x="12" y="30"/>
                  </a:lnTo>
                  <a:lnTo>
                    <a:pt x="12" y="36"/>
                  </a:lnTo>
                  <a:lnTo>
                    <a:pt x="12" y="30"/>
                  </a:lnTo>
                  <a:lnTo>
                    <a:pt x="6" y="30"/>
                  </a:lnTo>
                  <a:lnTo>
                    <a:pt x="0" y="30"/>
                  </a:lnTo>
                  <a:lnTo>
                    <a:pt x="0" y="24"/>
                  </a:lnTo>
                  <a:lnTo>
                    <a:pt x="0" y="18"/>
                  </a:lnTo>
                  <a:close/>
                  <a:moveTo>
                    <a:pt x="72" y="42"/>
                  </a:moveTo>
                  <a:lnTo>
                    <a:pt x="72" y="48"/>
                  </a:lnTo>
                  <a:lnTo>
                    <a:pt x="72" y="54"/>
                  </a:lnTo>
                  <a:lnTo>
                    <a:pt x="72" y="60"/>
                  </a:lnTo>
                  <a:lnTo>
                    <a:pt x="72" y="54"/>
                  </a:lnTo>
                  <a:lnTo>
                    <a:pt x="66" y="54"/>
                  </a:lnTo>
                  <a:lnTo>
                    <a:pt x="66" y="48"/>
                  </a:lnTo>
                  <a:lnTo>
                    <a:pt x="60" y="48"/>
                  </a:lnTo>
                  <a:lnTo>
                    <a:pt x="54" y="48"/>
                  </a:lnTo>
                  <a:lnTo>
                    <a:pt x="60" y="48"/>
                  </a:lnTo>
                  <a:lnTo>
                    <a:pt x="66" y="48"/>
                  </a:lnTo>
                  <a:lnTo>
                    <a:pt x="66" y="42"/>
                  </a:lnTo>
                  <a:lnTo>
                    <a:pt x="72" y="42"/>
                  </a:lnTo>
                  <a:close/>
                  <a:moveTo>
                    <a:pt x="30" y="54"/>
                  </a:moveTo>
                  <a:lnTo>
                    <a:pt x="36" y="54"/>
                  </a:lnTo>
                  <a:lnTo>
                    <a:pt x="36" y="60"/>
                  </a:lnTo>
                  <a:lnTo>
                    <a:pt x="30" y="60"/>
                  </a:lnTo>
                  <a:lnTo>
                    <a:pt x="30" y="54"/>
                  </a:lnTo>
                  <a:lnTo>
                    <a:pt x="30" y="60"/>
                  </a:lnTo>
                  <a:lnTo>
                    <a:pt x="30" y="54"/>
                  </a:lnTo>
                  <a:lnTo>
                    <a:pt x="30" y="60"/>
                  </a:lnTo>
                  <a:lnTo>
                    <a:pt x="30" y="54"/>
                  </a:lnTo>
                  <a:lnTo>
                    <a:pt x="30" y="60"/>
                  </a:lnTo>
                  <a:lnTo>
                    <a:pt x="30" y="54"/>
                  </a:lnTo>
                  <a:lnTo>
                    <a:pt x="24" y="54"/>
                  </a:lnTo>
                  <a:lnTo>
                    <a:pt x="24" y="48"/>
                  </a:lnTo>
                  <a:lnTo>
                    <a:pt x="30" y="54"/>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4" name="Freeform 57"/>
            <p:cNvSpPr>
              <a:spLocks noEditPoints="1"/>
            </p:cNvSpPr>
            <p:nvPr>
              <p:custDataLst>
                <p:tags r:id="rId52"/>
              </p:custDataLst>
            </p:nvPr>
          </p:nvSpPr>
          <p:spPr bwMode="gray">
            <a:xfrm>
              <a:off x="2824801" y="4130118"/>
              <a:ext cx="542661" cy="844589"/>
            </a:xfrm>
            <a:custGeom>
              <a:avLst/>
              <a:gdLst>
                <a:gd name="T0" fmla="*/ 76765 w 594"/>
                <a:gd name="T1" fmla="*/ 78558 h 966"/>
                <a:gd name="T2" fmla="*/ 85511 w 594"/>
                <a:gd name="T3" fmla="*/ 100864 h 966"/>
                <a:gd name="T4" fmla="*/ 87454 w 594"/>
                <a:gd name="T5" fmla="*/ 117351 h 966"/>
                <a:gd name="T6" fmla="*/ 101058 w 594"/>
                <a:gd name="T7" fmla="*/ 131899 h 966"/>
                <a:gd name="T8" fmla="*/ 104944 w 594"/>
                <a:gd name="T9" fmla="*/ 113472 h 966"/>
                <a:gd name="T10" fmla="*/ 111746 w 594"/>
                <a:gd name="T11" fmla="*/ 81467 h 966"/>
                <a:gd name="T12" fmla="*/ 87454 w 594"/>
                <a:gd name="T13" fmla="*/ 51402 h 966"/>
                <a:gd name="T14" fmla="*/ 98142 w 594"/>
                <a:gd name="T15" fmla="*/ 21336 h 966"/>
                <a:gd name="T16" fmla="*/ 126323 w 594"/>
                <a:gd name="T17" fmla="*/ 23276 h 966"/>
                <a:gd name="T18" fmla="*/ 151587 w 594"/>
                <a:gd name="T19" fmla="*/ 21336 h 966"/>
                <a:gd name="T20" fmla="*/ 173936 w 594"/>
                <a:gd name="T21" fmla="*/ 12608 h 966"/>
                <a:gd name="T22" fmla="*/ 203088 w 594"/>
                <a:gd name="T23" fmla="*/ 0 h 966"/>
                <a:gd name="T24" fmla="*/ 203088 w 594"/>
                <a:gd name="T25" fmla="*/ 17457 h 966"/>
                <a:gd name="T26" fmla="*/ 206003 w 594"/>
                <a:gd name="T27" fmla="*/ 33945 h 966"/>
                <a:gd name="T28" fmla="*/ 207946 w 594"/>
                <a:gd name="T29" fmla="*/ 42673 h 966"/>
                <a:gd name="T30" fmla="*/ 206003 w 594"/>
                <a:gd name="T31" fmla="*/ 51402 h 966"/>
                <a:gd name="T32" fmla="*/ 207946 w 594"/>
                <a:gd name="T33" fmla="*/ 67889 h 966"/>
                <a:gd name="T34" fmla="*/ 207946 w 594"/>
                <a:gd name="T35" fmla="*/ 78558 h 966"/>
                <a:gd name="T36" fmla="*/ 209890 w 594"/>
                <a:gd name="T37" fmla="*/ 87286 h 966"/>
                <a:gd name="T38" fmla="*/ 206003 w 594"/>
                <a:gd name="T39" fmla="*/ 94075 h 966"/>
                <a:gd name="T40" fmla="*/ 203088 w 594"/>
                <a:gd name="T41" fmla="*/ 101834 h 966"/>
                <a:gd name="T42" fmla="*/ 192399 w 594"/>
                <a:gd name="T43" fmla="*/ 115411 h 966"/>
                <a:gd name="T44" fmla="*/ 181710 w 594"/>
                <a:gd name="T45" fmla="*/ 128019 h 966"/>
                <a:gd name="T46" fmla="*/ 169078 w 594"/>
                <a:gd name="T47" fmla="*/ 134808 h 966"/>
                <a:gd name="T48" fmla="*/ 158389 w 594"/>
                <a:gd name="T49" fmla="*/ 138688 h 966"/>
                <a:gd name="T50" fmla="*/ 143813 w 594"/>
                <a:gd name="T51" fmla="*/ 145477 h 966"/>
                <a:gd name="T52" fmla="*/ 131181 w 594"/>
                <a:gd name="T53" fmla="*/ 158084 h 966"/>
                <a:gd name="T54" fmla="*/ 124379 w 594"/>
                <a:gd name="T55" fmla="*/ 168753 h 966"/>
                <a:gd name="T56" fmla="*/ 108831 w 594"/>
                <a:gd name="T57" fmla="*/ 174572 h 966"/>
                <a:gd name="T58" fmla="*/ 98142 w 594"/>
                <a:gd name="T59" fmla="*/ 190090 h 966"/>
                <a:gd name="T60" fmla="*/ 92313 w 594"/>
                <a:gd name="T61" fmla="*/ 193969 h 966"/>
                <a:gd name="T62" fmla="*/ 92313 w 594"/>
                <a:gd name="T63" fmla="*/ 209486 h 966"/>
                <a:gd name="T64" fmla="*/ 96199 w 594"/>
                <a:gd name="T65" fmla="*/ 211426 h 966"/>
                <a:gd name="T66" fmla="*/ 98142 w 594"/>
                <a:gd name="T67" fmla="*/ 219184 h 966"/>
                <a:gd name="T68" fmla="*/ 101058 w 594"/>
                <a:gd name="T69" fmla="*/ 229853 h 966"/>
                <a:gd name="T70" fmla="*/ 106888 w 594"/>
                <a:gd name="T71" fmla="*/ 243430 h 966"/>
                <a:gd name="T72" fmla="*/ 104944 w 594"/>
                <a:gd name="T73" fmla="*/ 273496 h 966"/>
                <a:gd name="T74" fmla="*/ 103001 w 594"/>
                <a:gd name="T75" fmla="*/ 288043 h 966"/>
                <a:gd name="T76" fmla="*/ 74822 w 594"/>
                <a:gd name="T77" fmla="*/ 302591 h 966"/>
                <a:gd name="T78" fmla="*/ 51501 w 594"/>
                <a:gd name="T79" fmla="*/ 320048 h 966"/>
                <a:gd name="T80" fmla="*/ 49557 w 594"/>
                <a:gd name="T81" fmla="*/ 326838 h 966"/>
                <a:gd name="T82" fmla="*/ 56359 w 594"/>
                <a:gd name="T83" fmla="*/ 330717 h 966"/>
                <a:gd name="T84" fmla="*/ 37897 w 594"/>
                <a:gd name="T85" fmla="*/ 328777 h 966"/>
                <a:gd name="T86" fmla="*/ 36925 w 594"/>
                <a:gd name="T87" fmla="*/ 293862 h 966"/>
                <a:gd name="T88" fmla="*/ 26236 w 594"/>
                <a:gd name="T89" fmla="*/ 257979 h 966"/>
                <a:gd name="T90" fmla="*/ 46642 w 594"/>
                <a:gd name="T91" fmla="*/ 211426 h 966"/>
                <a:gd name="T92" fmla="*/ 56359 w 594"/>
                <a:gd name="T93" fmla="*/ 188150 h 966"/>
                <a:gd name="T94" fmla="*/ 53444 w 594"/>
                <a:gd name="T95" fmla="*/ 168753 h 966"/>
                <a:gd name="T96" fmla="*/ 56359 w 594"/>
                <a:gd name="T97" fmla="*/ 149356 h 966"/>
                <a:gd name="T98" fmla="*/ 53444 w 594"/>
                <a:gd name="T99" fmla="*/ 126080 h 966"/>
                <a:gd name="T100" fmla="*/ 30123 w 594"/>
                <a:gd name="T101" fmla="*/ 115411 h 966"/>
                <a:gd name="T102" fmla="*/ 3887 w 594"/>
                <a:gd name="T103" fmla="*/ 108622 h 966"/>
                <a:gd name="T104" fmla="*/ 12633 w 594"/>
                <a:gd name="T105" fmla="*/ 87286 h 966"/>
                <a:gd name="T106" fmla="*/ 46642 w 594"/>
                <a:gd name="T107" fmla="*/ 74678 h 966"/>
                <a:gd name="T108" fmla="*/ 104944 w 594"/>
                <a:gd name="T109" fmla="*/ 228883 h 966"/>
                <a:gd name="T110" fmla="*/ 104944 w 594"/>
                <a:gd name="T111" fmla="*/ 234702 h 966"/>
                <a:gd name="T112" fmla="*/ 209890 w 594"/>
                <a:gd name="T113" fmla="*/ 10668 h 966"/>
                <a:gd name="T114" fmla="*/ 192399 w 594"/>
                <a:gd name="T115" fmla="*/ 117351 h 966"/>
                <a:gd name="T116" fmla="*/ 111746 w 594"/>
                <a:gd name="T117" fmla="*/ 177481 h 966"/>
                <a:gd name="T118" fmla="*/ 206003 w 594"/>
                <a:gd name="T119" fmla="*/ 100864 h 966"/>
                <a:gd name="T120" fmla="*/ 104944 w 594"/>
                <a:gd name="T121" fmla="*/ 277375 h 9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94" h="966">
                  <a:moveTo>
                    <a:pt x="168" y="198"/>
                  </a:moveTo>
                  <a:lnTo>
                    <a:pt x="174" y="198"/>
                  </a:lnTo>
                  <a:lnTo>
                    <a:pt x="174" y="204"/>
                  </a:lnTo>
                  <a:lnTo>
                    <a:pt x="174" y="210"/>
                  </a:lnTo>
                  <a:lnTo>
                    <a:pt x="180" y="210"/>
                  </a:lnTo>
                  <a:lnTo>
                    <a:pt x="180" y="216"/>
                  </a:lnTo>
                  <a:lnTo>
                    <a:pt x="180" y="222"/>
                  </a:lnTo>
                  <a:lnTo>
                    <a:pt x="186" y="222"/>
                  </a:lnTo>
                  <a:lnTo>
                    <a:pt x="186" y="228"/>
                  </a:lnTo>
                  <a:lnTo>
                    <a:pt x="192" y="228"/>
                  </a:lnTo>
                  <a:lnTo>
                    <a:pt x="192" y="234"/>
                  </a:lnTo>
                  <a:lnTo>
                    <a:pt x="198" y="234"/>
                  </a:lnTo>
                  <a:lnTo>
                    <a:pt x="198" y="228"/>
                  </a:lnTo>
                  <a:lnTo>
                    <a:pt x="204" y="228"/>
                  </a:lnTo>
                  <a:lnTo>
                    <a:pt x="210" y="228"/>
                  </a:lnTo>
                  <a:lnTo>
                    <a:pt x="216" y="228"/>
                  </a:lnTo>
                  <a:lnTo>
                    <a:pt x="216" y="222"/>
                  </a:lnTo>
                  <a:lnTo>
                    <a:pt x="222" y="222"/>
                  </a:lnTo>
                  <a:lnTo>
                    <a:pt x="228" y="222"/>
                  </a:lnTo>
                  <a:lnTo>
                    <a:pt x="234" y="222"/>
                  </a:lnTo>
                  <a:lnTo>
                    <a:pt x="240" y="228"/>
                  </a:lnTo>
                  <a:lnTo>
                    <a:pt x="240" y="234"/>
                  </a:lnTo>
                  <a:lnTo>
                    <a:pt x="246" y="234"/>
                  </a:lnTo>
                  <a:lnTo>
                    <a:pt x="240" y="234"/>
                  </a:lnTo>
                  <a:lnTo>
                    <a:pt x="240" y="240"/>
                  </a:lnTo>
                  <a:lnTo>
                    <a:pt x="246" y="240"/>
                  </a:lnTo>
                  <a:lnTo>
                    <a:pt x="246" y="246"/>
                  </a:lnTo>
                  <a:lnTo>
                    <a:pt x="246" y="252"/>
                  </a:lnTo>
                  <a:lnTo>
                    <a:pt x="246" y="258"/>
                  </a:lnTo>
                  <a:lnTo>
                    <a:pt x="246" y="264"/>
                  </a:lnTo>
                  <a:lnTo>
                    <a:pt x="246" y="270"/>
                  </a:lnTo>
                  <a:lnTo>
                    <a:pt x="246" y="276"/>
                  </a:lnTo>
                  <a:lnTo>
                    <a:pt x="240" y="276"/>
                  </a:lnTo>
                  <a:lnTo>
                    <a:pt x="240" y="282"/>
                  </a:lnTo>
                  <a:lnTo>
                    <a:pt x="234" y="282"/>
                  </a:lnTo>
                  <a:lnTo>
                    <a:pt x="234" y="288"/>
                  </a:lnTo>
                  <a:lnTo>
                    <a:pt x="240" y="288"/>
                  </a:lnTo>
                  <a:lnTo>
                    <a:pt x="240" y="294"/>
                  </a:lnTo>
                  <a:lnTo>
                    <a:pt x="234" y="294"/>
                  </a:lnTo>
                  <a:lnTo>
                    <a:pt x="234" y="300"/>
                  </a:lnTo>
                  <a:lnTo>
                    <a:pt x="228" y="300"/>
                  </a:lnTo>
                  <a:lnTo>
                    <a:pt x="228" y="306"/>
                  </a:lnTo>
                  <a:lnTo>
                    <a:pt x="228" y="312"/>
                  </a:lnTo>
                  <a:lnTo>
                    <a:pt x="234" y="312"/>
                  </a:lnTo>
                  <a:lnTo>
                    <a:pt x="234" y="318"/>
                  </a:lnTo>
                  <a:lnTo>
                    <a:pt x="240" y="318"/>
                  </a:lnTo>
                  <a:lnTo>
                    <a:pt x="234" y="318"/>
                  </a:lnTo>
                  <a:lnTo>
                    <a:pt x="234" y="324"/>
                  </a:lnTo>
                  <a:lnTo>
                    <a:pt x="234" y="330"/>
                  </a:lnTo>
                  <a:lnTo>
                    <a:pt x="240" y="330"/>
                  </a:lnTo>
                  <a:lnTo>
                    <a:pt x="246" y="330"/>
                  </a:lnTo>
                  <a:lnTo>
                    <a:pt x="246" y="336"/>
                  </a:lnTo>
                  <a:lnTo>
                    <a:pt x="252" y="342"/>
                  </a:lnTo>
                  <a:lnTo>
                    <a:pt x="258" y="342"/>
                  </a:lnTo>
                  <a:lnTo>
                    <a:pt x="258" y="348"/>
                  </a:lnTo>
                  <a:lnTo>
                    <a:pt x="264" y="354"/>
                  </a:lnTo>
                  <a:lnTo>
                    <a:pt x="264" y="360"/>
                  </a:lnTo>
                  <a:lnTo>
                    <a:pt x="264" y="354"/>
                  </a:lnTo>
                  <a:lnTo>
                    <a:pt x="270" y="360"/>
                  </a:lnTo>
                  <a:lnTo>
                    <a:pt x="276" y="360"/>
                  </a:lnTo>
                  <a:lnTo>
                    <a:pt x="276" y="366"/>
                  </a:lnTo>
                  <a:lnTo>
                    <a:pt x="276" y="372"/>
                  </a:lnTo>
                  <a:lnTo>
                    <a:pt x="270" y="372"/>
                  </a:lnTo>
                  <a:lnTo>
                    <a:pt x="270" y="378"/>
                  </a:lnTo>
                  <a:lnTo>
                    <a:pt x="276" y="378"/>
                  </a:lnTo>
                  <a:lnTo>
                    <a:pt x="288" y="378"/>
                  </a:lnTo>
                  <a:lnTo>
                    <a:pt x="288" y="372"/>
                  </a:lnTo>
                  <a:lnTo>
                    <a:pt x="282" y="372"/>
                  </a:lnTo>
                  <a:lnTo>
                    <a:pt x="282" y="366"/>
                  </a:lnTo>
                  <a:lnTo>
                    <a:pt x="288" y="366"/>
                  </a:lnTo>
                  <a:lnTo>
                    <a:pt x="288" y="360"/>
                  </a:lnTo>
                  <a:lnTo>
                    <a:pt x="282" y="360"/>
                  </a:lnTo>
                  <a:lnTo>
                    <a:pt x="282" y="354"/>
                  </a:lnTo>
                  <a:lnTo>
                    <a:pt x="282" y="348"/>
                  </a:lnTo>
                  <a:lnTo>
                    <a:pt x="276" y="348"/>
                  </a:lnTo>
                  <a:lnTo>
                    <a:pt x="276" y="342"/>
                  </a:lnTo>
                  <a:lnTo>
                    <a:pt x="282" y="342"/>
                  </a:lnTo>
                  <a:lnTo>
                    <a:pt x="282" y="336"/>
                  </a:lnTo>
                  <a:lnTo>
                    <a:pt x="288" y="336"/>
                  </a:lnTo>
                  <a:lnTo>
                    <a:pt x="282" y="336"/>
                  </a:lnTo>
                  <a:lnTo>
                    <a:pt x="282" y="330"/>
                  </a:lnTo>
                  <a:lnTo>
                    <a:pt x="288" y="330"/>
                  </a:lnTo>
                  <a:lnTo>
                    <a:pt x="288" y="324"/>
                  </a:lnTo>
                  <a:lnTo>
                    <a:pt x="294" y="324"/>
                  </a:lnTo>
                  <a:lnTo>
                    <a:pt x="294" y="318"/>
                  </a:lnTo>
                  <a:lnTo>
                    <a:pt x="294" y="324"/>
                  </a:lnTo>
                  <a:lnTo>
                    <a:pt x="300" y="324"/>
                  </a:lnTo>
                  <a:lnTo>
                    <a:pt x="306" y="324"/>
                  </a:lnTo>
                  <a:lnTo>
                    <a:pt x="306" y="318"/>
                  </a:lnTo>
                  <a:lnTo>
                    <a:pt x="312" y="318"/>
                  </a:lnTo>
                  <a:lnTo>
                    <a:pt x="312" y="312"/>
                  </a:lnTo>
                  <a:lnTo>
                    <a:pt x="312" y="306"/>
                  </a:lnTo>
                  <a:lnTo>
                    <a:pt x="318" y="294"/>
                  </a:lnTo>
                  <a:lnTo>
                    <a:pt x="318" y="288"/>
                  </a:lnTo>
                  <a:lnTo>
                    <a:pt x="318" y="282"/>
                  </a:lnTo>
                  <a:lnTo>
                    <a:pt x="318" y="276"/>
                  </a:lnTo>
                  <a:lnTo>
                    <a:pt x="312" y="270"/>
                  </a:lnTo>
                  <a:lnTo>
                    <a:pt x="312" y="264"/>
                  </a:lnTo>
                  <a:lnTo>
                    <a:pt x="318" y="252"/>
                  </a:lnTo>
                  <a:lnTo>
                    <a:pt x="318" y="240"/>
                  </a:lnTo>
                  <a:lnTo>
                    <a:pt x="312" y="234"/>
                  </a:lnTo>
                  <a:lnTo>
                    <a:pt x="312" y="228"/>
                  </a:lnTo>
                  <a:lnTo>
                    <a:pt x="300" y="216"/>
                  </a:lnTo>
                  <a:lnTo>
                    <a:pt x="294" y="210"/>
                  </a:lnTo>
                  <a:lnTo>
                    <a:pt x="288" y="198"/>
                  </a:lnTo>
                  <a:lnTo>
                    <a:pt x="282" y="192"/>
                  </a:lnTo>
                  <a:lnTo>
                    <a:pt x="276" y="180"/>
                  </a:lnTo>
                  <a:lnTo>
                    <a:pt x="270" y="180"/>
                  </a:lnTo>
                  <a:lnTo>
                    <a:pt x="270" y="174"/>
                  </a:lnTo>
                  <a:lnTo>
                    <a:pt x="264" y="168"/>
                  </a:lnTo>
                  <a:lnTo>
                    <a:pt x="258" y="168"/>
                  </a:lnTo>
                  <a:lnTo>
                    <a:pt x="252" y="168"/>
                  </a:lnTo>
                  <a:lnTo>
                    <a:pt x="246" y="168"/>
                  </a:lnTo>
                  <a:lnTo>
                    <a:pt x="246" y="162"/>
                  </a:lnTo>
                  <a:lnTo>
                    <a:pt x="240" y="162"/>
                  </a:lnTo>
                  <a:lnTo>
                    <a:pt x="240" y="156"/>
                  </a:lnTo>
                  <a:lnTo>
                    <a:pt x="246" y="156"/>
                  </a:lnTo>
                  <a:lnTo>
                    <a:pt x="246" y="150"/>
                  </a:lnTo>
                  <a:lnTo>
                    <a:pt x="246" y="144"/>
                  </a:lnTo>
                  <a:lnTo>
                    <a:pt x="240" y="138"/>
                  </a:lnTo>
                  <a:lnTo>
                    <a:pt x="240" y="132"/>
                  </a:lnTo>
                  <a:lnTo>
                    <a:pt x="240" y="126"/>
                  </a:lnTo>
                  <a:lnTo>
                    <a:pt x="240" y="120"/>
                  </a:lnTo>
                  <a:lnTo>
                    <a:pt x="240" y="114"/>
                  </a:lnTo>
                  <a:lnTo>
                    <a:pt x="234" y="102"/>
                  </a:lnTo>
                  <a:lnTo>
                    <a:pt x="234" y="96"/>
                  </a:lnTo>
                  <a:lnTo>
                    <a:pt x="240" y="90"/>
                  </a:lnTo>
                  <a:lnTo>
                    <a:pt x="240" y="84"/>
                  </a:lnTo>
                  <a:lnTo>
                    <a:pt x="246" y="72"/>
                  </a:lnTo>
                  <a:lnTo>
                    <a:pt x="246" y="66"/>
                  </a:lnTo>
                  <a:lnTo>
                    <a:pt x="246" y="60"/>
                  </a:lnTo>
                  <a:lnTo>
                    <a:pt x="252" y="60"/>
                  </a:lnTo>
                  <a:lnTo>
                    <a:pt x="258" y="60"/>
                  </a:lnTo>
                  <a:lnTo>
                    <a:pt x="264" y="60"/>
                  </a:lnTo>
                  <a:lnTo>
                    <a:pt x="270" y="60"/>
                  </a:lnTo>
                  <a:lnTo>
                    <a:pt x="276" y="60"/>
                  </a:lnTo>
                  <a:lnTo>
                    <a:pt x="282" y="60"/>
                  </a:lnTo>
                  <a:lnTo>
                    <a:pt x="288" y="60"/>
                  </a:lnTo>
                  <a:lnTo>
                    <a:pt x="294" y="60"/>
                  </a:lnTo>
                  <a:lnTo>
                    <a:pt x="300" y="60"/>
                  </a:lnTo>
                  <a:lnTo>
                    <a:pt x="306" y="60"/>
                  </a:lnTo>
                  <a:lnTo>
                    <a:pt x="306" y="54"/>
                  </a:lnTo>
                  <a:lnTo>
                    <a:pt x="312" y="54"/>
                  </a:lnTo>
                  <a:lnTo>
                    <a:pt x="312" y="48"/>
                  </a:lnTo>
                  <a:lnTo>
                    <a:pt x="318" y="48"/>
                  </a:lnTo>
                  <a:lnTo>
                    <a:pt x="318" y="54"/>
                  </a:lnTo>
                  <a:lnTo>
                    <a:pt x="324" y="54"/>
                  </a:lnTo>
                  <a:lnTo>
                    <a:pt x="330" y="60"/>
                  </a:lnTo>
                  <a:lnTo>
                    <a:pt x="336" y="60"/>
                  </a:lnTo>
                  <a:lnTo>
                    <a:pt x="336" y="66"/>
                  </a:lnTo>
                  <a:lnTo>
                    <a:pt x="342" y="66"/>
                  </a:lnTo>
                  <a:lnTo>
                    <a:pt x="348" y="66"/>
                  </a:lnTo>
                  <a:lnTo>
                    <a:pt x="354" y="66"/>
                  </a:lnTo>
                  <a:lnTo>
                    <a:pt x="354" y="72"/>
                  </a:lnTo>
                  <a:lnTo>
                    <a:pt x="360" y="66"/>
                  </a:lnTo>
                  <a:lnTo>
                    <a:pt x="366" y="66"/>
                  </a:lnTo>
                  <a:lnTo>
                    <a:pt x="372" y="60"/>
                  </a:lnTo>
                  <a:lnTo>
                    <a:pt x="378" y="60"/>
                  </a:lnTo>
                  <a:lnTo>
                    <a:pt x="384" y="60"/>
                  </a:lnTo>
                  <a:lnTo>
                    <a:pt x="384" y="66"/>
                  </a:lnTo>
                  <a:lnTo>
                    <a:pt x="390" y="66"/>
                  </a:lnTo>
                  <a:lnTo>
                    <a:pt x="396" y="66"/>
                  </a:lnTo>
                  <a:lnTo>
                    <a:pt x="402" y="66"/>
                  </a:lnTo>
                  <a:lnTo>
                    <a:pt x="402" y="72"/>
                  </a:lnTo>
                  <a:lnTo>
                    <a:pt x="408" y="72"/>
                  </a:lnTo>
                  <a:lnTo>
                    <a:pt x="408" y="66"/>
                  </a:lnTo>
                  <a:lnTo>
                    <a:pt x="414" y="66"/>
                  </a:lnTo>
                  <a:lnTo>
                    <a:pt x="420" y="66"/>
                  </a:lnTo>
                  <a:lnTo>
                    <a:pt x="420" y="60"/>
                  </a:lnTo>
                  <a:lnTo>
                    <a:pt x="426" y="60"/>
                  </a:lnTo>
                  <a:lnTo>
                    <a:pt x="426" y="54"/>
                  </a:lnTo>
                  <a:lnTo>
                    <a:pt x="426" y="48"/>
                  </a:lnTo>
                  <a:lnTo>
                    <a:pt x="432" y="48"/>
                  </a:lnTo>
                  <a:lnTo>
                    <a:pt x="432" y="42"/>
                  </a:lnTo>
                  <a:lnTo>
                    <a:pt x="438" y="42"/>
                  </a:lnTo>
                  <a:lnTo>
                    <a:pt x="444" y="42"/>
                  </a:lnTo>
                  <a:lnTo>
                    <a:pt x="450" y="42"/>
                  </a:lnTo>
                  <a:lnTo>
                    <a:pt x="450" y="48"/>
                  </a:lnTo>
                  <a:lnTo>
                    <a:pt x="456" y="48"/>
                  </a:lnTo>
                  <a:lnTo>
                    <a:pt x="462" y="48"/>
                  </a:lnTo>
                  <a:lnTo>
                    <a:pt x="462" y="54"/>
                  </a:lnTo>
                  <a:lnTo>
                    <a:pt x="462" y="48"/>
                  </a:lnTo>
                  <a:lnTo>
                    <a:pt x="468" y="48"/>
                  </a:lnTo>
                  <a:lnTo>
                    <a:pt x="468" y="42"/>
                  </a:lnTo>
                  <a:lnTo>
                    <a:pt x="474" y="42"/>
                  </a:lnTo>
                  <a:lnTo>
                    <a:pt x="480" y="42"/>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lnTo>
                    <a:pt x="540" y="18"/>
                  </a:lnTo>
                  <a:lnTo>
                    <a:pt x="546" y="18"/>
                  </a:lnTo>
                  <a:lnTo>
                    <a:pt x="552" y="18"/>
                  </a:lnTo>
                  <a:lnTo>
                    <a:pt x="552" y="12"/>
                  </a:lnTo>
                  <a:lnTo>
                    <a:pt x="558" y="6"/>
                  </a:lnTo>
                  <a:lnTo>
                    <a:pt x="564" y="6"/>
                  </a:lnTo>
                  <a:lnTo>
                    <a:pt x="570" y="0"/>
                  </a:lnTo>
                  <a:lnTo>
                    <a:pt x="576" y="0"/>
                  </a:lnTo>
                  <a:lnTo>
                    <a:pt x="576" y="6"/>
                  </a:lnTo>
                  <a:lnTo>
                    <a:pt x="582" y="6"/>
                  </a:lnTo>
                  <a:lnTo>
                    <a:pt x="576" y="6"/>
                  </a:lnTo>
                  <a:lnTo>
                    <a:pt x="582" y="6"/>
                  </a:lnTo>
                  <a:lnTo>
                    <a:pt x="582" y="12"/>
                  </a:lnTo>
                  <a:lnTo>
                    <a:pt x="576" y="12"/>
                  </a:lnTo>
                  <a:lnTo>
                    <a:pt x="576" y="18"/>
                  </a:lnTo>
                  <a:lnTo>
                    <a:pt x="582" y="18"/>
                  </a:lnTo>
                  <a:lnTo>
                    <a:pt x="576" y="24"/>
                  </a:lnTo>
                  <a:lnTo>
                    <a:pt x="576" y="30"/>
                  </a:lnTo>
                  <a:lnTo>
                    <a:pt x="576" y="36"/>
                  </a:lnTo>
                  <a:lnTo>
                    <a:pt x="576" y="42"/>
                  </a:lnTo>
                  <a:lnTo>
                    <a:pt x="570" y="42"/>
                  </a:lnTo>
                  <a:lnTo>
                    <a:pt x="570" y="48"/>
                  </a:lnTo>
                  <a:lnTo>
                    <a:pt x="564" y="48"/>
                  </a:lnTo>
                  <a:lnTo>
                    <a:pt x="570" y="48"/>
                  </a:lnTo>
                  <a:lnTo>
                    <a:pt x="576" y="48"/>
                  </a:lnTo>
                  <a:lnTo>
                    <a:pt x="576" y="54"/>
                  </a:lnTo>
                  <a:lnTo>
                    <a:pt x="570" y="54"/>
                  </a:lnTo>
                  <a:lnTo>
                    <a:pt x="570" y="60"/>
                  </a:lnTo>
                  <a:lnTo>
                    <a:pt x="570" y="66"/>
                  </a:lnTo>
                  <a:lnTo>
                    <a:pt x="570" y="72"/>
                  </a:lnTo>
                  <a:lnTo>
                    <a:pt x="576" y="72"/>
                  </a:lnTo>
                  <a:lnTo>
                    <a:pt x="570" y="72"/>
                  </a:lnTo>
                  <a:lnTo>
                    <a:pt x="576" y="72"/>
                  </a:lnTo>
                  <a:lnTo>
                    <a:pt x="570" y="72"/>
                  </a:lnTo>
                  <a:lnTo>
                    <a:pt x="576" y="72"/>
                  </a:lnTo>
                  <a:lnTo>
                    <a:pt x="576" y="78"/>
                  </a:lnTo>
                  <a:lnTo>
                    <a:pt x="576" y="84"/>
                  </a:lnTo>
                  <a:lnTo>
                    <a:pt x="576" y="90"/>
                  </a:lnTo>
                  <a:lnTo>
                    <a:pt x="576" y="96"/>
                  </a:lnTo>
                  <a:lnTo>
                    <a:pt x="576" y="102"/>
                  </a:lnTo>
                  <a:lnTo>
                    <a:pt x="576" y="96"/>
                  </a:lnTo>
                  <a:lnTo>
                    <a:pt x="576" y="102"/>
                  </a:lnTo>
                  <a:lnTo>
                    <a:pt x="576" y="96"/>
                  </a:lnTo>
                  <a:lnTo>
                    <a:pt x="570" y="96"/>
                  </a:lnTo>
                  <a:lnTo>
                    <a:pt x="570" y="102"/>
                  </a:lnTo>
                  <a:lnTo>
                    <a:pt x="576" y="102"/>
                  </a:lnTo>
                  <a:lnTo>
                    <a:pt x="576" y="108"/>
                  </a:lnTo>
                  <a:lnTo>
                    <a:pt x="576" y="114"/>
                  </a:lnTo>
                  <a:lnTo>
                    <a:pt x="576" y="108"/>
                  </a:lnTo>
                  <a:lnTo>
                    <a:pt x="570" y="108"/>
                  </a:lnTo>
                  <a:lnTo>
                    <a:pt x="570" y="114"/>
                  </a:lnTo>
                  <a:lnTo>
                    <a:pt x="576" y="114"/>
                  </a:lnTo>
                  <a:lnTo>
                    <a:pt x="570" y="114"/>
                  </a:lnTo>
                  <a:lnTo>
                    <a:pt x="576" y="114"/>
                  </a:lnTo>
                  <a:lnTo>
                    <a:pt x="570" y="114"/>
                  </a:lnTo>
                  <a:lnTo>
                    <a:pt x="576" y="114"/>
                  </a:lnTo>
                  <a:lnTo>
                    <a:pt x="576" y="120"/>
                  </a:lnTo>
                  <a:lnTo>
                    <a:pt x="582" y="120"/>
                  </a:lnTo>
                  <a:lnTo>
                    <a:pt x="576" y="120"/>
                  </a:lnTo>
                  <a:lnTo>
                    <a:pt x="576" y="126"/>
                  </a:lnTo>
                  <a:lnTo>
                    <a:pt x="582" y="126"/>
                  </a:lnTo>
                  <a:lnTo>
                    <a:pt x="582" y="132"/>
                  </a:lnTo>
                  <a:lnTo>
                    <a:pt x="576" y="132"/>
                  </a:lnTo>
                  <a:lnTo>
                    <a:pt x="576" y="138"/>
                  </a:lnTo>
                  <a:lnTo>
                    <a:pt x="576" y="132"/>
                  </a:lnTo>
                  <a:lnTo>
                    <a:pt x="576" y="138"/>
                  </a:lnTo>
                  <a:lnTo>
                    <a:pt x="576" y="132"/>
                  </a:lnTo>
                  <a:lnTo>
                    <a:pt x="570" y="132"/>
                  </a:lnTo>
                  <a:lnTo>
                    <a:pt x="570" y="138"/>
                  </a:lnTo>
                  <a:lnTo>
                    <a:pt x="570" y="144"/>
                  </a:lnTo>
                  <a:lnTo>
                    <a:pt x="576" y="144"/>
                  </a:lnTo>
                  <a:lnTo>
                    <a:pt x="576" y="138"/>
                  </a:lnTo>
                  <a:lnTo>
                    <a:pt x="582" y="138"/>
                  </a:lnTo>
                  <a:lnTo>
                    <a:pt x="582" y="144"/>
                  </a:lnTo>
                  <a:lnTo>
                    <a:pt x="576" y="144"/>
                  </a:lnTo>
                  <a:lnTo>
                    <a:pt x="576" y="150"/>
                  </a:lnTo>
                  <a:lnTo>
                    <a:pt x="576" y="156"/>
                  </a:lnTo>
                  <a:lnTo>
                    <a:pt x="576" y="162"/>
                  </a:lnTo>
                  <a:lnTo>
                    <a:pt x="582" y="162"/>
                  </a:lnTo>
                  <a:lnTo>
                    <a:pt x="576" y="162"/>
                  </a:lnTo>
                  <a:lnTo>
                    <a:pt x="576" y="168"/>
                  </a:lnTo>
                  <a:lnTo>
                    <a:pt x="570" y="168"/>
                  </a:lnTo>
                  <a:lnTo>
                    <a:pt x="570" y="174"/>
                  </a:lnTo>
                  <a:lnTo>
                    <a:pt x="576" y="174"/>
                  </a:lnTo>
                  <a:lnTo>
                    <a:pt x="576" y="168"/>
                  </a:lnTo>
                  <a:lnTo>
                    <a:pt x="576" y="174"/>
                  </a:lnTo>
                  <a:lnTo>
                    <a:pt x="582" y="174"/>
                  </a:lnTo>
                  <a:lnTo>
                    <a:pt x="576" y="174"/>
                  </a:lnTo>
                  <a:lnTo>
                    <a:pt x="576" y="180"/>
                  </a:lnTo>
                  <a:lnTo>
                    <a:pt x="582" y="180"/>
                  </a:lnTo>
                  <a:lnTo>
                    <a:pt x="582" y="186"/>
                  </a:lnTo>
                  <a:lnTo>
                    <a:pt x="582" y="192"/>
                  </a:lnTo>
                  <a:lnTo>
                    <a:pt x="582" y="198"/>
                  </a:lnTo>
                  <a:lnTo>
                    <a:pt x="582" y="204"/>
                  </a:lnTo>
                  <a:lnTo>
                    <a:pt x="582" y="210"/>
                  </a:lnTo>
                  <a:lnTo>
                    <a:pt x="576" y="210"/>
                  </a:lnTo>
                  <a:lnTo>
                    <a:pt x="582" y="210"/>
                  </a:lnTo>
                  <a:lnTo>
                    <a:pt x="576" y="210"/>
                  </a:lnTo>
                  <a:lnTo>
                    <a:pt x="582" y="210"/>
                  </a:lnTo>
                  <a:lnTo>
                    <a:pt x="582" y="216"/>
                  </a:lnTo>
                  <a:lnTo>
                    <a:pt x="582" y="210"/>
                  </a:lnTo>
                  <a:lnTo>
                    <a:pt x="582" y="216"/>
                  </a:lnTo>
                  <a:lnTo>
                    <a:pt x="582" y="210"/>
                  </a:lnTo>
                  <a:lnTo>
                    <a:pt x="588" y="210"/>
                  </a:lnTo>
                  <a:lnTo>
                    <a:pt x="588" y="216"/>
                  </a:lnTo>
                  <a:lnTo>
                    <a:pt x="588" y="222"/>
                  </a:lnTo>
                  <a:lnTo>
                    <a:pt x="582" y="222"/>
                  </a:lnTo>
                  <a:lnTo>
                    <a:pt x="582" y="216"/>
                  </a:lnTo>
                  <a:lnTo>
                    <a:pt x="582" y="222"/>
                  </a:lnTo>
                  <a:lnTo>
                    <a:pt x="582" y="228"/>
                  </a:lnTo>
                  <a:lnTo>
                    <a:pt x="582" y="222"/>
                  </a:lnTo>
                  <a:lnTo>
                    <a:pt x="582" y="228"/>
                  </a:lnTo>
                  <a:lnTo>
                    <a:pt x="582" y="234"/>
                  </a:lnTo>
                  <a:lnTo>
                    <a:pt x="582" y="228"/>
                  </a:lnTo>
                  <a:lnTo>
                    <a:pt x="588" y="228"/>
                  </a:lnTo>
                  <a:lnTo>
                    <a:pt x="582" y="228"/>
                  </a:lnTo>
                  <a:lnTo>
                    <a:pt x="582" y="222"/>
                  </a:lnTo>
                  <a:lnTo>
                    <a:pt x="588" y="222"/>
                  </a:lnTo>
                  <a:lnTo>
                    <a:pt x="594" y="222"/>
                  </a:lnTo>
                  <a:lnTo>
                    <a:pt x="594" y="228"/>
                  </a:lnTo>
                  <a:lnTo>
                    <a:pt x="594" y="234"/>
                  </a:lnTo>
                  <a:lnTo>
                    <a:pt x="594" y="240"/>
                  </a:lnTo>
                  <a:lnTo>
                    <a:pt x="594" y="246"/>
                  </a:lnTo>
                  <a:lnTo>
                    <a:pt x="594" y="240"/>
                  </a:lnTo>
                  <a:lnTo>
                    <a:pt x="594" y="246"/>
                  </a:lnTo>
                  <a:lnTo>
                    <a:pt x="588" y="246"/>
                  </a:lnTo>
                  <a:lnTo>
                    <a:pt x="588" y="252"/>
                  </a:lnTo>
                  <a:lnTo>
                    <a:pt x="582" y="252"/>
                  </a:lnTo>
                  <a:lnTo>
                    <a:pt x="582" y="246"/>
                  </a:lnTo>
                  <a:lnTo>
                    <a:pt x="582" y="252"/>
                  </a:lnTo>
                  <a:lnTo>
                    <a:pt x="588" y="252"/>
                  </a:lnTo>
                  <a:lnTo>
                    <a:pt x="588" y="258"/>
                  </a:lnTo>
                  <a:lnTo>
                    <a:pt x="588" y="252"/>
                  </a:lnTo>
                  <a:lnTo>
                    <a:pt x="588" y="258"/>
                  </a:lnTo>
                  <a:lnTo>
                    <a:pt x="582" y="258"/>
                  </a:lnTo>
                  <a:lnTo>
                    <a:pt x="588" y="258"/>
                  </a:lnTo>
                  <a:lnTo>
                    <a:pt x="582" y="258"/>
                  </a:lnTo>
                  <a:lnTo>
                    <a:pt x="588" y="258"/>
                  </a:lnTo>
                  <a:lnTo>
                    <a:pt x="588" y="264"/>
                  </a:lnTo>
                  <a:lnTo>
                    <a:pt x="582" y="264"/>
                  </a:lnTo>
                  <a:lnTo>
                    <a:pt x="582" y="258"/>
                  </a:lnTo>
                  <a:lnTo>
                    <a:pt x="582" y="264"/>
                  </a:lnTo>
                  <a:lnTo>
                    <a:pt x="576" y="264"/>
                  </a:lnTo>
                  <a:lnTo>
                    <a:pt x="576" y="270"/>
                  </a:lnTo>
                  <a:lnTo>
                    <a:pt x="576" y="264"/>
                  </a:lnTo>
                  <a:lnTo>
                    <a:pt x="576" y="270"/>
                  </a:lnTo>
                  <a:lnTo>
                    <a:pt x="582" y="270"/>
                  </a:lnTo>
                  <a:lnTo>
                    <a:pt x="582" y="264"/>
                  </a:lnTo>
                  <a:lnTo>
                    <a:pt x="582" y="270"/>
                  </a:lnTo>
                  <a:lnTo>
                    <a:pt x="582" y="264"/>
                  </a:lnTo>
                  <a:lnTo>
                    <a:pt x="582" y="270"/>
                  </a:lnTo>
                  <a:lnTo>
                    <a:pt x="582" y="276"/>
                  </a:lnTo>
                  <a:lnTo>
                    <a:pt x="582" y="282"/>
                  </a:lnTo>
                  <a:lnTo>
                    <a:pt x="582" y="276"/>
                  </a:lnTo>
                  <a:lnTo>
                    <a:pt x="582" y="282"/>
                  </a:lnTo>
                  <a:lnTo>
                    <a:pt x="576" y="282"/>
                  </a:lnTo>
                  <a:lnTo>
                    <a:pt x="576" y="288"/>
                  </a:lnTo>
                  <a:lnTo>
                    <a:pt x="570" y="288"/>
                  </a:lnTo>
                  <a:lnTo>
                    <a:pt x="576" y="288"/>
                  </a:lnTo>
                  <a:lnTo>
                    <a:pt x="570" y="288"/>
                  </a:lnTo>
                  <a:lnTo>
                    <a:pt x="570" y="294"/>
                  </a:lnTo>
                  <a:lnTo>
                    <a:pt x="570" y="300"/>
                  </a:lnTo>
                  <a:lnTo>
                    <a:pt x="564" y="300"/>
                  </a:lnTo>
                  <a:lnTo>
                    <a:pt x="564" y="306"/>
                  </a:lnTo>
                  <a:lnTo>
                    <a:pt x="558" y="306"/>
                  </a:lnTo>
                  <a:lnTo>
                    <a:pt x="558" y="312"/>
                  </a:lnTo>
                  <a:lnTo>
                    <a:pt x="552" y="312"/>
                  </a:lnTo>
                  <a:lnTo>
                    <a:pt x="552" y="318"/>
                  </a:lnTo>
                  <a:lnTo>
                    <a:pt x="552" y="312"/>
                  </a:lnTo>
                  <a:lnTo>
                    <a:pt x="552" y="318"/>
                  </a:lnTo>
                  <a:lnTo>
                    <a:pt x="552" y="324"/>
                  </a:lnTo>
                  <a:lnTo>
                    <a:pt x="546" y="324"/>
                  </a:lnTo>
                  <a:lnTo>
                    <a:pt x="546" y="330"/>
                  </a:lnTo>
                  <a:lnTo>
                    <a:pt x="540" y="330"/>
                  </a:lnTo>
                  <a:lnTo>
                    <a:pt x="540" y="324"/>
                  </a:lnTo>
                  <a:lnTo>
                    <a:pt x="540" y="330"/>
                  </a:lnTo>
                  <a:lnTo>
                    <a:pt x="540" y="324"/>
                  </a:lnTo>
                  <a:lnTo>
                    <a:pt x="540" y="330"/>
                  </a:lnTo>
                  <a:lnTo>
                    <a:pt x="534" y="330"/>
                  </a:lnTo>
                  <a:lnTo>
                    <a:pt x="540" y="330"/>
                  </a:lnTo>
                  <a:lnTo>
                    <a:pt x="534" y="330"/>
                  </a:lnTo>
                  <a:lnTo>
                    <a:pt x="534" y="336"/>
                  </a:lnTo>
                  <a:lnTo>
                    <a:pt x="534" y="342"/>
                  </a:lnTo>
                  <a:lnTo>
                    <a:pt x="534" y="336"/>
                  </a:lnTo>
                  <a:lnTo>
                    <a:pt x="540" y="336"/>
                  </a:lnTo>
                  <a:lnTo>
                    <a:pt x="540" y="342"/>
                  </a:lnTo>
                  <a:lnTo>
                    <a:pt x="534" y="342"/>
                  </a:lnTo>
                  <a:lnTo>
                    <a:pt x="528" y="342"/>
                  </a:lnTo>
                  <a:lnTo>
                    <a:pt x="528" y="348"/>
                  </a:lnTo>
                  <a:lnTo>
                    <a:pt x="522" y="348"/>
                  </a:lnTo>
                  <a:lnTo>
                    <a:pt x="522" y="354"/>
                  </a:lnTo>
                  <a:lnTo>
                    <a:pt x="516" y="354"/>
                  </a:lnTo>
                  <a:lnTo>
                    <a:pt x="510" y="354"/>
                  </a:lnTo>
                  <a:lnTo>
                    <a:pt x="510" y="360"/>
                  </a:lnTo>
                  <a:lnTo>
                    <a:pt x="504" y="360"/>
                  </a:lnTo>
                  <a:lnTo>
                    <a:pt x="504" y="366"/>
                  </a:lnTo>
                  <a:lnTo>
                    <a:pt x="498" y="366"/>
                  </a:lnTo>
                  <a:lnTo>
                    <a:pt x="492" y="366"/>
                  </a:lnTo>
                  <a:lnTo>
                    <a:pt x="492" y="372"/>
                  </a:lnTo>
                  <a:lnTo>
                    <a:pt x="498" y="372"/>
                  </a:lnTo>
                  <a:lnTo>
                    <a:pt x="498" y="366"/>
                  </a:lnTo>
                  <a:lnTo>
                    <a:pt x="498" y="372"/>
                  </a:lnTo>
                  <a:lnTo>
                    <a:pt x="492" y="372"/>
                  </a:lnTo>
                  <a:lnTo>
                    <a:pt x="486" y="372"/>
                  </a:lnTo>
                  <a:lnTo>
                    <a:pt x="486" y="378"/>
                  </a:lnTo>
                  <a:lnTo>
                    <a:pt x="480" y="378"/>
                  </a:lnTo>
                  <a:lnTo>
                    <a:pt x="480" y="372"/>
                  </a:lnTo>
                  <a:lnTo>
                    <a:pt x="480" y="378"/>
                  </a:lnTo>
                  <a:lnTo>
                    <a:pt x="474" y="378"/>
                  </a:lnTo>
                  <a:lnTo>
                    <a:pt x="474" y="372"/>
                  </a:lnTo>
                  <a:lnTo>
                    <a:pt x="474" y="378"/>
                  </a:lnTo>
                  <a:lnTo>
                    <a:pt x="468" y="378"/>
                  </a:lnTo>
                  <a:lnTo>
                    <a:pt x="462" y="378"/>
                  </a:lnTo>
                  <a:lnTo>
                    <a:pt x="456" y="378"/>
                  </a:lnTo>
                  <a:lnTo>
                    <a:pt x="462" y="378"/>
                  </a:lnTo>
                  <a:lnTo>
                    <a:pt x="462" y="384"/>
                  </a:lnTo>
                  <a:lnTo>
                    <a:pt x="456" y="384"/>
                  </a:lnTo>
                  <a:lnTo>
                    <a:pt x="450" y="384"/>
                  </a:lnTo>
                  <a:lnTo>
                    <a:pt x="444" y="384"/>
                  </a:lnTo>
                  <a:lnTo>
                    <a:pt x="444" y="390"/>
                  </a:lnTo>
                  <a:lnTo>
                    <a:pt x="444" y="384"/>
                  </a:lnTo>
                  <a:lnTo>
                    <a:pt x="438" y="384"/>
                  </a:lnTo>
                  <a:lnTo>
                    <a:pt x="444" y="384"/>
                  </a:lnTo>
                  <a:lnTo>
                    <a:pt x="444" y="390"/>
                  </a:lnTo>
                  <a:lnTo>
                    <a:pt x="438" y="390"/>
                  </a:lnTo>
                  <a:lnTo>
                    <a:pt x="438" y="384"/>
                  </a:lnTo>
                  <a:lnTo>
                    <a:pt x="438" y="390"/>
                  </a:lnTo>
                  <a:lnTo>
                    <a:pt x="444" y="390"/>
                  </a:lnTo>
                  <a:lnTo>
                    <a:pt x="438" y="390"/>
                  </a:lnTo>
                  <a:lnTo>
                    <a:pt x="432" y="390"/>
                  </a:lnTo>
                  <a:lnTo>
                    <a:pt x="432" y="396"/>
                  </a:lnTo>
                  <a:lnTo>
                    <a:pt x="426" y="396"/>
                  </a:lnTo>
                  <a:lnTo>
                    <a:pt x="420" y="396"/>
                  </a:lnTo>
                  <a:lnTo>
                    <a:pt x="420" y="402"/>
                  </a:lnTo>
                  <a:lnTo>
                    <a:pt x="420" y="396"/>
                  </a:lnTo>
                  <a:lnTo>
                    <a:pt x="420" y="402"/>
                  </a:lnTo>
                  <a:lnTo>
                    <a:pt x="414" y="402"/>
                  </a:lnTo>
                  <a:lnTo>
                    <a:pt x="408" y="402"/>
                  </a:lnTo>
                  <a:lnTo>
                    <a:pt x="414" y="402"/>
                  </a:lnTo>
                  <a:lnTo>
                    <a:pt x="408" y="408"/>
                  </a:lnTo>
                  <a:lnTo>
                    <a:pt x="402" y="408"/>
                  </a:lnTo>
                  <a:lnTo>
                    <a:pt x="408" y="408"/>
                  </a:lnTo>
                  <a:lnTo>
                    <a:pt x="402" y="408"/>
                  </a:lnTo>
                  <a:lnTo>
                    <a:pt x="408" y="408"/>
                  </a:lnTo>
                  <a:lnTo>
                    <a:pt x="402" y="408"/>
                  </a:lnTo>
                  <a:lnTo>
                    <a:pt x="402" y="414"/>
                  </a:lnTo>
                  <a:lnTo>
                    <a:pt x="402" y="408"/>
                  </a:lnTo>
                  <a:lnTo>
                    <a:pt x="402" y="414"/>
                  </a:lnTo>
                  <a:lnTo>
                    <a:pt x="396" y="414"/>
                  </a:lnTo>
                  <a:lnTo>
                    <a:pt x="390" y="414"/>
                  </a:lnTo>
                  <a:lnTo>
                    <a:pt x="390" y="420"/>
                  </a:lnTo>
                  <a:lnTo>
                    <a:pt x="384" y="426"/>
                  </a:lnTo>
                  <a:lnTo>
                    <a:pt x="378" y="432"/>
                  </a:lnTo>
                  <a:lnTo>
                    <a:pt x="378" y="426"/>
                  </a:lnTo>
                  <a:lnTo>
                    <a:pt x="378" y="432"/>
                  </a:lnTo>
                  <a:lnTo>
                    <a:pt x="372" y="432"/>
                  </a:lnTo>
                  <a:lnTo>
                    <a:pt x="378" y="432"/>
                  </a:lnTo>
                  <a:lnTo>
                    <a:pt x="378" y="438"/>
                  </a:lnTo>
                  <a:lnTo>
                    <a:pt x="372" y="438"/>
                  </a:lnTo>
                  <a:lnTo>
                    <a:pt x="372" y="444"/>
                  </a:lnTo>
                  <a:lnTo>
                    <a:pt x="372" y="438"/>
                  </a:lnTo>
                  <a:lnTo>
                    <a:pt x="366" y="444"/>
                  </a:lnTo>
                  <a:lnTo>
                    <a:pt x="372" y="444"/>
                  </a:lnTo>
                  <a:lnTo>
                    <a:pt x="366" y="444"/>
                  </a:lnTo>
                  <a:lnTo>
                    <a:pt x="366" y="450"/>
                  </a:lnTo>
                  <a:lnTo>
                    <a:pt x="360" y="450"/>
                  </a:lnTo>
                  <a:lnTo>
                    <a:pt x="360" y="456"/>
                  </a:lnTo>
                  <a:lnTo>
                    <a:pt x="360" y="450"/>
                  </a:lnTo>
                  <a:lnTo>
                    <a:pt x="360" y="456"/>
                  </a:lnTo>
                  <a:lnTo>
                    <a:pt x="354" y="456"/>
                  </a:lnTo>
                  <a:lnTo>
                    <a:pt x="354" y="462"/>
                  </a:lnTo>
                  <a:lnTo>
                    <a:pt x="354" y="456"/>
                  </a:lnTo>
                  <a:lnTo>
                    <a:pt x="354" y="462"/>
                  </a:lnTo>
                  <a:lnTo>
                    <a:pt x="354" y="456"/>
                  </a:lnTo>
                  <a:lnTo>
                    <a:pt x="348" y="456"/>
                  </a:lnTo>
                  <a:lnTo>
                    <a:pt x="354" y="462"/>
                  </a:lnTo>
                  <a:lnTo>
                    <a:pt x="348" y="462"/>
                  </a:lnTo>
                  <a:lnTo>
                    <a:pt x="348" y="468"/>
                  </a:lnTo>
                  <a:lnTo>
                    <a:pt x="348" y="474"/>
                  </a:lnTo>
                  <a:lnTo>
                    <a:pt x="342" y="474"/>
                  </a:lnTo>
                  <a:lnTo>
                    <a:pt x="348" y="474"/>
                  </a:lnTo>
                  <a:lnTo>
                    <a:pt x="342" y="480"/>
                  </a:lnTo>
                  <a:lnTo>
                    <a:pt x="348" y="480"/>
                  </a:lnTo>
                  <a:lnTo>
                    <a:pt x="342" y="480"/>
                  </a:lnTo>
                  <a:lnTo>
                    <a:pt x="336" y="480"/>
                  </a:lnTo>
                  <a:lnTo>
                    <a:pt x="342" y="480"/>
                  </a:lnTo>
                  <a:lnTo>
                    <a:pt x="336" y="480"/>
                  </a:lnTo>
                  <a:lnTo>
                    <a:pt x="330" y="480"/>
                  </a:lnTo>
                  <a:lnTo>
                    <a:pt x="330" y="486"/>
                  </a:lnTo>
                  <a:lnTo>
                    <a:pt x="330" y="480"/>
                  </a:lnTo>
                  <a:lnTo>
                    <a:pt x="330" y="486"/>
                  </a:lnTo>
                  <a:lnTo>
                    <a:pt x="324" y="486"/>
                  </a:lnTo>
                  <a:lnTo>
                    <a:pt x="318" y="486"/>
                  </a:lnTo>
                  <a:lnTo>
                    <a:pt x="318" y="492"/>
                  </a:lnTo>
                  <a:lnTo>
                    <a:pt x="312" y="492"/>
                  </a:lnTo>
                  <a:lnTo>
                    <a:pt x="306" y="492"/>
                  </a:lnTo>
                  <a:lnTo>
                    <a:pt x="306" y="498"/>
                  </a:lnTo>
                  <a:lnTo>
                    <a:pt x="306" y="492"/>
                  </a:lnTo>
                  <a:lnTo>
                    <a:pt x="306" y="498"/>
                  </a:lnTo>
                  <a:lnTo>
                    <a:pt x="300" y="504"/>
                  </a:lnTo>
                  <a:lnTo>
                    <a:pt x="300" y="510"/>
                  </a:lnTo>
                  <a:lnTo>
                    <a:pt x="294" y="510"/>
                  </a:lnTo>
                  <a:lnTo>
                    <a:pt x="294" y="516"/>
                  </a:lnTo>
                  <a:lnTo>
                    <a:pt x="294" y="510"/>
                  </a:lnTo>
                  <a:lnTo>
                    <a:pt x="294" y="516"/>
                  </a:lnTo>
                  <a:lnTo>
                    <a:pt x="288" y="516"/>
                  </a:lnTo>
                  <a:lnTo>
                    <a:pt x="288" y="522"/>
                  </a:lnTo>
                  <a:lnTo>
                    <a:pt x="282" y="522"/>
                  </a:lnTo>
                  <a:lnTo>
                    <a:pt x="282" y="528"/>
                  </a:lnTo>
                  <a:lnTo>
                    <a:pt x="276" y="528"/>
                  </a:lnTo>
                  <a:lnTo>
                    <a:pt x="276" y="534"/>
                  </a:lnTo>
                  <a:lnTo>
                    <a:pt x="276" y="528"/>
                  </a:lnTo>
                  <a:lnTo>
                    <a:pt x="276" y="534"/>
                  </a:lnTo>
                  <a:lnTo>
                    <a:pt x="270" y="534"/>
                  </a:lnTo>
                  <a:lnTo>
                    <a:pt x="264" y="534"/>
                  </a:lnTo>
                  <a:lnTo>
                    <a:pt x="264" y="540"/>
                  </a:lnTo>
                  <a:lnTo>
                    <a:pt x="264" y="534"/>
                  </a:lnTo>
                  <a:lnTo>
                    <a:pt x="264" y="540"/>
                  </a:lnTo>
                  <a:lnTo>
                    <a:pt x="258" y="540"/>
                  </a:lnTo>
                  <a:lnTo>
                    <a:pt x="258" y="534"/>
                  </a:lnTo>
                  <a:lnTo>
                    <a:pt x="252" y="534"/>
                  </a:lnTo>
                  <a:lnTo>
                    <a:pt x="252" y="528"/>
                  </a:lnTo>
                  <a:lnTo>
                    <a:pt x="246" y="528"/>
                  </a:lnTo>
                  <a:lnTo>
                    <a:pt x="252" y="528"/>
                  </a:lnTo>
                  <a:lnTo>
                    <a:pt x="252" y="534"/>
                  </a:lnTo>
                  <a:lnTo>
                    <a:pt x="258" y="534"/>
                  </a:lnTo>
                  <a:lnTo>
                    <a:pt x="258" y="540"/>
                  </a:lnTo>
                  <a:lnTo>
                    <a:pt x="252" y="540"/>
                  </a:lnTo>
                  <a:lnTo>
                    <a:pt x="258" y="540"/>
                  </a:lnTo>
                  <a:lnTo>
                    <a:pt x="258" y="546"/>
                  </a:lnTo>
                  <a:lnTo>
                    <a:pt x="252" y="552"/>
                  </a:lnTo>
                  <a:lnTo>
                    <a:pt x="258" y="558"/>
                  </a:lnTo>
                  <a:lnTo>
                    <a:pt x="252" y="558"/>
                  </a:lnTo>
                  <a:lnTo>
                    <a:pt x="246" y="558"/>
                  </a:lnTo>
                  <a:lnTo>
                    <a:pt x="252" y="558"/>
                  </a:lnTo>
                  <a:lnTo>
                    <a:pt x="252" y="564"/>
                  </a:lnTo>
                  <a:lnTo>
                    <a:pt x="252" y="570"/>
                  </a:lnTo>
                  <a:lnTo>
                    <a:pt x="246" y="570"/>
                  </a:lnTo>
                  <a:lnTo>
                    <a:pt x="252" y="570"/>
                  </a:lnTo>
                  <a:lnTo>
                    <a:pt x="252" y="576"/>
                  </a:lnTo>
                  <a:lnTo>
                    <a:pt x="246" y="576"/>
                  </a:lnTo>
                  <a:lnTo>
                    <a:pt x="246" y="582"/>
                  </a:lnTo>
                  <a:lnTo>
                    <a:pt x="252" y="582"/>
                  </a:lnTo>
                  <a:lnTo>
                    <a:pt x="252" y="576"/>
                  </a:lnTo>
                  <a:lnTo>
                    <a:pt x="252" y="582"/>
                  </a:lnTo>
                  <a:lnTo>
                    <a:pt x="258" y="582"/>
                  </a:lnTo>
                  <a:lnTo>
                    <a:pt x="258" y="588"/>
                  </a:lnTo>
                  <a:lnTo>
                    <a:pt x="264" y="588"/>
                  </a:lnTo>
                  <a:lnTo>
                    <a:pt x="264" y="594"/>
                  </a:lnTo>
                  <a:lnTo>
                    <a:pt x="264" y="588"/>
                  </a:lnTo>
                  <a:lnTo>
                    <a:pt x="264" y="594"/>
                  </a:lnTo>
                  <a:lnTo>
                    <a:pt x="264" y="588"/>
                  </a:lnTo>
                  <a:lnTo>
                    <a:pt x="264" y="594"/>
                  </a:lnTo>
                  <a:lnTo>
                    <a:pt x="264" y="588"/>
                  </a:lnTo>
                  <a:lnTo>
                    <a:pt x="270" y="588"/>
                  </a:lnTo>
                  <a:lnTo>
                    <a:pt x="270" y="594"/>
                  </a:lnTo>
                  <a:lnTo>
                    <a:pt x="264" y="594"/>
                  </a:lnTo>
                  <a:lnTo>
                    <a:pt x="270" y="594"/>
                  </a:lnTo>
                  <a:lnTo>
                    <a:pt x="270" y="588"/>
                  </a:lnTo>
                  <a:lnTo>
                    <a:pt x="270" y="594"/>
                  </a:lnTo>
                  <a:lnTo>
                    <a:pt x="264" y="594"/>
                  </a:lnTo>
                  <a:lnTo>
                    <a:pt x="270" y="594"/>
                  </a:lnTo>
                  <a:lnTo>
                    <a:pt x="264" y="594"/>
                  </a:lnTo>
                  <a:lnTo>
                    <a:pt x="270" y="594"/>
                  </a:lnTo>
                  <a:lnTo>
                    <a:pt x="270" y="600"/>
                  </a:lnTo>
                  <a:lnTo>
                    <a:pt x="270" y="606"/>
                  </a:lnTo>
                  <a:lnTo>
                    <a:pt x="270" y="600"/>
                  </a:lnTo>
                  <a:lnTo>
                    <a:pt x="276" y="600"/>
                  </a:lnTo>
                  <a:lnTo>
                    <a:pt x="276" y="606"/>
                  </a:lnTo>
                  <a:lnTo>
                    <a:pt x="270" y="606"/>
                  </a:lnTo>
                  <a:lnTo>
                    <a:pt x="276" y="606"/>
                  </a:lnTo>
                  <a:lnTo>
                    <a:pt x="276" y="612"/>
                  </a:lnTo>
                  <a:lnTo>
                    <a:pt x="276" y="606"/>
                  </a:lnTo>
                  <a:lnTo>
                    <a:pt x="270" y="606"/>
                  </a:lnTo>
                  <a:lnTo>
                    <a:pt x="270" y="612"/>
                  </a:lnTo>
                  <a:lnTo>
                    <a:pt x="276" y="612"/>
                  </a:lnTo>
                  <a:lnTo>
                    <a:pt x="270" y="612"/>
                  </a:lnTo>
                  <a:lnTo>
                    <a:pt x="270" y="618"/>
                  </a:lnTo>
                  <a:lnTo>
                    <a:pt x="270" y="612"/>
                  </a:lnTo>
                  <a:lnTo>
                    <a:pt x="270" y="618"/>
                  </a:lnTo>
                  <a:lnTo>
                    <a:pt x="276" y="618"/>
                  </a:lnTo>
                  <a:lnTo>
                    <a:pt x="276" y="624"/>
                  </a:lnTo>
                  <a:lnTo>
                    <a:pt x="270" y="624"/>
                  </a:lnTo>
                  <a:lnTo>
                    <a:pt x="270" y="618"/>
                  </a:lnTo>
                  <a:lnTo>
                    <a:pt x="270" y="624"/>
                  </a:lnTo>
                  <a:lnTo>
                    <a:pt x="270" y="630"/>
                  </a:lnTo>
                  <a:lnTo>
                    <a:pt x="276" y="630"/>
                  </a:lnTo>
                  <a:lnTo>
                    <a:pt x="276" y="624"/>
                  </a:lnTo>
                  <a:lnTo>
                    <a:pt x="276" y="630"/>
                  </a:lnTo>
                  <a:lnTo>
                    <a:pt x="276" y="624"/>
                  </a:lnTo>
                  <a:lnTo>
                    <a:pt x="276" y="618"/>
                  </a:lnTo>
                  <a:lnTo>
                    <a:pt x="276" y="624"/>
                  </a:lnTo>
                  <a:lnTo>
                    <a:pt x="276" y="630"/>
                  </a:lnTo>
                  <a:lnTo>
                    <a:pt x="282" y="636"/>
                  </a:lnTo>
                  <a:lnTo>
                    <a:pt x="282" y="642"/>
                  </a:lnTo>
                  <a:lnTo>
                    <a:pt x="282" y="648"/>
                  </a:lnTo>
                  <a:lnTo>
                    <a:pt x="282" y="654"/>
                  </a:lnTo>
                  <a:lnTo>
                    <a:pt x="282" y="648"/>
                  </a:lnTo>
                  <a:lnTo>
                    <a:pt x="282" y="654"/>
                  </a:lnTo>
                  <a:lnTo>
                    <a:pt x="288" y="654"/>
                  </a:lnTo>
                  <a:lnTo>
                    <a:pt x="288" y="660"/>
                  </a:lnTo>
                  <a:lnTo>
                    <a:pt x="288" y="666"/>
                  </a:lnTo>
                  <a:lnTo>
                    <a:pt x="288" y="672"/>
                  </a:lnTo>
                  <a:lnTo>
                    <a:pt x="288" y="678"/>
                  </a:lnTo>
                  <a:lnTo>
                    <a:pt x="294" y="678"/>
                  </a:lnTo>
                  <a:lnTo>
                    <a:pt x="294" y="684"/>
                  </a:lnTo>
                  <a:lnTo>
                    <a:pt x="294" y="678"/>
                  </a:lnTo>
                  <a:lnTo>
                    <a:pt x="294" y="684"/>
                  </a:lnTo>
                  <a:lnTo>
                    <a:pt x="294" y="678"/>
                  </a:lnTo>
                  <a:lnTo>
                    <a:pt x="294" y="672"/>
                  </a:lnTo>
                  <a:lnTo>
                    <a:pt x="294" y="678"/>
                  </a:lnTo>
                  <a:lnTo>
                    <a:pt x="300" y="678"/>
                  </a:lnTo>
                  <a:lnTo>
                    <a:pt x="300" y="684"/>
                  </a:lnTo>
                  <a:lnTo>
                    <a:pt x="300" y="678"/>
                  </a:lnTo>
                  <a:lnTo>
                    <a:pt x="300" y="684"/>
                  </a:lnTo>
                  <a:lnTo>
                    <a:pt x="300" y="690"/>
                  </a:lnTo>
                  <a:lnTo>
                    <a:pt x="300" y="696"/>
                  </a:lnTo>
                  <a:lnTo>
                    <a:pt x="300" y="702"/>
                  </a:lnTo>
                  <a:lnTo>
                    <a:pt x="294" y="702"/>
                  </a:lnTo>
                  <a:lnTo>
                    <a:pt x="300" y="708"/>
                  </a:lnTo>
                  <a:lnTo>
                    <a:pt x="300" y="714"/>
                  </a:lnTo>
                  <a:lnTo>
                    <a:pt x="300" y="720"/>
                  </a:lnTo>
                  <a:lnTo>
                    <a:pt x="300" y="726"/>
                  </a:lnTo>
                  <a:lnTo>
                    <a:pt x="300" y="720"/>
                  </a:lnTo>
                  <a:lnTo>
                    <a:pt x="300" y="726"/>
                  </a:lnTo>
                  <a:lnTo>
                    <a:pt x="300" y="732"/>
                  </a:lnTo>
                  <a:lnTo>
                    <a:pt x="294" y="738"/>
                  </a:lnTo>
                  <a:lnTo>
                    <a:pt x="294" y="744"/>
                  </a:lnTo>
                  <a:lnTo>
                    <a:pt x="294" y="750"/>
                  </a:lnTo>
                  <a:lnTo>
                    <a:pt x="294" y="756"/>
                  </a:lnTo>
                  <a:lnTo>
                    <a:pt x="294" y="762"/>
                  </a:lnTo>
                  <a:lnTo>
                    <a:pt x="294" y="768"/>
                  </a:lnTo>
                  <a:lnTo>
                    <a:pt x="294" y="774"/>
                  </a:lnTo>
                  <a:lnTo>
                    <a:pt x="288" y="774"/>
                  </a:lnTo>
                  <a:lnTo>
                    <a:pt x="288" y="768"/>
                  </a:lnTo>
                  <a:lnTo>
                    <a:pt x="288" y="774"/>
                  </a:lnTo>
                  <a:lnTo>
                    <a:pt x="288" y="780"/>
                  </a:lnTo>
                  <a:lnTo>
                    <a:pt x="288" y="786"/>
                  </a:lnTo>
                  <a:lnTo>
                    <a:pt x="288" y="780"/>
                  </a:lnTo>
                  <a:lnTo>
                    <a:pt x="294" y="780"/>
                  </a:lnTo>
                  <a:lnTo>
                    <a:pt x="294" y="774"/>
                  </a:lnTo>
                  <a:lnTo>
                    <a:pt x="300" y="774"/>
                  </a:lnTo>
                  <a:lnTo>
                    <a:pt x="300" y="780"/>
                  </a:lnTo>
                  <a:lnTo>
                    <a:pt x="300" y="786"/>
                  </a:lnTo>
                  <a:lnTo>
                    <a:pt x="294" y="792"/>
                  </a:lnTo>
                  <a:lnTo>
                    <a:pt x="294" y="798"/>
                  </a:lnTo>
                  <a:lnTo>
                    <a:pt x="294" y="804"/>
                  </a:lnTo>
                  <a:lnTo>
                    <a:pt x="288" y="804"/>
                  </a:lnTo>
                  <a:lnTo>
                    <a:pt x="288" y="810"/>
                  </a:lnTo>
                  <a:lnTo>
                    <a:pt x="282" y="816"/>
                  </a:lnTo>
                  <a:lnTo>
                    <a:pt x="282" y="822"/>
                  </a:lnTo>
                  <a:lnTo>
                    <a:pt x="276" y="822"/>
                  </a:lnTo>
                  <a:lnTo>
                    <a:pt x="270" y="828"/>
                  </a:lnTo>
                  <a:lnTo>
                    <a:pt x="264" y="834"/>
                  </a:lnTo>
                  <a:lnTo>
                    <a:pt x="258" y="834"/>
                  </a:lnTo>
                  <a:lnTo>
                    <a:pt x="252" y="840"/>
                  </a:lnTo>
                  <a:lnTo>
                    <a:pt x="246" y="840"/>
                  </a:lnTo>
                  <a:lnTo>
                    <a:pt x="240" y="840"/>
                  </a:lnTo>
                  <a:lnTo>
                    <a:pt x="234" y="840"/>
                  </a:lnTo>
                  <a:lnTo>
                    <a:pt x="240" y="840"/>
                  </a:lnTo>
                  <a:lnTo>
                    <a:pt x="234" y="840"/>
                  </a:lnTo>
                  <a:lnTo>
                    <a:pt x="234" y="846"/>
                  </a:lnTo>
                  <a:lnTo>
                    <a:pt x="228" y="846"/>
                  </a:lnTo>
                  <a:lnTo>
                    <a:pt x="222" y="846"/>
                  </a:lnTo>
                  <a:lnTo>
                    <a:pt x="216" y="852"/>
                  </a:lnTo>
                  <a:lnTo>
                    <a:pt x="210" y="852"/>
                  </a:lnTo>
                  <a:lnTo>
                    <a:pt x="204" y="852"/>
                  </a:lnTo>
                  <a:lnTo>
                    <a:pt x="204" y="858"/>
                  </a:lnTo>
                  <a:lnTo>
                    <a:pt x="198" y="858"/>
                  </a:lnTo>
                  <a:lnTo>
                    <a:pt x="192" y="858"/>
                  </a:lnTo>
                  <a:lnTo>
                    <a:pt x="186" y="864"/>
                  </a:lnTo>
                  <a:lnTo>
                    <a:pt x="180" y="864"/>
                  </a:lnTo>
                  <a:lnTo>
                    <a:pt x="174" y="870"/>
                  </a:lnTo>
                  <a:lnTo>
                    <a:pt x="168" y="870"/>
                  </a:lnTo>
                  <a:lnTo>
                    <a:pt x="162" y="876"/>
                  </a:lnTo>
                  <a:lnTo>
                    <a:pt x="156" y="882"/>
                  </a:lnTo>
                  <a:lnTo>
                    <a:pt x="150" y="882"/>
                  </a:lnTo>
                  <a:lnTo>
                    <a:pt x="150" y="888"/>
                  </a:lnTo>
                  <a:lnTo>
                    <a:pt x="144" y="888"/>
                  </a:lnTo>
                  <a:lnTo>
                    <a:pt x="144" y="894"/>
                  </a:lnTo>
                  <a:lnTo>
                    <a:pt x="144" y="900"/>
                  </a:lnTo>
                  <a:lnTo>
                    <a:pt x="144" y="906"/>
                  </a:lnTo>
                  <a:lnTo>
                    <a:pt x="144" y="900"/>
                  </a:lnTo>
                  <a:lnTo>
                    <a:pt x="144" y="894"/>
                  </a:lnTo>
                  <a:lnTo>
                    <a:pt x="138" y="894"/>
                  </a:lnTo>
                  <a:lnTo>
                    <a:pt x="144" y="894"/>
                  </a:lnTo>
                  <a:lnTo>
                    <a:pt x="144" y="900"/>
                  </a:lnTo>
                  <a:lnTo>
                    <a:pt x="138" y="900"/>
                  </a:lnTo>
                  <a:lnTo>
                    <a:pt x="138" y="906"/>
                  </a:lnTo>
                  <a:lnTo>
                    <a:pt x="138" y="912"/>
                  </a:lnTo>
                  <a:lnTo>
                    <a:pt x="132" y="912"/>
                  </a:lnTo>
                  <a:lnTo>
                    <a:pt x="132" y="906"/>
                  </a:lnTo>
                  <a:lnTo>
                    <a:pt x="126" y="912"/>
                  </a:lnTo>
                  <a:lnTo>
                    <a:pt x="132" y="912"/>
                  </a:lnTo>
                  <a:lnTo>
                    <a:pt x="126" y="912"/>
                  </a:lnTo>
                  <a:lnTo>
                    <a:pt x="126" y="918"/>
                  </a:lnTo>
                  <a:lnTo>
                    <a:pt x="126" y="912"/>
                  </a:lnTo>
                  <a:lnTo>
                    <a:pt x="132" y="912"/>
                  </a:lnTo>
                  <a:lnTo>
                    <a:pt x="138" y="912"/>
                  </a:lnTo>
                  <a:lnTo>
                    <a:pt x="138" y="918"/>
                  </a:lnTo>
                  <a:lnTo>
                    <a:pt x="138" y="924"/>
                  </a:lnTo>
                  <a:lnTo>
                    <a:pt x="138" y="930"/>
                  </a:lnTo>
                  <a:lnTo>
                    <a:pt x="144" y="930"/>
                  </a:lnTo>
                  <a:lnTo>
                    <a:pt x="138" y="930"/>
                  </a:lnTo>
                  <a:lnTo>
                    <a:pt x="138" y="936"/>
                  </a:lnTo>
                  <a:lnTo>
                    <a:pt x="138" y="930"/>
                  </a:lnTo>
                  <a:lnTo>
                    <a:pt x="144" y="930"/>
                  </a:lnTo>
                  <a:lnTo>
                    <a:pt x="138" y="930"/>
                  </a:lnTo>
                  <a:lnTo>
                    <a:pt x="138" y="924"/>
                  </a:lnTo>
                  <a:lnTo>
                    <a:pt x="144" y="924"/>
                  </a:lnTo>
                  <a:lnTo>
                    <a:pt x="144" y="930"/>
                  </a:lnTo>
                  <a:lnTo>
                    <a:pt x="150" y="930"/>
                  </a:lnTo>
                  <a:lnTo>
                    <a:pt x="150" y="924"/>
                  </a:lnTo>
                  <a:lnTo>
                    <a:pt x="150" y="918"/>
                  </a:lnTo>
                  <a:lnTo>
                    <a:pt x="156" y="918"/>
                  </a:lnTo>
                  <a:lnTo>
                    <a:pt x="156" y="924"/>
                  </a:lnTo>
                  <a:lnTo>
                    <a:pt x="156" y="930"/>
                  </a:lnTo>
                  <a:lnTo>
                    <a:pt x="156" y="936"/>
                  </a:lnTo>
                  <a:lnTo>
                    <a:pt x="156" y="942"/>
                  </a:lnTo>
                  <a:lnTo>
                    <a:pt x="150" y="942"/>
                  </a:lnTo>
                  <a:lnTo>
                    <a:pt x="150" y="948"/>
                  </a:lnTo>
                  <a:lnTo>
                    <a:pt x="150" y="954"/>
                  </a:lnTo>
                  <a:lnTo>
                    <a:pt x="150" y="960"/>
                  </a:lnTo>
                  <a:lnTo>
                    <a:pt x="150" y="966"/>
                  </a:lnTo>
                  <a:lnTo>
                    <a:pt x="144" y="966"/>
                  </a:lnTo>
                  <a:lnTo>
                    <a:pt x="120" y="966"/>
                  </a:lnTo>
                  <a:lnTo>
                    <a:pt x="114" y="960"/>
                  </a:lnTo>
                  <a:lnTo>
                    <a:pt x="114" y="966"/>
                  </a:lnTo>
                  <a:lnTo>
                    <a:pt x="108" y="966"/>
                  </a:lnTo>
                  <a:lnTo>
                    <a:pt x="108" y="954"/>
                  </a:lnTo>
                  <a:lnTo>
                    <a:pt x="108" y="942"/>
                  </a:lnTo>
                  <a:lnTo>
                    <a:pt x="108" y="936"/>
                  </a:lnTo>
                  <a:lnTo>
                    <a:pt x="108" y="930"/>
                  </a:lnTo>
                  <a:lnTo>
                    <a:pt x="108" y="924"/>
                  </a:lnTo>
                  <a:lnTo>
                    <a:pt x="108" y="912"/>
                  </a:lnTo>
                  <a:lnTo>
                    <a:pt x="102" y="912"/>
                  </a:lnTo>
                  <a:lnTo>
                    <a:pt x="102" y="906"/>
                  </a:lnTo>
                  <a:lnTo>
                    <a:pt x="96" y="900"/>
                  </a:lnTo>
                  <a:lnTo>
                    <a:pt x="102" y="900"/>
                  </a:lnTo>
                  <a:lnTo>
                    <a:pt x="102" y="894"/>
                  </a:lnTo>
                  <a:lnTo>
                    <a:pt x="102" y="888"/>
                  </a:lnTo>
                  <a:lnTo>
                    <a:pt x="102" y="882"/>
                  </a:lnTo>
                  <a:lnTo>
                    <a:pt x="102" y="876"/>
                  </a:lnTo>
                  <a:lnTo>
                    <a:pt x="102" y="870"/>
                  </a:lnTo>
                  <a:lnTo>
                    <a:pt x="102" y="864"/>
                  </a:lnTo>
                  <a:lnTo>
                    <a:pt x="102" y="858"/>
                  </a:lnTo>
                  <a:lnTo>
                    <a:pt x="102" y="852"/>
                  </a:lnTo>
                  <a:lnTo>
                    <a:pt x="102" y="846"/>
                  </a:lnTo>
                  <a:lnTo>
                    <a:pt x="102" y="840"/>
                  </a:lnTo>
                  <a:lnTo>
                    <a:pt x="102" y="834"/>
                  </a:lnTo>
                  <a:lnTo>
                    <a:pt x="102" y="828"/>
                  </a:lnTo>
                  <a:lnTo>
                    <a:pt x="102" y="822"/>
                  </a:lnTo>
                  <a:lnTo>
                    <a:pt x="102" y="816"/>
                  </a:lnTo>
                  <a:lnTo>
                    <a:pt x="102" y="810"/>
                  </a:lnTo>
                  <a:lnTo>
                    <a:pt x="102" y="804"/>
                  </a:lnTo>
                  <a:lnTo>
                    <a:pt x="96" y="798"/>
                  </a:lnTo>
                  <a:lnTo>
                    <a:pt x="96" y="786"/>
                  </a:lnTo>
                  <a:lnTo>
                    <a:pt x="90" y="780"/>
                  </a:lnTo>
                  <a:lnTo>
                    <a:pt x="84" y="774"/>
                  </a:lnTo>
                  <a:lnTo>
                    <a:pt x="84" y="768"/>
                  </a:lnTo>
                  <a:lnTo>
                    <a:pt x="84" y="762"/>
                  </a:lnTo>
                  <a:lnTo>
                    <a:pt x="78" y="756"/>
                  </a:lnTo>
                  <a:lnTo>
                    <a:pt x="78" y="750"/>
                  </a:lnTo>
                  <a:lnTo>
                    <a:pt x="78" y="744"/>
                  </a:lnTo>
                  <a:lnTo>
                    <a:pt x="78" y="738"/>
                  </a:lnTo>
                  <a:lnTo>
                    <a:pt x="78" y="732"/>
                  </a:lnTo>
                  <a:lnTo>
                    <a:pt x="72" y="732"/>
                  </a:lnTo>
                  <a:lnTo>
                    <a:pt x="72" y="726"/>
                  </a:lnTo>
                  <a:lnTo>
                    <a:pt x="72" y="714"/>
                  </a:lnTo>
                  <a:lnTo>
                    <a:pt x="66" y="702"/>
                  </a:lnTo>
                  <a:lnTo>
                    <a:pt x="66" y="690"/>
                  </a:lnTo>
                  <a:lnTo>
                    <a:pt x="72" y="684"/>
                  </a:lnTo>
                  <a:lnTo>
                    <a:pt x="78" y="678"/>
                  </a:lnTo>
                  <a:lnTo>
                    <a:pt x="96" y="660"/>
                  </a:lnTo>
                  <a:lnTo>
                    <a:pt x="120" y="630"/>
                  </a:lnTo>
                  <a:lnTo>
                    <a:pt x="126" y="624"/>
                  </a:lnTo>
                  <a:lnTo>
                    <a:pt x="126" y="630"/>
                  </a:lnTo>
                  <a:lnTo>
                    <a:pt x="126" y="624"/>
                  </a:lnTo>
                  <a:lnTo>
                    <a:pt x="126" y="618"/>
                  </a:lnTo>
                  <a:lnTo>
                    <a:pt x="120" y="618"/>
                  </a:lnTo>
                  <a:lnTo>
                    <a:pt x="120" y="612"/>
                  </a:lnTo>
                  <a:lnTo>
                    <a:pt x="126" y="612"/>
                  </a:lnTo>
                  <a:lnTo>
                    <a:pt x="126" y="606"/>
                  </a:lnTo>
                  <a:lnTo>
                    <a:pt x="132" y="600"/>
                  </a:lnTo>
                  <a:lnTo>
                    <a:pt x="132" y="594"/>
                  </a:lnTo>
                  <a:lnTo>
                    <a:pt x="132" y="588"/>
                  </a:lnTo>
                  <a:lnTo>
                    <a:pt x="126" y="588"/>
                  </a:lnTo>
                  <a:lnTo>
                    <a:pt x="132" y="582"/>
                  </a:lnTo>
                  <a:lnTo>
                    <a:pt x="138" y="582"/>
                  </a:lnTo>
                  <a:lnTo>
                    <a:pt x="144" y="576"/>
                  </a:lnTo>
                  <a:lnTo>
                    <a:pt x="144" y="570"/>
                  </a:lnTo>
                  <a:lnTo>
                    <a:pt x="150" y="564"/>
                  </a:lnTo>
                  <a:lnTo>
                    <a:pt x="150" y="558"/>
                  </a:lnTo>
                  <a:lnTo>
                    <a:pt x="150" y="552"/>
                  </a:lnTo>
                  <a:lnTo>
                    <a:pt x="150" y="558"/>
                  </a:lnTo>
                  <a:lnTo>
                    <a:pt x="150" y="552"/>
                  </a:lnTo>
                  <a:lnTo>
                    <a:pt x="156" y="552"/>
                  </a:lnTo>
                  <a:lnTo>
                    <a:pt x="156" y="546"/>
                  </a:lnTo>
                  <a:lnTo>
                    <a:pt x="162" y="540"/>
                  </a:lnTo>
                  <a:lnTo>
                    <a:pt x="162" y="534"/>
                  </a:lnTo>
                  <a:lnTo>
                    <a:pt x="156" y="534"/>
                  </a:lnTo>
                  <a:lnTo>
                    <a:pt x="156" y="528"/>
                  </a:lnTo>
                  <a:lnTo>
                    <a:pt x="150" y="528"/>
                  </a:lnTo>
                  <a:lnTo>
                    <a:pt x="150" y="522"/>
                  </a:lnTo>
                  <a:lnTo>
                    <a:pt x="150" y="516"/>
                  </a:lnTo>
                  <a:lnTo>
                    <a:pt x="144" y="516"/>
                  </a:lnTo>
                  <a:lnTo>
                    <a:pt x="144" y="510"/>
                  </a:lnTo>
                  <a:lnTo>
                    <a:pt x="150" y="510"/>
                  </a:lnTo>
                  <a:lnTo>
                    <a:pt x="150" y="504"/>
                  </a:lnTo>
                  <a:lnTo>
                    <a:pt x="150" y="498"/>
                  </a:lnTo>
                  <a:lnTo>
                    <a:pt x="150" y="492"/>
                  </a:lnTo>
                  <a:lnTo>
                    <a:pt x="144" y="492"/>
                  </a:lnTo>
                  <a:lnTo>
                    <a:pt x="138" y="486"/>
                  </a:lnTo>
                  <a:lnTo>
                    <a:pt x="144" y="486"/>
                  </a:lnTo>
                  <a:lnTo>
                    <a:pt x="144" y="480"/>
                  </a:lnTo>
                  <a:lnTo>
                    <a:pt x="138" y="480"/>
                  </a:lnTo>
                  <a:lnTo>
                    <a:pt x="144" y="480"/>
                  </a:lnTo>
                  <a:lnTo>
                    <a:pt x="144" y="474"/>
                  </a:lnTo>
                  <a:lnTo>
                    <a:pt x="150" y="474"/>
                  </a:lnTo>
                  <a:lnTo>
                    <a:pt x="150" y="480"/>
                  </a:lnTo>
                  <a:lnTo>
                    <a:pt x="150" y="474"/>
                  </a:lnTo>
                  <a:lnTo>
                    <a:pt x="156" y="474"/>
                  </a:lnTo>
                  <a:lnTo>
                    <a:pt x="156" y="468"/>
                  </a:lnTo>
                  <a:lnTo>
                    <a:pt x="150" y="468"/>
                  </a:lnTo>
                  <a:lnTo>
                    <a:pt x="150" y="462"/>
                  </a:lnTo>
                  <a:lnTo>
                    <a:pt x="156" y="462"/>
                  </a:lnTo>
                  <a:lnTo>
                    <a:pt x="156" y="456"/>
                  </a:lnTo>
                  <a:lnTo>
                    <a:pt x="156" y="462"/>
                  </a:lnTo>
                  <a:lnTo>
                    <a:pt x="156" y="456"/>
                  </a:lnTo>
                  <a:lnTo>
                    <a:pt x="162" y="450"/>
                  </a:lnTo>
                  <a:lnTo>
                    <a:pt x="156" y="450"/>
                  </a:lnTo>
                  <a:lnTo>
                    <a:pt x="156" y="444"/>
                  </a:lnTo>
                  <a:lnTo>
                    <a:pt x="156" y="438"/>
                  </a:lnTo>
                  <a:lnTo>
                    <a:pt x="156" y="432"/>
                  </a:lnTo>
                  <a:lnTo>
                    <a:pt x="156" y="426"/>
                  </a:lnTo>
                  <a:lnTo>
                    <a:pt x="156" y="420"/>
                  </a:lnTo>
                  <a:lnTo>
                    <a:pt x="156" y="414"/>
                  </a:lnTo>
                  <a:lnTo>
                    <a:pt x="156" y="408"/>
                  </a:lnTo>
                  <a:lnTo>
                    <a:pt x="162" y="408"/>
                  </a:lnTo>
                  <a:lnTo>
                    <a:pt x="156" y="408"/>
                  </a:lnTo>
                  <a:lnTo>
                    <a:pt x="156" y="402"/>
                  </a:lnTo>
                  <a:lnTo>
                    <a:pt x="156" y="396"/>
                  </a:lnTo>
                  <a:lnTo>
                    <a:pt x="162" y="396"/>
                  </a:lnTo>
                  <a:lnTo>
                    <a:pt x="162" y="390"/>
                  </a:lnTo>
                  <a:lnTo>
                    <a:pt x="156" y="390"/>
                  </a:lnTo>
                  <a:lnTo>
                    <a:pt x="156" y="384"/>
                  </a:lnTo>
                  <a:lnTo>
                    <a:pt x="156" y="378"/>
                  </a:lnTo>
                  <a:lnTo>
                    <a:pt x="156" y="372"/>
                  </a:lnTo>
                  <a:lnTo>
                    <a:pt x="150" y="372"/>
                  </a:lnTo>
                  <a:lnTo>
                    <a:pt x="150" y="366"/>
                  </a:lnTo>
                  <a:lnTo>
                    <a:pt x="156" y="360"/>
                  </a:lnTo>
                  <a:lnTo>
                    <a:pt x="156" y="354"/>
                  </a:lnTo>
                  <a:lnTo>
                    <a:pt x="150" y="354"/>
                  </a:lnTo>
                  <a:lnTo>
                    <a:pt x="144" y="354"/>
                  </a:lnTo>
                  <a:lnTo>
                    <a:pt x="138" y="354"/>
                  </a:lnTo>
                  <a:lnTo>
                    <a:pt x="144" y="354"/>
                  </a:lnTo>
                  <a:lnTo>
                    <a:pt x="144" y="348"/>
                  </a:lnTo>
                  <a:lnTo>
                    <a:pt x="138" y="348"/>
                  </a:lnTo>
                  <a:lnTo>
                    <a:pt x="132" y="348"/>
                  </a:lnTo>
                  <a:lnTo>
                    <a:pt x="126" y="342"/>
                  </a:lnTo>
                  <a:lnTo>
                    <a:pt x="120" y="342"/>
                  </a:lnTo>
                  <a:lnTo>
                    <a:pt x="114" y="342"/>
                  </a:lnTo>
                  <a:lnTo>
                    <a:pt x="108" y="342"/>
                  </a:lnTo>
                  <a:lnTo>
                    <a:pt x="102" y="342"/>
                  </a:lnTo>
                  <a:lnTo>
                    <a:pt x="102" y="336"/>
                  </a:lnTo>
                  <a:lnTo>
                    <a:pt x="96" y="336"/>
                  </a:lnTo>
                  <a:lnTo>
                    <a:pt x="96" y="330"/>
                  </a:lnTo>
                  <a:lnTo>
                    <a:pt x="90" y="330"/>
                  </a:lnTo>
                  <a:lnTo>
                    <a:pt x="84" y="330"/>
                  </a:lnTo>
                  <a:lnTo>
                    <a:pt x="84" y="324"/>
                  </a:lnTo>
                  <a:lnTo>
                    <a:pt x="78" y="324"/>
                  </a:lnTo>
                  <a:lnTo>
                    <a:pt x="72" y="324"/>
                  </a:lnTo>
                  <a:lnTo>
                    <a:pt x="66" y="324"/>
                  </a:lnTo>
                  <a:lnTo>
                    <a:pt x="66" y="318"/>
                  </a:lnTo>
                  <a:lnTo>
                    <a:pt x="60" y="318"/>
                  </a:lnTo>
                  <a:lnTo>
                    <a:pt x="60" y="312"/>
                  </a:lnTo>
                  <a:lnTo>
                    <a:pt x="54" y="312"/>
                  </a:lnTo>
                  <a:lnTo>
                    <a:pt x="48" y="312"/>
                  </a:lnTo>
                  <a:lnTo>
                    <a:pt x="48" y="318"/>
                  </a:lnTo>
                  <a:lnTo>
                    <a:pt x="42" y="318"/>
                  </a:lnTo>
                  <a:lnTo>
                    <a:pt x="42" y="312"/>
                  </a:lnTo>
                  <a:lnTo>
                    <a:pt x="36" y="312"/>
                  </a:lnTo>
                  <a:lnTo>
                    <a:pt x="30" y="312"/>
                  </a:lnTo>
                  <a:lnTo>
                    <a:pt x="24" y="312"/>
                  </a:lnTo>
                  <a:lnTo>
                    <a:pt x="18" y="312"/>
                  </a:lnTo>
                  <a:lnTo>
                    <a:pt x="12" y="312"/>
                  </a:lnTo>
                  <a:lnTo>
                    <a:pt x="12" y="306"/>
                  </a:lnTo>
                  <a:lnTo>
                    <a:pt x="12" y="300"/>
                  </a:lnTo>
                  <a:lnTo>
                    <a:pt x="12" y="294"/>
                  </a:lnTo>
                  <a:lnTo>
                    <a:pt x="12" y="288"/>
                  </a:lnTo>
                  <a:lnTo>
                    <a:pt x="12" y="282"/>
                  </a:lnTo>
                  <a:lnTo>
                    <a:pt x="12" y="276"/>
                  </a:lnTo>
                  <a:lnTo>
                    <a:pt x="6" y="270"/>
                  </a:lnTo>
                  <a:lnTo>
                    <a:pt x="6" y="264"/>
                  </a:lnTo>
                  <a:lnTo>
                    <a:pt x="0" y="264"/>
                  </a:lnTo>
                  <a:lnTo>
                    <a:pt x="0" y="258"/>
                  </a:lnTo>
                  <a:lnTo>
                    <a:pt x="6" y="258"/>
                  </a:lnTo>
                  <a:lnTo>
                    <a:pt x="0" y="258"/>
                  </a:lnTo>
                  <a:lnTo>
                    <a:pt x="6" y="252"/>
                  </a:lnTo>
                  <a:lnTo>
                    <a:pt x="12" y="252"/>
                  </a:lnTo>
                  <a:lnTo>
                    <a:pt x="18" y="252"/>
                  </a:lnTo>
                  <a:lnTo>
                    <a:pt x="24" y="246"/>
                  </a:lnTo>
                  <a:lnTo>
                    <a:pt x="30" y="246"/>
                  </a:lnTo>
                  <a:lnTo>
                    <a:pt x="36" y="246"/>
                  </a:lnTo>
                  <a:lnTo>
                    <a:pt x="48" y="240"/>
                  </a:lnTo>
                  <a:lnTo>
                    <a:pt x="54" y="240"/>
                  </a:lnTo>
                  <a:lnTo>
                    <a:pt x="60" y="234"/>
                  </a:lnTo>
                  <a:lnTo>
                    <a:pt x="66" y="234"/>
                  </a:lnTo>
                  <a:lnTo>
                    <a:pt x="72" y="234"/>
                  </a:lnTo>
                  <a:lnTo>
                    <a:pt x="78" y="234"/>
                  </a:lnTo>
                  <a:lnTo>
                    <a:pt x="78" y="228"/>
                  </a:lnTo>
                  <a:lnTo>
                    <a:pt x="84" y="228"/>
                  </a:lnTo>
                  <a:lnTo>
                    <a:pt x="90" y="228"/>
                  </a:lnTo>
                  <a:lnTo>
                    <a:pt x="96" y="222"/>
                  </a:lnTo>
                  <a:lnTo>
                    <a:pt x="102" y="222"/>
                  </a:lnTo>
                  <a:lnTo>
                    <a:pt x="108" y="222"/>
                  </a:lnTo>
                  <a:lnTo>
                    <a:pt x="108" y="216"/>
                  </a:lnTo>
                  <a:lnTo>
                    <a:pt x="114" y="216"/>
                  </a:lnTo>
                  <a:lnTo>
                    <a:pt x="120" y="216"/>
                  </a:lnTo>
                  <a:lnTo>
                    <a:pt x="126" y="216"/>
                  </a:lnTo>
                  <a:lnTo>
                    <a:pt x="132" y="210"/>
                  </a:lnTo>
                  <a:lnTo>
                    <a:pt x="138" y="210"/>
                  </a:lnTo>
                  <a:lnTo>
                    <a:pt x="150" y="204"/>
                  </a:lnTo>
                  <a:lnTo>
                    <a:pt x="156" y="204"/>
                  </a:lnTo>
                  <a:lnTo>
                    <a:pt x="162" y="204"/>
                  </a:lnTo>
                  <a:lnTo>
                    <a:pt x="168" y="198"/>
                  </a:lnTo>
                  <a:close/>
                  <a:moveTo>
                    <a:pt x="252" y="84"/>
                  </a:moveTo>
                  <a:lnTo>
                    <a:pt x="258" y="84"/>
                  </a:lnTo>
                  <a:lnTo>
                    <a:pt x="258" y="90"/>
                  </a:lnTo>
                  <a:lnTo>
                    <a:pt x="252" y="90"/>
                  </a:lnTo>
                  <a:lnTo>
                    <a:pt x="252" y="84"/>
                  </a:lnTo>
                  <a:close/>
                  <a:moveTo>
                    <a:pt x="534" y="330"/>
                  </a:moveTo>
                  <a:lnTo>
                    <a:pt x="540" y="330"/>
                  </a:lnTo>
                  <a:lnTo>
                    <a:pt x="540" y="336"/>
                  </a:lnTo>
                  <a:lnTo>
                    <a:pt x="534" y="336"/>
                  </a:lnTo>
                  <a:lnTo>
                    <a:pt x="534" y="330"/>
                  </a:lnTo>
                  <a:close/>
                  <a:moveTo>
                    <a:pt x="294" y="648"/>
                  </a:moveTo>
                  <a:lnTo>
                    <a:pt x="294" y="642"/>
                  </a:lnTo>
                  <a:lnTo>
                    <a:pt x="294" y="636"/>
                  </a:lnTo>
                  <a:lnTo>
                    <a:pt x="294" y="642"/>
                  </a:lnTo>
                  <a:lnTo>
                    <a:pt x="294" y="648"/>
                  </a:lnTo>
                  <a:lnTo>
                    <a:pt x="294" y="654"/>
                  </a:lnTo>
                  <a:lnTo>
                    <a:pt x="294" y="648"/>
                  </a:lnTo>
                  <a:close/>
                  <a:moveTo>
                    <a:pt x="150" y="912"/>
                  </a:moveTo>
                  <a:lnTo>
                    <a:pt x="156" y="912"/>
                  </a:lnTo>
                  <a:lnTo>
                    <a:pt x="156" y="918"/>
                  </a:lnTo>
                  <a:lnTo>
                    <a:pt x="150" y="918"/>
                  </a:lnTo>
                  <a:lnTo>
                    <a:pt x="150" y="912"/>
                  </a:lnTo>
                  <a:close/>
                  <a:moveTo>
                    <a:pt x="330" y="480"/>
                  </a:moveTo>
                  <a:lnTo>
                    <a:pt x="342" y="480"/>
                  </a:lnTo>
                  <a:lnTo>
                    <a:pt x="342" y="486"/>
                  </a:lnTo>
                  <a:lnTo>
                    <a:pt x="330" y="486"/>
                  </a:lnTo>
                  <a:lnTo>
                    <a:pt x="330" y="480"/>
                  </a:lnTo>
                  <a:close/>
                  <a:moveTo>
                    <a:pt x="294" y="654"/>
                  </a:moveTo>
                  <a:lnTo>
                    <a:pt x="294" y="660"/>
                  </a:lnTo>
                  <a:lnTo>
                    <a:pt x="295" y="660"/>
                  </a:lnTo>
                  <a:lnTo>
                    <a:pt x="294" y="654"/>
                  </a:lnTo>
                  <a:close/>
                  <a:moveTo>
                    <a:pt x="576" y="102"/>
                  </a:moveTo>
                  <a:lnTo>
                    <a:pt x="582" y="102"/>
                  </a:lnTo>
                  <a:lnTo>
                    <a:pt x="582" y="108"/>
                  </a:lnTo>
                  <a:lnTo>
                    <a:pt x="576" y="108"/>
                  </a:lnTo>
                  <a:lnTo>
                    <a:pt x="576" y="102"/>
                  </a:lnTo>
                  <a:close/>
                  <a:moveTo>
                    <a:pt x="576" y="96"/>
                  </a:moveTo>
                  <a:lnTo>
                    <a:pt x="582" y="96"/>
                  </a:lnTo>
                  <a:lnTo>
                    <a:pt x="576" y="96"/>
                  </a:lnTo>
                  <a:close/>
                  <a:moveTo>
                    <a:pt x="564" y="684"/>
                  </a:moveTo>
                  <a:lnTo>
                    <a:pt x="570" y="684"/>
                  </a:lnTo>
                  <a:lnTo>
                    <a:pt x="570" y="690"/>
                  </a:lnTo>
                  <a:lnTo>
                    <a:pt x="564" y="690"/>
                  </a:lnTo>
                  <a:lnTo>
                    <a:pt x="564" y="684"/>
                  </a:lnTo>
                  <a:close/>
                  <a:moveTo>
                    <a:pt x="582" y="30"/>
                  </a:moveTo>
                  <a:lnTo>
                    <a:pt x="588" y="30"/>
                  </a:lnTo>
                  <a:lnTo>
                    <a:pt x="582" y="30"/>
                  </a:lnTo>
                  <a:close/>
                  <a:moveTo>
                    <a:pt x="348" y="468"/>
                  </a:moveTo>
                  <a:lnTo>
                    <a:pt x="348" y="474"/>
                  </a:lnTo>
                  <a:lnTo>
                    <a:pt x="349" y="474"/>
                  </a:lnTo>
                  <a:lnTo>
                    <a:pt x="348" y="468"/>
                  </a:lnTo>
                  <a:close/>
                  <a:moveTo>
                    <a:pt x="252" y="576"/>
                  </a:moveTo>
                  <a:lnTo>
                    <a:pt x="252" y="582"/>
                  </a:lnTo>
                  <a:lnTo>
                    <a:pt x="253" y="582"/>
                  </a:lnTo>
                  <a:lnTo>
                    <a:pt x="252" y="576"/>
                  </a:lnTo>
                  <a:close/>
                  <a:moveTo>
                    <a:pt x="582" y="36"/>
                  </a:moveTo>
                  <a:lnTo>
                    <a:pt x="588" y="36"/>
                  </a:lnTo>
                  <a:lnTo>
                    <a:pt x="582" y="36"/>
                  </a:lnTo>
                  <a:close/>
                  <a:moveTo>
                    <a:pt x="540" y="330"/>
                  </a:moveTo>
                  <a:lnTo>
                    <a:pt x="546" y="330"/>
                  </a:lnTo>
                  <a:lnTo>
                    <a:pt x="546" y="336"/>
                  </a:lnTo>
                  <a:lnTo>
                    <a:pt x="540" y="336"/>
                  </a:lnTo>
                  <a:lnTo>
                    <a:pt x="540" y="330"/>
                  </a:lnTo>
                  <a:close/>
                  <a:moveTo>
                    <a:pt x="582" y="12"/>
                  </a:moveTo>
                  <a:lnTo>
                    <a:pt x="582" y="18"/>
                  </a:lnTo>
                  <a:lnTo>
                    <a:pt x="583" y="18"/>
                  </a:lnTo>
                  <a:lnTo>
                    <a:pt x="582" y="12"/>
                  </a:lnTo>
                  <a:close/>
                  <a:moveTo>
                    <a:pt x="246" y="576"/>
                  </a:moveTo>
                  <a:lnTo>
                    <a:pt x="252" y="576"/>
                  </a:lnTo>
                  <a:lnTo>
                    <a:pt x="246" y="576"/>
                  </a:lnTo>
                  <a:close/>
                  <a:moveTo>
                    <a:pt x="252" y="534"/>
                  </a:moveTo>
                  <a:lnTo>
                    <a:pt x="258" y="534"/>
                  </a:lnTo>
                  <a:lnTo>
                    <a:pt x="252" y="534"/>
                  </a:lnTo>
                  <a:close/>
                  <a:moveTo>
                    <a:pt x="534" y="330"/>
                  </a:moveTo>
                  <a:lnTo>
                    <a:pt x="534" y="336"/>
                  </a:lnTo>
                  <a:lnTo>
                    <a:pt x="535" y="336"/>
                  </a:lnTo>
                  <a:lnTo>
                    <a:pt x="534" y="330"/>
                  </a:lnTo>
                  <a:close/>
                  <a:moveTo>
                    <a:pt x="306" y="492"/>
                  </a:moveTo>
                  <a:lnTo>
                    <a:pt x="312" y="492"/>
                  </a:lnTo>
                  <a:lnTo>
                    <a:pt x="312" y="498"/>
                  </a:lnTo>
                  <a:lnTo>
                    <a:pt x="306" y="498"/>
                  </a:lnTo>
                  <a:lnTo>
                    <a:pt x="306" y="492"/>
                  </a:lnTo>
                  <a:close/>
                  <a:moveTo>
                    <a:pt x="246" y="528"/>
                  </a:moveTo>
                  <a:lnTo>
                    <a:pt x="252" y="528"/>
                  </a:lnTo>
                  <a:lnTo>
                    <a:pt x="246" y="528"/>
                  </a:lnTo>
                  <a:close/>
                  <a:moveTo>
                    <a:pt x="576" y="84"/>
                  </a:moveTo>
                  <a:lnTo>
                    <a:pt x="582" y="84"/>
                  </a:lnTo>
                  <a:lnTo>
                    <a:pt x="576" y="84"/>
                  </a:lnTo>
                  <a:close/>
                  <a:moveTo>
                    <a:pt x="138" y="906"/>
                  </a:moveTo>
                  <a:lnTo>
                    <a:pt x="144" y="906"/>
                  </a:lnTo>
                  <a:lnTo>
                    <a:pt x="138" y="906"/>
                  </a:lnTo>
                  <a:close/>
                  <a:moveTo>
                    <a:pt x="252" y="534"/>
                  </a:moveTo>
                  <a:lnTo>
                    <a:pt x="258" y="534"/>
                  </a:lnTo>
                  <a:lnTo>
                    <a:pt x="252" y="534"/>
                  </a:lnTo>
                  <a:close/>
                  <a:moveTo>
                    <a:pt x="576" y="282"/>
                  </a:moveTo>
                  <a:lnTo>
                    <a:pt x="582" y="282"/>
                  </a:lnTo>
                  <a:lnTo>
                    <a:pt x="576" y="282"/>
                  </a:lnTo>
                  <a:close/>
                  <a:moveTo>
                    <a:pt x="498" y="366"/>
                  </a:moveTo>
                  <a:lnTo>
                    <a:pt x="498" y="372"/>
                  </a:lnTo>
                  <a:lnTo>
                    <a:pt x="499" y="372"/>
                  </a:lnTo>
                  <a:lnTo>
                    <a:pt x="498" y="366"/>
                  </a:lnTo>
                  <a:close/>
                  <a:moveTo>
                    <a:pt x="294" y="654"/>
                  </a:moveTo>
                  <a:lnTo>
                    <a:pt x="294" y="660"/>
                  </a:lnTo>
                  <a:lnTo>
                    <a:pt x="295" y="660"/>
                  </a:lnTo>
                  <a:lnTo>
                    <a:pt x="294" y="654"/>
                  </a:lnTo>
                  <a:close/>
                  <a:moveTo>
                    <a:pt x="252" y="540"/>
                  </a:moveTo>
                  <a:lnTo>
                    <a:pt x="258" y="540"/>
                  </a:lnTo>
                  <a:lnTo>
                    <a:pt x="252" y="540"/>
                  </a:lnTo>
                  <a:close/>
                  <a:moveTo>
                    <a:pt x="150" y="912"/>
                  </a:moveTo>
                  <a:lnTo>
                    <a:pt x="156" y="912"/>
                  </a:lnTo>
                  <a:lnTo>
                    <a:pt x="150" y="912"/>
                  </a:lnTo>
                  <a:close/>
                  <a:moveTo>
                    <a:pt x="294" y="774"/>
                  </a:moveTo>
                  <a:lnTo>
                    <a:pt x="294" y="780"/>
                  </a:lnTo>
                  <a:lnTo>
                    <a:pt x="295" y="780"/>
                  </a:lnTo>
                  <a:lnTo>
                    <a:pt x="294" y="774"/>
                  </a:lnTo>
                  <a:close/>
                  <a:moveTo>
                    <a:pt x="366" y="444"/>
                  </a:moveTo>
                  <a:lnTo>
                    <a:pt x="372" y="444"/>
                  </a:lnTo>
                  <a:lnTo>
                    <a:pt x="366" y="444"/>
                  </a:lnTo>
                  <a:close/>
                  <a:moveTo>
                    <a:pt x="348" y="462"/>
                  </a:moveTo>
                  <a:lnTo>
                    <a:pt x="354" y="462"/>
                  </a:lnTo>
                  <a:lnTo>
                    <a:pt x="348" y="462"/>
                  </a:lnTo>
                  <a:close/>
                  <a:moveTo>
                    <a:pt x="534" y="330"/>
                  </a:moveTo>
                  <a:lnTo>
                    <a:pt x="534" y="336"/>
                  </a:lnTo>
                  <a:lnTo>
                    <a:pt x="535" y="336"/>
                  </a:lnTo>
                  <a:lnTo>
                    <a:pt x="534" y="330"/>
                  </a:lnTo>
                  <a:close/>
                  <a:moveTo>
                    <a:pt x="366" y="444"/>
                  </a:moveTo>
                  <a:lnTo>
                    <a:pt x="372" y="444"/>
                  </a:lnTo>
                  <a:lnTo>
                    <a:pt x="366" y="444"/>
                  </a:ln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5" name="Freeform 58"/>
            <p:cNvSpPr>
              <a:spLocks/>
            </p:cNvSpPr>
            <p:nvPr>
              <p:custDataLst>
                <p:tags r:id="rId53"/>
              </p:custDataLst>
            </p:nvPr>
          </p:nvSpPr>
          <p:spPr bwMode="gray">
            <a:xfrm>
              <a:off x="2664920" y="5069793"/>
              <a:ext cx="121369" cy="115222"/>
            </a:xfrm>
            <a:custGeom>
              <a:avLst/>
              <a:gdLst>
                <a:gd name="T0" fmla="*/ 43031 w 132"/>
                <a:gd name="T1" fmla="*/ 27133 h 132"/>
                <a:gd name="T2" fmla="*/ 43031 w 132"/>
                <a:gd name="T3" fmla="*/ 27133 h 132"/>
                <a:gd name="T4" fmla="*/ 41075 w 132"/>
                <a:gd name="T5" fmla="*/ 30039 h 132"/>
                <a:gd name="T6" fmla="*/ 41075 w 132"/>
                <a:gd name="T7" fmla="*/ 30039 h 132"/>
                <a:gd name="T8" fmla="*/ 38141 w 132"/>
                <a:gd name="T9" fmla="*/ 31978 h 132"/>
                <a:gd name="T10" fmla="*/ 34229 w 132"/>
                <a:gd name="T11" fmla="*/ 33916 h 132"/>
                <a:gd name="T12" fmla="*/ 30318 w 132"/>
                <a:gd name="T13" fmla="*/ 33916 h 132"/>
                <a:gd name="T14" fmla="*/ 30318 w 132"/>
                <a:gd name="T15" fmla="*/ 33916 h 132"/>
                <a:gd name="T16" fmla="*/ 27384 w 132"/>
                <a:gd name="T17" fmla="*/ 33916 h 132"/>
                <a:gd name="T18" fmla="*/ 26406 w 132"/>
                <a:gd name="T19" fmla="*/ 37792 h 132"/>
                <a:gd name="T20" fmla="*/ 23472 w 132"/>
                <a:gd name="T21" fmla="*/ 40699 h 132"/>
                <a:gd name="T22" fmla="*/ 21515 w 132"/>
                <a:gd name="T23" fmla="*/ 42637 h 132"/>
                <a:gd name="T24" fmla="*/ 21515 w 132"/>
                <a:gd name="T25" fmla="*/ 42637 h 132"/>
                <a:gd name="T26" fmla="*/ 21515 w 132"/>
                <a:gd name="T27" fmla="*/ 46513 h 132"/>
                <a:gd name="T28" fmla="*/ 17604 w 132"/>
                <a:gd name="T29" fmla="*/ 46513 h 132"/>
                <a:gd name="T30" fmla="*/ 14670 w 132"/>
                <a:gd name="T31" fmla="*/ 44575 h 132"/>
                <a:gd name="T32" fmla="*/ 12714 w 132"/>
                <a:gd name="T33" fmla="*/ 42637 h 132"/>
                <a:gd name="T34" fmla="*/ 10758 w 132"/>
                <a:gd name="T35" fmla="*/ 40699 h 132"/>
                <a:gd name="T36" fmla="*/ 8802 w 132"/>
                <a:gd name="T37" fmla="*/ 37792 h 132"/>
                <a:gd name="T38" fmla="*/ 6846 w 132"/>
                <a:gd name="T39" fmla="*/ 36823 h 132"/>
                <a:gd name="T40" fmla="*/ 6846 w 132"/>
                <a:gd name="T41" fmla="*/ 36823 h 132"/>
                <a:gd name="T42" fmla="*/ 3912 w 132"/>
                <a:gd name="T43" fmla="*/ 33916 h 132"/>
                <a:gd name="T44" fmla="*/ 3912 w 132"/>
                <a:gd name="T45" fmla="*/ 30039 h 132"/>
                <a:gd name="T46" fmla="*/ 1956 w 132"/>
                <a:gd name="T47" fmla="*/ 27133 h 132"/>
                <a:gd name="T48" fmla="*/ 0 w 132"/>
                <a:gd name="T49" fmla="*/ 26164 h 132"/>
                <a:gd name="T50" fmla="*/ 1956 w 132"/>
                <a:gd name="T51" fmla="*/ 23256 h 132"/>
                <a:gd name="T52" fmla="*/ 3912 w 132"/>
                <a:gd name="T53" fmla="*/ 21319 h 132"/>
                <a:gd name="T54" fmla="*/ 3912 w 132"/>
                <a:gd name="T55" fmla="*/ 21319 h 132"/>
                <a:gd name="T56" fmla="*/ 8802 w 132"/>
                <a:gd name="T57" fmla="*/ 19380 h 132"/>
                <a:gd name="T58" fmla="*/ 6846 w 132"/>
                <a:gd name="T59" fmla="*/ 17442 h 132"/>
                <a:gd name="T60" fmla="*/ 8802 w 132"/>
                <a:gd name="T61" fmla="*/ 14535 h 132"/>
                <a:gd name="T62" fmla="*/ 8802 w 132"/>
                <a:gd name="T63" fmla="*/ 14535 h 132"/>
                <a:gd name="T64" fmla="*/ 10758 w 132"/>
                <a:gd name="T65" fmla="*/ 12597 h 132"/>
                <a:gd name="T66" fmla="*/ 12714 w 132"/>
                <a:gd name="T67" fmla="*/ 10659 h 132"/>
                <a:gd name="T68" fmla="*/ 14670 w 132"/>
                <a:gd name="T69" fmla="*/ 8721 h 132"/>
                <a:gd name="T70" fmla="*/ 17604 w 132"/>
                <a:gd name="T71" fmla="*/ 6783 h 132"/>
                <a:gd name="T72" fmla="*/ 19560 w 132"/>
                <a:gd name="T73" fmla="*/ 3876 h 132"/>
                <a:gd name="T74" fmla="*/ 21515 w 132"/>
                <a:gd name="T75" fmla="*/ 1938 h 132"/>
                <a:gd name="T76" fmla="*/ 21515 w 132"/>
                <a:gd name="T77" fmla="*/ 1938 h 132"/>
                <a:gd name="T78" fmla="*/ 26406 w 132"/>
                <a:gd name="T79" fmla="*/ 1938 h 132"/>
                <a:gd name="T80" fmla="*/ 30318 w 132"/>
                <a:gd name="T81" fmla="*/ 0 h 132"/>
                <a:gd name="T82" fmla="*/ 32273 w 132"/>
                <a:gd name="T83" fmla="*/ 1938 h 132"/>
                <a:gd name="T84" fmla="*/ 34229 w 132"/>
                <a:gd name="T85" fmla="*/ 3876 h 132"/>
                <a:gd name="T86" fmla="*/ 38141 w 132"/>
                <a:gd name="T87" fmla="*/ 6783 h 132"/>
                <a:gd name="T88" fmla="*/ 43031 w 132"/>
                <a:gd name="T89" fmla="*/ 8721 h 132"/>
                <a:gd name="T90" fmla="*/ 44987 w 132"/>
                <a:gd name="T91" fmla="*/ 10659 h 132"/>
                <a:gd name="T92" fmla="*/ 46943 w 132"/>
                <a:gd name="T93" fmla="*/ 12597 h 132"/>
                <a:gd name="T94" fmla="*/ 46943 w 132"/>
                <a:gd name="T95" fmla="*/ 17442 h 132"/>
                <a:gd name="T96" fmla="*/ 44987 w 132"/>
                <a:gd name="T97" fmla="*/ 19380 h 132"/>
                <a:gd name="T98" fmla="*/ 44987 w 132"/>
                <a:gd name="T99" fmla="*/ 23256 h 132"/>
                <a:gd name="T100" fmla="*/ 43031 w 132"/>
                <a:gd name="T101" fmla="*/ 26164 h 132"/>
                <a:gd name="T102" fmla="*/ 43031 w 132"/>
                <a:gd name="T103" fmla="*/ 2616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2" h="132">
                  <a:moveTo>
                    <a:pt x="120" y="72"/>
                  </a:moveTo>
                  <a:lnTo>
                    <a:pt x="120" y="78"/>
                  </a:lnTo>
                  <a:lnTo>
                    <a:pt x="114" y="78"/>
                  </a:lnTo>
                  <a:lnTo>
                    <a:pt x="120" y="78"/>
                  </a:lnTo>
                  <a:lnTo>
                    <a:pt x="120" y="84"/>
                  </a:lnTo>
                  <a:lnTo>
                    <a:pt x="114" y="84"/>
                  </a:lnTo>
                  <a:lnTo>
                    <a:pt x="114" y="90"/>
                  </a:lnTo>
                  <a:lnTo>
                    <a:pt x="114" y="84"/>
                  </a:lnTo>
                  <a:lnTo>
                    <a:pt x="114" y="90"/>
                  </a:lnTo>
                  <a:lnTo>
                    <a:pt x="108" y="90"/>
                  </a:lnTo>
                  <a:lnTo>
                    <a:pt x="102" y="96"/>
                  </a:lnTo>
                  <a:lnTo>
                    <a:pt x="96" y="96"/>
                  </a:lnTo>
                  <a:lnTo>
                    <a:pt x="90" y="96"/>
                  </a:lnTo>
                  <a:lnTo>
                    <a:pt x="84" y="96"/>
                  </a:lnTo>
                  <a:lnTo>
                    <a:pt x="84" y="102"/>
                  </a:lnTo>
                  <a:lnTo>
                    <a:pt x="84" y="96"/>
                  </a:lnTo>
                  <a:lnTo>
                    <a:pt x="78" y="102"/>
                  </a:lnTo>
                  <a:lnTo>
                    <a:pt x="78" y="96"/>
                  </a:lnTo>
                  <a:lnTo>
                    <a:pt x="72" y="102"/>
                  </a:lnTo>
                  <a:lnTo>
                    <a:pt x="72" y="108"/>
                  </a:lnTo>
                  <a:lnTo>
                    <a:pt x="66" y="108"/>
                  </a:lnTo>
                  <a:lnTo>
                    <a:pt x="66" y="114"/>
                  </a:lnTo>
                  <a:lnTo>
                    <a:pt x="66" y="120"/>
                  </a:lnTo>
                  <a:lnTo>
                    <a:pt x="60" y="120"/>
                  </a:lnTo>
                  <a:lnTo>
                    <a:pt x="66" y="120"/>
                  </a:lnTo>
                  <a:lnTo>
                    <a:pt x="60" y="120"/>
                  </a:lnTo>
                  <a:lnTo>
                    <a:pt x="60" y="126"/>
                  </a:lnTo>
                  <a:lnTo>
                    <a:pt x="60" y="132"/>
                  </a:lnTo>
                  <a:lnTo>
                    <a:pt x="54" y="132"/>
                  </a:lnTo>
                  <a:lnTo>
                    <a:pt x="48" y="132"/>
                  </a:lnTo>
                  <a:lnTo>
                    <a:pt x="48" y="126"/>
                  </a:lnTo>
                  <a:lnTo>
                    <a:pt x="42" y="126"/>
                  </a:lnTo>
                  <a:lnTo>
                    <a:pt x="36" y="126"/>
                  </a:lnTo>
                  <a:lnTo>
                    <a:pt x="36" y="120"/>
                  </a:lnTo>
                  <a:lnTo>
                    <a:pt x="30" y="120"/>
                  </a:lnTo>
                  <a:lnTo>
                    <a:pt x="30" y="114"/>
                  </a:lnTo>
                  <a:lnTo>
                    <a:pt x="24" y="114"/>
                  </a:lnTo>
                  <a:lnTo>
                    <a:pt x="24" y="108"/>
                  </a:lnTo>
                  <a:lnTo>
                    <a:pt x="18" y="108"/>
                  </a:lnTo>
                  <a:lnTo>
                    <a:pt x="18" y="102"/>
                  </a:lnTo>
                  <a:lnTo>
                    <a:pt x="18" y="96"/>
                  </a:lnTo>
                  <a:lnTo>
                    <a:pt x="18" y="102"/>
                  </a:lnTo>
                  <a:lnTo>
                    <a:pt x="18" y="96"/>
                  </a:lnTo>
                  <a:lnTo>
                    <a:pt x="12" y="96"/>
                  </a:lnTo>
                  <a:lnTo>
                    <a:pt x="12" y="90"/>
                  </a:lnTo>
                  <a:lnTo>
                    <a:pt x="12" y="84"/>
                  </a:lnTo>
                  <a:lnTo>
                    <a:pt x="6" y="84"/>
                  </a:lnTo>
                  <a:lnTo>
                    <a:pt x="6" y="78"/>
                  </a:lnTo>
                  <a:lnTo>
                    <a:pt x="6" y="72"/>
                  </a:lnTo>
                  <a:lnTo>
                    <a:pt x="0" y="72"/>
                  </a:lnTo>
                  <a:lnTo>
                    <a:pt x="0" y="66"/>
                  </a:lnTo>
                  <a:lnTo>
                    <a:pt x="6" y="66"/>
                  </a:lnTo>
                  <a:lnTo>
                    <a:pt x="6" y="60"/>
                  </a:lnTo>
                  <a:lnTo>
                    <a:pt x="12" y="60"/>
                  </a:lnTo>
                  <a:lnTo>
                    <a:pt x="18" y="60"/>
                  </a:lnTo>
                  <a:lnTo>
                    <a:pt x="12" y="60"/>
                  </a:lnTo>
                  <a:lnTo>
                    <a:pt x="18" y="54"/>
                  </a:lnTo>
                  <a:lnTo>
                    <a:pt x="24" y="54"/>
                  </a:lnTo>
                  <a:lnTo>
                    <a:pt x="24" y="48"/>
                  </a:lnTo>
                  <a:lnTo>
                    <a:pt x="18" y="48"/>
                  </a:lnTo>
                  <a:lnTo>
                    <a:pt x="24" y="48"/>
                  </a:lnTo>
                  <a:lnTo>
                    <a:pt x="24" y="42"/>
                  </a:lnTo>
                  <a:lnTo>
                    <a:pt x="30" y="42"/>
                  </a:lnTo>
                  <a:lnTo>
                    <a:pt x="24" y="42"/>
                  </a:lnTo>
                  <a:lnTo>
                    <a:pt x="30" y="42"/>
                  </a:lnTo>
                  <a:lnTo>
                    <a:pt x="30" y="36"/>
                  </a:lnTo>
                  <a:lnTo>
                    <a:pt x="36" y="36"/>
                  </a:lnTo>
                  <a:lnTo>
                    <a:pt x="36" y="30"/>
                  </a:lnTo>
                  <a:lnTo>
                    <a:pt x="36" y="24"/>
                  </a:lnTo>
                  <a:lnTo>
                    <a:pt x="42" y="24"/>
                  </a:lnTo>
                  <a:lnTo>
                    <a:pt x="42" y="18"/>
                  </a:lnTo>
                  <a:lnTo>
                    <a:pt x="48" y="18"/>
                  </a:lnTo>
                  <a:lnTo>
                    <a:pt x="54" y="18"/>
                  </a:lnTo>
                  <a:lnTo>
                    <a:pt x="54" y="12"/>
                  </a:lnTo>
                  <a:lnTo>
                    <a:pt x="60" y="12"/>
                  </a:lnTo>
                  <a:lnTo>
                    <a:pt x="60" y="6"/>
                  </a:lnTo>
                  <a:lnTo>
                    <a:pt x="60" y="12"/>
                  </a:lnTo>
                  <a:lnTo>
                    <a:pt x="60" y="6"/>
                  </a:lnTo>
                  <a:lnTo>
                    <a:pt x="66" y="6"/>
                  </a:lnTo>
                  <a:lnTo>
                    <a:pt x="72" y="6"/>
                  </a:lnTo>
                  <a:lnTo>
                    <a:pt x="78" y="0"/>
                  </a:lnTo>
                  <a:lnTo>
                    <a:pt x="84" y="0"/>
                  </a:lnTo>
                  <a:lnTo>
                    <a:pt x="90" y="0"/>
                  </a:lnTo>
                  <a:lnTo>
                    <a:pt x="90" y="6"/>
                  </a:lnTo>
                  <a:lnTo>
                    <a:pt x="96" y="6"/>
                  </a:lnTo>
                  <a:lnTo>
                    <a:pt x="96" y="12"/>
                  </a:lnTo>
                  <a:lnTo>
                    <a:pt x="102" y="12"/>
                  </a:lnTo>
                  <a:lnTo>
                    <a:pt x="108" y="18"/>
                  </a:lnTo>
                  <a:lnTo>
                    <a:pt x="114" y="24"/>
                  </a:lnTo>
                  <a:lnTo>
                    <a:pt x="120" y="24"/>
                  </a:lnTo>
                  <a:lnTo>
                    <a:pt x="120" y="30"/>
                  </a:lnTo>
                  <a:lnTo>
                    <a:pt x="126" y="30"/>
                  </a:lnTo>
                  <a:lnTo>
                    <a:pt x="126" y="36"/>
                  </a:lnTo>
                  <a:lnTo>
                    <a:pt x="132" y="36"/>
                  </a:lnTo>
                  <a:lnTo>
                    <a:pt x="132" y="42"/>
                  </a:lnTo>
                  <a:lnTo>
                    <a:pt x="132" y="48"/>
                  </a:lnTo>
                  <a:lnTo>
                    <a:pt x="132" y="54"/>
                  </a:lnTo>
                  <a:lnTo>
                    <a:pt x="126" y="54"/>
                  </a:lnTo>
                  <a:lnTo>
                    <a:pt x="126" y="60"/>
                  </a:lnTo>
                  <a:lnTo>
                    <a:pt x="126" y="66"/>
                  </a:lnTo>
                  <a:lnTo>
                    <a:pt x="120" y="66"/>
                  </a:lnTo>
                  <a:lnTo>
                    <a:pt x="120" y="72"/>
                  </a:lnTo>
                  <a:lnTo>
                    <a:pt x="114" y="72"/>
                  </a:lnTo>
                  <a:lnTo>
                    <a:pt x="120" y="72"/>
                  </a:lnTo>
                  <a:close/>
                </a:path>
              </a:pathLst>
            </a:custGeom>
            <a:solidFill>
              <a:schemeClr val="accent2"/>
            </a:solidFill>
            <a:ln w="9525" cap="flat" cmpd="sng">
              <a:solidFill>
                <a:schemeClr val="bg1"/>
              </a:solidFill>
              <a:prstDash val="solid"/>
              <a:round/>
              <a:headEnd type="none" w="med" len="med"/>
              <a:tailEnd type="none" w="med" len="med"/>
            </a:ln>
            <a:effectLst/>
            <a:extLst/>
          </p:spPr>
          <p:txBody>
            <a:bodyPr>
              <a:noAutofit/>
            </a:bodyPr>
            <a:lstStyle/>
            <a:p>
              <a:endParaRPr lang="en-CA" sz="800" dirty="0"/>
            </a:p>
          </p:txBody>
        </p:sp>
        <p:sp>
          <p:nvSpPr>
            <p:cNvPr id="426" name="Freeform 59"/>
            <p:cNvSpPr>
              <a:spLocks noEditPoints="1"/>
            </p:cNvSpPr>
            <p:nvPr>
              <p:custDataLst>
                <p:tags r:id="rId54"/>
              </p:custDataLst>
            </p:nvPr>
          </p:nvSpPr>
          <p:spPr bwMode="gray">
            <a:xfrm>
              <a:off x="2129262" y="4723008"/>
              <a:ext cx="833246" cy="703638"/>
            </a:xfrm>
            <a:custGeom>
              <a:avLst/>
              <a:gdLst>
                <a:gd name="T0" fmla="*/ 321822 w 912"/>
                <a:gd name="T1" fmla="*/ 120404 h 804"/>
                <a:gd name="T2" fmla="*/ 311127 w 912"/>
                <a:gd name="T3" fmla="*/ 145650 h 804"/>
                <a:gd name="T4" fmla="*/ 295571 w 912"/>
                <a:gd name="T5" fmla="*/ 156332 h 804"/>
                <a:gd name="T6" fmla="*/ 284876 w 912"/>
                <a:gd name="T7" fmla="*/ 175752 h 804"/>
                <a:gd name="T8" fmla="*/ 275153 w 912"/>
                <a:gd name="T9" fmla="*/ 196142 h 804"/>
                <a:gd name="T10" fmla="*/ 255708 w 912"/>
                <a:gd name="T11" fmla="*/ 213621 h 804"/>
                <a:gd name="T12" fmla="*/ 242096 w 912"/>
                <a:gd name="T13" fmla="*/ 231099 h 804"/>
                <a:gd name="T14" fmla="*/ 229456 w 912"/>
                <a:gd name="T15" fmla="*/ 241780 h 804"/>
                <a:gd name="T16" fmla="*/ 216816 w 912"/>
                <a:gd name="T17" fmla="*/ 252461 h 804"/>
                <a:gd name="T18" fmla="*/ 199316 w 912"/>
                <a:gd name="T19" fmla="*/ 260229 h 804"/>
                <a:gd name="T20" fmla="*/ 181815 w 912"/>
                <a:gd name="T21" fmla="*/ 263142 h 804"/>
                <a:gd name="T22" fmla="*/ 165286 w 912"/>
                <a:gd name="T23" fmla="*/ 271881 h 804"/>
                <a:gd name="T24" fmla="*/ 145841 w 912"/>
                <a:gd name="T25" fmla="*/ 267026 h 804"/>
                <a:gd name="T26" fmla="*/ 131257 w 912"/>
                <a:gd name="T27" fmla="*/ 267026 h 804"/>
                <a:gd name="T28" fmla="*/ 109867 w 912"/>
                <a:gd name="T29" fmla="*/ 271881 h 804"/>
                <a:gd name="T30" fmla="*/ 92366 w 912"/>
                <a:gd name="T31" fmla="*/ 275765 h 804"/>
                <a:gd name="T32" fmla="*/ 74865 w 912"/>
                <a:gd name="T33" fmla="*/ 282562 h 804"/>
                <a:gd name="T34" fmla="*/ 56392 w 912"/>
                <a:gd name="T35" fmla="*/ 279649 h 804"/>
                <a:gd name="T36" fmla="*/ 47641 w 912"/>
                <a:gd name="T37" fmla="*/ 275765 h 804"/>
                <a:gd name="T38" fmla="*/ 37919 w 912"/>
                <a:gd name="T39" fmla="*/ 273823 h 804"/>
                <a:gd name="T40" fmla="*/ 34029 w 912"/>
                <a:gd name="T41" fmla="*/ 252461 h 804"/>
                <a:gd name="T42" fmla="*/ 27224 w 912"/>
                <a:gd name="T43" fmla="*/ 241780 h 804"/>
                <a:gd name="T44" fmla="*/ 36946 w 912"/>
                <a:gd name="T45" fmla="*/ 229157 h 804"/>
                <a:gd name="T46" fmla="*/ 27224 w 912"/>
                <a:gd name="T47" fmla="*/ 204882 h 804"/>
                <a:gd name="T48" fmla="*/ 17501 w 912"/>
                <a:gd name="T49" fmla="*/ 184491 h 804"/>
                <a:gd name="T50" fmla="*/ 10695 w 912"/>
                <a:gd name="T51" fmla="*/ 162158 h 804"/>
                <a:gd name="T52" fmla="*/ 0 w 912"/>
                <a:gd name="T53" fmla="*/ 140796 h 804"/>
                <a:gd name="T54" fmla="*/ 8750 w 912"/>
                <a:gd name="T55" fmla="*/ 130115 h 804"/>
                <a:gd name="T56" fmla="*/ 17501 w 912"/>
                <a:gd name="T57" fmla="*/ 140796 h 804"/>
                <a:gd name="T58" fmla="*/ 42780 w 912"/>
                <a:gd name="T59" fmla="*/ 147593 h 804"/>
                <a:gd name="T60" fmla="*/ 60281 w 912"/>
                <a:gd name="T61" fmla="*/ 140796 h 804"/>
                <a:gd name="T62" fmla="*/ 70976 w 912"/>
                <a:gd name="T63" fmla="*/ 110695 h 804"/>
                <a:gd name="T64" fmla="*/ 70976 w 912"/>
                <a:gd name="T65" fmla="*/ 70883 h 804"/>
                <a:gd name="T66" fmla="*/ 76810 w 912"/>
                <a:gd name="T67" fmla="*/ 64086 h 804"/>
                <a:gd name="T68" fmla="*/ 86533 w 912"/>
                <a:gd name="T69" fmla="*/ 78652 h 804"/>
                <a:gd name="T70" fmla="*/ 81671 w 912"/>
                <a:gd name="T71" fmla="*/ 98072 h 804"/>
                <a:gd name="T72" fmla="*/ 96255 w 912"/>
                <a:gd name="T73" fmla="*/ 100984 h 804"/>
                <a:gd name="T74" fmla="*/ 117645 w 912"/>
                <a:gd name="T75" fmla="*/ 90303 h 804"/>
                <a:gd name="T76" fmla="*/ 128340 w 912"/>
                <a:gd name="T77" fmla="*/ 72826 h 804"/>
                <a:gd name="T78" fmla="*/ 139035 w 912"/>
                <a:gd name="T79" fmla="*/ 67970 h 804"/>
                <a:gd name="T80" fmla="*/ 158481 w 912"/>
                <a:gd name="T81" fmla="*/ 76709 h 804"/>
                <a:gd name="T82" fmla="*/ 181815 w 912"/>
                <a:gd name="T83" fmla="*/ 70883 h 804"/>
                <a:gd name="T84" fmla="*/ 199316 w 912"/>
                <a:gd name="T85" fmla="*/ 51463 h 804"/>
                <a:gd name="T86" fmla="*/ 210011 w 912"/>
                <a:gd name="T87" fmla="*/ 32043 h 804"/>
                <a:gd name="T88" fmla="*/ 220706 w 912"/>
                <a:gd name="T89" fmla="*/ 23304 h 804"/>
                <a:gd name="T90" fmla="*/ 234317 w 912"/>
                <a:gd name="T91" fmla="*/ 8739 h 804"/>
                <a:gd name="T92" fmla="*/ 257652 w 912"/>
                <a:gd name="T93" fmla="*/ 0 h 804"/>
                <a:gd name="T94" fmla="*/ 280986 w 912"/>
                <a:gd name="T95" fmla="*/ 3884 h 804"/>
                <a:gd name="T96" fmla="*/ 300432 w 912"/>
                <a:gd name="T97" fmla="*/ 19420 h 804"/>
                <a:gd name="T98" fmla="*/ 309182 w 912"/>
                <a:gd name="T99" fmla="*/ 53406 h 804"/>
                <a:gd name="T100" fmla="*/ 306265 w 912"/>
                <a:gd name="T101" fmla="*/ 83506 h 804"/>
                <a:gd name="T102" fmla="*/ 287793 w 912"/>
                <a:gd name="T103" fmla="*/ 90303 h 804"/>
                <a:gd name="T104" fmla="*/ 293626 w 912"/>
                <a:gd name="T105" fmla="*/ 110695 h 804"/>
                <a:gd name="T106" fmla="*/ 311127 w 912"/>
                <a:gd name="T107" fmla="*/ 100984 h 804"/>
                <a:gd name="T108" fmla="*/ 252790 w 912"/>
                <a:gd name="T109" fmla="*/ 151476 h 804"/>
                <a:gd name="T110" fmla="*/ 231401 w 912"/>
                <a:gd name="T111" fmla="*/ 143709 h 804"/>
                <a:gd name="T112" fmla="*/ 218761 w 912"/>
                <a:gd name="T113" fmla="*/ 158273 h 804"/>
                <a:gd name="T114" fmla="*/ 214872 w 912"/>
                <a:gd name="T115" fmla="*/ 170896 h 804"/>
                <a:gd name="T116" fmla="*/ 227512 w 912"/>
                <a:gd name="T117" fmla="*/ 185462 h 804"/>
                <a:gd name="T118" fmla="*/ 240151 w 912"/>
                <a:gd name="T119" fmla="*/ 175752 h 804"/>
                <a:gd name="T120" fmla="*/ 252790 w 912"/>
                <a:gd name="T121" fmla="*/ 166042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2" h="804">
                  <a:moveTo>
                    <a:pt x="870" y="288"/>
                  </a:moveTo>
                  <a:lnTo>
                    <a:pt x="876" y="288"/>
                  </a:lnTo>
                  <a:lnTo>
                    <a:pt x="876" y="282"/>
                  </a:lnTo>
                  <a:lnTo>
                    <a:pt x="882" y="288"/>
                  </a:lnTo>
                  <a:lnTo>
                    <a:pt x="906" y="288"/>
                  </a:lnTo>
                  <a:lnTo>
                    <a:pt x="912" y="288"/>
                  </a:lnTo>
                  <a:lnTo>
                    <a:pt x="912" y="294"/>
                  </a:lnTo>
                  <a:lnTo>
                    <a:pt x="912" y="300"/>
                  </a:lnTo>
                  <a:lnTo>
                    <a:pt x="912" y="306"/>
                  </a:lnTo>
                  <a:lnTo>
                    <a:pt x="906" y="306"/>
                  </a:lnTo>
                  <a:lnTo>
                    <a:pt x="906" y="312"/>
                  </a:lnTo>
                  <a:lnTo>
                    <a:pt x="906" y="318"/>
                  </a:lnTo>
                  <a:lnTo>
                    <a:pt x="900" y="324"/>
                  </a:lnTo>
                  <a:lnTo>
                    <a:pt x="900" y="330"/>
                  </a:lnTo>
                  <a:lnTo>
                    <a:pt x="900" y="336"/>
                  </a:lnTo>
                  <a:lnTo>
                    <a:pt x="900" y="342"/>
                  </a:lnTo>
                  <a:lnTo>
                    <a:pt x="900" y="348"/>
                  </a:lnTo>
                  <a:lnTo>
                    <a:pt x="894" y="354"/>
                  </a:lnTo>
                  <a:lnTo>
                    <a:pt x="894" y="360"/>
                  </a:lnTo>
                  <a:lnTo>
                    <a:pt x="894" y="366"/>
                  </a:lnTo>
                  <a:lnTo>
                    <a:pt x="894" y="372"/>
                  </a:lnTo>
                  <a:lnTo>
                    <a:pt x="894" y="378"/>
                  </a:lnTo>
                  <a:lnTo>
                    <a:pt x="888" y="378"/>
                  </a:lnTo>
                  <a:lnTo>
                    <a:pt x="888" y="384"/>
                  </a:lnTo>
                  <a:lnTo>
                    <a:pt x="888" y="390"/>
                  </a:lnTo>
                  <a:lnTo>
                    <a:pt x="882" y="396"/>
                  </a:lnTo>
                  <a:lnTo>
                    <a:pt x="882" y="402"/>
                  </a:lnTo>
                  <a:lnTo>
                    <a:pt x="876" y="402"/>
                  </a:lnTo>
                  <a:lnTo>
                    <a:pt x="876" y="408"/>
                  </a:lnTo>
                  <a:lnTo>
                    <a:pt x="870" y="408"/>
                  </a:lnTo>
                  <a:lnTo>
                    <a:pt x="864" y="414"/>
                  </a:lnTo>
                  <a:lnTo>
                    <a:pt x="858" y="414"/>
                  </a:lnTo>
                  <a:lnTo>
                    <a:pt x="858" y="420"/>
                  </a:lnTo>
                  <a:lnTo>
                    <a:pt x="852" y="420"/>
                  </a:lnTo>
                  <a:lnTo>
                    <a:pt x="852" y="414"/>
                  </a:lnTo>
                  <a:lnTo>
                    <a:pt x="852" y="420"/>
                  </a:lnTo>
                  <a:lnTo>
                    <a:pt x="846" y="420"/>
                  </a:lnTo>
                  <a:lnTo>
                    <a:pt x="846" y="426"/>
                  </a:lnTo>
                  <a:lnTo>
                    <a:pt x="840" y="426"/>
                  </a:lnTo>
                  <a:lnTo>
                    <a:pt x="840" y="432"/>
                  </a:lnTo>
                  <a:lnTo>
                    <a:pt x="834" y="438"/>
                  </a:lnTo>
                  <a:lnTo>
                    <a:pt x="834" y="432"/>
                  </a:lnTo>
                  <a:lnTo>
                    <a:pt x="834" y="438"/>
                  </a:lnTo>
                  <a:lnTo>
                    <a:pt x="834" y="444"/>
                  </a:lnTo>
                  <a:lnTo>
                    <a:pt x="828" y="438"/>
                  </a:lnTo>
                  <a:lnTo>
                    <a:pt x="828" y="444"/>
                  </a:lnTo>
                  <a:lnTo>
                    <a:pt x="822" y="450"/>
                  </a:lnTo>
                  <a:lnTo>
                    <a:pt x="822" y="456"/>
                  </a:lnTo>
                  <a:lnTo>
                    <a:pt x="816" y="456"/>
                  </a:lnTo>
                  <a:lnTo>
                    <a:pt x="816" y="462"/>
                  </a:lnTo>
                  <a:lnTo>
                    <a:pt x="816" y="468"/>
                  </a:lnTo>
                  <a:lnTo>
                    <a:pt x="810" y="468"/>
                  </a:lnTo>
                  <a:lnTo>
                    <a:pt x="810" y="474"/>
                  </a:lnTo>
                  <a:lnTo>
                    <a:pt x="804" y="474"/>
                  </a:lnTo>
                  <a:lnTo>
                    <a:pt x="810" y="474"/>
                  </a:lnTo>
                  <a:lnTo>
                    <a:pt x="810" y="480"/>
                  </a:lnTo>
                  <a:lnTo>
                    <a:pt x="810" y="474"/>
                  </a:lnTo>
                  <a:lnTo>
                    <a:pt x="810" y="480"/>
                  </a:lnTo>
                  <a:lnTo>
                    <a:pt x="804" y="486"/>
                  </a:lnTo>
                  <a:lnTo>
                    <a:pt x="798" y="492"/>
                  </a:lnTo>
                  <a:lnTo>
                    <a:pt x="798" y="498"/>
                  </a:lnTo>
                  <a:lnTo>
                    <a:pt x="798" y="504"/>
                  </a:lnTo>
                  <a:lnTo>
                    <a:pt x="792" y="504"/>
                  </a:lnTo>
                  <a:lnTo>
                    <a:pt x="792" y="510"/>
                  </a:lnTo>
                  <a:lnTo>
                    <a:pt x="792" y="516"/>
                  </a:lnTo>
                  <a:lnTo>
                    <a:pt x="786" y="516"/>
                  </a:lnTo>
                  <a:lnTo>
                    <a:pt x="786" y="522"/>
                  </a:lnTo>
                  <a:lnTo>
                    <a:pt x="786" y="528"/>
                  </a:lnTo>
                  <a:lnTo>
                    <a:pt x="780" y="528"/>
                  </a:lnTo>
                  <a:lnTo>
                    <a:pt x="780" y="534"/>
                  </a:lnTo>
                  <a:lnTo>
                    <a:pt x="774" y="534"/>
                  </a:lnTo>
                  <a:lnTo>
                    <a:pt x="774" y="540"/>
                  </a:lnTo>
                  <a:lnTo>
                    <a:pt x="774" y="546"/>
                  </a:lnTo>
                  <a:lnTo>
                    <a:pt x="768" y="546"/>
                  </a:lnTo>
                  <a:lnTo>
                    <a:pt x="768" y="552"/>
                  </a:lnTo>
                  <a:lnTo>
                    <a:pt x="762" y="552"/>
                  </a:lnTo>
                  <a:lnTo>
                    <a:pt x="762" y="558"/>
                  </a:lnTo>
                  <a:lnTo>
                    <a:pt x="762" y="564"/>
                  </a:lnTo>
                  <a:lnTo>
                    <a:pt x="756" y="564"/>
                  </a:lnTo>
                  <a:lnTo>
                    <a:pt x="750" y="570"/>
                  </a:lnTo>
                  <a:lnTo>
                    <a:pt x="750" y="576"/>
                  </a:lnTo>
                  <a:lnTo>
                    <a:pt x="744" y="576"/>
                  </a:lnTo>
                  <a:lnTo>
                    <a:pt x="738" y="576"/>
                  </a:lnTo>
                  <a:lnTo>
                    <a:pt x="738" y="582"/>
                  </a:lnTo>
                  <a:lnTo>
                    <a:pt x="732" y="588"/>
                  </a:lnTo>
                  <a:lnTo>
                    <a:pt x="726" y="588"/>
                  </a:lnTo>
                  <a:lnTo>
                    <a:pt x="726" y="594"/>
                  </a:lnTo>
                  <a:lnTo>
                    <a:pt x="720" y="594"/>
                  </a:lnTo>
                  <a:lnTo>
                    <a:pt x="720" y="600"/>
                  </a:lnTo>
                  <a:lnTo>
                    <a:pt x="714" y="600"/>
                  </a:lnTo>
                  <a:lnTo>
                    <a:pt x="720" y="600"/>
                  </a:lnTo>
                  <a:lnTo>
                    <a:pt x="714" y="600"/>
                  </a:lnTo>
                  <a:lnTo>
                    <a:pt x="714" y="606"/>
                  </a:lnTo>
                  <a:lnTo>
                    <a:pt x="708" y="606"/>
                  </a:lnTo>
                  <a:lnTo>
                    <a:pt x="708" y="612"/>
                  </a:lnTo>
                  <a:lnTo>
                    <a:pt x="702" y="618"/>
                  </a:lnTo>
                  <a:lnTo>
                    <a:pt x="702" y="624"/>
                  </a:lnTo>
                  <a:lnTo>
                    <a:pt x="696" y="624"/>
                  </a:lnTo>
                  <a:lnTo>
                    <a:pt x="696" y="630"/>
                  </a:lnTo>
                  <a:lnTo>
                    <a:pt x="690" y="630"/>
                  </a:lnTo>
                  <a:lnTo>
                    <a:pt x="690" y="636"/>
                  </a:lnTo>
                  <a:lnTo>
                    <a:pt x="684" y="636"/>
                  </a:lnTo>
                  <a:lnTo>
                    <a:pt x="684" y="642"/>
                  </a:lnTo>
                  <a:lnTo>
                    <a:pt x="678" y="642"/>
                  </a:lnTo>
                  <a:lnTo>
                    <a:pt x="678" y="648"/>
                  </a:lnTo>
                  <a:lnTo>
                    <a:pt x="678" y="642"/>
                  </a:lnTo>
                  <a:lnTo>
                    <a:pt x="678" y="648"/>
                  </a:lnTo>
                  <a:lnTo>
                    <a:pt x="672" y="648"/>
                  </a:lnTo>
                  <a:lnTo>
                    <a:pt x="672" y="654"/>
                  </a:lnTo>
                  <a:lnTo>
                    <a:pt x="666" y="654"/>
                  </a:lnTo>
                  <a:lnTo>
                    <a:pt x="666" y="660"/>
                  </a:lnTo>
                  <a:lnTo>
                    <a:pt x="660" y="660"/>
                  </a:lnTo>
                  <a:lnTo>
                    <a:pt x="660" y="666"/>
                  </a:lnTo>
                  <a:lnTo>
                    <a:pt x="654" y="666"/>
                  </a:lnTo>
                  <a:lnTo>
                    <a:pt x="648" y="666"/>
                  </a:lnTo>
                  <a:lnTo>
                    <a:pt x="648" y="672"/>
                  </a:lnTo>
                  <a:lnTo>
                    <a:pt x="648" y="678"/>
                  </a:lnTo>
                  <a:lnTo>
                    <a:pt x="642" y="678"/>
                  </a:lnTo>
                  <a:lnTo>
                    <a:pt x="636" y="678"/>
                  </a:lnTo>
                  <a:lnTo>
                    <a:pt x="642" y="678"/>
                  </a:lnTo>
                  <a:lnTo>
                    <a:pt x="636" y="678"/>
                  </a:lnTo>
                  <a:lnTo>
                    <a:pt x="636" y="684"/>
                  </a:lnTo>
                  <a:lnTo>
                    <a:pt x="630" y="684"/>
                  </a:lnTo>
                  <a:lnTo>
                    <a:pt x="630" y="690"/>
                  </a:lnTo>
                  <a:lnTo>
                    <a:pt x="624" y="690"/>
                  </a:lnTo>
                  <a:lnTo>
                    <a:pt x="624" y="696"/>
                  </a:lnTo>
                  <a:lnTo>
                    <a:pt x="618" y="696"/>
                  </a:lnTo>
                  <a:lnTo>
                    <a:pt x="612" y="696"/>
                  </a:lnTo>
                  <a:lnTo>
                    <a:pt x="612" y="702"/>
                  </a:lnTo>
                  <a:lnTo>
                    <a:pt x="612" y="696"/>
                  </a:lnTo>
                  <a:lnTo>
                    <a:pt x="606" y="696"/>
                  </a:lnTo>
                  <a:lnTo>
                    <a:pt x="612" y="696"/>
                  </a:lnTo>
                  <a:lnTo>
                    <a:pt x="612" y="702"/>
                  </a:lnTo>
                  <a:lnTo>
                    <a:pt x="606" y="702"/>
                  </a:lnTo>
                  <a:lnTo>
                    <a:pt x="606" y="708"/>
                  </a:lnTo>
                  <a:lnTo>
                    <a:pt x="600" y="708"/>
                  </a:lnTo>
                  <a:lnTo>
                    <a:pt x="594" y="708"/>
                  </a:lnTo>
                  <a:lnTo>
                    <a:pt x="600" y="708"/>
                  </a:lnTo>
                  <a:lnTo>
                    <a:pt x="600" y="714"/>
                  </a:lnTo>
                  <a:lnTo>
                    <a:pt x="594" y="714"/>
                  </a:lnTo>
                  <a:lnTo>
                    <a:pt x="588" y="714"/>
                  </a:lnTo>
                  <a:lnTo>
                    <a:pt x="594" y="714"/>
                  </a:lnTo>
                  <a:lnTo>
                    <a:pt x="588" y="720"/>
                  </a:lnTo>
                  <a:lnTo>
                    <a:pt x="582" y="720"/>
                  </a:lnTo>
                  <a:lnTo>
                    <a:pt x="576" y="720"/>
                  </a:lnTo>
                  <a:lnTo>
                    <a:pt x="576" y="726"/>
                  </a:lnTo>
                  <a:lnTo>
                    <a:pt x="570" y="726"/>
                  </a:lnTo>
                  <a:lnTo>
                    <a:pt x="564" y="726"/>
                  </a:lnTo>
                  <a:lnTo>
                    <a:pt x="564" y="732"/>
                  </a:lnTo>
                  <a:lnTo>
                    <a:pt x="558" y="732"/>
                  </a:lnTo>
                  <a:lnTo>
                    <a:pt x="552" y="732"/>
                  </a:lnTo>
                  <a:lnTo>
                    <a:pt x="546" y="732"/>
                  </a:lnTo>
                  <a:lnTo>
                    <a:pt x="540" y="732"/>
                  </a:lnTo>
                  <a:lnTo>
                    <a:pt x="534" y="732"/>
                  </a:lnTo>
                  <a:lnTo>
                    <a:pt x="534" y="726"/>
                  </a:lnTo>
                  <a:lnTo>
                    <a:pt x="528" y="726"/>
                  </a:lnTo>
                  <a:lnTo>
                    <a:pt x="528" y="732"/>
                  </a:lnTo>
                  <a:lnTo>
                    <a:pt x="522" y="732"/>
                  </a:lnTo>
                  <a:lnTo>
                    <a:pt x="522" y="726"/>
                  </a:lnTo>
                  <a:lnTo>
                    <a:pt x="522" y="732"/>
                  </a:lnTo>
                  <a:lnTo>
                    <a:pt x="516" y="732"/>
                  </a:lnTo>
                  <a:lnTo>
                    <a:pt x="510" y="732"/>
                  </a:lnTo>
                  <a:lnTo>
                    <a:pt x="510" y="738"/>
                  </a:lnTo>
                  <a:lnTo>
                    <a:pt x="504" y="738"/>
                  </a:lnTo>
                  <a:lnTo>
                    <a:pt x="510" y="738"/>
                  </a:lnTo>
                  <a:lnTo>
                    <a:pt x="510" y="744"/>
                  </a:lnTo>
                  <a:lnTo>
                    <a:pt x="510" y="750"/>
                  </a:lnTo>
                  <a:lnTo>
                    <a:pt x="516" y="750"/>
                  </a:lnTo>
                  <a:lnTo>
                    <a:pt x="510" y="750"/>
                  </a:lnTo>
                  <a:lnTo>
                    <a:pt x="504" y="750"/>
                  </a:lnTo>
                  <a:lnTo>
                    <a:pt x="498" y="750"/>
                  </a:lnTo>
                  <a:lnTo>
                    <a:pt x="492" y="750"/>
                  </a:lnTo>
                  <a:lnTo>
                    <a:pt x="486" y="744"/>
                  </a:lnTo>
                  <a:lnTo>
                    <a:pt x="480" y="744"/>
                  </a:lnTo>
                  <a:lnTo>
                    <a:pt x="474" y="744"/>
                  </a:lnTo>
                  <a:lnTo>
                    <a:pt x="474" y="750"/>
                  </a:lnTo>
                  <a:lnTo>
                    <a:pt x="468" y="750"/>
                  </a:lnTo>
                  <a:lnTo>
                    <a:pt x="468" y="756"/>
                  </a:lnTo>
                  <a:lnTo>
                    <a:pt x="462" y="756"/>
                  </a:lnTo>
                  <a:lnTo>
                    <a:pt x="462" y="762"/>
                  </a:lnTo>
                  <a:lnTo>
                    <a:pt x="468" y="762"/>
                  </a:lnTo>
                  <a:lnTo>
                    <a:pt x="462" y="762"/>
                  </a:lnTo>
                  <a:lnTo>
                    <a:pt x="468" y="762"/>
                  </a:lnTo>
                  <a:lnTo>
                    <a:pt x="462" y="762"/>
                  </a:lnTo>
                  <a:lnTo>
                    <a:pt x="456" y="762"/>
                  </a:lnTo>
                  <a:lnTo>
                    <a:pt x="450" y="762"/>
                  </a:lnTo>
                  <a:lnTo>
                    <a:pt x="444" y="762"/>
                  </a:lnTo>
                  <a:lnTo>
                    <a:pt x="444" y="756"/>
                  </a:lnTo>
                  <a:lnTo>
                    <a:pt x="438" y="756"/>
                  </a:lnTo>
                  <a:lnTo>
                    <a:pt x="432" y="756"/>
                  </a:lnTo>
                  <a:lnTo>
                    <a:pt x="432" y="750"/>
                  </a:lnTo>
                  <a:lnTo>
                    <a:pt x="426" y="750"/>
                  </a:lnTo>
                  <a:lnTo>
                    <a:pt x="420" y="750"/>
                  </a:lnTo>
                  <a:lnTo>
                    <a:pt x="414" y="750"/>
                  </a:lnTo>
                  <a:lnTo>
                    <a:pt x="408" y="750"/>
                  </a:lnTo>
                  <a:lnTo>
                    <a:pt x="402" y="750"/>
                  </a:lnTo>
                  <a:lnTo>
                    <a:pt x="402" y="744"/>
                  </a:lnTo>
                  <a:lnTo>
                    <a:pt x="396" y="744"/>
                  </a:lnTo>
                  <a:lnTo>
                    <a:pt x="396" y="750"/>
                  </a:lnTo>
                  <a:lnTo>
                    <a:pt x="390" y="750"/>
                  </a:lnTo>
                  <a:lnTo>
                    <a:pt x="384" y="750"/>
                  </a:lnTo>
                  <a:lnTo>
                    <a:pt x="384" y="756"/>
                  </a:lnTo>
                  <a:lnTo>
                    <a:pt x="378" y="756"/>
                  </a:lnTo>
                  <a:lnTo>
                    <a:pt x="372" y="756"/>
                  </a:lnTo>
                  <a:lnTo>
                    <a:pt x="366" y="756"/>
                  </a:lnTo>
                  <a:lnTo>
                    <a:pt x="366" y="750"/>
                  </a:lnTo>
                  <a:lnTo>
                    <a:pt x="360" y="750"/>
                  </a:lnTo>
                  <a:lnTo>
                    <a:pt x="366" y="750"/>
                  </a:lnTo>
                  <a:lnTo>
                    <a:pt x="366" y="756"/>
                  </a:lnTo>
                  <a:lnTo>
                    <a:pt x="366" y="750"/>
                  </a:lnTo>
                  <a:lnTo>
                    <a:pt x="360" y="756"/>
                  </a:lnTo>
                  <a:lnTo>
                    <a:pt x="360" y="750"/>
                  </a:lnTo>
                  <a:lnTo>
                    <a:pt x="354" y="750"/>
                  </a:lnTo>
                  <a:lnTo>
                    <a:pt x="348" y="750"/>
                  </a:lnTo>
                  <a:lnTo>
                    <a:pt x="342" y="750"/>
                  </a:lnTo>
                  <a:lnTo>
                    <a:pt x="336" y="750"/>
                  </a:lnTo>
                  <a:lnTo>
                    <a:pt x="330" y="750"/>
                  </a:lnTo>
                  <a:lnTo>
                    <a:pt x="324" y="750"/>
                  </a:lnTo>
                  <a:lnTo>
                    <a:pt x="318" y="750"/>
                  </a:lnTo>
                  <a:lnTo>
                    <a:pt x="318" y="756"/>
                  </a:lnTo>
                  <a:lnTo>
                    <a:pt x="312" y="756"/>
                  </a:lnTo>
                  <a:lnTo>
                    <a:pt x="312" y="762"/>
                  </a:lnTo>
                  <a:lnTo>
                    <a:pt x="318" y="762"/>
                  </a:lnTo>
                  <a:lnTo>
                    <a:pt x="312" y="762"/>
                  </a:lnTo>
                  <a:lnTo>
                    <a:pt x="306" y="762"/>
                  </a:lnTo>
                  <a:lnTo>
                    <a:pt x="300" y="768"/>
                  </a:lnTo>
                  <a:lnTo>
                    <a:pt x="306" y="768"/>
                  </a:lnTo>
                  <a:lnTo>
                    <a:pt x="300" y="768"/>
                  </a:lnTo>
                  <a:lnTo>
                    <a:pt x="300" y="774"/>
                  </a:lnTo>
                  <a:lnTo>
                    <a:pt x="300" y="768"/>
                  </a:lnTo>
                  <a:lnTo>
                    <a:pt x="300" y="774"/>
                  </a:lnTo>
                  <a:lnTo>
                    <a:pt x="294" y="774"/>
                  </a:lnTo>
                  <a:lnTo>
                    <a:pt x="288" y="774"/>
                  </a:lnTo>
                  <a:lnTo>
                    <a:pt x="282" y="774"/>
                  </a:lnTo>
                  <a:lnTo>
                    <a:pt x="276" y="774"/>
                  </a:lnTo>
                  <a:lnTo>
                    <a:pt x="270" y="774"/>
                  </a:lnTo>
                  <a:lnTo>
                    <a:pt x="270" y="780"/>
                  </a:lnTo>
                  <a:lnTo>
                    <a:pt x="264" y="780"/>
                  </a:lnTo>
                  <a:lnTo>
                    <a:pt x="264" y="774"/>
                  </a:lnTo>
                  <a:lnTo>
                    <a:pt x="258" y="774"/>
                  </a:lnTo>
                  <a:lnTo>
                    <a:pt x="252" y="774"/>
                  </a:lnTo>
                  <a:lnTo>
                    <a:pt x="246" y="774"/>
                  </a:lnTo>
                  <a:lnTo>
                    <a:pt x="240" y="774"/>
                  </a:lnTo>
                  <a:lnTo>
                    <a:pt x="246" y="774"/>
                  </a:lnTo>
                  <a:lnTo>
                    <a:pt x="246" y="780"/>
                  </a:lnTo>
                  <a:lnTo>
                    <a:pt x="240" y="780"/>
                  </a:lnTo>
                  <a:lnTo>
                    <a:pt x="234" y="780"/>
                  </a:lnTo>
                  <a:lnTo>
                    <a:pt x="228" y="780"/>
                  </a:lnTo>
                  <a:lnTo>
                    <a:pt x="222" y="780"/>
                  </a:lnTo>
                  <a:lnTo>
                    <a:pt x="222" y="786"/>
                  </a:lnTo>
                  <a:lnTo>
                    <a:pt x="216" y="786"/>
                  </a:lnTo>
                  <a:lnTo>
                    <a:pt x="216" y="792"/>
                  </a:lnTo>
                  <a:lnTo>
                    <a:pt x="210" y="792"/>
                  </a:lnTo>
                  <a:lnTo>
                    <a:pt x="210" y="798"/>
                  </a:lnTo>
                  <a:lnTo>
                    <a:pt x="210" y="792"/>
                  </a:lnTo>
                  <a:lnTo>
                    <a:pt x="204" y="792"/>
                  </a:lnTo>
                  <a:lnTo>
                    <a:pt x="204" y="798"/>
                  </a:lnTo>
                  <a:lnTo>
                    <a:pt x="198" y="798"/>
                  </a:lnTo>
                  <a:lnTo>
                    <a:pt x="198" y="804"/>
                  </a:lnTo>
                  <a:lnTo>
                    <a:pt x="192" y="804"/>
                  </a:lnTo>
                  <a:lnTo>
                    <a:pt x="186" y="798"/>
                  </a:lnTo>
                  <a:lnTo>
                    <a:pt x="180" y="798"/>
                  </a:lnTo>
                  <a:lnTo>
                    <a:pt x="180" y="804"/>
                  </a:lnTo>
                  <a:lnTo>
                    <a:pt x="174" y="804"/>
                  </a:lnTo>
                  <a:lnTo>
                    <a:pt x="174" y="798"/>
                  </a:lnTo>
                  <a:lnTo>
                    <a:pt x="168" y="798"/>
                  </a:lnTo>
                  <a:lnTo>
                    <a:pt x="168" y="792"/>
                  </a:lnTo>
                  <a:lnTo>
                    <a:pt x="162" y="792"/>
                  </a:lnTo>
                  <a:lnTo>
                    <a:pt x="156" y="792"/>
                  </a:lnTo>
                  <a:lnTo>
                    <a:pt x="156" y="786"/>
                  </a:lnTo>
                  <a:lnTo>
                    <a:pt x="162" y="786"/>
                  </a:lnTo>
                  <a:lnTo>
                    <a:pt x="162" y="780"/>
                  </a:lnTo>
                  <a:lnTo>
                    <a:pt x="156" y="780"/>
                  </a:lnTo>
                  <a:lnTo>
                    <a:pt x="156" y="774"/>
                  </a:lnTo>
                  <a:lnTo>
                    <a:pt x="150" y="780"/>
                  </a:lnTo>
                  <a:lnTo>
                    <a:pt x="150" y="774"/>
                  </a:lnTo>
                  <a:lnTo>
                    <a:pt x="144" y="774"/>
                  </a:lnTo>
                  <a:lnTo>
                    <a:pt x="150" y="774"/>
                  </a:lnTo>
                  <a:lnTo>
                    <a:pt x="150" y="768"/>
                  </a:lnTo>
                  <a:lnTo>
                    <a:pt x="144" y="768"/>
                  </a:lnTo>
                  <a:lnTo>
                    <a:pt x="144" y="774"/>
                  </a:lnTo>
                  <a:lnTo>
                    <a:pt x="138" y="774"/>
                  </a:lnTo>
                  <a:lnTo>
                    <a:pt x="138" y="768"/>
                  </a:lnTo>
                  <a:lnTo>
                    <a:pt x="138" y="774"/>
                  </a:lnTo>
                  <a:lnTo>
                    <a:pt x="132" y="774"/>
                  </a:lnTo>
                  <a:lnTo>
                    <a:pt x="132" y="768"/>
                  </a:lnTo>
                  <a:lnTo>
                    <a:pt x="132" y="762"/>
                  </a:lnTo>
                  <a:lnTo>
                    <a:pt x="132" y="756"/>
                  </a:lnTo>
                  <a:lnTo>
                    <a:pt x="126" y="756"/>
                  </a:lnTo>
                  <a:lnTo>
                    <a:pt x="126" y="750"/>
                  </a:lnTo>
                  <a:lnTo>
                    <a:pt x="120" y="750"/>
                  </a:lnTo>
                  <a:lnTo>
                    <a:pt x="120" y="756"/>
                  </a:lnTo>
                  <a:lnTo>
                    <a:pt x="114" y="756"/>
                  </a:lnTo>
                  <a:lnTo>
                    <a:pt x="108" y="756"/>
                  </a:lnTo>
                  <a:lnTo>
                    <a:pt x="108" y="762"/>
                  </a:lnTo>
                  <a:lnTo>
                    <a:pt x="108" y="768"/>
                  </a:lnTo>
                  <a:lnTo>
                    <a:pt x="108" y="774"/>
                  </a:lnTo>
                  <a:lnTo>
                    <a:pt x="114" y="774"/>
                  </a:lnTo>
                  <a:lnTo>
                    <a:pt x="108" y="774"/>
                  </a:lnTo>
                  <a:lnTo>
                    <a:pt x="108" y="768"/>
                  </a:lnTo>
                  <a:lnTo>
                    <a:pt x="108" y="762"/>
                  </a:lnTo>
                  <a:lnTo>
                    <a:pt x="102" y="762"/>
                  </a:lnTo>
                  <a:lnTo>
                    <a:pt x="102" y="756"/>
                  </a:lnTo>
                  <a:lnTo>
                    <a:pt x="102" y="750"/>
                  </a:lnTo>
                  <a:lnTo>
                    <a:pt x="102" y="744"/>
                  </a:lnTo>
                  <a:lnTo>
                    <a:pt x="108" y="744"/>
                  </a:lnTo>
                  <a:lnTo>
                    <a:pt x="114" y="738"/>
                  </a:lnTo>
                  <a:lnTo>
                    <a:pt x="108" y="738"/>
                  </a:lnTo>
                  <a:lnTo>
                    <a:pt x="108" y="732"/>
                  </a:lnTo>
                  <a:lnTo>
                    <a:pt x="108" y="726"/>
                  </a:lnTo>
                  <a:lnTo>
                    <a:pt x="108" y="720"/>
                  </a:lnTo>
                  <a:lnTo>
                    <a:pt x="102" y="720"/>
                  </a:lnTo>
                  <a:lnTo>
                    <a:pt x="102" y="714"/>
                  </a:lnTo>
                  <a:lnTo>
                    <a:pt x="102" y="708"/>
                  </a:lnTo>
                  <a:lnTo>
                    <a:pt x="96" y="708"/>
                  </a:lnTo>
                  <a:lnTo>
                    <a:pt x="90" y="708"/>
                  </a:lnTo>
                  <a:lnTo>
                    <a:pt x="90" y="702"/>
                  </a:lnTo>
                  <a:lnTo>
                    <a:pt x="96" y="702"/>
                  </a:lnTo>
                  <a:lnTo>
                    <a:pt x="90" y="702"/>
                  </a:lnTo>
                  <a:lnTo>
                    <a:pt x="90" y="696"/>
                  </a:lnTo>
                  <a:lnTo>
                    <a:pt x="84" y="690"/>
                  </a:lnTo>
                  <a:lnTo>
                    <a:pt x="84" y="684"/>
                  </a:lnTo>
                  <a:lnTo>
                    <a:pt x="84" y="690"/>
                  </a:lnTo>
                  <a:lnTo>
                    <a:pt x="90" y="690"/>
                  </a:lnTo>
                  <a:lnTo>
                    <a:pt x="90" y="696"/>
                  </a:lnTo>
                  <a:lnTo>
                    <a:pt x="90" y="690"/>
                  </a:lnTo>
                  <a:lnTo>
                    <a:pt x="84" y="690"/>
                  </a:lnTo>
                  <a:lnTo>
                    <a:pt x="84" y="684"/>
                  </a:lnTo>
                  <a:lnTo>
                    <a:pt x="78" y="684"/>
                  </a:lnTo>
                  <a:lnTo>
                    <a:pt x="78" y="678"/>
                  </a:lnTo>
                  <a:lnTo>
                    <a:pt x="78" y="672"/>
                  </a:lnTo>
                  <a:lnTo>
                    <a:pt x="78" y="666"/>
                  </a:lnTo>
                  <a:lnTo>
                    <a:pt x="78" y="660"/>
                  </a:lnTo>
                  <a:lnTo>
                    <a:pt x="78" y="666"/>
                  </a:lnTo>
                  <a:lnTo>
                    <a:pt x="78" y="660"/>
                  </a:lnTo>
                  <a:lnTo>
                    <a:pt x="84" y="660"/>
                  </a:lnTo>
                  <a:lnTo>
                    <a:pt x="84" y="666"/>
                  </a:lnTo>
                  <a:lnTo>
                    <a:pt x="84" y="660"/>
                  </a:lnTo>
                  <a:lnTo>
                    <a:pt x="84" y="666"/>
                  </a:lnTo>
                  <a:lnTo>
                    <a:pt x="90" y="666"/>
                  </a:lnTo>
                  <a:lnTo>
                    <a:pt x="96" y="666"/>
                  </a:lnTo>
                  <a:lnTo>
                    <a:pt x="96" y="660"/>
                  </a:lnTo>
                  <a:lnTo>
                    <a:pt x="102" y="654"/>
                  </a:lnTo>
                  <a:lnTo>
                    <a:pt x="102" y="648"/>
                  </a:lnTo>
                  <a:lnTo>
                    <a:pt x="102" y="642"/>
                  </a:lnTo>
                  <a:lnTo>
                    <a:pt x="102" y="636"/>
                  </a:lnTo>
                  <a:lnTo>
                    <a:pt x="102" y="630"/>
                  </a:lnTo>
                  <a:lnTo>
                    <a:pt x="102" y="624"/>
                  </a:lnTo>
                  <a:lnTo>
                    <a:pt x="102" y="618"/>
                  </a:lnTo>
                  <a:lnTo>
                    <a:pt x="102" y="612"/>
                  </a:lnTo>
                  <a:lnTo>
                    <a:pt x="102" y="606"/>
                  </a:lnTo>
                  <a:lnTo>
                    <a:pt x="96" y="606"/>
                  </a:lnTo>
                  <a:lnTo>
                    <a:pt x="96" y="600"/>
                  </a:lnTo>
                  <a:lnTo>
                    <a:pt x="96" y="594"/>
                  </a:lnTo>
                  <a:lnTo>
                    <a:pt x="90" y="594"/>
                  </a:lnTo>
                  <a:lnTo>
                    <a:pt x="90" y="588"/>
                  </a:lnTo>
                  <a:lnTo>
                    <a:pt x="90" y="582"/>
                  </a:lnTo>
                  <a:lnTo>
                    <a:pt x="84" y="582"/>
                  </a:lnTo>
                  <a:lnTo>
                    <a:pt x="84" y="576"/>
                  </a:lnTo>
                  <a:lnTo>
                    <a:pt x="78" y="576"/>
                  </a:lnTo>
                  <a:lnTo>
                    <a:pt x="78" y="570"/>
                  </a:lnTo>
                  <a:lnTo>
                    <a:pt x="78" y="564"/>
                  </a:lnTo>
                  <a:lnTo>
                    <a:pt x="72" y="564"/>
                  </a:lnTo>
                  <a:lnTo>
                    <a:pt x="72" y="558"/>
                  </a:lnTo>
                  <a:lnTo>
                    <a:pt x="66" y="558"/>
                  </a:lnTo>
                  <a:lnTo>
                    <a:pt x="66" y="552"/>
                  </a:lnTo>
                  <a:lnTo>
                    <a:pt x="66" y="546"/>
                  </a:lnTo>
                  <a:lnTo>
                    <a:pt x="60" y="546"/>
                  </a:lnTo>
                  <a:lnTo>
                    <a:pt x="60" y="540"/>
                  </a:lnTo>
                  <a:lnTo>
                    <a:pt x="60" y="534"/>
                  </a:lnTo>
                  <a:lnTo>
                    <a:pt x="54" y="534"/>
                  </a:lnTo>
                  <a:lnTo>
                    <a:pt x="54" y="528"/>
                  </a:lnTo>
                  <a:lnTo>
                    <a:pt x="54" y="522"/>
                  </a:lnTo>
                  <a:lnTo>
                    <a:pt x="48" y="522"/>
                  </a:lnTo>
                  <a:lnTo>
                    <a:pt x="48" y="516"/>
                  </a:lnTo>
                  <a:lnTo>
                    <a:pt x="48" y="510"/>
                  </a:lnTo>
                  <a:lnTo>
                    <a:pt x="42" y="510"/>
                  </a:lnTo>
                  <a:lnTo>
                    <a:pt x="42" y="504"/>
                  </a:lnTo>
                  <a:lnTo>
                    <a:pt x="42" y="498"/>
                  </a:lnTo>
                  <a:lnTo>
                    <a:pt x="42" y="492"/>
                  </a:lnTo>
                  <a:lnTo>
                    <a:pt x="36" y="492"/>
                  </a:lnTo>
                  <a:lnTo>
                    <a:pt x="36" y="486"/>
                  </a:lnTo>
                  <a:lnTo>
                    <a:pt x="36" y="480"/>
                  </a:lnTo>
                  <a:lnTo>
                    <a:pt x="36" y="474"/>
                  </a:lnTo>
                  <a:lnTo>
                    <a:pt x="30" y="474"/>
                  </a:lnTo>
                  <a:lnTo>
                    <a:pt x="36" y="474"/>
                  </a:lnTo>
                  <a:lnTo>
                    <a:pt x="30" y="474"/>
                  </a:lnTo>
                  <a:lnTo>
                    <a:pt x="30" y="468"/>
                  </a:lnTo>
                  <a:lnTo>
                    <a:pt x="30" y="462"/>
                  </a:lnTo>
                  <a:lnTo>
                    <a:pt x="30" y="456"/>
                  </a:lnTo>
                  <a:lnTo>
                    <a:pt x="30" y="450"/>
                  </a:lnTo>
                  <a:lnTo>
                    <a:pt x="24" y="450"/>
                  </a:lnTo>
                  <a:lnTo>
                    <a:pt x="24" y="444"/>
                  </a:lnTo>
                  <a:lnTo>
                    <a:pt x="24" y="438"/>
                  </a:lnTo>
                  <a:lnTo>
                    <a:pt x="18" y="438"/>
                  </a:lnTo>
                  <a:lnTo>
                    <a:pt x="18" y="432"/>
                  </a:lnTo>
                  <a:lnTo>
                    <a:pt x="18" y="426"/>
                  </a:lnTo>
                  <a:lnTo>
                    <a:pt x="12" y="426"/>
                  </a:lnTo>
                  <a:lnTo>
                    <a:pt x="12" y="420"/>
                  </a:lnTo>
                  <a:lnTo>
                    <a:pt x="12" y="414"/>
                  </a:lnTo>
                  <a:lnTo>
                    <a:pt x="6" y="414"/>
                  </a:lnTo>
                  <a:lnTo>
                    <a:pt x="6" y="408"/>
                  </a:lnTo>
                  <a:lnTo>
                    <a:pt x="6" y="402"/>
                  </a:lnTo>
                  <a:lnTo>
                    <a:pt x="0" y="402"/>
                  </a:lnTo>
                  <a:lnTo>
                    <a:pt x="0" y="396"/>
                  </a:lnTo>
                  <a:lnTo>
                    <a:pt x="6" y="396"/>
                  </a:lnTo>
                  <a:lnTo>
                    <a:pt x="6" y="390"/>
                  </a:lnTo>
                  <a:lnTo>
                    <a:pt x="12" y="390"/>
                  </a:lnTo>
                  <a:lnTo>
                    <a:pt x="18" y="384"/>
                  </a:lnTo>
                  <a:lnTo>
                    <a:pt x="18" y="378"/>
                  </a:lnTo>
                  <a:lnTo>
                    <a:pt x="12" y="378"/>
                  </a:lnTo>
                  <a:lnTo>
                    <a:pt x="18" y="378"/>
                  </a:lnTo>
                  <a:lnTo>
                    <a:pt x="18" y="372"/>
                  </a:lnTo>
                  <a:lnTo>
                    <a:pt x="18" y="378"/>
                  </a:lnTo>
                  <a:lnTo>
                    <a:pt x="18" y="372"/>
                  </a:lnTo>
                  <a:lnTo>
                    <a:pt x="18" y="366"/>
                  </a:lnTo>
                  <a:lnTo>
                    <a:pt x="24" y="372"/>
                  </a:lnTo>
                  <a:lnTo>
                    <a:pt x="24" y="366"/>
                  </a:lnTo>
                  <a:lnTo>
                    <a:pt x="24" y="360"/>
                  </a:lnTo>
                  <a:lnTo>
                    <a:pt x="24" y="366"/>
                  </a:lnTo>
                  <a:lnTo>
                    <a:pt x="24" y="360"/>
                  </a:lnTo>
                  <a:lnTo>
                    <a:pt x="30" y="360"/>
                  </a:lnTo>
                  <a:lnTo>
                    <a:pt x="30" y="366"/>
                  </a:lnTo>
                  <a:lnTo>
                    <a:pt x="30" y="360"/>
                  </a:lnTo>
                  <a:lnTo>
                    <a:pt x="36" y="360"/>
                  </a:lnTo>
                  <a:lnTo>
                    <a:pt x="36" y="366"/>
                  </a:lnTo>
                  <a:lnTo>
                    <a:pt x="42" y="366"/>
                  </a:lnTo>
                  <a:lnTo>
                    <a:pt x="36" y="372"/>
                  </a:lnTo>
                  <a:lnTo>
                    <a:pt x="42" y="372"/>
                  </a:lnTo>
                  <a:lnTo>
                    <a:pt x="48" y="372"/>
                  </a:lnTo>
                  <a:lnTo>
                    <a:pt x="48" y="378"/>
                  </a:lnTo>
                  <a:lnTo>
                    <a:pt x="54" y="384"/>
                  </a:lnTo>
                  <a:lnTo>
                    <a:pt x="48" y="384"/>
                  </a:lnTo>
                  <a:lnTo>
                    <a:pt x="48" y="390"/>
                  </a:lnTo>
                  <a:lnTo>
                    <a:pt x="48" y="396"/>
                  </a:lnTo>
                  <a:lnTo>
                    <a:pt x="54" y="396"/>
                  </a:lnTo>
                  <a:lnTo>
                    <a:pt x="54" y="402"/>
                  </a:lnTo>
                  <a:lnTo>
                    <a:pt x="60" y="402"/>
                  </a:lnTo>
                  <a:lnTo>
                    <a:pt x="60" y="408"/>
                  </a:lnTo>
                  <a:lnTo>
                    <a:pt x="66" y="408"/>
                  </a:lnTo>
                  <a:lnTo>
                    <a:pt x="72" y="408"/>
                  </a:lnTo>
                  <a:lnTo>
                    <a:pt x="78" y="408"/>
                  </a:lnTo>
                  <a:lnTo>
                    <a:pt x="84" y="408"/>
                  </a:lnTo>
                  <a:lnTo>
                    <a:pt x="84" y="414"/>
                  </a:lnTo>
                  <a:lnTo>
                    <a:pt x="90" y="414"/>
                  </a:lnTo>
                  <a:lnTo>
                    <a:pt x="96" y="414"/>
                  </a:lnTo>
                  <a:lnTo>
                    <a:pt x="102" y="414"/>
                  </a:lnTo>
                  <a:lnTo>
                    <a:pt x="108" y="414"/>
                  </a:lnTo>
                  <a:lnTo>
                    <a:pt x="114" y="414"/>
                  </a:lnTo>
                  <a:lnTo>
                    <a:pt x="120" y="414"/>
                  </a:lnTo>
                  <a:lnTo>
                    <a:pt x="126" y="414"/>
                  </a:lnTo>
                  <a:lnTo>
                    <a:pt x="132" y="414"/>
                  </a:lnTo>
                  <a:lnTo>
                    <a:pt x="138" y="414"/>
                  </a:lnTo>
                  <a:lnTo>
                    <a:pt x="138" y="420"/>
                  </a:lnTo>
                  <a:lnTo>
                    <a:pt x="144" y="420"/>
                  </a:lnTo>
                  <a:lnTo>
                    <a:pt x="150" y="420"/>
                  </a:lnTo>
                  <a:lnTo>
                    <a:pt x="150" y="414"/>
                  </a:lnTo>
                  <a:lnTo>
                    <a:pt x="156" y="414"/>
                  </a:lnTo>
                  <a:lnTo>
                    <a:pt x="156" y="408"/>
                  </a:lnTo>
                  <a:lnTo>
                    <a:pt x="156" y="402"/>
                  </a:lnTo>
                  <a:lnTo>
                    <a:pt x="156" y="408"/>
                  </a:lnTo>
                  <a:lnTo>
                    <a:pt x="162" y="408"/>
                  </a:lnTo>
                  <a:lnTo>
                    <a:pt x="162" y="402"/>
                  </a:lnTo>
                  <a:lnTo>
                    <a:pt x="168" y="402"/>
                  </a:lnTo>
                  <a:lnTo>
                    <a:pt x="168" y="396"/>
                  </a:lnTo>
                  <a:lnTo>
                    <a:pt x="174" y="390"/>
                  </a:lnTo>
                  <a:lnTo>
                    <a:pt x="180" y="390"/>
                  </a:lnTo>
                  <a:lnTo>
                    <a:pt x="186" y="390"/>
                  </a:lnTo>
                  <a:lnTo>
                    <a:pt x="186" y="384"/>
                  </a:lnTo>
                  <a:lnTo>
                    <a:pt x="192" y="384"/>
                  </a:lnTo>
                  <a:lnTo>
                    <a:pt x="198" y="384"/>
                  </a:lnTo>
                  <a:lnTo>
                    <a:pt x="198" y="378"/>
                  </a:lnTo>
                  <a:lnTo>
                    <a:pt x="198" y="366"/>
                  </a:lnTo>
                  <a:lnTo>
                    <a:pt x="198" y="360"/>
                  </a:lnTo>
                  <a:lnTo>
                    <a:pt x="198" y="354"/>
                  </a:lnTo>
                  <a:lnTo>
                    <a:pt x="198" y="342"/>
                  </a:lnTo>
                  <a:lnTo>
                    <a:pt x="198" y="336"/>
                  </a:lnTo>
                  <a:lnTo>
                    <a:pt x="198" y="330"/>
                  </a:lnTo>
                  <a:lnTo>
                    <a:pt x="198" y="318"/>
                  </a:lnTo>
                  <a:lnTo>
                    <a:pt x="198" y="312"/>
                  </a:lnTo>
                  <a:lnTo>
                    <a:pt x="198" y="306"/>
                  </a:lnTo>
                  <a:lnTo>
                    <a:pt x="198" y="294"/>
                  </a:lnTo>
                  <a:lnTo>
                    <a:pt x="198" y="288"/>
                  </a:lnTo>
                  <a:lnTo>
                    <a:pt x="198" y="282"/>
                  </a:lnTo>
                  <a:lnTo>
                    <a:pt x="198" y="276"/>
                  </a:lnTo>
                  <a:lnTo>
                    <a:pt x="198" y="264"/>
                  </a:lnTo>
                  <a:lnTo>
                    <a:pt x="198" y="258"/>
                  </a:lnTo>
                  <a:lnTo>
                    <a:pt x="198" y="252"/>
                  </a:lnTo>
                  <a:lnTo>
                    <a:pt x="198" y="240"/>
                  </a:lnTo>
                  <a:lnTo>
                    <a:pt x="198" y="234"/>
                  </a:lnTo>
                  <a:lnTo>
                    <a:pt x="198" y="228"/>
                  </a:lnTo>
                  <a:lnTo>
                    <a:pt x="198" y="216"/>
                  </a:lnTo>
                  <a:lnTo>
                    <a:pt x="198" y="210"/>
                  </a:lnTo>
                  <a:lnTo>
                    <a:pt x="198" y="204"/>
                  </a:lnTo>
                  <a:lnTo>
                    <a:pt x="198" y="198"/>
                  </a:lnTo>
                  <a:lnTo>
                    <a:pt x="198" y="192"/>
                  </a:lnTo>
                  <a:lnTo>
                    <a:pt x="198" y="186"/>
                  </a:lnTo>
                  <a:lnTo>
                    <a:pt x="198" y="180"/>
                  </a:lnTo>
                  <a:lnTo>
                    <a:pt x="198" y="174"/>
                  </a:lnTo>
                  <a:lnTo>
                    <a:pt x="198" y="168"/>
                  </a:lnTo>
                  <a:lnTo>
                    <a:pt x="198" y="162"/>
                  </a:lnTo>
                  <a:lnTo>
                    <a:pt x="198" y="156"/>
                  </a:lnTo>
                  <a:lnTo>
                    <a:pt x="198" y="162"/>
                  </a:lnTo>
                  <a:lnTo>
                    <a:pt x="204" y="162"/>
                  </a:lnTo>
                  <a:lnTo>
                    <a:pt x="204" y="168"/>
                  </a:lnTo>
                  <a:lnTo>
                    <a:pt x="210" y="168"/>
                  </a:lnTo>
                  <a:lnTo>
                    <a:pt x="216" y="168"/>
                  </a:lnTo>
                  <a:lnTo>
                    <a:pt x="216" y="174"/>
                  </a:lnTo>
                  <a:lnTo>
                    <a:pt x="222" y="180"/>
                  </a:lnTo>
                  <a:lnTo>
                    <a:pt x="216" y="180"/>
                  </a:lnTo>
                  <a:lnTo>
                    <a:pt x="222" y="180"/>
                  </a:lnTo>
                  <a:lnTo>
                    <a:pt x="222" y="186"/>
                  </a:lnTo>
                  <a:lnTo>
                    <a:pt x="228" y="192"/>
                  </a:lnTo>
                  <a:lnTo>
                    <a:pt x="228" y="186"/>
                  </a:lnTo>
                  <a:lnTo>
                    <a:pt x="228" y="192"/>
                  </a:lnTo>
                  <a:lnTo>
                    <a:pt x="222" y="192"/>
                  </a:lnTo>
                  <a:lnTo>
                    <a:pt x="228" y="192"/>
                  </a:lnTo>
                  <a:lnTo>
                    <a:pt x="228" y="198"/>
                  </a:lnTo>
                  <a:lnTo>
                    <a:pt x="234" y="198"/>
                  </a:lnTo>
                  <a:lnTo>
                    <a:pt x="234" y="204"/>
                  </a:lnTo>
                  <a:lnTo>
                    <a:pt x="228" y="204"/>
                  </a:lnTo>
                  <a:lnTo>
                    <a:pt x="234" y="204"/>
                  </a:lnTo>
                  <a:lnTo>
                    <a:pt x="234" y="210"/>
                  </a:lnTo>
                  <a:lnTo>
                    <a:pt x="234" y="216"/>
                  </a:lnTo>
                  <a:lnTo>
                    <a:pt x="240" y="222"/>
                  </a:lnTo>
                  <a:lnTo>
                    <a:pt x="240" y="228"/>
                  </a:lnTo>
                  <a:lnTo>
                    <a:pt x="240" y="234"/>
                  </a:lnTo>
                  <a:lnTo>
                    <a:pt x="240" y="240"/>
                  </a:lnTo>
                  <a:lnTo>
                    <a:pt x="246" y="240"/>
                  </a:lnTo>
                  <a:lnTo>
                    <a:pt x="240" y="246"/>
                  </a:lnTo>
                  <a:lnTo>
                    <a:pt x="240" y="252"/>
                  </a:lnTo>
                  <a:lnTo>
                    <a:pt x="234" y="252"/>
                  </a:lnTo>
                  <a:lnTo>
                    <a:pt x="234" y="258"/>
                  </a:lnTo>
                  <a:lnTo>
                    <a:pt x="228" y="258"/>
                  </a:lnTo>
                  <a:lnTo>
                    <a:pt x="228" y="264"/>
                  </a:lnTo>
                  <a:lnTo>
                    <a:pt x="228" y="270"/>
                  </a:lnTo>
                  <a:lnTo>
                    <a:pt x="234" y="270"/>
                  </a:lnTo>
                  <a:lnTo>
                    <a:pt x="228" y="270"/>
                  </a:lnTo>
                  <a:lnTo>
                    <a:pt x="234" y="276"/>
                  </a:lnTo>
                  <a:lnTo>
                    <a:pt x="228" y="276"/>
                  </a:lnTo>
                  <a:lnTo>
                    <a:pt x="234" y="276"/>
                  </a:lnTo>
                  <a:lnTo>
                    <a:pt x="228" y="282"/>
                  </a:lnTo>
                  <a:lnTo>
                    <a:pt x="234" y="282"/>
                  </a:lnTo>
                  <a:lnTo>
                    <a:pt x="228" y="282"/>
                  </a:lnTo>
                  <a:lnTo>
                    <a:pt x="234" y="282"/>
                  </a:lnTo>
                  <a:lnTo>
                    <a:pt x="234" y="288"/>
                  </a:lnTo>
                  <a:lnTo>
                    <a:pt x="240" y="288"/>
                  </a:lnTo>
                  <a:lnTo>
                    <a:pt x="240" y="282"/>
                  </a:lnTo>
                  <a:lnTo>
                    <a:pt x="246" y="282"/>
                  </a:lnTo>
                  <a:lnTo>
                    <a:pt x="252" y="282"/>
                  </a:lnTo>
                  <a:lnTo>
                    <a:pt x="252" y="288"/>
                  </a:lnTo>
                  <a:lnTo>
                    <a:pt x="258" y="288"/>
                  </a:lnTo>
                  <a:lnTo>
                    <a:pt x="264" y="288"/>
                  </a:lnTo>
                  <a:lnTo>
                    <a:pt x="270" y="288"/>
                  </a:lnTo>
                  <a:lnTo>
                    <a:pt x="270" y="282"/>
                  </a:lnTo>
                  <a:lnTo>
                    <a:pt x="276" y="282"/>
                  </a:lnTo>
                  <a:lnTo>
                    <a:pt x="276" y="288"/>
                  </a:lnTo>
                  <a:lnTo>
                    <a:pt x="282" y="288"/>
                  </a:lnTo>
                  <a:lnTo>
                    <a:pt x="288" y="288"/>
                  </a:lnTo>
                  <a:lnTo>
                    <a:pt x="294" y="282"/>
                  </a:lnTo>
                  <a:lnTo>
                    <a:pt x="294" y="276"/>
                  </a:lnTo>
                  <a:lnTo>
                    <a:pt x="300" y="276"/>
                  </a:lnTo>
                  <a:lnTo>
                    <a:pt x="306" y="276"/>
                  </a:lnTo>
                  <a:lnTo>
                    <a:pt x="312" y="270"/>
                  </a:lnTo>
                  <a:lnTo>
                    <a:pt x="312" y="264"/>
                  </a:lnTo>
                  <a:lnTo>
                    <a:pt x="318" y="264"/>
                  </a:lnTo>
                  <a:lnTo>
                    <a:pt x="318" y="258"/>
                  </a:lnTo>
                  <a:lnTo>
                    <a:pt x="324" y="258"/>
                  </a:lnTo>
                  <a:lnTo>
                    <a:pt x="324" y="252"/>
                  </a:lnTo>
                  <a:lnTo>
                    <a:pt x="330" y="252"/>
                  </a:lnTo>
                  <a:lnTo>
                    <a:pt x="330" y="246"/>
                  </a:lnTo>
                  <a:lnTo>
                    <a:pt x="336" y="246"/>
                  </a:lnTo>
                  <a:lnTo>
                    <a:pt x="342" y="246"/>
                  </a:lnTo>
                  <a:lnTo>
                    <a:pt x="342" y="240"/>
                  </a:lnTo>
                  <a:lnTo>
                    <a:pt x="342" y="234"/>
                  </a:lnTo>
                  <a:lnTo>
                    <a:pt x="348" y="234"/>
                  </a:lnTo>
                  <a:lnTo>
                    <a:pt x="348" y="228"/>
                  </a:lnTo>
                  <a:lnTo>
                    <a:pt x="348" y="222"/>
                  </a:lnTo>
                  <a:lnTo>
                    <a:pt x="348" y="216"/>
                  </a:lnTo>
                  <a:lnTo>
                    <a:pt x="354" y="216"/>
                  </a:lnTo>
                  <a:lnTo>
                    <a:pt x="354" y="210"/>
                  </a:lnTo>
                  <a:lnTo>
                    <a:pt x="354" y="204"/>
                  </a:lnTo>
                  <a:lnTo>
                    <a:pt x="354" y="198"/>
                  </a:lnTo>
                  <a:lnTo>
                    <a:pt x="354" y="204"/>
                  </a:lnTo>
                  <a:lnTo>
                    <a:pt x="360" y="204"/>
                  </a:lnTo>
                  <a:lnTo>
                    <a:pt x="360" y="198"/>
                  </a:lnTo>
                  <a:lnTo>
                    <a:pt x="354" y="198"/>
                  </a:lnTo>
                  <a:lnTo>
                    <a:pt x="360" y="198"/>
                  </a:lnTo>
                  <a:lnTo>
                    <a:pt x="360" y="192"/>
                  </a:lnTo>
                  <a:lnTo>
                    <a:pt x="366" y="192"/>
                  </a:lnTo>
                  <a:lnTo>
                    <a:pt x="372" y="192"/>
                  </a:lnTo>
                  <a:lnTo>
                    <a:pt x="372" y="186"/>
                  </a:lnTo>
                  <a:lnTo>
                    <a:pt x="378" y="186"/>
                  </a:lnTo>
                  <a:lnTo>
                    <a:pt x="378" y="192"/>
                  </a:lnTo>
                  <a:lnTo>
                    <a:pt x="378" y="186"/>
                  </a:lnTo>
                  <a:lnTo>
                    <a:pt x="378" y="192"/>
                  </a:lnTo>
                  <a:lnTo>
                    <a:pt x="384" y="186"/>
                  </a:lnTo>
                  <a:lnTo>
                    <a:pt x="384" y="192"/>
                  </a:lnTo>
                  <a:lnTo>
                    <a:pt x="390" y="186"/>
                  </a:lnTo>
                  <a:lnTo>
                    <a:pt x="390" y="192"/>
                  </a:lnTo>
                  <a:lnTo>
                    <a:pt x="396" y="192"/>
                  </a:lnTo>
                  <a:lnTo>
                    <a:pt x="396" y="198"/>
                  </a:lnTo>
                  <a:lnTo>
                    <a:pt x="396" y="192"/>
                  </a:lnTo>
                  <a:lnTo>
                    <a:pt x="396" y="198"/>
                  </a:lnTo>
                  <a:lnTo>
                    <a:pt x="402" y="198"/>
                  </a:lnTo>
                  <a:lnTo>
                    <a:pt x="402" y="204"/>
                  </a:lnTo>
                  <a:lnTo>
                    <a:pt x="408" y="204"/>
                  </a:lnTo>
                  <a:lnTo>
                    <a:pt x="408" y="210"/>
                  </a:lnTo>
                  <a:lnTo>
                    <a:pt x="414" y="210"/>
                  </a:lnTo>
                  <a:lnTo>
                    <a:pt x="420" y="210"/>
                  </a:lnTo>
                  <a:lnTo>
                    <a:pt x="426" y="210"/>
                  </a:lnTo>
                  <a:lnTo>
                    <a:pt x="432" y="210"/>
                  </a:lnTo>
                  <a:lnTo>
                    <a:pt x="432" y="216"/>
                  </a:lnTo>
                  <a:lnTo>
                    <a:pt x="438" y="216"/>
                  </a:lnTo>
                  <a:lnTo>
                    <a:pt x="444" y="216"/>
                  </a:lnTo>
                  <a:lnTo>
                    <a:pt x="450" y="222"/>
                  </a:lnTo>
                  <a:lnTo>
                    <a:pt x="456" y="222"/>
                  </a:lnTo>
                  <a:lnTo>
                    <a:pt x="462" y="222"/>
                  </a:lnTo>
                  <a:lnTo>
                    <a:pt x="468" y="222"/>
                  </a:lnTo>
                  <a:lnTo>
                    <a:pt x="474" y="216"/>
                  </a:lnTo>
                  <a:lnTo>
                    <a:pt x="480" y="216"/>
                  </a:lnTo>
                  <a:lnTo>
                    <a:pt x="486" y="216"/>
                  </a:lnTo>
                  <a:lnTo>
                    <a:pt x="492" y="216"/>
                  </a:lnTo>
                  <a:lnTo>
                    <a:pt x="492" y="222"/>
                  </a:lnTo>
                  <a:lnTo>
                    <a:pt x="492" y="216"/>
                  </a:lnTo>
                  <a:lnTo>
                    <a:pt x="498" y="216"/>
                  </a:lnTo>
                  <a:lnTo>
                    <a:pt x="504" y="210"/>
                  </a:lnTo>
                  <a:lnTo>
                    <a:pt x="510" y="210"/>
                  </a:lnTo>
                  <a:lnTo>
                    <a:pt x="510" y="204"/>
                  </a:lnTo>
                  <a:lnTo>
                    <a:pt x="510" y="198"/>
                  </a:lnTo>
                  <a:lnTo>
                    <a:pt x="510" y="192"/>
                  </a:lnTo>
                  <a:lnTo>
                    <a:pt x="516" y="186"/>
                  </a:lnTo>
                  <a:lnTo>
                    <a:pt x="516" y="180"/>
                  </a:lnTo>
                  <a:lnTo>
                    <a:pt x="522" y="174"/>
                  </a:lnTo>
                  <a:lnTo>
                    <a:pt x="522" y="168"/>
                  </a:lnTo>
                  <a:lnTo>
                    <a:pt x="522" y="162"/>
                  </a:lnTo>
                  <a:lnTo>
                    <a:pt x="522" y="156"/>
                  </a:lnTo>
                  <a:lnTo>
                    <a:pt x="528" y="156"/>
                  </a:lnTo>
                  <a:lnTo>
                    <a:pt x="534" y="156"/>
                  </a:lnTo>
                  <a:lnTo>
                    <a:pt x="534" y="150"/>
                  </a:lnTo>
                  <a:lnTo>
                    <a:pt x="540" y="150"/>
                  </a:lnTo>
                  <a:lnTo>
                    <a:pt x="546" y="150"/>
                  </a:lnTo>
                  <a:lnTo>
                    <a:pt x="552" y="150"/>
                  </a:lnTo>
                  <a:lnTo>
                    <a:pt x="558" y="150"/>
                  </a:lnTo>
                  <a:lnTo>
                    <a:pt x="558" y="144"/>
                  </a:lnTo>
                  <a:lnTo>
                    <a:pt x="558" y="138"/>
                  </a:lnTo>
                  <a:lnTo>
                    <a:pt x="564" y="138"/>
                  </a:lnTo>
                  <a:lnTo>
                    <a:pt x="564" y="132"/>
                  </a:lnTo>
                  <a:lnTo>
                    <a:pt x="570" y="132"/>
                  </a:lnTo>
                  <a:lnTo>
                    <a:pt x="570" y="126"/>
                  </a:lnTo>
                  <a:lnTo>
                    <a:pt x="570" y="132"/>
                  </a:lnTo>
                  <a:lnTo>
                    <a:pt x="576" y="126"/>
                  </a:lnTo>
                  <a:lnTo>
                    <a:pt x="576" y="120"/>
                  </a:lnTo>
                  <a:lnTo>
                    <a:pt x="576" y="114"/>
                  </a:lnTo>
                  <a:lnTo>
                    <a:pt x="582" y="114"/>
                  </a:lnTo>
                  <a:lnTo>
                    <a:pt x="582" y="108"/>
                  </a:lnTo>
                  <a:lnTo>
                    <a:pt x="582" y="102"/>
                  </a:lnTo>
                  <a:lnTo>
                    <a:pt x="582" y="96"/>
                  </a:lnTo>
                  <a:lnTo>
                    <a:pt x="582" y="90"/>
                  </a:lnTo>
                  <a:lnTo>
                    <a:pt x="588" y="90"/>
                  </a:lnTo>
                  <a:lnTo>
                    <a:pt x="588" y="84"/>
                  </a:lnTo>
                  <a:lnTo>
                    <a:pt x="594" y="84"/>
                  </a:lnTo>
                  <a:lnTo>
                    <a:pt x="600" y="84"/>
                  </a:lnTo>
                  <a:lnTo>
                    <a:pt x="594" y="84"/>
                  </a:lnTo>
                  <a:lnTo>
                    <a:pt x="594" y="78"/>
                  </a:lnTo>
                  <a:lnTo>
                    <a:pt x="600" y="78"/>
                  </a:lnTo>
                  <a:lnTo>
                    <a:pt x="606" y="78"/>
                  </a:lnTo>
                  <a:lnTo>
                    <a:pt x="606" y="72"/>
                  </a:lnTo>
                  <a:lnTo>
                    <a:pt x="606" y="78"/>
                  </a:lnTo>
                  <a:lnTo>
                    <a:pt x="606" y="72"/>
                  </a:lnTo>
                  <a:lnTo>
                    <a:pt x="606" y="78"/>
                  </a:lnTo>
                  <a:lnTo>
                    <a:pt x="612" y="78"/>
                  </a:lnTo>
                  <a:lnTo>
                    <a:pt x="612" y="72"/>
                  </a:lnTo>
                  <a:lnTo>
                    <a:pt x="618" y="72"/>
                  </a:lnTo>
                  <a:lnTo>
                    <a:pt x="618" y="66"/>
                  </a:lnTo>
                  <a:lnTo>
                    <a:pt x="624" y="66"/>
                  </a:lnTo>
                  <a:lnTo>
                    <a:pt x="624" y="60"/>
                  </a:lnTo>
                  <a:lnTo>
                    <a:pt x="624" y="66"/>
                  </a:lnTo>
                  <a:lnTo>
                    <a:pt x="630" y="66"/>
                  </a:lnTo>
                  <a:lnTo>
                    <a:pt x="630" y="60"/>
                  </a:lnTo>
                  <a:lnTo>
                    <a:pt x="630" y="54"/>
                  </a:lnTo>
                  <a:lnTo>
                    <a:pt x="636" y="54"/>
                  </a:lnTo>
                  <a:lnTo>
                    <a:pt x="636" y="48"/>
                  </a:lnTo>
                  <a:lnTo>
                    <a:pt x="642" y="48"/>
                  </a:lnTo>
                  <a:lnTo>
                    <a:pt x="642" y="42"/>
                  </a:lnTo>
                  <a:lnTo>
                    <a:pt x="648" y="42"/>
                  </a:lnTo>
                  <a:lnTo>
                    <a:pt x="648" y="36"/>
                  </a:lnTo>
                  <a:lnTo>
                    <a:pt x="648" y="30"/>
                  </a:lnTo>
                  <a:lnTo>
                    <a:pt x="654" y="30"/>
                  </a:lnTo>
                  <a:lnTo>
                    <a:pt x="654" y="24"/>
                  </a:lnTo>
                  <a:lnTo>
                    <a:pt x="660" y="24"/>
                  </a:lnTo>
                  <a:lnTo>
                    <a:pt x="666" y="24"/>
                  </a:lnTo>
                  <a:lnTo>
                    <a:pt x="672" y="24"/>
                  </a:lnTo>
                  <a:lnTo>
                    <a:pt x="678" y="24"/>
                  </a:lnTo>
                  <a:lnTo>
                    <a:pt x="678" y="18"/>
                  </a:lnTo>
                  <a:lnTo>
                    <a:pt x="684" y="18"/>
                  </a:lnTo>
                  <a:lnTo>
                    <a:pt x="690" y="18"/>
                  </a:lnTo>
                  <a:lnTo>
                    <a:pt x="696" y="18"/>
                  </a:lnTo>
                  <a:lnTo>
                    <a:pt x="696" y="12"/>
                  </a:lnTo>
                  <a:lnTo>
                    <a:pt x="696" y="6"/>
                  </a:lnTo>
                  <a:lnTo>
                    <a:pt x="696" y="0"/>
                  </a:lnTo>
                  <a:lnTo>
                    <a:pt x="702" y="0"/>
                  </a:lnTo>
                  <a:lnTo>
                    <a:pt x="708" y="0"/>
                  </a:lnTo>
                  <a:lnTo>
                    <a:pt x="714" y="0"/>
                  </a:lnTo>
                  <a:lnTo>
                    <a:pt x="720" y="0"/>
                  </a:lnTo>
                  <a:lnTo>
                    <a:pt x="726" y="0"/>
                  </a:lnTo>
                  <a:lnTo>
                    <a:pt x="732" y="0"/>
                  </a:lnTo>
                  <a:lnTo>
                    <a:pt x="738" y="0"/>
                  </a:lnTo>
                  <a:lnTo>
                    <a:pt x="744" y="0"/>
                  </a:lnTo>
                  <a:lnTo>
                    <a:pt x="750" y="0"/>
                  </a:lnTo>
                  <a:lnTo>
                    <a:pt x="750" y="6"/>
                  </a:lnTo>
                  <a:lnTo>
                    <a:pt x="756" y="6"/>
                  </a:lnTo>
                  <a:lnTo>
                    <a:pt x="762" y="6"/>
                  </a:lnTo>
                  <a:lnTo>
                    <a:pt x="768" y="6"/>
                  </a:lnTo>
                  <a:lnTo>
                    <a:pt x="768" y="12"/>
                  </a:lnTo>
                  <a:lnTo>
                    <a:pt x="774" y="12"/>
                  </a:lnTo>
                  <a:lnTo>
                    <a:pt x="780" y="12"/>
                  </a:lnTo>
                  <a:lnTo>
                    <a:pt x="780" y="6"/>
                  </a:lnTo>
                  <a:lnTo>
                    <a:pt x="786" y="6"/>
                  </a:lnTo>
                  <a:lnTo>
                    <a:pt x="786" y="12"/>
                  </a:lnTo>
                  <a:lnTo>
                    <a:pt x="786" y="6"/>
                  </a:lnTo>
                  <a:lnTo>
                    <a:pt x="792" y="6"/>
                  </a:lnTo>
                  <a:lnTo>
                    <a:pt x="798" y="6"/>
                  </a:lnTo>
                  <a:lnTo>
                    <a:pt x="804" y="6"/>
                  </a:lnTo>
                  <a:lnTo>
                    <a:pt x="810" y="12"/>
                  </a:lnTo>
                  <a:lnTo>
                    <a:pt x="810" y="6"/>
                  </a:lnTo>
                  <a:lnTo>
                    <a:pt x="810" y="12"/>
                  </a:lnTo>
                  <a:lnTo>
                    <a:pt x="816" y="12"/>
                  </a:lnTo>
                  <a:lnTo>
                    <a:pt x="822" y="12"/>
                  </a:lnTo>
                  <a:lnTo>
                    <a:pt x="828" y="12"/>
                  </a:lnTo>
                  <a:lnTo>
                    <a:pt x="828" y="24"/>
                  </a:lnTo>
                  <a:lnTo>
                    <a:pt x="834" y="36"/>
                  </a:lnTo>
                  <a:lnTo>
                    <a:pt x="834" y="48"/>
                  </a:lnTo>
                  <a:lnTo>
                    <a:pt x="834" y="54"/>
                  </a:lnTo>
                  <a:lnTo>
                    <a:pt x="840" y="54"/>
                  </a:lnTo>
                  <a:lnTo>
                    <a:pt x="840" y="60"/>
                  </a:lnTo>
                  <a:lnTo>
                    <a:pt x="840" y="66"/>
                  </a:lnTo>
                  <a:lnTo>
                    <a:pt x="840" y="72"/>
                  </a:lnTo>
                  <a:lnTo>
                    <a:pt x="840" y="78"/>
                  </a:lnTo>
                  <a:lnTo>
                    <a:pt x="846" y="84"/>
                  </a:lnTo>
                  <a:lnTo>
                    <a:pt x="846" y="90"/>
                  </a:lnTo>
                  <a:lnTo>
                    <a:pt x="846" y="96"/>
                  </a:lnTo>
                  <a:lnTo>
                    <a:pt x="852" y="102"/>
                  </a:lnTo>
                  <a:lnTo>
                    <a:pt x="858" y="108"/>
                  </a:lnTo>
                  <a:lnTo>
                    <a:pt x="858" y="120"/>
                  </a:lnTo>
                  <a:lnTo>
                    <a:pt x="864" y="126"/>
                  </a:lnTo>
                  <a:lnTo>
                    <a:pt x="864" y="132"/>
                  </a:lnTo>
                  <a:lnTo>
                    <a:pt x="864" y="138"/>
                  </a:lnTo>
                  <a:lnTo>
                    <a:pt x="864" y="144"/>
                  </a:lnTo>
                  <a:lnTo>
                    <a:pt x="864" y="150"/>
                  </a:lnTo>
                  <a:lnTo>
                    <a:pt x="864" y="156"/>
                  </a:lnTo>
                  <a:lnTo>
                    <a:pt x="864" y="162"/>
                  </a:lnTo>
                  <a:lnTo>
                    <a:pt x="864" y="168"/>
                  </a:lnTo>
                  <a:lnTo>
                    <a:pt x="864" y="174"/>
                  </a:lnTo>
                  <a:lnTo>
                    <a:pt x="864" y="180"/>
                  </a:lnTo>
                  <a:lnTo>
                    <a:pt x="864" y="186"/>
                  </a:lnTo>
                  <a:lnTo>
                    <a:pt x="864" y="192"/>
                  </a:lnTo>
                  <a:lnTo>
                    <a:pt x="864" y="198"/>
                  </a:lnTo>
                  <a:lnTo>
                    <a:pt x="864" y="204"/>
                  </a:lnTo>
                  <a:lnTo>
                    <a:pt x="864" y="210"/>
                  </a:lnTo>
                  <a:lnTo>
                    <a:pt x="864" y="216"/>
                  </a:lnTo>
                  <a:lnTo>
                    <a:pt x="864" y="222"/>
                  </a:lnTo>
                  <a:lnTo>
                    <a:pt x="858" y="222"/>
                  </a:lnTo>
                  <a:lnTo>
                    <a:pt x="864" y="228"/>
                  </a:lnTo>
                  <a:lnTo>
                    <a:pt x="858" y="234"/>
                  </a:lnTo>
                  <a:lnTo>
                    <a:pt x="852" y="234"/>
                  </a:lnTo>
                  <a:lnTo>
                    <a:pt x="852" y="228"/>
                  </a:lnTo>
                  <a:lnTo>
                    <a:pt x="846" y="228"/>
                  </a:lnTo>
                  <a:lnTo>
                    <a:pt x="846" y="222"/>
                  </a:lnTo>
                  <a:lnTo>
                    <a:pt x="840" y="222"/>
                  </a:lnTo>
                  <a:lnTo>
                    <a:pt x="834" y="222"/>
                  </a:lnTo>
                  <a:lnTo>
                    <a:pt x="834" y="216"/>
                  </a:lnTo>
                  <a:lnTo>
                    <a:pt x="828" y="216"/>
                  </a:lnTo>
                  <a:lnTo>
                    <a:pt x="822" y="222"/>
                  </a:lnTo>
                  <a:lnTo>
                    <a:pt x="816" y="228"/>
                  </a:lnTo>
                  <a:lnTo>
                    <a:pt x="816" y="234"/>
                  </a:lnTo>
                  <a:lnTo>
                    <a:pt x="810" y="234"/>
                  </a:lnTo>
                  <a:lnTo>
                    <a:pt x="810" y="240"/>
                  </a:lnTo>
                  <a:lnTo>
                    <a:pt x="810" y="246"/>
                  </a:lnTo>
                  <a:lnTo>
                    <a:pt x="804" y="252"/>
                  </a:lnTo>
                  <a:lnTo>
                    <a:pt x="804" y="258"/>
                  </a:lnTo>
                  <a:lnTo>
                    <a:pt x="798" y="258"/>
                  </a:lnTo>
                  <a:lnTo>
                    <a:pt x="798" y="270"/>
                  </a:lnTo>
                  <a:lnTo>
                    <a:pt x="798" y="276"/>
                  </a:lnTo>
                  <a:lnTo>
                    <a:pt x="798" y="282"/>
                  </a:lnTo>
                  <a:lnTo>
                    <a:pt x="798" y="288"/>
                  </a:lnTo>
                  <a:lnTo>
                    <a:pt x="798" y="282"/>
                  </a:lnTo>
                  <a:lnTo>
                    <a:pt x="804" y="282"/>
                  </a:lnTo>
                  <a:lnTo>
                    <a:pt x="804" y="288"/>
                  </a:lnTo>
                  <a:lnTo>
                    <a:pt x="810" y="288"/>
                  </a:lnTo>
                  <a:lnTo>
                    <a:pt x="810" y="294"/>
                  </a:lnTo>
                  <a:lnTo>
                    <a:pt x="804" y="294"/>
                  </a:lnTo>
                  <a:lnTo>
                    <a:pt x="810" y="300"/>
                  </a:lnTo>
                  <a:lnTo>
                    <a:pt x="816" y="306"/>
                  </a:lnTo>
                  <a:lnTo>
                    <a:pt x="822" y="312"/>
                  </a:lnTo>
                  <a:lnTo>
                    <a:pt x="828" y="312"/>
                  </a:lnTo>
                  <a:lnTo>
                    <a:pt x="834" y="312"/>
                  </a:lnTo>
                  <a:lnTo>
                    <a:pt x="834" y="318"/>
                  </a:lnTo>
                  <a:lnTo>
                    <a:pt x="840" y="318"/>
                  </a:lnTo>
                  <a:lnTo>
                    <a:pt x="846" y="318"/>
                  </a:lnTo>
                  <a:lnTo>
                    <a:pt x="852" y="318"/>
                  </a:lnTo>
                  <a:lnTo>
                    <a:pt x="858" y="318"/>
                  </a:lnTo>
                  <a:lnTo>
                    <a:pt x="864" y="318"/>
                  </a:lnTo>
                  <a:lnTo>
                    <a:pt x="864" y="312"/>
                  </a:lnTo>
                  <a:lnTo>
                    <a:pt x="864" y="306"/>
                  </a:lnTo>
                  <a:lnTo>
                    <a:pt x="864" y="300"/>
                  </a:lnTo>
                  <a:lnTo>
                    <a:pt x="864" y="294"/>
                  </a:lnTo>
                  <a:lnTo>
                    <a:pt x="864" y="288"/>
                  </a:lnTo>
                  <a:lnTo>
                    <a:pt x="864" y="282"/>
                  </a:lnTo>
                  <a:lnTo>
                    <a:pt x="870" y="282"/>
                  </a:lnTo>
                  <a:lnTo>
                    <a:pt x="870" y="288"/>
                  </a:lnTo>
                  <a:close/>
                  <a:moveTo>
                    <a:pt x="708" y="468"/>
                  </a:moveTo>
                  <a:lnTo>
                    <a:pt x="702" y="468"/>
                  </a:lnTo>
                  <a:lnTo>
                    <a:pt x="708" y="468"/>
                  </a:lnTo>
                  <a:lnTo>
                    <a:pt x="708" y="462"/>
                  </a:lnTo>
                  <a:lnTo>
                    <a:pt x="714" y="462"/>
                  </a:lnTo>
                  <a:lnTo>
                    <a:pt x="714" y="456"/>
                  </a:lnTo>
                  <a:lnTo>
                    <a:pt x="714" y="450"/>
                  </a:lnTo>
                  <a:lnTo>
                    <a:pt x="720" y="450"/>
                  </a:lnTo>
                  <a:lnTo>
                    <a:pt x="720" y="444"/>
                  </a:lnTo>
                  <a:lnTo>
                    <a:pt x="720" y="438"/>
                  </a:lnTo>
                  <a:lnTo>
                    <a:pt x="720" y="432"/>
                  </a:lnTo>
                  <a:lnTo>
                    <a:pt x="714" y="432"/>
                  </a:lnTo>
                  <a:lnTo>
                    <a:pt x="714" y="426"/>
                  </a:lnTo>
                  <a:lnTo>
                    <a:pt x="708" y="426"/>
                  </a:lnTo>
                  <a:lnTo>
                    <a:pt x="708" y="420"/>
                  </a:lnTo>
                  <a:lnTo>
                    <a:pt x="702" y="420"/>
                  </a:lnTo>
                  <a:lnTo>
                    <a:pt x="696" y="414"/>
                  </a:lnTo>
                  <a:lnTo>
                    <a:pt x="690" y="408"/>
                  </a:lnTo>
                  <a:lnTo>
                    <a:pt x="684" y="408"/>
                  </a:lnTo>
                  <a:lnTo>
                    <a:pt x="684" y="402"/>
                  </a:lnTo>
                  <a:lnTo>
                    <a:pt x="678" y="402"/>
                  </a:lnTo>
                  <a:lnTo>
                    <a:pt x="678" y="396"/>
                  </a:lnTo>
                  <a:lnTo>
                    <a:pt x="672" y="396"/>
                  </a:lnTo>
                  <a:lnTo>
                    <a:pt x="666" y="396"/>
                  </a:lnTo>
                  <a:lnTo>
                    <a:pt x="660" y="402"/>
                  </a:lnTo>
                  <a:lnTo>
                    <a:pt x="654" y="402"/>
                  </a:lnTo>
                  <a:lnTo>
                    <a:pt x="648" y="402"/>
                  </a:lnTo>
                  <a:lnTo>
                    <a:pt x="648" y="408"/>
                  </a:lnTo>
                  <a:lnTo>
                    <a:pt x="648" y="402"/>
                  </a:lnTo>
                  <a:lnTo>
                    <a:pt x="648" y="408"/>
                  </a:lnTo>
                  <a:lnTo>
                    <a:pt x="642" y="408"/>
                  </a:lnTo>
                  <a:lnTo>
                    <a:pt x="642" y="414"/>
                  </a:lnTo>
                  <a:lnTo>
                    <a:pt x="636" y="414"/>
                  </a:lnTo>
                  <a:lnTo>
                    <a:pt x="630" y="414"/>
                  </a:lnTo>
                  <a:lnTo>
                    <a:pt x="630" y="420"/>
                  </a:lnTo>
                  <a:lnTo>
                    <a:pt x="624" y="420"/>
                  </a:lnTo>
                  <a:lnTo>
                    <a:pt x="624" y="426"/>
                  </a:lnTo>
                  <a:lnTo>
                    <a:pt x="624" y="432"/>
                  </a:lnTo>
                  <a:lnTo>
                    <a:pt x="618" y="432"/>
                  </a:lnTo>
                  <a:lnTo>
                    <a:pt x="618" y="438"/>
                  </a:lnTo>
                  <a:lnTo>
                    <a:pt x="612" y="438"/>
                  </a:lnTo>
                  <a:lnTo>
                    <a:pt x="618" y="438"/>
                  </a:lnTo>
                  <a:lnTo>
                    <a:pt x="612" y="438"/>
                  </a:lnTo>
                  <a:lnTo>
                    <a:pt x="612" y="444"/>
                  </a:lnTo>
                  <a:lnTo>
                    <a:pt x="606" y="444"/>
                  </a:lnTo>
                  <a:lnTo>
                    <a:pt x="612" y="444"/>
                  </a:lnTo>
                  <a:lnTo>
                    <a:pt x="612" y="450"/>
                  </a:lnTo>
                  <a:lnTo>
                    <a:pt x="606" y="450"/>
                  </a:lnTo>
                  <a:lnTo>
                    <a:pt x="600" y="456"/>
                  </a:lnTo>
                  <a:lnTo>
                    <a:pt x="606" y="456"/>
                  </a:lnTo>
                  <a:lnTo>
                    <a:pt x="600" y="456"/>
                  </a:lnTo>
                  <a:lnTo>
                    <a:pt x="594" y="456"/>
                  </a:lnTo>
                  <a:lnTo>
                    <a:pt x="594" y="462"/>
                  </a:lnTo>
                  <a:lnTo>
                    <a:pt x="588" y="462"/>
                  </a:lnTo>
                  <a:lnTo>
                    <a:pt x="588" y="468"/>
                  </a:lnTo>
                  <a:lnTo>
                    <a:pt x="594" y="468"/>
                  </a:lnTo>
                  <a:lnTo>
                    <a:pt x="594" y="474"/>
                  </a:lnTo>
                  <a:lnTo>
                    <a:pt x="594" y="480"/>
                  </a:lnTo>
                  <a:lnTo>
                    <a:pt x="600" y="480"/>
                  </a:lnTo>
                  <a:lnTo>
                    <a:pt x="600" y="486"/>
                  </a:lnTo>
                  <a:lnTo>
                    <a:pt x="600" y="492"/>
                  </a:lnTo>
                  <a:lnTo>
                    <a:pt x="606" y="492"/>
                  </a:lnTo>
                  <a:lnTo>
                    <a:pt x="606" y="498"/>
                  </a:lnTo>
                  <a:lnTo>
                    <a:pt x="606" y="492"/>
                  </a:lnTo>
                  <a:lnTo>
                    <a:pt x="606" y="498"/>
                  </a:lnTo>
                  <a:lnTo>
                    <a:pt x="606" y="504"/>
                  </a:lnTo>
                  <a:lnTo>
                    <a:pt x="612" y="504"/>
                  </a:lnTo>
                  <a:lnTo>
                    <a:pt x="612" y="510"/>
                  </a:lnTo>
                  <a:lnTo>
                    <a:pt x="618" y="510"/>
                  </a:lnTo>
                  <a:lnTo>
                    <a:pt x="618" y="516"/>
                  </a:lnTo>
                  <a:lnTo>
                    <a:pt x="624" y="516"/>
                  </a:lnTo>
                  <a:lnTo>
                    <a:pt x="624" y="522"/>
                  </a:lnTo>
                  <a:lnTo>
                    <a:pt x="630" y="522"/>
                  </a:lnTo>
                  <a:lnTo>
                    <a:pt x="636" y="522"/>
                  </a:lnTo>
                  <a:lnTo>
                    <a:pt x="636" y="528"/>
                  </a:lnTo>
                  <a:lnTo>
                    <a:pt x="642" y="528"/>
                  </a:lnTo>
                  <a:lnTo>
                    <a:pt x="648" y="528"/>
                  </a:lnTo>
                  <a:lnTo>
                    <a:pt x="648" y="522"/>
                  </a:lnTo>
                  <a:lnTo>
                    <a:pt x="648" y="516"/>
                  </a:lnTo>
                  <a:lnTo>
                    <a:pt x="654" y="516"/>
                  </a:lnTo>
                  <a:lnTo>
                    <a:pt x="648" y="516"/>
                  </a:lnTo>
                  <a:lnTo>
                    <a:pt x="654" y="516"/>
                  </a:lnTo>
                  <a:lnTo>
                    <a:pt x="654" y="510"/>
                  </a:lnTo>
                  <a:lnTo>
                    <a:pt x="654" y="504"/>
                  </a:lnTo>
                  <a:lnTo>
                    <a:pt x="660" y="504"/>
                  </a:lnTo>
                  <a:lnTo>
                    <a:pt x="660" y="498"/>
                  </a:lnTo>
                  <a:lnTo>
                    <a:pt x="666" y="492"/>
                  </a:lnTo>
                  <a:lnTo>
                    <a:pt x="666" y="498"/>
                  </a:lnTo>
                  <a:lnTo>
                    <a:pt x="672" y="492"/>
                  </a:lnTo>
                  <a:lnTo>
                    <a:pt x="672" y="498"/>
                  </a:lnTo>
                  <a:lnTo>
                    <a:pt x="672" y="492"/>
                  </a:lnTo>
                  <a:lnTo>
                    <a:pt x="678" y="492"/>
                  </a:lnTo>
                  <a:lnTo>
                    <a:pt x="684" y="492"/>
                  </a:lnTo>
                  <a:lnTo>
                    <a:pt x="690" y="492"/>
                  </a:lnTo>
                  <a:lnTo>
                    <a:pt x="696" y="486"/>
                  </a:lnTo>
                  <a:lnTo>
                    <a:pt x="702" y="486"/>
                  </a:lnTo>
                  <a:lnTo>
                    <a:pt x="702" y="480"/>
                  </a:lnTo>
                  <a:lnTo>
                    <a:pt x="702" y="486"/>
                  </a:lnTo>
                  <a:lnTo>
                    <a:pt x="702" y="480"/>
                  </a:lnTo>
                  <a:lnTo>
                    <a:pt x="708" y="480"/>
                  </a:lnTo>
                  <a:lnTo>
                    <a:pt x="708" y="474"/>
                  </a:lnTo>
                  <a:lnTo>
                    <a:pt x="702" y="474"/>
                  </a:lnTo>
                  <a:lnTo>
                    <a:pt x="708" y="474"/>
                  </a:lnTo>
                  <a:lnTo>
                    <a:pt x="708" y="468"/>
                  </a:lnTo>
                  <a:close/>
                  <a:moveTo>
                    <a:pt x="102" y="732"/>
                  </a:moveTo>
                  <a:lnTo>
                    <a:pt x="108" y="732"/>
                  </a:lnTo>
                  <a:lnTo>
                    <a:pt x="108" y="738"/>
                  </a:lnTo>
                  <a:lnTo>
                    <a:pt x="102" y="738"/>
                  </a:lnTo>
                  <a:lnTo>
                    <a:pt x="102" y="732"/>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sp>
          <p:nvSpPr>
            <p:cNvPr id="427" name="Freeform 60"/>
            <p:cNvSpPr>
              <a:spLocks/>
            </p:cNvSpPr>
            <p:nvPr>
              <p:custDataLst>
                <p:tags r:id="rId55"/>
              </p:custDataLst>
            </p:nvPr>
          </p:nvSpPr>
          <p:spPr bwMode="gray">
            <a:xfrm>
              <a:off x="2858644" y="4912061"/>
              <a:ext cx="64186" cy="90612"/>
            </a:xfrm>
            <a:custGeom>
              <a:avLst/>
              <a:gdLst>
                <a:gd name="T0" fmla="*/ 21490 w 72"/>
                <a:gd name="T1" fmla="*/ 3956 h 102"/>
                <a:gd name="T2" fmla="*/ 21490 w 72"/>
                <a:gd name="T3" fmla="*/ 6924 h 102"/>
                <a:gd name="T4" fmla="*/ 24294 w 72"/>
                <a:gd name="T5" fmla="*/ 6924 h 102"/>
                <a:gd name="T6" fmla="*/ 24294 w 72"/>
                <a:gd name="T7" fmla="*/ 10880 h 102"/>
                <a:gd name="T8" fmla="*/ 24294 w 72"/>
                <a:gd name="T9" fmla="*/ 12858 h 102"/>
                <a:gd name="T10" fmla="*/ 24294 w 72"/>
                <a:gd name="T11" fmla="*/ 15825 h 102"/>
                <a:gd name="T12" fmla="*/ 24294 w 72"/>
                <a:gd name="T13" fmla="*/ 17803 h 102"/>
                <a:gd name="T14" fmla="*/ 24294 w 72"/>
                <a:gd name="T15" fmla="*/ 21760 h 102"/>
                <a:gd name="T16" fmla="*/ 24294 w 72"/>
                <a:gd name="T17" fmla="*/ 26705 h 102"/>
                <a:gd name="T18" fmla="*/ 24294 w 72"/>
                <a:gd name="T19" fmla="*/ 23738 h 102"/>
                <a:gd name="T20" fmla="*/ 21490 w 72"/>
                <a:gd name="T21" fmla="*/ 23738 h 102"/>
                <a:gd name="T22" fmla="*/ 21490 w 72"/>
                <a:gd name="T23" fmla="*/ 26705 h 102"/>
                <a:gd name="T24" fmla="*/ 21490 w 72"/>
                <a:gd name="T25" fmla="*/ 28684 h 102"/>
                <a:gd name="T26" fmla="*/ 21490 w 72"/>
                <a:gd name="T27" fmla="*/ 30662 h 102"/>
                <a:gd name="T28" fmla="*/ 21490 w 72"/>
                <a:gd name="T29" fmla="*/ 32640 h 102"/>
                <a:gd name="T30" fmla="*/ 21490 w 72"/>
                <a:gd name="T31" fmla="*/ 34618 h 102"/>
                <a:gd name="T32" fmla="*/ 21490 w 72"/>
                <a:gd name="T33" fmla="*/ 37585 h 102"/>
                <a:gd name="T34" fmla="*/ 20556 w 72"/>
                <a:gd name="T35" fmla="*/ 37585 h 102"/>
                <a:gd name="T36" fmla="*/ 17753 w 72"/>
                <a:gd name="T37" fmla="*/ 37585 h 102"/>
                <a:gd name="T38" fmla="*/ 15884 w 72"/>
                <a:gd name="T39" fmla="*/ 37585 h 102"/>
                <a:gd name="T40" fmla="*/ 14016 w 72"/>
                <a:gd name="T41" fmla="*/ 37585 h 102"/>
                <a:gd name="T42" fmla="*/ 12147 w 72"/>
                <a:gd name="T43" fmla="*/ 37585 h 102"/>
                <a:gd name="T44" fmla="*/ 12147 w 72"/>
                <a:gd name="T45" fmla="*/ 34618 h 102"/>
                <a:gd name="T46" fmla="*/ 10278 w 72"/>
                <a:gd name="T47" fmla="*/ 34618 h 102"/>
                <a:gd name="T48" fmla="*/ 7475 w 72"/>
                <a:gd name="T49" fmla="*/ 34618 h 102"/>
                <a:gd name="T50" fmla="*/ 6540 w 72"/>
                <a:gd name="T51" fmla="*/ 32640 h 102"/>
                <a:gd name="T52" fmla="*/ 3738 w 72"/>
                <a:gd name="T53" fmla="*/ 30662 h 102"/>
                <a:gd name="T54" fmla="*/ 1868 w 72"/>
                <a:gd name="T55" fmla="*/ 28684 h 102"/>
                <a:gd name="T56" fmla="*/ 3738 w 72"/>
                <a:gd name="T57" fmla="*/ 28684 h 102"/>
                <a:gd name="T58" fmla="*/ 3738 w 72"/>
                <a:gd name="T59" fmla="*/ 26705 h 102"/>
                <a:gd name="T60" fmla="*/ 1868 w 72"/>
                <a:gd name="T61" fmla="*/ 26705 h 102"/>
                <a:gd name="T62" fmla="*/ 1868 w 72"/>
                <a:gd name="T63" fmla="*/ 23738 h 102"/>
                <a:gd name="T64" fmla="*/ 0 w 72"/>
                <a:gd name="T65" fmla="*/ 23738 h 102"/>
                <a:gd name="T66" fmla="*/ 0 w 72"/>
                <a:gd name="T67" fmla="*/ 26705 h 102"/>
                <a:gd name="T68" fmla="*/ 0 w 72"/>
                <a:gd name="T69" fmla="*/ 23738 h 102"/>
                <a:gd name="T70" fmla="*/ 0 w 72"/>
                <a:gd name="T71" fmla="*/ 21760 h 102"/>
                <a:gd name="T72" fmla="*/ 0 w 72"/>
                <a:gd name="T73" fmla="*/ 19781 h 102"/>
                <a:gd name="T74" fmla="*/ 0 w 72"/>
                <a:gd name="T75" fmla="*/ 15825 h 102"/>
                <a:gd name="T76" fmla="*/ 1868 w 72"/>
                <a:gd name="T77" fmla="*/ 15825 h 102"/>
                <a:gd name="T78" fmla="*/ 1868 w 72"/>
                <a:gd name="T79" fmla="*/ 12858 h 102"/>
                <a:gd name="T80" fmla="*/ 3738 w 72"/>
                <a:gd name="T81" fmla="*/ 10880 h 102"/>
                <a:gd name="T82" fmla="*/ 3738 w 72"/>
                <a:gd name="T83" fmla="*/ 8902 h 102"/>
                <a:gd name="T84" fmla="*/ 3738 w 72"/>
                <a:gd name="T85" fmla="*/ 6924 h 102"/>
                <a:gd name="T86" fmla="*/ 6540 w 72"/>
                <a:gd name="T87" fmla="*/ 6924 h 102"/>
                <a:gd name="T88" fmla="*/ 6540 w 72"/>
                <a:gd name="T89" fmla="*/ 3956 h 102"/>
                <a:gd name="T90" fmla="*/ 7475 w 72"/>
                <a:gd name="T91" fmla="*/ 1978 h 102"/>
                <a:gd name="T92" fmla="*/ 10278 w 72"/>
                <a:gd name="T93" fmla="*/ 0 h 102"/>
                <a:gd name="T94" fmla="*/ 12147 w 72"/>
                <a:gd name="T95" fmla="*/ 0 h 102"/>
                <a:gd name="T96" fmla="*/ 12147 w 72"/>
                <a:gd name="T97" fmla="*/ 1978 h 102"/>
                <a:gd name="T98" fmla="*/ 14016 w 72"/>
                <a:gd name="T99" fmla="*/ 1978 h 102"/>
                <a:gd name="T100" fmla="*/ 15884 w 72"/>
                <a:gd name="T101" fmla="*/ 1978 h 102"/>
                <a:gd name="T102" fmla="*/ 15884 w 72"/>
                <a:gd name="T103" fmla="*/ 3956 h 102"/>
                <a:gd name="T104" fmla="*/ 17753 w 72"/>
                <a:gd name="T105" fmla="*/ 3956 h 102"/>
                <a:gd name="T106" fmla="*/ 17753 w 72"/>
                <a:gd name="T107" fmla="*/ 6924 h 102"/>
                <a:gd name="T108" fmla="*/ 20556 w 72"/>
                <a:gd name="T109" fmla="*/ 6924 h 102"/>
                <a:gd name="T110" fmla="*/ 21490 w 72"/>
                <a:gd name="T111" fmla="*/ 3956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 h="102">
                  <a:moveTo>
                    <a:pt x="66" y="12"/>
                  </a:moveTo>
                  <a:lnTo>
                    <a:pt x="66" y="18"/>
                  </a:lnTo>
                  <a:lnTo>
                    <a:pt x="72" y="18"/>
                  </a:lnTo>
                  <a:lnTo>
                    <a:pt x="72" y="30"/>
                  </a:lnTo>
                  <a:lnTo>
                    <a:pt x="72" y="36"/>
                  </a:lnTo>
                  <a:lnTo>
                    <a:pt x="72" y="42"/>
                  </a:lnTo>
                  <a:lnTo>
                    <a:pt x="72" y="48"/>
                  </a:lnTo>
                  <a:lnTo>
                    <a:pt x="72" y="60"/>
                  </a:lnTo>
                  <a:lnTo>
                    <a:pt x="72" y="72"/>
                  </a:lnTo>
                  <a:lnTo>
                    <a:pt x="72" y="66"/>
                  </a:lnTo>
                  <a:lnTo>
                    <a:pt x="66" y="66"/>
                  </a:lnTo>
                  <a:lnTo>
                    <a:pt x="66" y="72"/>
                  </a:lnTo>
                  <a:lnTo>
                    <a:pt x="66" y="78"/>
                  </a:lnTo>
                  <a:lnTo>
                    <a:pt x="66" y="84"/>
                  </a:lnTo>
                  <a:lnTo>
                    <a:pt x="66" y="90"/>
                  </a:lnTo>
                  <a:lnTo>
                    <a:pt x="66" y="96"/>
                  </a:lnTo>
                  <a:lnTo>
                    <a:pt x="66" y="102"/>
                  </a:lnTo>
                  <a:lnTo>
                    <a:pt x="60" y="102"/>
                  </a:lnTo>
                  <a:lnTo>
                    <a:pt x="54" y="102"/>
                  </a:lnTo>
                  <a:lnTo>
                    <a:pt x="48" y="102"/>
                  </a:lnTo>
                  <a:lnTo>
                    <a:pt x="42" y="102"/>
                  </a:lnTo>
                  <a:lnTo>
                    <a:pt x="36" y="102"/>
                  </a:lnTo>
                  <a:lnTo>
                    <a:pt x="36" y="96"/>
                  </a:lnTo>
                  <a:lnTo>
                    <a:pt x="30" y="96"/>
                  </a:lnTo>
                  <a:lnTo>
                    <a:pt x="24" y="96"/>
                  </a:lnTo>
                  <a:lnTo>
                    <a:pt x="18" y="90"/>
                  </a:lnTo>
                  <a:lnTo>
                    <a:pt x="12" y="84"/>
                  </a:lnTo>
                  <a:lnTo>
                    <a:pt x="6" y="78"/>
                  </a:lnTo>
                  <a:lnTo>
                    <a:pt x="12" y="78"/>
                  </a:lnTo>
                  <a:lnTo>
                    <a:pt x="12" y="72"/>
                  </a:lnTo>
                  <a:lnTo>
                    <a:pt x="6" y="72"/>
                  </a:lnTo>
                  <a:lnTo>
                    <a:pt x="6" y="66"/>
                  </a:lnTo>
                  <a:lnTo>
                    <a:pt x="0" y="66"/>
                  </a:lnTo>
                  <a:lnTo>
                    <a:pt x="0" y="72"/>
                  </a:lnTo>
                  <a:lnTo>
                    <a:pt x="0" y="66"/>
                  </a:lnTo>
                  <a:lnTo>
                    <a:pt x="0" y="60"/>
                  </a:lnTo>
                  <a:lnTo>
                    <a:pt x="0" y="54"/>
                  </a:lnTo>
                  <a:lnTo>
                    <a:pt x="0" y="42"/>
                  </a:lnTo>
                  <a:lnTo>
                    <a:pt x="6" y="42"/>
                  </a:lnTo>
                  <a:lnTo>
                    <a:pt x="6" y="36"/>
                  </a:lnTo>
                  <a:lnTo>
                    <a:pt x="12" y="30"/>
                  </a:lnTo>
                  <a:lnTo>
                    <a:pt x="12" y="24"/>
                  </a:lnTo>
                  <a:lnTo>
                    <a:pt x="12" y="18"/>
                  </a:lnTo>
                  <a:lnTo>
                    <a:pt x="18" y="18"/>
                  </a:lnTo>
                  <a:lnTo>
                    <a:pt x="18" y="12"/>
                  </a:lnTo>
                  <a:lnTo>
                    <a:pt x="24" y="6"/>
                  </a:lnTo>
                  <a:lnTo>
                    <a:pt x="30" y="0"/>
                  </a:lnTo>
                  <a:lnTo>
                    <a:pt x="36" y="0"/>
                  </a:lnTo>
                  <a:lnTo>
                    <a:pt x="36" y="6"/>
                  </a:lnTo>
                  <a:lnTo>
                    <a:pt x="42" y="6"/>
                  </a:lnTo>
                  <a:lnTo>
                    <a:pt x="48" y="6"/>
                  </a:lnTo>
                  <a:lnTo>
                    <a:pt x="48" y="12"/>
                  </a:lnTo>
                  <a:lnTo>
                    <a:pt x="54" y="12"/>
                  </a:lnTo>
                  <a:lnTo>
                    <a:pt x="54" y="18"/>
                  </a:lnTo>
                  <a:lnTo>
                    <a:pt x="60" y="18"/>
                  </a:lnTo>
                  <a:lnTo>
                    <a:pt x="66" y="12"/>
                  </a:lnTo>
                  <a:close/>
                </a:path>
              </a:pathLst>
            </a:custGeom>
            <a:solidFill>
              <a:schemeClr val="accent2"/>
            </a:solidFill>
            <a:ln w="9525" cap="flat" cmpd="sng">
              <a:solidFill>
                <a:schemeClr val="bg1"/>
              </a:solidFill>
              <a:prstDash val="solid"/>
              <a:round/>
              <a:headEnd type="none" w="med" len="med"/>
              <a:tailEnd type="none" w="med" len="med"/>
            </a:ln>
            <a:effectLst/>
            <a:extLst/>
          </p:spPr>
          <p:txBody>
            <a:bodyPr>
              <a:noAutofit/>
            </a:bodyPr>
            <a:lstStyle/>
            <a:p>
              <a:endParaRPr lang="en-CA" sz="800" dirty="0"/>
            </a:p>
          </p:txBody>
        </p:sp>
        <p:sp>
          <p:nvSpPr>
            <p:cNvPr id="428" name="Freeform 61"/>
            <p:cNvSpPr>
              <a:spLocks noEditPoints="1"/>
            </p:cNvSpPr>
            <p:nvPr>
              <p:custDataLst>
                <p:tags r:id="rId56"/>
              </p:custDataLst>
            </p:nvPr>
          </p:nvSpPr>
          <p:spPr bwMode="gray">
            <a:xfrm>
              <a:off x="1888858" y="4454529"/>
              <a:ext cx="685036" cy="635399"/>
            </a:xfrm>
            <a:custGeom>
              <a:avLst/>
              <a:gdLst>
                <a:gd name="T0" fmla="*/ 165322 w 750"/>
                <a:gd name="T1" fmla="*/ 179743 h 726"/>
                <a:gd name="T2" fmla="*/ 165322 w 750"/>
                <a:gd name="T3" fmla="*/ 201118 h 726"/>
                <a:gd name="T4" fmla="*/ 165322 w 750"/>
                <a:gd name="T5" fmla="*/ 222493 h 726"/>
                <a:gd name="T6" fmla="*/ 165322 w 750"/>
                <a:gd name="T7" fmla="*/ 245811 h 726"/>
                <a:gd name="T8" fmla="*/ 152679 w 750"/>
                <a:gd name="T9" fmla="*/ 252612 h 726"/>
                <a:gd name="T10" fmla="*/ 145872 w 750"/>
                <a:gd name="T11" fmla="*/ 259413 h 726"/>
                <a:gd name="T12" fmla="*/ 131285 w 750"/>
                <a:gd name="T13" fmla="*/ 256498 h 726"/>
                <a:gd name="T14" fmla="*/ 116698 w 750"/>
                <a:gd name="T15" fmla="*/ 254556 h 726"/>
                <a:gd name="T16" fmla="*/ 111835 w 750"/>
                <a:gd name="T17" fmla="*/ 244839 h 726"/>
                <a:gd name="T18" fmla="*/ 105028 w 750"/>
                <a:gd name="T19" fmla="*/ 239982 h 726"/>
                <a:gd name="T20" fmla="*/ 101138 w 750"/>
                <a:gd name="T21" fmla="*/ 241925 h 726"/>
                <a:gd name="T22" fmla="*/ 96276 w 750"/>
                <a:gd name="T23" fmla="*/ 248726 h 726"/>
                <a:gd name="T24" fmla="*/ 83633 w 750"/>
                <a:gd name="T25" fmla="*/ 241925 h 726"/>
                <a:gd name="T26" fmla="*/ 76826 w 750"/>
                <a:gd name="T27" fmla="*/ 231237 h 726"/>
                <a:gd name="T28" fmla="*/ 70991 w 750"/>
                <a:gd name="T29" fmla="*/ 220550 h 726"/>
                <a:gd name="T30" fmla="*/ 67101 w 750"/>
                <a:gd name="T31" fmla="*/ 209863 h 726"/>
                <a:gd name="T32" fmla="*/ 68074 w 750"/>
                <a:gd name="T33" fmla="*/ 203062 h 726"/>
                <a:gd name="T34" fmla="*/ 62238 w 750"/>
                <a:gd name="T35" fmla="*/ 190431 h 726"/>
                <a:gd name="T36" fmla="*/ 62238 w 750"/>
                <a:gd name="T37" fmla="*/ 175857 h 726"/>
                <a:gd name="T38" fmla="*/ 57377 w 750"/>
                <a:gd name="T39" fmla="*/ 160311 h 726"/>
                <a:gd name="T40" fmla="*/ 53487 w 750"/>
                <a:gd name="T41" fmla="*/ 150596 h 726"/>
                <a:gd name="T42" fmla="*/ 53487 w 750"/>
                <a:gd name="T43" fmla="*/ 135050 h 726"/>
                <a:gd name="T44" fmla="*/ 53487 w 750"/>
                <a:gd name="T45" fmla="*/ 131164 h 726"/>
                <a:gd name="T46" fmla="*/ 56404 w 750"/>
                <a:gd name="T47" fmla="*/ 120476 h 726"/>
                <a:gd name="T48" fmla="*/ 49597 w 750"/>
                <a:gd name="T49" fmla="*/ 106874 h 726"/>
                <a:gd name="T50" fmla="*/ 42789 w 750"/>
                <a:gd name="T51" fmla="*/ 96187 h 726"/>
                <a:gd name="T52" fmla="*/ 36954 w 750"/>
                <a:gd name="T53" fmla="*/ 85500 h 726"/>
                <a:gd name="T54" fmla="*/ 30147 w 750"/>
                <a:gd name="T55" fmla="*/ 74812 h 726"/>
                <a:gd name="T56" fmla="*/ 26257 w 750"/>
                <a:gd name="T57" fmla="*/ 62181 h 726"/>
                <a:gd name="T58" fmla="*/ 19449 w 750"/>
                <a:gd name="T59" fmla="*/ 46636 h 726"/>
                <a:gd name="T60" fmla="*/ 10697 w 750"/>
                <a:gd name="T61" fmla="*/ 36920 h 726"/>
                <a:gd name="T62" fmla="*/ 3890 w 750"/>
                <a:gd name="T63" fmla="*/ 26233 h 726"/>
                <a:gd name="T64" fmla="*/ 0 w 750"/>
                <a:gd name="T65" fmla="*/ 8745 h 726"/>
                <a:gd name="T66" fmla="*/ 6808 w 750"/>
                <a:gd name="T67" fmla="*/ 1943 h 726"/>
                <a:gd name="T68" fmla="*/ 14587 w 750"/>
                <a:gd name="T69" fmla="*/ 6801 h 726"/>
                <a:gd name="T70" fmla="*/ 28202 w 750"/>
                <a:gd name="T71" fmla="*/ 0 h 726"/>
                <a:gd name="T72" fmla="*/ 36954 w 750"/>
                <a:gd name="T73" fmla="*/ 3886 h 726"/>
                <a:gd name="T74" fmla="*/ 49597 w 750"/>
                <a:gd name="T75" fmla="*/ 8745 h 726"/>
                <a:gd name="T76" fmla="*/ 109890 w 750"/>
                <a:gd name="T77" fmla="*/ 8745 h 726"/>
                <a:gd name="T78" fmla="*/ 126423 w 750"/>
                <a:gd name="T79" fmla="*/ 8745 h 726"/>
                <a:gd name="T80" fmla="*/ 137120 w 750"/>
                <a:gd name="T81" fmla="*/ 14574 h 726"/>
                <a:gd name="T82" fmla="*/ 152679 w 750"/>
                <a:gd name="T83" fmla="*/ 17488 h 726"/>
                <a:gd name="T84" fmla="*/ 163377 w 750"/>
                <a:gd name="T85" fmla="*/ 19432 h 726"/>
                <a:gd name="T86" fmla="*/ 172130 w 750"/>
                <a:gd name="T87" fmla="*/ 19432 h 726"/>
                <a:gd name="T88" fmla="*/ 180881 w 750"/>
                <a:gd name="T89" fmla="*/ 21375 h 726"/>
                <a:gd name="T90" fmla="*/ 193524 w 750"/>
                <a:gd name="T91" fmla="*/ 21375 h 726"/>
                <a:gd name="T92" fmla="*/ 253817 w 750"/>
                <a:gd name="T93" fmla="*/ 10687 h 726"/>
                <a:gd name="T94" fmla="*/ 266460 w 750"/>
                <a:gd name="T95" fmla="*/ 12631 h 726"/>
                <a:gd name="T96" fmla="*/ 266460 w 750"/>
                <a:gd name="T97" fmla="*/ 17488 h 726"/>
                <a:gd name="T98" fmla="*/ 259653 w 750"/>
                <a:gd name="T99" fmla="*/ 19432 h 726"/>
                <a:gd name="T100" fmla="*/ 248955 w 750"/>
                <a:gd name="T101" fmla="*/ 21375 h 726"/>
                <a:gd name="T102" fmla="*/ 241176 w 750"/>
                <a:gd name="T103" fmla="*/ 30119 h 726"/>
                <a:gd name="T104" fmla="*/ 231450 w 750"/>
                <a:gd name="T105" fmla="*/ 23318 h 726"/>
                <a:gd name="T106" fmla="*/ 184771 w 750"/>
                <a:gd name="T107" fmla="*/ 27205 h 726"/>
                <a:gd name="T108" fmla="*/ 165322 w 750"/>
                <a:gd name="T109" fmla="*/ 111732 h 726"/>
                <a:gd name="T110" fmla="*/ 165322 w 750"/>
                <a:gd name="T111" fmla="*/ 128249 h 726"/>
                <a:gd name="T112" fmla="*/ 165322 w 750"/>
                <a:gd name="T113" fmla="*/ 145737 h 726"/>
                <a:gd name="T114" fmla="*/ 165322 w 750"/>
                <a:gd name="T115" fmla="*/ 162255 h 726"/>
                <a:gd name="T116" fmla="*/ 65156 w 750"/>
                <a:gd name="T117" fmla="*/ 20111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50" h="726">
                  <a:moveTo>
                    <a:pt x="462" y="462"/>
                  </a:moveTo>
                  <a:lnTo>
                    <a:pt x="462" y="468"/>
                  </a:lnTo>
                  <a:lnTo>
                    <a:pt x="462" y="474"/>
                  </a:lnTo>
                  <a:lnTo>
                    <a:pt x="462" y="480"/>
                  </a:lnTo>
                  <a:lnTo>
                    <a:pt x="462" y="486"/>
                  </a:lnTo>
                  <a:lnTo>
                    <a:pt x="462" y="492"/>
                  </a:lnTo>
                  <a:lnTo>
                    <a:pt x="462" y="498"/>
                  </a:lnTo>
                  <a:lnTo>
                    <a:pt x="462" y="504"/>
                  </a:lnTo>
                  <a:lnTo>
                    <a:pt x="462" y="510"/>
                  </a:lnTo>
                  <a:lnTo>
                    <a:pt x="462" y="516"/>
                  </a:lnTo>
                  <a:lnTo>
                    <a:pt x="462" y="522"/>
                  </a:lnTo>
                  <a:lnTo>
                    <a:pt x="462" y="534"/>
                  </a:lnTo>
                  <a:lnTo>
                    <a:pt x="462" y="540"/>
                  </a:lnTo>
                  <a:lnTo>
                    <a:pt x="462" y="546"/>
                  </a:lnTo>
                  <a:lnTo>
                    <a:pt x="462" y="558"/>
                  </a:lnTo>
                  <a:lnTo>
                    <a:pt x="462" y="564"/>
                  </a:lnTo>
                  <a:lnTo>
                    <a:pt x="462" y="570"/>
                  </a:lnTo>
                  <a:lnTo>
                    <a:pt x="462" y="582"/>
                  </a:lnTo>
                  <a:lnTo>
                    <a:pt x="462" y="588"/>
                  </a:lnTo>
                  <a:lnTo>
                    <a:pt x="462" y="594"/>
                  </a:lnTo>
                  <a:lnTo>
                    <a:pt x="462" y="600"/>
                  </a:lnTo>
                  <a:lnTo>
                    <a:pt x="462" y="612"/>
                  </a:lnTo>
                  <a:lnTo>
                    <a:pt x="462" y="618"/>
                  </a:lnTo>
                  <a:lnTo>
                    <a:pt x="462" y="624"/>
                  </a:lnTo>
                  <a:lnTo>
                    <a:pt x="462" y="636"/>
                  </a:lnTo>
                  <a:lnTo>
                    <a:pt x="462" y="642"/>
                  </a:lnTo>
                  <a:lnTo>
                    <a:pt x="462" y="648"/>
                  </a:lnTo>
                  <a:lnTo>
                    <a:pt x="462" y="660"/>
                  </a:lnTo>
                  <a:lnTo>
                    <a:pt x="462" y="666"/>
                  </a:lnTo>
                  <a:lnTo>
                    <a:pt x="462" y="672"/>
                  </a:lnTo>
                  <a:lnTo>
                    <a:pt x="462" y="684"/>
                  </a:lnTo>
                  <a:lnTo>
                    <a:pt x="462" y="690"/>
                  </a:lnTo>
                  <a:lnTo>
                    <a:pt x="456" y="690"/>
                  </a:lnTo>
                  <a:lnTo>
                    <a:pt x="450" y="690"/>
                  </a:lnTo>
                  <a:lnTo>
                    <a:pt x="450" y="696"/>
                  </a:lnTo>
                  <a:lnTo>
                    <a:pt x="444" y="696"/>
                  </a:lnTo>
                  <a:lnTo>
                    <a:pt x="438" y="696"/>
                  </a:lnTo>
                  <a:lnTo>
                    <a:pt x="432" y="702"/>
                  </a:lnTo>
                  <a:lnTo>
                    <a:pt x="432" y="708"/>
                  </a:lnTo>
                  <a:lnTo>
                    <a:pt x="426" y="708"/>
                  </a:lnTo>
                  <a:lnTo>
                    <a:pt x="426" y="714"/>
                  </a:lnTo>
                  <a:lnTo>
                    <a:pt x="420" y="714"/>
                  </a:lnTo>
                  <a:lnTo>
                    <a:pt x="420" y="708"/>
                  </a:lnTo>
                  <a:lnTo>
                    <a:pt x="420" y="714"/>
                  </a:lnTo>
                  <a:lnTo>
                    <a:pt x="420" y="720"/>
                  </a:lnTo>
                  <a:lnTo>
                    <a:pt x="414" y="720"/>
                  </a:lnTo>
                  <a:lnTo>
                    <a:pt x="414" y="726"/>
                  </a:lnTo>
                  <a:lnTo>
                    <a:pt x="408" y="726"/>
                  </a:lnTo>
                  <a:lnTo>
                    <a:pt x="402" y="726"/>
                  </a:lnTo>
                  <a:lnTo>
                    <a:pt x="402" y="720"/>
                  </a:lnTo>
                  <a:lnTo>
                    <a:pt x="396" y="720"/>
                  </a:lnTo>
                  <a:lnTo>
                    <a:pt x="390" y="720"/>
                  </a:lnTo>
                  <a:lnTo>
                    <a:pt x="384" y="720"/>
                  </a:lnTo>
                  <a:lnTo>
                    <a:pt x="378" y="720"/>
                  </a:lnTo>
                  <a:lnTo>
                    <a:pt x="372" y="720"/>
                  </a:lnTo>
                  <a:lnTo>
                    <a:pt x="366" y="720"/>
                  </a:lnTo>
                  <a:lnTo>
                    <a:pt x="360" y="720"/>
                  </a:lnTo>
                  <a:lnTo>
                    <a:pt x="354" y="720"/>
                  </a:lnTo>
                  <a:lnTo>
                    <a:pt x="348" y="720"/>
                  </a:lnTo>
                  <a:lnTo>
                    <a:pt x="348" y="714"/>
                  </a:lnTo>
                  <a:lnTo>
                    <a:pt x="342" y="714"/>
                  </a:lnTo>
                  <a:lnTo>
                    <a:pt x="336" y="714"/>
                  </a:lnTo>
                  <a:lnTo>
                    <a:pt x="330" y="714"/>
                  </a:lnTo>
                  <a:lnTo>
                    <a:pt x="324" y="714"/>
                  </a:lnTo>
                  <a:lnTo>
                    <a:pt x="324" y="708"/>
                  </a:lnTo>
                  <a:lnTo>
                    <a:pt x="318" y="708"/>
                  </a:lnTo>
                  <a:lnTo>
                    <a:pt x="318" y="702"/>
                  </a:lnTo>
                  <a:lnTo>
                    <a:pt x="312" y="702"/>
                  </a:lnTo>
                  <a:lnTo>
                    <a:pt x="312" y="696"/>
                  </a:lnTo>
                  <a:lnTo>
                    <a:pt x="312" y="690"/>
                  </a:lnTo>
                  <a:lnTo>
                    <a:pt x="318" y="690"/>
                  </a:lnTo>
                  <a:lnTo>
                    <a:pt x="312" y="684"/>
                  </a:lnTo>
                  <a:lnTo>
                    <a:pt x="312" y="678"/>
                  </a:lnTo>
                  <a:lnTo>
                    <a:pt x="306" y="678"/>
                  </a:lnTo>
                  <a:lnTo>
                    <a:pt x="300" y="678"/>
                  </a:lnTo>
                  <a:lnTo>
                    <a:pt x="306" y="672"/>
                  </a:lnTo>
                  <a:lnTo>
                    <a:pt x="300" y="672"/>
                  </a:lnTo>
                  <a:lnTo>
                    <a:pt x="300" y="666"/>
                  </a:lnTo>
                  <a:lnTo>
                    <a:pt x="294" y="666"/>
                  </a:lnTo>
                  <a:lnTo>
                    <a:pt x="294" y="672"/>
                  </a:lnTo>
                  <a:lnTo>
                    <a:pt x="294" y="666"/>
                  </a:lnTo>
                  <a:lnTo>
                    <a:pt x="288" y="666"/>
                  </a:lnTo>
                  <a:lnTo>
                    <a:pt x="288" y="672"/>
                  </a:lnTo>
                  <a:lnTo>
                    <a:pt x="288" y="666"/>
                  </a:lnTo>
                  <a:lnTo>
                    <a:pt x="288" y="672"/>
                  </a:lnTo>
                  <a:lnTo>
                    <a:pt x="288" y="678"/>
                  </a:lnTo>
                  <a:lnTo>
                    <a:pt x="282" y="672"/>
                  </a:lnTo>
                  <a:lnTo>
                    <a:pt x="282" y="678"/>
                  </a:lnTo>
                  <a:lnTo>
                    <a:pt x="282" y="684"/>
                  </a:lnTo>
                  <a:lnTo>
                    <a:pt x="282" y="678"/>
                  </a:lnTo>
                  <a:lnTo>
                    <a:pt x="282" y="684"/>
                  </a:lnTo>
                  <a:lnTo>
                    <a:pt x="276" y="684"/>
                  </a:lnTo>
                  <a:lnTo>
                    <a:pt x="282" y="684"/>
                  </a:lnTo>
                  <a:lnTo>
                    <a:pt x="282" y="690"/>
                  </a:lnTo>
                  <a:lnTo>
                    <a:pt x="276" y="696"/>
                  </a:lnTo>
                  <a:lnTo>
                    <a:pt x="270" y="696"/>
                  </a:lnTo>
                  <a:lnTo>
                    <a:pt x="270" y="702"/>
                  </a:lnTo>
                  <a:lnTo>
                    <a:pt x="264" y="702"/>
                  </a:lnTo>
                  <a:lnTo>
                    <a:pt x="258" y="702"/>
                  </a:lnTo>
                  <a:lnTo>
                    <a:pt x="252" y="696"/>
                  </a:lnTo>
                  <a:lnTo>
                    <a:pt x="246" y="690"/>
                  </a:lnTo>
                  <a:lnTo>
                    <a:pt x="240" y="684"/>
                  </a:lnTo>
                  <a:lnTo>
                    <a:pt x="240" y="678"/>
                  </a:lnTo>
                  <a:lnTo>
                    <a:pt x="234" y="678"/>
                  </a:lnTo>
                  <a:lnTo>
                    <a:pt x="234" y="672"/>
                  </a:lnTo>
                  <a:lnTo>
                    <a:pt x="228" y="672"/>
                  </a:lnTo>
                  <a:lnTo>
                    <a:pt x="228" y="666"/>
                  </a:lnTo>
                  <a:lnTo>
                    <a:pt x="222" y="666"/>
                  </a:lnTo>
                  <a:lnTo>
                    <a:pt x="222" y="660"/>
                  </a:lnTo>
                  <a:lnTo>
                    <a:pt x="216" y="660"/>
                  </a:lnTo>
                  <a:lnTo>
                    <a:pt x="216" y="654"/>
                  </a:lnTo>
                  <a:lnTo>
                    <a:pt x="216" y="648"/>
                  </a:lnTo>
                  <a:lnTo>
                    <a:pt x="210" y="648"/>
                  </a:lnTo>
                  <a:lnTo>
                    <a:pt x="210" y="642"/>
                  </a:lnTo>
                  <a:lnTo>
                    <a:pt x="210" y="636"/>
                  </a:lnTo>
                  <a:lnTo>
                    <a:pt x="204" y="636"/>
                  </a:lnTo>
                  <a:lnTo>
                    <a:pt x="204" y="630"/>
                  </a:lnTo>
                  <a:lnTo>
                    <a:pt x="204" y="624"/>
                  </a:lnTo>
                  <a:lnTo>
                    <a:pt x="198" y="624"/>
                  </a:lnTo>
                  <a:lnTo>
                    <a:pt x="198" y="618"/>
                  </a:lnTo>
                  <a:lnTo>
                    <a:pt x="198" y="612"/>
                  </a:lnTo>
                  <a:lnTo>
                    <a:pt x="198" y="606"/>
                  </a:lnTo>
                  <a:lnTo>
                    <a:pt x="192" y="606"/>
                  </a:lnTo>
                  <a:lnTo>
                    <a:pt x="192" y="600"/>
                  </a:lnTo>
                  <a:lnTo>
                    <a:pt x="192" y="594"/>
                  </a:lnTo>
                  <a:lnTo>
                    <a:pt x="192" y="600"/>
                  </a:lnTo>
                  <a:lnTo>
                    <a:pt x="192" y="594"/>
                  </a:lnTo>
                  <a:lnTo>
                    <a:pt x="186" y="588"/>
                  </a:lnTo>
                  <a:lnTo>
                    <a:pt x="186" y="582"/>
                  </a:lnTo>
                  <a:lnTo>
                    <a:pt x="186" y="576"/>
                  </a:lnTo>
                  <a:lnTo>
                    <a:pt x="186" y="582"/>
                  </a:lnTo>
                  <a:lnTo>
                    <a:pt x="186" y="576"/>
                  </a:lnTo>
                  <a:lnTo>
                    <a:pt x="186" y="582"/>
                  </a:lnTo>
                  <a:lnTo>
                    <a:pt x="192" y="582"/>
                  </a:lnTo>
                  <a:lnTo>
                    <a:pt x="192" y="576"/>
                  </a:lnTo>
                  <a:lnTo>
                    <a:pt x="192" y="570"/>
                  </a:lnTo>
                  <a:lnTo>
                    <a:pt x="186" y="570"/>
                  </a:lnTo>
                  <a:lnTo>
                    <a:pt x="186" y="564"/>
                  </a:lnTo>
                  <a:lnTo>
                    <a:pt x="180" y="564"/>
                  </a:lnTo>
                  <a:lnTo>
                    <a:pt x="180" y="558"/>
                  </a:lnTo>
                  <a:lnTo>
                    <a:pt x="180" y="552"/>
                  </a:lnTo>
                  <a:lnTo>
                    <a:pt x="180" y="546"/>
                  </a:lnTo>
                  <a:lnTo>
                    <a:pt x="180" y="540"/>
                  </a:lnTo>
                  <a:lnTo>
                    <a:pt x="174" y="534"/>
                  </a:lnTo>
                  <a:lnTo>
                    <a:pt x="174" y="528"/>
                  </a:lnTo>
                  <a:lnTo>
                    <a:pt x="174" y="522"/>
                  </a:lnTo>
                  <a:lnTo>
                    <a:pt x="174" y="516"/>
                  </a:lnTo>
                  <a:lnTo>
                    <a:pt x="174" y="510"/>
                  </a:lnTo>
                  <a:lnTo>
                    <a:pt x="174" y="504"/>
                  </a:lnTo>
                  <a:lnTo>
                    <a:pt x="168" y="498"/>
                  </a:lnTo>
                  <a:lnTo>
                    <a:pt x="168" y="492"/>
                  </a:lnTo>
                  <a:lnTo>
                    <a:pt x="174" y="492"/>
                  </a:lnTo>
                  <a:lnTo>
                    <a:pt x="174" y="486"/>
                  </a:lnTo>
                  <a:lnTo>
                    <a:pt x="174" y="480"/>
                  </a:lnTo>
                  <a:lnTo>
                    <a:pt x="174" y="474"/>
                  </a:lnTo>
                  <a:lnTo>
                    <a:pt x="168" y="474"/>
                  </a:lnTo>
                  <a:lnTo>
                    <a:pt x="168" y="468"/>
                  </a:lnTo>
                  <a:lnTo>
                    <a:pt x="168" y="462"/>
                  </a:lnTo>
                  <a:lnTo>
                    <a:pt x="162" y="456"/>
                  </a:lnTo>
                  <a:lnTo>
                    <a:pt x="162" y="450"/>
                  </a:lnTo>
                  <a:lnTo>
                    <a:pt x="156" y="450"/>
                  </a:lnTo>
                  <a:lnTo>
                    <a:pt x="162" y="450"/>
                  </a:lnTo>
                  <a:lnTo>
                    <a:pt x="162" y="444"/>
                  </a:lnTo>
                  <a:lnTo>
                    <a:pt x="156" y="438"/>
                  </a:lnTo>
                  <a:lnTo>
                    <a:pt x="156" y="432"/>
                  </a:lnTo>
                  <a:lnTo>
                    <a:pt x="156" y="426"/>
                  </a:lnTo>
                  <a:lnTo>
                    <a:pt x="150" y="426"/>
                  </a:lnTo>
                  <a:lnTo>
                    <a:pt x="150" y="420"/>
                  </a:lnTo>
                  <a:lnTo>
                    <a:pt x="150" y="414"/>
                  </a:lnTo>
                  <a:lnTo>
                    <a:pt x="156" y="414"/>
                  </a:lnTo>
                  <a:lnTo>
                    <a:pt x="156" y="408"/>
                  </a:lnTo>
                  <a:lnTo>
                    <a:pt x="156" y="402"/>
                  </a:lnTo>
                  <a:lnTo>
                    <a:pt x="156" y="396"/>
                  </a:lnTo>
                  <a:lnTo>
                    <a:pt x="150" y="390"/>
                  </a:lnTo>
                  <a:lnTo>
                    <a:pt x="150" y="384"/>
                  </a:lnTo>
                  <a:lnTo>
                    <a:pt x="150" y="378"/>
                  </a:lnTo>
                  <a:lnTo>
                    <a:pt x="156" y="378"/>
                  </a:lnTo>
                  <a:lnTo>
                    <a:pt x="156" y="372"/>
                  </a:lnTo>
                  <a:lnTo>
                    <a:pt x="156" y="378"/>
                  </a:lnTo>
                  <a:lnTo>
                    <a:pt x="150" y="378"/>
                  </a:lnTo>
                  <a:lnTo>
                    <a:pt x="156" y="378"/>
                  </a:lnTo>
                  <a:lnTo>
                    <a:pt x="156" y="372"/>
                  </a:lnTo>
                  <a:lnTo>
                    <a:pt x="150" y="372"/>
                  </a:lnTo>
                  <a:lnTo>
                    <a:pt x="150" y="366"/>
                  </a:lnTo>
                  <a:lnTo>
                    <a:pt x="150" y="360"/>
                  </a:lnTo>
                  <a:lnTo>
                    <a:pt x="150" y="354"/>
                  </a:lnTo>
                  <a:lnTo>
                    <a:pt x="150" y="348"/>
                  </a:lnTo>
                  <a:lnTo>
                    <a:pt x="150" y="354"/>
                  </a:lnTo>
                  <a:lnTo>
                    <a:pt x="156" y="354"/>
                  </a:lnTo>
                  <a:lnTo>
                    <a:pt x="156" y="348"/>
                  </a:lnTo>
                  <a:lnTo>
                    <a:pt x="156" y="342"/>
                  </a:lnTo>
                  <a:lnTo>
                    <a:pt x="156" y="336"/>
                  </a:lnTo>
                  <a:lnTo>
                    <a:pt x="156" y="330"/>
                  </a:lnTo>
                  <a:lnTo>
                    <a:pt x="150" y="324"/>
                  </a:lnTo>
                  <a:lnTo>
                    <a:pt x="150" y="318"/>
                  </a:lnTo>
                  <a:lnTo>
                    <a:pt x="150" y="312"/>
                  </a:lnTo>
                  <a:lnTo>
                    <a:pt x="144" y="312"/>
                  </a:lnTo>
                  <a:lnTo>
                    <a:pt x="144" y="306"/>
                  </a:lnTo>
                  <a:lnTo>
                    <a:pt x="144" y="300"/>
                  </a:lnTo>
                  <a:lnTo>
                    <a:pt x="138" y="300"/>
                  </a:lnTo>
                  <a:lnTo>
                    <a:pt x="138" y="294"/>
                  </a:lnTo>
                  <a:lnTo>
                    <a:pt x="132" y="294"/>
                  </a:lnTo>
                  <a:lnTo>
                    <a:pt x="132" y="288"/>
                  </a:lnTo>
                  <a:lnTo>
                    <a:pt x="126" y="288"/>
                  </a:lnTo>
                  <a:lnTo>
                    <a:pt x="126" y="282"/>
                  </a:lnTo>
                  <a:lnTo>
                    <a:pt x="126" y="276"/>
                  </a:lnTo>
                  <a:lnTo>
                    <a:pt x="120" y="276"/>
                  </a:lnTo>
                  <a:lnTo>
                    <a:pt x="120" y="270"/>
                  </a:lnTo>
                  <a:lnTo>
                    <a:pt x="120" y="264"/>
                  </a:lnTo>
                  <a:lnTo>
                    <a:pt x="114" y="264"/>
                  </a:lnTo>
                  <a:lnTo>
                    <a:pt x="114" y="258"/>
                  </a:lnTo>
                  <a:lnTo>
                    <a:pt x="108" y="258"/>
                  </a:lnTo>
                  <a:lnTo>
                    <a:pt x="108" y="252"/>
                  </a:lnTo>
                  <a:lnTo>
                    <a:pt x="108" y="246"/>
                  </a:lnTo>
                  <a:lnTo>
                    <a:pt x="102" y="246"/>
                  </a:lnTo>
                  <a:lnTo>
                    <a:pt x="102" y="240"/>
                  </a:lnTo>
                  <a:lnTo>
                    <a:pt x="102" y="234"/>
                  </a:lnTo>
                  <a:lnTo>
                    <a:pt x="96" y="234"/>
                  </a:lnTo>
                  <a:lnTo>
                    <a:pt x="96" y="228"/>
                  </a:lnTo>
                  <a:lnTo>
                    <a:pt x="90" y="228"/>
                  </a:lnTo>
                  <a:lnTo>
                    <a:pt x="90" y="222"/>
                  </a:lnTo>
                  <a:lnTo>
                    <a:pt x="90" y="216"/>
                  </a:lnTo>
                  <a:lnTo>
                    <a:pt x="90" y="210"/>
                  </a:lnTo>
                  <a:lnTo>
                    <a:pt x="84" y="210"/>
                  </a:lnTo>
                  <a:lnTo>
                    <a:pt x="84" y="204"/>
                  </a:lnTo>
                  <a:lnTo>
                    <a:pt x="84" y="198"/>
                  </a:lnTo>
                  <a:lnTo>
                    <a:pt x="84" y="192"/>
                  </a:lnTo>
                  <a:lnTo>
                    <a:pt x="78" y="192"/>
                  </a:lnTo>
                  <a:lnTo>
                    <a:pt x="78" y="186"/>
                  </a:lnTo>
                  <a:lnTo>
                    <a:pt x="72" y="186"/>
                  </a:lnTo>
                  <a:lnTo>
                    <a:pt x="72" y="180"/>
                  </a:lnTo>
                  <a:lnTo>
                    <a:pt x="72" y="174"/>
                  </a:lnTo>
                  <a:lnTo>
                    <a:pt x="66" y="168"/>
                  </a:lnTo>
                  <a:lnTo>
                    <a:pt x="66" y="162"/>
                  </a:lnTo>
                  <a:lnTo>
                    <a:pt x="60" y="156"/>
                  </a:lnTo>
                  <a:lnTo>
                    <a:pt x="60" y="150"/>
                  </a:lnTo>
                  <a:lnTo>
                    <a:pt x="60" y="144"/>
                  </a:lnTo>
                  <a:lnTo>
                    <a:pt x="54" y="144"/>
                  </a:lnTo>
                  <a:lnTo>
                    <a:pt x="54" y="138"/>
                  </a:lnTo>
                  <a:lnTo>
                    <a:pt x="54" y="132"/>
                  </a:lnTo>
                  <a:lnTo>
                    <a:pt x="48" y="132"/>
                  </a:lnTo>
                  <a:lnTo>
                    <a:pt x="48" y="126"/>
                  </a:lnTo>
                  <a:lnTo>
                    <a:pt x="48" y="120"/>
                  </a:lnTo>
                  <a:lnTo>
                    <a:pt x="42" y="120"/>
                  </a:lnTo>
                  <a:lnTo>
                    <a:pt x="42" y="114"/>
                  </a:lnTo>
                  <a:lnTo>
                    <a:pt x="36" y="108"/>
                  </a:lnTo>
                  <a:lnTo>
                    <a:pt x="36" y="102"/>
                  </a:lnTo>
                  <a:lnTo>
                    <a:pt x="30" y="102"/>
                  </a:lnTo>
                  <a:lnTo>
                    <a:pt x="30" y="96"/>
                  </a:lnTo>
                  <a:lnTo>
                    <a:pt x="24" y="96"/>
                  </a:lnTo>
                  <a:lnTo>
                    <a:pt x="24" y="90"/>
                  </a:lnTo>
                  <a:lnTo>
                    <a:pt x="18" y="90"/>
                  </a:lnTo>
                  <a:lnTo>
                    <a:pt x="18" y="84"/>
                  </a:lnTo>
                  <a:lnTo>
                    <a:pt x="12" y="84"/>
                  </a:lnTo>
                  <a:lnTo>
                    <a:pt x="12" y="78"/>
                  </a:lnTo>
                  <a:lnTo>
                    <a:pt x="12" y="72"/>
                  </a:lnTo>
                  <a:lnTo>
                    <a:pt x="6" y="66"/>
                  </a:lnTo>
                  <a:lnTo>
                    <a:pt x="6" y="60"/>
                  </a:lnTo>
                  <a:lnTo>
                    <a:pt x="0" y="54"/>
                  </a:lnTo>
                  <a:lnTo>
                    <a:pt x="0" y="48"/>
                  </a:lnTo>
                  <a:lnTo>
                    <a:pt x="0" y="42"/>
                  </a:lnTo>
                  <a:lnTo>
                    <a:pt x="0" y="36"/>
                  </a:lnTo>
                  <a:lnTo>
                    <a:pt x="0" y="30"/>
                  </a:lnTo>
                  <a:lnTo>
                    <a:pt x="0" y="24"/>
                  </a:lnTo>
                  <a:lnTo>
                    <a:pt x="0" y="18"/>
                  </a:lnTo>
                  <a:lnTo>
                    <a:pt x="0" y="12"/>
                  </a:lnTo>
                  <a:lnTo>
                    <a:pt x="0" y="18"/>
                  </a:lnTo>
                  <a:lnTo>
                    <a:pt x="6" y="18"/>
                  </a:lnTo>
                  <a:lnTo>
                    <a:pt x="6" y="12"/>
                  </a:lnTo>
                  <a:lnTo>
                    <a:pt x="12" y="12"/>
                  </a:lnTo>
                  <a:lnTo>
                    <a:pt x="18" y="12"/>
                  </a:lnTo>
                  <a:lnTo>
                    <a:pt x="18" y="6"/>
                  </a:lnTo>
                  <a:lnTo>
                    <a:pt x="18" y="12"/>
                  </a:lnTo>
                  <a:lnTo>
                    <a:pt x="18" y="6"/>
                  </a:lnTo>
                  <a:lnTo>
                    <a:pt x="18" y="12"/>
                  </a:lnTo>
                  <a:lnTo>
                    <a:pt x="24" y="12"/>
                  </a:lnTo>
                  <a:lnTo>
                    <a:pt x="30" y="12"/>
                  </a:lnTo>
                  <a:lnTo>
                    <a:pt x="36" y="12"/>
                  </a:lnTo>
                  <a:lnTo>
                    <a:pt x="36" y="18"/>
                  </a:lnTo>
                  <a:lnTo>
                    <a:pt x="42" y="18"/>
                  </a:lnTo>
                  <a:lnTo>
                    <a:pt x="42" y="12"/>
                  </a:lnTo>
                  <a:lnTo>
                    <a:pt x="48" y="12"/>
                  </a:lnTo>
                  <a:lnTo>
                    <a:pt x="54" y="12"/>
                  </a:lnTo>
                  <a:lnTo>
                    <a:pt x="54" y="6"/>
                  </a:lnTo>
                  <a:lnTo>
                    <a:pt x="60" y="6"/>
                  </a:lnTo>
                  <a:lnTo>
                    <a:pt x="66" y="0"/>
                  </a:lnTo>
                  <a:lnTo>
                    <a:pt x="72" y="0"/>
                  </a:lnTo>
                  <a:lnTo>
                    <a:pt x="78" y="0"/>
                  </a:lnTo>
                  <a:lnTo>
                    <a:pt x="84" y="0"/>
                  </a:lnTo>
                  <a:lnTo>
                    <a:pt x="90" y="0"/>
                  </a:lnTo>
                  <a:lnTo>
                    <a:pt x="96" y="0"/>
                  </a:lnTo>
                  <a:lnTo>
                    <a:pt x="96" y="6"/>
                  </a:lnTo>
                  <a:lnTo>
                    <a:pt x="102" y="6"/>
                  </a:lnTo>
                  <a:lnTo>
                    <a:pt x="96" y="6"/>
                  </a:lnTo>
                  <a:lnTo>
                    <a:pt x="102" y="6"/>
                  </a:lnTo>
                  <a:lnTo>
                    <a:pt x="102" y="12"/>
                  </a:lnTo>
                  <a:lnTo>
                    <a:pt x="108" y="12"/>
                  </a:lnTo>
                  <a:lnTo>
                    <a:pt x="108" y="18"/>
                  </a:lnTo>
                  <a:lnTo>
                    <a:pt x="114" y="18"/>
                  </a:lnTo>
                  <a:lnTo>
                    <a:pt x="120" y="18"/>
                  </a:lnTo>
                  <a:lnTo>
                    <a:pt x="120" y="24"/>
                  </a:lnTo>
                  <a:lnTo>
                    <a:pt x="126" y="24"/>
                  </a:lnTo>
                  <a:lnTo>
                    <a:pt x="132" y="24"/>
                  </a:lnTo>
                  <a:lnTo>
                    <a:pt x="138" y="24"/>
                  </a:lnTo>
                  <a:lnTo>
                    <a:pt x="144" y="24"/>
                  </a:lnTo>
                  <a:lnTo>
                    <a:pt x="162" y="24"/>
                  </a:lnTo>
                  <a:lnTo>
                    <a:pt x="180" y="24"/>
                  </a:lnTo>
                  <a:lnTo>
                    <a:pt x="192" y="24"/>
                  </a:lnTo>
                  <a:lnTo>
                    <a:pt x="204" y="24"/>
                  </a:lnTo>
                  <a:lnTo>
                    <a:pt x="294" y="24"/>
                  </a:lnTo>
                  <a:lnTo>
                    <a:pt x="300" y="24"/>
                  </a:lnTo>
                  <a:lnTo>
                    <a:pt x="306" y="24"/>
                  </a:lnTo>
                  <a:lnTo>
                    <a:pt x="312" y="24"/>
                  </a:lnTo>
                  <a:lnTo>
                    <a:pt x="318" y="24"/>
                  </a:lnTo>
                  <a:lnTo>
                    <a:pt x="324" y="24"/>
                  </a:lnTo>
                  <a:lnTo>
                    <a:pt x="330" y="24"/>
                  </a:lnTo>
                  <a:lnTo>
                    <a:pt x="336" y="24"/>
                  </a:lnTo>
                  <a:lnTo>
                    <a:pt x="342" y="24"/>
                  </a:lnTo>
                  <a:lnTo>
                    <a:pt x="348" y="24"/>
                  </a:lnTo>
                  <a:lnTo>
                    <a:pt x="354" y="24"/>
                  </a:lnTo>
                  <a:lnTo>
                    <a:pt x="360" y="24"/>
                  </a:lnTo>
                  <a:lnTo>
                    <a:pt x="366" y="24"/>
                  </a:lnTo>
                  <a:lnTo>
                    <a:pt x="372" y="24"/>
                  </a:lnTo>
                  <a:lnTo>
                    <a:pt x="372" y="30"/>
                  </a:lnTo>
                  <a:lnTo>
                    <a:pt x="378" y="30"/>
                  </a:lnTo>
                  <a:lnTo>
                    <a:pt x="378" y="36"/>
                  </a:lnTo>
                  <a:lnTo>
                    <a:pt x="384" y="36"/>
                  </a:lnTo>
                  <a:lnTo>
                    <a:pt x="384" y="42"/>
                  </a:lnTo>
                  <a:lnTo>
                    <a:pt x="390" y="42"/>
                  </a:lnTo>
                  <a:lnTo>
                    <a:pt x="390" y="48"/>
                  </a:lnTo>
                  <a:lnTo>
                    <a:pt x="396" y="48"/>
                  </a:lnTo>
                  <a:lnTo>
                    <a:pt x="402" y="48"/>
                  </a:lnTo>
                  <a:lnTo>
                    <a:pt x="408" y="48"/>
                  </a:lnTo>
                  <a:lnTo>
                    <a:pt x="414" y="48"/>
                  </a:lnTo>
                  <a:lnTo>
                    <a:pt x="420" y="48"/>
                  </a:lnTo>
                  <a:lnTo>
                    <a:pt x="426" y="48"/>
                  </a:lnTo>
                  <a:lnTo>
                    <a:pt x="432" y="48"/>
                  </a:lnTo>
                  <a:lnTo>
                    <a:pt x="438" y="48"/>
                  </a:lnTo>
                  <a:lnTo>
                    <a:pt x="444" y="48"/>
                  </a:lnTo>
                  <a:lnTo>
                    <a:pt x="444" y="54"/>
                  </a:lnTo>
                  <a:lnTo>
                    <a:pt x="450" y="54"/>
                  </a:lnTo>
                  <a:lnTo>
                    <a:pt x="456" y="54"/>
                  </a:lnTo>
                  <a:lnTo>
                    <a:pt x="456" y="48"/>
                  </a:lnTo>
                  <a:lnTo>
                    <a:pt x="456" y="54"/>
                  </a:lnTo>
                  <a:lnTo>
                    <a:pt x="462" y="54"/>
                  </a:lnTo>
                  <a:lnTo>
                    <a:pt x="468" y="54"/>
                  </a:lnTo>
                  <a:lnTo>
                    <a:pt x="474" y="54"/>
                  </a:lnTo>
                  <a:lnTo>
                    <a:pt x="474" y="48"/>
                  </a:lnTo>
                  <a:lnTo>
                    <a:pt x="474" y="54"/>
                  </a:lnTo>
                  <a:lnTo>
                    <a:pt x="474" y="48"/>
                  </a:lnTo>
                  <a:lnTo>
                    <a:pt x="480" y="48"/>
                  </a:lnTo>
                  <a:lnTo>
                    <a:pt x="480" y="54"/>
                  </a:lnTo>
                  <a:lnTo>
                    <a:pt x="486" y="54"/>
                  </a:lnTo>
                  <a:lnTo>
                    <a:pt x="492" y="60"/>
                  </a:lnTo>
                  <a:lnTo>
                    <a:pt x="492" y="54"/>
                  </a:lnTo>
                  <a:lnTo>
                    <a:pt x="492" y="60"/>
                  </a:lnTo>
                  <a:lnTo>
                    <a:pt x="492" y="54"/>
                  </a:lnTo>
                  <a:lnTo>
                    <a:pt x="492" y="60"/>
                  </a:lnTo>
                  <a:lnTo>
                    <a:pt x="498" y="60"/>
                  </a:lnTo>
                  <a:lnTo>
                    <a:pt x="504" y="60"/>
                  </a:lnTo>
                  <a:lnTo>
                    <a:pt x="510" y="60"/>
                  </a:lnTo>
                  <a:lnTo>
                    <a:pt x="510" y="54"/>
                  </a:lnTo>
                  <a:lnTo>
                    <a:pt x="516" y="54"/>
                  </a:lnTo>
                  <a:lnTo>
                    <a:pt x="522" y="54"/>
                  </a:lnTo>
                  <a:lnTo>
                    <a:pt x="528" y="54"/>
                  </a:lnTo>
                  <a:lnTo>
                    <a:pt x="534" y="54"/>
                  </a:lnTo>
                  <a:lnTo>
                    <a:pt x="534" y="60"/>
                  </a:lnTo>
                  <a:lnTo>
                    <a:pt x="540" y="60"/>
                  </a:lnTo>
                  <a:lnTo>
                    <a:pt x="558" y="54"/>
                  </a:lnTo>
                  <a:lnTo>
                    <a:pt x="624" y="42"/>
                  </a:lnTo>
                  <a:lnTo>
                    <a:pt x="642" y="36"/>
                  </a:lnTo>
                  <a:lnTo>
                    <a:pt x="648" y="36"/>
                  </a:lnTo>
                  <a:lnTo>
                    <a:pt x="654" y="36"/>
                  </a:lnTo>
                  <a:lnTo>
                    <a:pt x="696" y="30"/>
                  </a:lnTo>
                  <a:lnTo>
                    <a:pt x="702" y="30"/>
                  </a:lnTo>
                  <a:lnTo>
                    <a:pt x="708" y="30"/>
                  </a:lnTo>
                  <a:lnTo>
                    <a:pt x="714" y="30"/>
                  </a:lnTo>
                  <a:lnTo>
                    <a:pt x="720" y="30"/>
                  </a:lnTo>
                  <a:lnTo>
                    <a:pt x="726" y="30"/>
                  </a:lnTo>
                  <a:lnTo>
                    <a:pt x="732" y="30"/>
                  </a:lnTo>
                  <a:lnTo>
                    <a:pt x="738" y="36"/>
                  </a:lnTo>
                  <a:lnTo>
                    <a:pt x="738" y="30"/>
                  </a:lnTo>
                  <a:lnTo>
                    <a:pt x="738" y="36"/>
                  </a:lnTo>
                  <a:lnTo>
                    <a:pt x="744" y="36"/>
                  </a:lnTo>
                  <a:lnTo>
                    <a:pt x="744" y="42"/>
                  </a:lnTo>
                  <a:lnTo>
                    <a:pt x="750" y="42"/>
                  </a:lnTo>
                  <a:lnTo>
                    <a:pt x="750" y="48"/>
                  </a:lnTo>
                  <a:lnTo>
                    <a:pt x="750" y="42"/>
                  </a:lnTo>
                  <a:lnTo>
                    <a:pt x="750" y="48"/>
                  </a:lnTo>
                  <a:lnTo>
                    <a:pt x="744" y="48"/>
                  </a:lnTo>
                  <a:lnTo>
                    <a:pt x="738" y="48"/>
                  </a:lnTo>
                  <a:lnTo>
                    <a:pt x="744" y="48"/>
                  </a:lnTo>
                  <a:lnTo>
                    <a:pt x="738" y="48"/>
                  </a:lnTo>
                  <a:lnTo>
                    <a:pt x="732" y="48"/>
                  </a:lnTo>
                  <a:lnTo>
                    <a:pt x="726" y="48"/>
                  </a:lnTo>
                  <a:lnTo>
                    <a:pt x="726" y="54"/>
                  </a:lnTo>
                  <a:lnTo>
                    <a:pt x="726" y="48"/>
                  </a:lnTo>
                  <a:lnTo>
                    <a:pt x="726" y="54"/>
                  </a:lnTo>
                  <a:lnTo>
                    <a:pt x="720" y="54"/>
                  </a:lnTo>
                  <a:lnTo>
                    <a:pt x="726" y="54"/>
                  </a:lnTo>
                  <a:lnTo>
                    <a:pt x="720" y="54"/>
                  </a:lnTo>
                  <a:lnTo>
                    <a:pt x="720" y="60"/>
                  </a:lnTo>
                  <a:lnTo>
                    <a:pt x="714" y="60"/>
                  </a:lnTo>
                  <a:lnTo>
                    <a:pt x="708" y="60"/>
                  </a:lnTo>
                  <a:lnTo>
                    <a:pt x="708" y="54"/>
                  </a:lnTo>
                  <a:lnTo>
                    <a:pt x="702" y="54"/>
                  </a:lnTo>
                  <a:lnTo>
                    <a:pt x="702" y="60"/>
                  </a:lnTo>
                  <a:lnTo>
                    <a:pt x="696" y="60"/>
                  </a:lnTo>
                  <a:lnTo>
                    <a:pt x="690" y="60"/>
                  </a:lnTo>
                  <a:lnTo>
                    <a:pt x="690" y="66"/>
                  </a:lnTo>
                  <a:lnTo>
                    <a:pt x="684" y="66"/>
                  </a:lnTo>
                  <a:lnTo>
                    <a:pt x="684" y="72"/>
                  </a:lnTo>
                  <a:lnTo>
                    <a:pt x="678" y="72"/>
                  </a:lnTo>
                  <a:lnTo>
                    <a:pt x="678" y="78"/>
                  </a:lnTo>
                  <a:lnTo>
                    <a:pt x="672" y="78"/>
                  </a:lnTo>
                  <a:lnTo>
                    <a:pt x="672" y="84"/>
                  </a:lnTo>
                  <a:lnTo>
                    <a:pt x="666" y="84"/>
                  </a:lnTo>
                  <a:lnTo>
                    <a:pt x="660" y="90"/>
                  </a:lnTo>
                  <a:lnTo>
                    <a:pt x="660" y="84"/>
                  </a:lnTo>
                  <a:lnTo>
                    <a:pt x="660" y="78"/>
                  </a:lnTo>
                  <a:lnTo>
                    <a:pt x="654" y="78"/>
                  </a:lnTo>
                  <a:lnTo>
                    <a:pt x="654" y="72"/>
                  </a:lnTo>
                  <a:lnTo>
                    <a:pt x="648" y="72"/>
                  </a:lnTo>
                  <a:lnTo>
                    <a:pt x="648" y="66"/>
                  </a:lnTo>
                  <a:lnTo>
                    <a:pt x="642" y="60"/>
                  </a:lnTo>
                  <a:lnTo>
                    <a:pt x="648" y="60"/>
                  </a:lnTo>
                  <a:lnTo>
                    <a:pt x="642" y="60"/>
                  </a:lnTo>
                  <a:lnTo>
                    <a:pt x="636" y="60"/>
                  </a:lnTo>
                  <a:lnTo>
                    <a:pt x="630" y="60"/>
                  </a:lnTo>
                  <a:lnTo>
                    <a:pt x="624" y="60"/>
                  </a:lnTo>
                  <a:lnTo>
                    <a:pt x="540" y="78"/>
                  </a:lnTo>
                  <a:lnTo>
                    <a:pt x="516" y="78"/>
                  </a:lnTo>
                  <a:lnTo>
                    <a:pt x="516" y="126"/>
                  </a:lnTo>
                  <a:lnTo>
                    <a:pt x="516" y="174"/>
                  </a:lnTo>
                  <a:lnTo>
                    <a:pt x="516" y="234"/>
                  </a:lnTo>
                  <a:lnTo>
                    <a:pt x="516" y="294"/>
                  </a:lnTo>
                  <a:lnTo>
                    <a:pt x="462" y="294"/>
                  </a:lnTo>
                  <a:lnTo>
                    <a:pt x="462" y="300"/>
                  </a:lnTo>
                  <a:lnTo>
                    <a:pt x="462" y="306"/>
                  </a:lnTo>
                  <a:lnTo>
                    <a:pt x="462" y="312"/>
                  </a:lnTo>
                  <a:lnTo>
                    <a:pt x="462" y="318"/>
                  </a:lnTo>
                  <a:lnTo>
                    <a:pt x="462" y="324"/>
                  </a:lnTo>
                  <a:lnTo>
                    <a:pt x="462" y="330"/>
                  </a:lnTo>
                  <a:lnTo>
                    <a:pt x="462" y="336"/>
                  </a:lnTo>
                  <a:lnTo>
                    <a:pt x="462" y="342"/>
                  </a:lnTo>
                  <a:lnTo>
                    <a:pt x="462" y="348"/>
                  </a:lnTo>
                  <a:lnTo>
                    <a:pt x="462" y="354"/>
                  </a:lnTo>
                  <a:lnTo>
                    <a:pt x="462" y="360"/>
                  </a:lnTo>
                  <a:lnTo>
                    <a:pt x="462" y="366"/>
                  </a:lnTo>
                  <a:lnTo>
                    <a:pt x="462" y="372"/>
                  </a:lnTo>
                  <a:lnTo>
                    <a:pt x="462" y="378"/>
                  </a:lnTo>
                  <a:lnTo>
                    <a:pt x="462" y="384"/>
                  </a:lnTo>
                  <a:lnTo>
                    <a:pt x="462" y="390"/>
                  </a:lnTo>
                  <a:lnTo>
                    <a:pt x="462" y="396"/>
                  </a:lnTo>
                  <a:lnTo>
                    <a:pt x="462" y="402"/>
                  </a:lnTo>
                  <a:lnTo>
                    <a:pt x="462" y="408"/>
                  </a:lnTo>
                  <a:lnTo>
                    <a:pt x="462" y="414"/>
                  </a:lnTo>
                  <a:lnTo>
                    <a:pt x="462" y="420"/>
                  </a:lnTo>
                  <a:lnTo>
                    <a:pt x="462" y="426"/>
                  </a:lnTo>
                  <a:lnTo>
                    <a:pt x="462" y="432"/>
                  </a:lnTo>
                  <a:lnTo>
                    <a:pt x="462" y="438"/>
                  </a:lnTo>
                  <a:lnTo>
                    <a:pt x="462" y="444"/>
                  </a:lnTo>
                  <a:lnTo>
                    <a:pt x="462" y="450"/>
                  </a:lnTo>
                  <a:lnTo>
                    <a:pt x="462" y="456"/>
                  </a:lnTo>
                  <a:lnTo>
                    <a:pt x="462" y="462"/>
                  </a:lnTo>
                  <a:close/>
                  <a:moveTo>
                    <a:pt x="192" y="600"/>
                  </a:moveTo>
                  <a:lnTo>
                    <a:pt x="192" y="606"/>
                  </a:lnTo>
                  <a:lnTo>
                    <a:pt x="193" y="606"/>
                  </a:lnTo>
                  <a:lnTo>
                    <a:pt x="192" y="600"/>
                  </a:lnTo>
                  <a:close/>
                  <a:moveTo>
                    <a:pt x="180" y="558"/>
                  </a:moveTo>
                  <a:lnTo>
                    <a:pt x="180" y="564"/>
                  </a:lnTo>
                  <a:lnTo>
                    <a:pt x="181" y="564"/>
                  </a:lnTo>
                  <a:lnTo>
                    <a:pt x="180" y="558"/>
                  </a:lnTo>
                  <a:close/>
                  <a:moveTo>
                    <a:pt x="192" y="606"/>
                  </a:moveTo>
                  <a:lnTo>
                    <a:pt x="192" y="612"/>
                  </a:lnTo>
                  <a:lnTo>
                    <a:pt x="193" y="612"/>
                  </a:lnTo>
                  <a:lnTo>
                    <a:pt x="192" y="606"/>
                  </a:lnTo>
                  <a:close/>
                </a:path>
              </a:pathLst>
            </a:custGeom>
            <a:solidFill>
              <a:schemeClr val="accent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800" dirty="0"/>
            </a:p>
          </p:txBody>
        </p:sp>
      </p:grpSp>
      <p:sp>
        <p:nvSpPr>
          <p:cNvPr id="429" name="Rectangle 8"/>
          <p:cNvSpPr txBox="1"/>
          <p:nvPr/>
        </p:nvSpPr>
        <p:spPr bwMode="gray">
          <a:xfrm>
            <a:off x="6315428" y="2145772"/>
            <a:ext cx="55918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Libya</a:t>
            </a:r>
            <a:endParaRPr lang="en-US" sz="1000" b="1" dirty="0">
              <a:solidFill>
                <a:srgbClr val="FFFFFF"/>
              </a:solidFill>
            </a:endParaRPr>
          </a:p>
        </p:txBody>
      </p:sp>
      <p:sp>
        <p:nvSpPr>
          <p:cNvPr id="430" name="Rectangle 8"/>
          <p:cNvSpPr txBox="1"/>
          <p:nvPr/>
        </p:nvSpPr>
        <p:spPr bwMode="gray">
          <a:xfrm>
            <a:off x="7481468" y="3159411"/>
            <a:ext cx="5463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Ethiopia</a:t>
            </a:r>
            <a:endParaRPr lang="en-US" sz="1000" b="1" dirty="0">
              <a:solidFill>
                <a:srgbClr val="FFFFFF"/>
              </a:solidFill>
            </a:endParaRPr>
          </a:p>
        </p:txBody>
      </p:sp>
      <p:sp>
        <p:nvSpPr>
          <p:cNvPr id="431" name="Rectangle 8"/>
          <p:cNvSpPr txBox="1"/>
          <p:nvPr/>
        </p:nvSpPr>
        <p:spPr bwMode="gray">
          <a:xfrm>
            <a:off x="5995385" y="2679566"/>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Niger</a:t>
            </a:r>
            <a:endParaRPr lang="en-US" sz="1000" b="1" dirty="0">
              <a:solidFill>
                <a:srgbClr val="FFFFFF"/>
              </a:solidFill>
            </a:endParaRPr>
          </a:p>
        </p:txBody>
      </p:sp>
      <p:sp>
        <p:nvSpPr>
          <p:cNvPr id="432" name="Rectangle 8"/>
          <p:cNvSpPr txBox="1"/>
          <p:nvPr/>
        </p:nvSpPr>
        <p:spPr bwMode="gray">
          <a:xfrm>
            <a:off x="5950534" y="3017815"/>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Nigeria</a:t>
            </a:r>
            <a:endParaRPr lang="en-US" sz="1000" b="1" dirty="0">
              <a:solidFill>
                <a:srgbClr val="FFFFFF"/>
              </a:solidFill>
            </a:endParaRPr>
          </a:p>
        </p:txBody>
      </p:sp>
      <p:sp>
        <p:nvSpPr>
          <p:cNvPr id="433" name="Rectangle 8"/>
          <p:cNvSpPr txBox="1"/>
          <p:nvPr/>
        </p:nvSpPr>
        <p:spPr bwMode="gray">
          <a:xfrm>
            <a:off x="4440479" y="1974004"/>
            <a:ext cx="47632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Burkina Faso</a:t>
            </a:r>
            <a:endParaRPr lang="en-US" sz="1000" b="1" dirty="0">
              <a:solidFill>
                <a:srgbClr val="000000"/>
              </a:solidFill>
            </a:endParaRPr>
          </a:p>
        </p:txBody>
      </p:sp>
      <p:sp>
        <p:nvSpPr>
          <p:cNvPr id="434" name="Freeform 433"/>
          <p:cNvSpPr/>
          <p:nvPr/>
        </p:nvSpPr>
        <p:spPr bwMode="gray">
          <a:xfrm>
            <a:off x="4937760" y="2133600"/>
            <a:ext cx="685799" cy="731520"/>
          </a:xfrm>
          <a:custGeom>
            <a:avLst/>
            <a:gdLst>
              <a:gd name="connsiteX0" fmla="*/ 0 w 698500"/>
              <a:gd name="connsiteY0" fmla="*/ 0 h 825500"/>
              <a:gd name="connsiteX1" fmla="*/ 114300 w 698500"/>
              <a:gd name="connsiteY1" fmla="*/ 0 h 825500"/>
              <a:gd name="connsiteX2" fmla="*/ 698500 w 698500"/>
              <a:gd name="connsiteY2" fmla="*/ 825500 h 825500"/>
            </a:gdLst>
            <a:ahLst/>
            <a:cxnLst>
              <a:cxn ang="0">
                <a:pos x="connsiteX0" y="connsiteY0"/>
              </a:cxn>
              <a:cxn ang="0">
                <a:pos x="connsiteX1" y="connsiteY1"/>
              </a:cxn>
              <a:cxn ang="0">
                <a:pos x="connsiteX2" y="connsiteY2"/>
              </a:cxn>
            </a:cxnLst>
            <a:rect l="l" t="t" r="r" b="b"/>
            <a:pathLst>
              <a:path w="698500" h="825500">
                <a:moveTo>
                  <a:pt x="0" y="0"/>
                </a:moveTo>
                <a:lnTo>
                  <a:pt x="114300" y="0"/>
                </a:lnTo>
                <a:lnTo>
                  <a:pt x="698500" y="82550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35" name="Rectangle 8"/>
          <p:cNvSpPr txBox="1"/>
          <p:nvPr/>
        </p:nvSpPr>
        <p:spPr bwMode="gray">
          <a:xfrm>
            <a:off x="7808595" y="2301640"/>
            <a:ext cx="91725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Central African Republic</a:t>
            </a:r>
            <a:endParaRPr lang="en-US" sz="1000" b="1" dirty="0">
              <a:solidFill>
                <a:srgbClr val="000000"/>
              </a:solidFill>
            </a:endParaRPr>
          </a:p>
        </p:txBody>
      </p:sp>
      <p:sp>
        <p:nvSpPr>
          <p:cNvPr id="436" name="Rectangle 8"/>
          <p:cNvSpPr txBox="1"/>
          <p:nvPr/>
        </p:nvSpPr>
        <p:spPr bwMode="gray">
          <a:xfrm>
            <a:off x="5133330" y="2852504"/>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Guinea</a:t>
            </a:r>
            <a:endParaRPr lang="en-US" sz="1000" b="1" dirty="0">
              <a:solidFill>
                <a:srgbClr val="000000"/>
              </a:solidFill>
            </a:endParaRPr>
          </a:p>
        </p:txBody>
      </p:sp>
      <p:sp>
        <p:nvSpPr>
          <p:cNvPr id="437" name="Rectangle 8"/>
          <p:cNvSpPr txBox="1"/>
          <p:nvPr/>
        </p:nvSpPr>
        <p:spPr bwMode="gray">
          <a:xfrm>
            <a:off x="4728677" y="2574867"/>
            <a:ext cx="67706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a:t>Mauritania </a:t>
            </a:r>
          </a:p>
        </p:txBody>
      </p:sp>
      <p:sp>
        <p:nvSpPr>
          <p:cNvPr id="438" name="Freeform 437"/>
          <p:cNvSpPr/>
          <p:nvPr/>
        </p:nvSpPr>
        <p:spPr bwMode="gray">
          <a:xfrm>
            <a:off x="6840219" y="2444750"/>
            <a:ext cx="953521" cy="825500"/>
          </a:xfrm>
          <a:custGeom>
            <a:avLst/>
            <a:gdLst>
              <a:gd name="connsiteX0" fmla="*/ 882650 w 882650"/>
              <a:gd name="connsiteY0" fmla="*/ 0 h 825500"/>
              <a:gd name="connsiteX1" fmla="*/ 749300 w 882650"/>
              <a:gd name="connsiteY1" fmla="*/ 0 h 825500"/>
              <a:gd name="connsiteX2" fmla="*/ 0 w 882650"/>
              <a:gd name="connsiteY2" fmla="*/ 825500 h 825500"/>
            </a:gdLst>
            <a:ahLst/>
            <a:cxnLst>
              <a:cxn ang="0">
                <a:pos x="connsiteX0" y="connsiteY0"/>
              </a:cxn>
              <a:cxn ang="0">
                <a:pos x="connsiteX1" y="connsiteY1"/>
              </a:cxn>
              <a:cxn ang="0">
                <a:pos x="connsiteX2" y="connsiteY2"/>
              </a:cxn>
            </a:cxnLst>
            <a:rect l="l" t="t" r="r" b="b"/>
            <a:pathLst>
              <a:path w="882650" h="825500">
                <a:moveTo>
                  <a:pt x="882650" y="0"/>
                </a:moveTo>
                <a:lnTo>
                  <a:pt x="749300" y="0"/>
                </a:lnTo>
                <a:lnTo>
                  <a:pt x="0" y="82550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39" name="Rectangle 8"/>
          <p:cNvSpPr txBox="1"/>
          <p:nvPr/>
        </p:nvSpPr>
        <p:spPr bwMode="gray">
          <a:xfrm>
            <a:off x="7390895" y="3527747"/>
            <a:ext cx="5463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000" b="1" dirty="0" smtClean="0">
                <a:solidFill>
                  <a:srgbClr val="FFFFFF"/>
                </a:solidFill>
              </a:rPr>
              <a:t>Kenya</a:t>
            </a:r>
            <a:endParaRPr lang="en-US" sz="1000" b="1" dirty="0">
              <a:solidFill>
                <a:srgbClr val="FFFFFF"/>
              </a:solidFill>
            </a:endParaRPr>
          </a:p>
        </p:txBody>
      </p:sp>
      <p:sp>
        <p:nvSpPr>
          <p:cNvPr id="440" name="Rectangle 8"/>
          <p:cNvSpPr txBox="1"/>
          <p:nvPr/>
        </p:nvSpPr>
        <p:spPr bwMode="gray">
          <a:xfrm>
            <a:off x="8040840" y="3576320"/>
            <a:ext cx="584999"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Uganda</a:t>
            </a:r>
            <a:endParaRPr lang="en-US" sz="1000" b="1" dirty="0">
              <a:solidFill>
                <a:srgbClr val="000000"/>
              </a:solidFill>
            </a:endParaRPr>
          </a:p>
        </p:txBody>
      </p:sp>
      <p:sp>
        <p:nvSpPr>
          <p:cNvPr id="441" name="Freeform 440"/>
          <p:cNvSpPr/>
          <p:nvPr/>
        </p:nvSpPr>
        <p:spPr bwMode="gray">
          <a:xfrm>
            <a:off x="7475220" y="3469004"/>
            <a:ext cx="670560" cy="113479"/>
          </a:xfrm>
          <a:custGeom>
            <a:avLst/>
            <a:gdLst>
              <a:gd name="connsiteX0" fmla="*/ 0 w 495300"/>
              <a:gd name="connsiteY0" fmla="*/ 0 h 83820"/>
              <a:gd name="connsiteX1" fmla="*/ 426720 w 495300"/>
              <a:gd name="connsiteY1" fmla="*/ 0 h 83820"/>
              <a:gd name="connsiteX2" fmla="*/ 495300 w 495300"/>
              <a:gd name="connsiteY2" fmla="*/ 83820 h 83820"/>
            </a:gdLst>
            <a:ahLst/>
            <a:cxnLst>
              <a:cxn ang="0">
                <a:pos x="connsiteX0" y="connsiteY0"/>
              </a:cxn>
              <a:cxn ang="0">
                <a:pos x="connsiteX1" y="connsiteY1"/>
              </a:cxn>
              <a:cxn ang="0">
                <a:pos x="connsiteX2" y="connsiteY2"/>
              </a:cxn>
            </a:cxnLst>
            <a:rect l="l" t="t" r="r" b="b"/>
            <a:pathLst>
              <a:path w="495300" h="83820">
                <a:moveTo>
                  <a:pt x="0" y="0"/>
                </a:moveTo>
                <a:lnTo>
                  <a:pt x="426720" y="0"/>
                </a:lnTo>
                <a:lnTo>
                  <a:pt x="495300" y="8382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442" name="Rectangle 8"/>
          <p:cNvSpPr txBox="1"/>
          <p:nvPr/>
        </p:nvSpPr>
        <p:spPr bwMode="gray">
          <a:xfrm>
            <a:off x="7812240" y="3820160"/>
            <a:ext cx="66120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Tanzania</a:t>
            </a:r>
            <a:endParaRPr lang="en-US" sz="1000" b="1" dirty="0">
              <a:solidFill>
                <a:srgbClr val="000000"/>
              </a:solidFill>
            </a:endParaRPr>
          </a:p>
        </p:txBody>
      </p:sp>
      <p:sp>
        <p:nvSpPr>
          <p:cNvPr id="443" name="Freeform 442"/>
          <p:cNvSpPr/>
          <p:nvPr/>
        </p:nvSpPr>
        <p:spPr bwMode="gray">
          <a:xfrm flipV="1">
            <a:off x="7566660" y="3863339"/>
            <a:ext cx="228600" cy="45719"/>
          </a:xfrm>
          <a:custGeom>
            <a:avLst/>
            <a:gdLst>
              <a:gd name="connsiteX0" fmla="*/ 0 w 160020"/>
              <a:gd name="connsiteY0" fmla="*/ 0 h 0"/>
              <a:gd name="connsiteX1" fmla="*/ 0 w 160020"/>
              <a:gd name="connsiteY1" fmla="*/ 0 h 0"/>
              <a:gd name="connsiteX2" fmla="*/ 160020 w 160020"/>
              <a:gd name="connsiteY2" fmla="*/ 0 h 0"/>
            </a:gdLst>
            <a:ahLst/>
            <a:cxnLst>
              <a:cxn ang="0">
                <a:pos x="connsiteX0" y="connsiteY0"/>
              </a:cxn>
              <a:cxn ang="0">
                <a:pos x="connsiteX1" y="connsiteY1"/>
              </a:cxn>
              <a:cxn ang="0">
                <a:pos x="connsiteX2" y="connsiteY2"/>
              </a:cxn>
            </a:cxnLst>
            <a:rect l="l" t="t" r="r" b="b"/>
            <a:pathLst>
              <a:path w="160020">
                <a:moveTo>
                  <a:pt x="0" y="0"/>
                </a:moveTo>
                <a:lnTo>
                  <a:pt x="0" y="0"/>
                </a:lnTo>
                <a:lnTo>
                  <a:pt x="16002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444" name="Rectangle 8"/>
          <p:cNvSpPr txBox="1"/>
          <p:nvPr/>
        </p:nvSpPr>
        <p:spPr bwMode="gray">
          <a:xfrm>
            <a:off x="7981349" y="3694802"/>
            <a:ext cx="55918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a:solidFill>
                  <a:srgbClr val="000000"/>
                </a:solidFill>
              </a:rPr>
              <a:t>Rwanda </a:t>
            </a:r>
          </a:p>
        </p:txBody>
      </p:sp>
      <p:sp>
        <p:nvSpPr>
          <p:cNvPr id="445" name="Freeform 444"/>
          <p:cNvSpPr/>
          <p:nvPr/>
        </p:nvSpPr>
        <p:spPr bwMode="gray">
          <a:xfrm flipV="1">
            <a:off x="7269077" y="3728302"/>
            <a:ext cx="690788" cy="45719"/>
          </a:xfrm>
          <a:custGeom>
            <a:avLst/>
            <a:gdLst>
              <a:gd name="connsiteX0" fmla="*/ 323850 w 323850"/>
              <a:gd name="connsiteY0" fmla="*/ 0 h 152400"/>
              <a:gd name="connsiteX1" fmla="*/ 190500 w 323850"/>
              <a:gd name="connsiteY1" fmla="*/ 0 h 152400"/>
              <a:gd name="connsiteX2" fmla="*/ 0 w 323850"/>
              <a:gd name="connsiteY2" fmla="*/ 152400 h 152400"/>
              <a:gd name="connsiteX0" fmla="*/ 322927 w 322927"/>
              <a:gd name="connsiteY0" fmla="*/ 0 h 298610"/>
              <a:gd name="connsiteX1" fmla="*/ 189577 w 322927"/>
              <a:gd name="connsiteY1" fmla="*/ 0 h 298610"/>
              <a:gd name="connsiteX2" fmla="*/ 0 w 322927"/>
              <a:gd name="connsiteY2" fmla="*/ 298610 h 298610"/>
            </a:gdLst>
            <a:ahLst/>
            <a:cxnLst>
              <a:cxn ang="0">
                <a:pos x="connsiteX0" y="connsiteY0"/>
              </a:cxn>
              <a:cxn ang="0">
                <a:pos x="connsiteX1" y="connsiteY1"/>
              </a:cxn>
              <a:cxn ang="0">
                <a:pos x="connsiteX2" y="connsiteY2"/>
              </a:cxn>
            </a:cxnLst>
            <a:rect l="l" t="t" r="r" b="b"/>
            <a:pathLst>
              <a:path w="322927" h="298610">
                <a:moveTo>
                  <a:pt x="322927" y="0"/>
                </a:moveTo>
                <a:lnTo>
                  <a:pt x="189577" y="0"/>
                </a:lnTo>
                <a:cubicBezTo>
                  <a:pt x="126077" y="50800"/>
                  <a:pt x="63500" y="247810"/>
                  <a:pt x="0" y="298610"/>
                </a:cubicBez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46" name="Rectangle 8"/>
          <p:cNvSpPr txBox="1"/>
          <p:nvPr/>
        </p:nvSpPr>
        <p:spPr bwMode="gray">
          <a:xfrm>
            <a:off x="7352883" y="5068252"/>
            <a:ext cx="82986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Mozambique</a:t>
            </a:r>
            <a:endParaRPr lang="en-US" sz="1000" b="1" dirty="0">
              <a:solidFill>
                <a:srgbClr val="000000"/>
              </a:solidFill>
            </a:endParaRPr>
          </a:p>
        </p:txBody>
      </p:sp>
      <p:sp>
        <p:nvSpPr>
          <p:cNvPr id="447" name="Freeform 446"/>
          <p:cNvSpPr/>
          <p:nvPr/>
        </p:nvSpPr>
        <p:spPr bwMode="gray">
          <a:xfrm>
            <a:off x="7407786" y="4667587"/>
            <a:ext cx="237893" cy="408878"/>
          </a:xfrm>
          <a:custGeom>
            <a:avLst/>
            <a:gdLst>
              <a:gd name="connsiteX0" fmla="*/ 0 w 237893"/>
              <a:gd name="connsiteY0" fmla="*/ 0 h 408878"/>
              <a:gd name="connsiteX1" fmla="*/ 237893 w 237893"/>
              <a:gd name="connsiteY1" fmla="*/ 89209 h 408878"/>
              <a:gd name="connsiteX2" fmla="*/ 237893 w 237893"/>
              <a:gd name="connsiteY2" fmla="*/ 408878 h 408878"/>
            </a:gdLst>
            <a:ahLst/>
            <a:cxnLst>
              <a:cxn ang="0">
                <a:pos x="connsiteX0" y="connsiteY0"/>
              </a:cxn>
              <a:cxn ang="0">
                <a:pos x="connsiteX1" y="connsiteY1"/>
              </a:cxn>
              <a:cxn ang="0">
                <a:pos x="connsiteX2" y="connsiteY2"/>
              </a:cxn>
            </a:cxnLst>
            <a:rect l="l" t="t" r="r" b="b"/>
            <a:pathLst>
              <a:path w="237893" h="408878">
                <a:moveTo>
                  <a:pt x="0" y="0"/>
                </a:moveTo>
                <a:lnTo>
                  <a:pt x="237893" y="89209"/>
                </a:lnTo>
                <a:lnTo>
                  <a:pt x="237893" y="408878"/>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48" name="Rectangle 8"/>
          <p:cNvSpPr txBox="1"/>
          <p:nvPr/>
        </p:nvSpPr>
        <p:spPr bwMode="gray">
          <a:xfrm>
            <a:off x="8139900" y="4086860"/>
            <a:ext cx="66120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Seychelles</a:t>
            </a:r>
            <a:endParaRPr lang="en-US" sz="1000" b="1" dirty="0">
              <a:solidFill>
                <a:srgbClr val="000000"/>
              </a:solidFill>
            </a:endParaRPr>
          </a:p>
        </p:txBody>
      </p:sp>
      <p:sp>
        <p:nvSpPr>
          <p:cNvPr id="449" name="Rectangle 8"/>
          <p:cNvSpPr txBox="1"/>
          <p:nvPr/>
        </p:nvSpPr>
        <p:spPr bwMode="gray">
          <a:xfrm>
            <a:off x="8300238" y="4307840"/>
            <a:ext cx="66120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Burundi</a:t>
            </a:r>
            <a:endParaRPr lang="en-US" sz="1000" b="1" dirty="0">
              <a:solidFill>
                <a:srgbClr val="000000"/>
              </a:solidFill>
            </a:endParaRPr>
          </a:p>
        </p:txBody>
      </p:sp>
      <p:sp>
        <p:nvSpPr>
          <p:cNvPr id="451" name="Rectangle 8"/>
          <p:cNvSpPr txBox="1"/>
          <p:nvPr/>
        </p:nvSpPr>
        <p:spPr bwMode="gray">
          <a:xfrm>
            <a:off x="8175843" y="4915852"/>
            <a:ext cx="48809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Malawi</a:t>
            </a:r>
            <a:endParaRPr lang="en-US" sz="1000" b="1" dirty="0">
              <a:solidFill>
                <a:srgbClr val="000000"/>
              </a:solidFill>
            </a:endParaRPr>
          </a:p>
        </p:txBody>
      </p:sp>
      <p:sp>
        <p:nvSpPr>
          <p:cNvPr id="452" name="Freeform 451"/>
          <p:cNvSpPr/>
          <p:nvPr/>
        </p:nvSpPr>
        <p:spPr bwMode="gray">
          <a:xfrm>
            <a:off x="7512100" y="4335780"/>
            <a:ext cx="641300" cy="662940"/>
          </a:xfrm>
          <a:custGeom>
            <a:avLst/>
            <a:gdLst>
              <a:gd name="connsiteX0" fmla="*/ 0 w 708660"/>
              <a:gd name="connsiteY0" fmla="*/ 0 h 662940"/>
              <a:gd name="connsiteX1" fmla="*/ 579120 w 708660"/>
              <a:gd name="connsiteY1" fmla="*/ 662940 h 662940"/>
              <a:gd name="connsiteX2" fmla="*/ 708660 w 708660"/>
              <a:gd name="connsiteY2" fmla="*/ 662940 h 662940"/>
            </a:gdLst>
            <a:ahLst/>
            <a:cxnLst>
              <a:cxn ang="0">
                <a:pos x="connsiteX0" y="connsiteY0"/>
              </a:cxn>
              <a:cxn ang="0">
                <a:pos x="connsiteX1" y="connsiteY1"/>
              </a:cxn>
              <a:cxn ang="0">
                <a:pos x="connsiteX2" y="connsiteY2"/>
              </a:cxn>
            </a:cxnLst>
            <a:rect l="l" t="t" r="r" b="b"/>
            <a:pathLst>
              <a:path w="708660" h="662940">
                <a:moveTo>
                  <a:pt x="0" y="0"/>
                </a:moveTo>
                <a:lnTo>
                  <a:pt x="579120" y="662940"/>
                </a:lnTo>
                <a:lnTo>
                  <a:pt x="708660" y="66294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453" name="Rectangle 8"/>
          <p:cNvSpPr txBox="1"/>
          <p:nvPr/>
        </p:nvSpPr>
        <p:spPr bwMode="gray">
          <a:xfrm>
            <a:off x="5430006" y="3483118"/>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Ghana</a:t>
            </a:r>
            <a:endParaRPr lang="en-US" sz="1000" b="1" dirty="0">
              <a:solidFill>
                <a:srgbClr val="000000"/>
              </a:solidFill>
            </a:endParaRPr>
          </a:p>
        </p:txBody>
      </p:sp>
      <p:sp>
        <p:nvSpPr>
          <p:cNvPr id="454" name="Rectangle 8"/>
          <p:cNvSpPr txBox="1"/>
          <p:nvPr/>
        </p:nvSpPr>
        <p:spPr bwMode="gray">
          <a:xfrm>
            <a:off x="4995666" y="3589798"/>
            <a:ext cx="474908"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Cote </a:t>
            </a:r>
            <a:br>
              <a:rPr lang="en-US" sz="1000" b="1" dirty="0" smtClean="0">
                <a:solidFill>
                  <a:srgbClr val="000000"/>
                </a:solidFill>
              </a:rPr>
            </a:br>
            <a:r>
              <a:rPr lang="en-US" sz="1000" b="1" dirty="0" smtClean="0">
                <a:solidFill>
                  <a:srgbClr val="000000"/>
                </a:solidFill>
              </a:rPr>
              <a:t>d’Ivoire</a:t>
            </a:r>
            <a:endParaRPr lang="en-US" sz="1000" b="1" dirty="0">
              <a:solidFill>
                <a:srgbClr val="000000"/>
              </a:solidFill>
            </a:endParaRPr>
          </a:p>
        </p:txBody>
      </p:sp>
      <p:sp>
        <p:nvSpPr>
          <p:cNvPr id="455" name="Freeform 454"/>
          <p:cNvSpPr/>
          <p:nvPr/>
        </p:nvSpPr>
        <p:spPr bwMode="gray">
          <a:xfrm>
            <a:off x="5166360" y="3225800"/>
            <a:ext cx="184195" cy="347980"/>
          </a:xfrm>
          <a:custGeom>
            <a:avLst/>
            <a:gdLst>
              <a:gd name="connsiteX0" fmla="*/ 0 w 139700"/>
              <a:gd name="connsiteY0" fmla="*/ 273050 h 273050"/>
              <a:gd name="connsiteX1" fmla="*/ 139700 w 139700"/>
              <a:gd name="connsiteY1" fmla="*/ 184150 h 273050"/>
              <a:gd name="connsiteX2" fmla="*/ 139700 w 139700"/>
              <a:gd name="connsiteY2" fmla="*/ 0 h 273050"/>
            </a:gdLst>
            <a:ahLst/>
            <a:cxnLst>
              <a:cxn ang="0">
                <a:pos x="connsiteX0" y="connsiteY0"/>
              </a:cxn>
              <a:cxn ang="0">
                <a:pos x="connsiteX1" y="connsiteY1"/>
              </a:cxn>
              <a:cxn ang="0">
                <a:pos x="connsiteX2" y="connsiteY2"/>
              </a:cxn>
            </a:cxnLst>
            <a:rect l="l" t="t" r="r" b="b"/>
            <a:pathLst>
              <a:path w="139700" h="273050">
                <a:moveTo>
                  <a:pt x="0" y="273050"/>
                </a:moveTo>
                <a:lnTo>
                  <a:pt x="139700" y="184150"/>
                </a:lnTo>
                <a:lnTo>
                  <a:pt x="13970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56" name="Rectangle 8"/>
          <p:cNvSpPr txBox="1"/>
          <p:nvPr/>
        </p:nvSpPr>
        <p:spPr bwMode="gray">
          <a:xfrm>
            <a:off x="5765286" y="3856498"/>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Congo</a:t>
            </a:r>
            <a:endParaRPr lang="en-US" sz="1000" b="1" dirty="0">
              <a:solidFill>
                <a:srgbClr val="000000"/>
              </a:solidFill>
            </a:endParaRPr>
          </a:p>
        </p:txBody>
      </p:sp>
      <p:sp>
        <p:nvSpPr>
          <p:cNvPr id="457" name="Freeform 456"/>
          <p:cNvSpPr/>
          <p:nvPr/>
        </p:nvSpPr>
        <p:spPr bwMode="gray">
          <a:xfrm>
            <a:off x="6196965" y="3642360"/>
            <a:ext cx="312420" cy="289560"/>
          </a:xfrm>
          <a:custGeom>
            <a:avLst/>
            <a:gdLst>
              <a:gd name="connsiteX0" fmla="*/ 0 w 312420"/>
              <a:gd name="connsiteY0" fmla="*/ 289560 h 289560"/>
              <a:gd name="connsiteX1" fmla="*/ 114300 w 312420"/>
              <a:gd name="connsiteY1" fmla="*/ 289560 h 289560"/>
              <a:gd name="connsiteX2" fmla="*/ 312420 w 312420"/>
              <a:gd name="connsiteY2" fmla="*/ 0 h 289560"/>
            </a:gdLst>
            <a:ahLst/>
            <a:cxnLst>
              <a:cxn ang="0">
                <a:pos x="connsiteX0" y="connsiteY0"/>
              </a:cxn>
              <a:cxn ang="0">
                <a:pos x="connsiteX1" y="connsiteY1"/>
              </a:cxn>
              <a:cxn ang="0">
                <a:pos x="connsiteX2" y="connsiteY2"/>
              </a:cxn>
            </a:cxnLst>
            <a:rect l="l" t="t" r="r" b="b"/>
            <a:pathLst>
              <a:path w="312420" h="289560">
                <a:moveTo>
                  <a:pt x="0" y="289560"/>
                </a:moveTo>
                <a:lnTo>
                  <a:pt x="114300" y="289560"/>
                </a:lnTo>
                <a:lnTo>
                  <a:pt x="31242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458" name="Line 136"/>
          <p:cNvSpPr>
            <a:spLocks noChangeShapeType="1"/>
          </p:cNvSpPr>
          <p:nvPr/>
        </p:nvSpPr>
        <p:spPr bwMode="gray">
          <a:xfrm flipH="1">
            <a:off x="6349738" y="5183312"/>
            <a:ext cx="725093" cy="0"/>
          </a:xfrm>
          <a:prstGeom prst="line">
            <a:avLst/>
          </a:prstGeom>
          <a:noFill/>
          <a:ln w="12700">
            <a:solidFill>
              <a:schemeClr val="accent4"/>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CA" dirty="0">
              <a:solidFill>
                <a:srgbClr val="FFFFFF"/>
              </a:solidFill>
              <a:latin typeface="+mn-lt"/>
            </a:endParaRPr>
          </a:p>
        </p:txBody>
      </p:sp>
      <p:sp>
        <p:nvSpPr>
          <p:cNvPr id="459" name="Rectangle 115"/>
          <p:cNvSpPr>
            <a:spLocks noChangeArrowheads="1"/>
          </p:cNvSpPr>
          <p:nvPr/>
        </p:nvSpPr>
        <p:spPr bwMode="gray">
          <a:xfrm>
            <a:off x="5813110" y="5084078"/>
            <a:ext cx="49853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95350">
              <a:buClr>
                <a:srgbClr val="002960"/>
              </a:buClr>
            </a:pPr>
            <a:r>
              <a:rPr lang="en-US" sz="1000" b="1" dirty="0">
                <a:solidFill>
                  <a:srgbClr val="000000"/>
                </a:solidFill>
                <a:latin typeface="+mn-lt"/>
                <a:ea typeface="Arial Unicode MS" pitchFamily="34" charset="-128"/>
                <a:cs typeface="Arial Unicode MS" pitchFamily="34" charset="-128"/>
              </a:rPr>
              <a:t>Lesotho</a:t>
            </a:r>
          </a:p>
        </p:txBody>
      </p:sp>
      <p:sp>
        <p:nvSpPr>
          <p:cNvPr id="460" name="Rectangle 107"/>
          <p:cNvSpPr>
            <a:spLocks noChangeArrowheads="1"/>
          </p:cNvSpPr>
          <p:nvPr/>
        </p:nvSpPr>
        <p:spPr bwMode="gray">
          <a:xfrm>
            <a:off x="6016689" y="3577312"/>
            <a:ext cx="40556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95350">
              <a:buClr>
                <a:srgbClr val="002960"/>
              </a:buClr>
            </a:pPr>
            <a:r>
              <a:rPr lang="en-US" sz="1000" b="1" dirty="0">
                <a:solidFill>
                  <a:srgbClr val="000000"/>
                </a:solidFill>
                <a:latin typeface="+mn-lt"/>
                <a:ea typeface="Arial Unicode MS" pitchFamily="34" charset="-128"/>
                <a:cs typeface="Arial Unicode MS" pitchFamily="34" charset="-128"/>
              </a:rPr>
              <a:t>Gabon</a:t>
            </a:r>
          </a:p>
        </p:txBody>
      </p:sp>
      <p:sp>
        <p:nvSpPr>
          <p:cNvPr id="461" name="Rectangle 78"/>
          <p:cNvSpPr>
            <a:spLocks noChangeArrowheads="1"/>
          </p:cNvSpPr>
          <p:nvPr/>
        </p:nvSpPr>
        <p:spPr bwMode="gray">
          <a:xfrm>
            <a:off x="4567303" y="3948476"/>
            <a:ext cx="7662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95350">
              <a:buClr>
                <a:srgbClr val="002960"/>
              </a:buClr>
            </a:pPr>
            <a:r>
              <a:rPr lang="en-US" sz="1000" b="1" dirty="0">
                <a:solidFill>
                  <a:srgbClr val="000000"/>
                </a:solidFill>
                <a:latin typeface="+mn-lt"/>
                <a:ea typeface="Arial Unicode MS" pitchFamily="34" charset="-128"/>
                <a:cs typeface="Arial Unicode MS" pitchFamily="34" charset="-128"/>
              </a:rPr>
              <a:t>Sao Tome </a:t>
            </a:r>
            <a:r>
              <a:rPr lang="en-US" sz="1000" b="1" dirty="0" smtClean="0">
                <a:solidFill>
                  <a:srgbClr val="000000"/>
                </a:solidFill>
                <a:latin typeface="+mn-lt"/>
                <a:ea typeface="Arial Unicode MS" pitchFamily="34" charset="-128"/>
                <a:cs typeface="Arial Unicode MS" pitchFamily="34" charset="-128"/>
              </a:rPr>
              <a:t/>
            </a:r>
            <a:br>
              <a:rPr lang="en-US" sz="1000" b="1" dirty="0" smtClean="0">
                <a:solidFill>
                  <a:srgbClr val="000000"/>
                </a:solidFill>
                <a:latin typeface="+mn-lt"/>
                <a:ea typeface="Arial Unicode MS" pitchFamily="34" charset="-128"/>
                <a:cs typeface="Arial Unicode MS" pitchFamily="34" charset="-128"/>
              </a:rPr>
            </a:br>
            <a:r>
              <a:rPr lang="en-US" sz="1000" b="1" dirty="0" smtClean="0">
                <a:solidFill>
                  <a:srgbClr val="000000"/>
                </a:solidFill>
                <a:latin typeface="+mn-lt"/>
                <a:ea typeface="Arial Unicode MS" pitchFamily="34" charset="-128"/>
                <a:cs typeface="Arial Unicode MS" pitchFamily="34" charset="-128"/>
              </a:rPr>
              <a:t>and Principe</a:t>
            </a:r>
            <a:endParaRPr lang="en-US" sz="1000" b="1" dirty="0">
              <a:solidFill>
                <a:srgbClr val="000000"/>
              </a:solidFill>
              <a:latin typeface="+mn-lt"/>
              <a:ea typeface="Arial Unicode MS" pitchFamily="34" charset="-128"/>
              <a:cs typeface="Arial Unicode MS" pitchFamily="34" charset="-128"/>
            </a:endParaRPr>
          </a:p>
        </p:txBody>
      </p:sp>
      <p:sp>
        <p:nvSpPr>
          <p:cNvPr id="462" name="Freeform 461"/>
          <p:cNvSpPr/>
          <p:nvPr/>
        </p:nvSpPr>
        <p:spPr bwMode="gray">
          <a:xfrm>
            <a:off x="5355676" y="3559946"/>
            <a:ext cx="594804" cy="506027"/>
          </a:xfrm>
          <a:custGeom>
            <a:avLst/>
            <a:gdLst>
              <a:gd name="connsiteX0" fmla="*/ 594804 w 594804"/>
              <a:gd name="connsiteY0" fmla="*/ 0 h 506027"/>
              <a:gd name="connsiteX1" fmla="*/ 88777 w 594804"/>
              <a:gd name="connsiteY1" fmla="*/ 506027 h 506027"/>
              <a:gd name="connsiteX2" fmla="*/ 0 w 594804"/>
              <a:gd name="connsiteY2" fmla="*/ 506027 h 506027"/>
            </a:gdLst>
            <a:ahLst/>
            <a:cxnLst>
              <a:cxn ang="0">
                <a:pos x="connsiteX0" y="connsiteY0"/>
              </a:cxn>
              <a:cxn ang="0">
                <a:pos x="connsiteX1" y="connsiteY1"/>
              </a:cxn>
              <a:cxn ang="0">
                <a:pos x="connsiteX2" y="connsiteY2"/>
              </a:cxn>
            </a:cxnLst>
            <a:rect l="l" t="t" r="r" b="b"/>
            <a:pathLst>
              <a:path w="594804" h="506027">
                <a:moveTo>
                  <a:pt x="594804" y="0"/>
                </a:moveTo>
                <a:lnTo>
                  <a:pt x="88777" y="506027"/>
                </a:lnTo>
                <a:lnTo>
                  <a:pt x="0" y="506027"/>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cxnSp>
        <p:nvCxnSpPr>
          <p:cNvPr id="463" name="Straight Connector 462"/>
          <p:cNvCxnSpPr/>
          <p:nvPr/>
        </p:nvCxnSpPr>
        <p:spPr bwMode="gray">
          <a:xfrm>
            <a:off x="5648105" y="3264702"/>
            <a:ext cx="0" cy="218416"/>
          </a:xfrm>
          <a:prstGeom prst="lin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464" name="Freeform 463"/>
          <p:cNvSpPr/>
          <p:nvPr/>
        </p:nvSpPr>
        <p:spPr bwMode="gray">
          <a:xfrm>
            <a:off x="5005115" y="3225800"/>
            <a:ext cx="139700" cy="273050"/>
          </a:xfrm>
          <a:custGeom>
            <a:avLst/>
            <a:gdLst>
              <a:gd name="connsiteX0" fmla="*/ 0 w 139700"/>
              <a:gd name="connsiteY0" fmla="*/ 273050 h 273050"/>
              <a:gd name="connsiteX1" fmla="*/ 139700 w 139700"/>
              <a:gd name="connsiteY1" fmla="*/ 184150 h 273050"/>
              <a:gd name="connsiteX2" fmla="*/ 139700 w 139700"/>
              <a:gd name="connsiteY2" fmla="*/ 0 h 273050"/>
            </a:gdLst>
            <a:ahLst/>
            <a:cxnLst>
              <a:cxn ang="0">
                <a:pos x="connsiteX0" y="connsiteY0"/>
              </a:cxn>
              <a:cxn ang="0">
                <a:pos x="connsiteX1" y="connsiteY1"/>
              </a:cxn>
              <a:cxn ang="0">
                <a:pos x="connsiteX2" y="connsiteY2"/>
              </a:cxn>
            </a:cxnLst>
            <a:rect l="l" t="t" r="r" b="b"/>
            <a:pathLst>
              <a:path w="139700" h="273050">
                <a:moveTo>
                  <a:pt x="0" y="273050"/>
                </a:moveTo>
                <a:lnTo>
                  <a:pt x="139700" y="184150"/>
                </a:lnTo>
                <a:lnTo>
                  <a:pt x="13970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65" name="Rectangle 8"/>
          <p:cNvSpPr txBox="1"/>
          <p:nvPr/>
        </p:nvSpPr>
        <p:spPr bwMode="gray">
          <a:xfrm>
            <a:off x="4598999" y="3449878"/>
            <a:ext cx="43619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Liberia</a:t>
            </a:r>
            <a:endParaRPr lang="en-US" sz="1000" b="1" dirty="0">
              <a:solidFill>
                <a:srgbClr val="000000"/>
              </a:solidFill>
            </a:endParaRPr>
          </a:p>
        </p:txBody>
      </p:sp>
      <p:sp>
        <p:nvSpPr>
          <p:cNvPr id="466" name="Rectangle 8"/>
          <p:cNvSpPr txBox="1"/>
          <p:nvPr/>
        </p:nvSpPr>
        <p:spPr bwMode="gray">
          <a:xfrm>
            <a:off x="4479791" y="3140690"/>
            <a:ext cx="383674"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Sierra Leone</a:t>
            </a:r>
            <a:endParaRPr lang="en-US" sz="1000" b="1" dirty="0">
              <a:solidFill>
                <a:srgbClr val="000000"/>
              </a:solidFill>
            </a:endParaRPr>
          </a:p>
        </p:txBody>
      </p:sp>
      <p:sp>
        <p:nvSpPr>
          <p:cNvPr id="467" name="Freeform 466"/>
          <p:cNvSpPr/>
          <p:nvPr/>
        </p:nvSpPr>
        <p:spPr bwMode="gray">
          <a:xfrm>
            <a:off x="4862989" y="3131344"/>
            <a:ext cx="202406" cy="152400"/>
          </a:xfrm>
          <a:custGeom>
            <a:avLst/>
            <a:gdLst>
              <a:gd name="connsiteX0" fmla="*/ 0 w 202406"/>
              <a:gd name="connsiteY0" fmla="*/ 152400 h 152400"/>
              <a:gd name="connsiteX1" fmla="*/ 66675 w 202406"/>
              <a:gd name="connsiteY1" fmla="*/ 69056 h 152400"/>
              <a:gd name="connsiteX2" fmla="*/ 202406 w 202406"/>
              <a:gd name="connsiteY2" fmla="*/ 0 h 152400"/>
            </a:gdLst>
            <a:ahLst/>
            <a:cxnLst>
              <a:cxn ang="0">
                <a:pos x="connsiteX0" y="connsiteY0"/>
              </a:cxn>
              <a:cxn ang="0">
                <a:pos x="connsiteX1" y="connsiteY1"/>
              </a:cxn>
              <a:cxn ang="0">
                <a:pos x="connsiteX2" y="connsiteY2"/>
              </a:cxn>
            </a:cxnLst>
            <a:rect l="l" t="t" r="r" b="b"/>
            <a:pathLst>
              <a:path w="202406" h="152400">
                <a:moveTo>
                  <a:pt x="0" y="152400"/>
                </a:moveTo>
                <a:lnTo>
                  <a:pt x="66675" y="69056"/>
                </a:lnTo>
                <a:lnTo>
                  <a:pt x="202406"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68" name="Rectangle 8"/>
          <p:cNvSpPr txBox="1"/>
          <p:nvPr/>
        </p:nvSpPr>
        <p:spPr bwMode="gray">
          <a:xfrm>
            <a:off x="4384430" y="3012026"/>
            <a:ext cx="50308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Senegal</a:t>
            </a:r>
            <a:endParaRPr lang="en-US" sz="1000" b="1" dirty="0">
              <a:solidFill>
                <a:srgbClr val="000000"/>
              </a:solidFill>
            </a:endParaRPr>
          </a:p>
        </p:txBody>
      </p:sp>
      <p:sp>
        <p:nvSpPr>
          <p:cNvPr id="469" name="Rectangle 8"/>
          <p:cNvSpPr txBox="1"/>
          <p:nvPr/>
        </p:nvSpPr>
        <p:spPr bwMode="gray">
          <a:xfrm>
            <a:off x="4418652" y="2848694"/>
            <a:ext cx="50308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000" b="1" dirty="0" smtClean="0">
                <a:solidFill>
                  <a:srgbClr val="000000"/>
                </a:solidFill>
              </a:rPr>
              <a:t>Gambia</a:t>
            </a:r>
            <a:endParaRPr lang="en-US" sz="1000" b="1" dirty="0">
              <a:solidFill>
                <a:srgbClr val="000000"/>
              </a:solidFill>
            </a:endParaRPr>
          </a:p>
        </p:txBody>
      </p:sp>
      <p:sp>
        <p:nvSpPr>
          <p:cNvPr id="470" name="Freeform 469"/>
          <p:cNvSpPr/>
          <p:nvPr/>
        </p:nvSpPr>
        <p:spPr bwMode="gray">
          <a:xfrm>
            <a:off x="4870727" y="2884052"/>
            <a:ext cx="102013" cy="199390"/>
          </a:xfrm>
          <a:custGeom>
            <a:avLst/>
            <a:gdLst>
              <a:gd name="connsiteX0" fmla="*/ 0 w 139700"/>
              <a:gd name="connsiteY0" fmla="*/ 273050 h 273050"/>
              <a:gd name="connsiteX1" fmla="*/ 139700 w 139700"/>
              <a:gd name="connsiteY1" fmla="*/ 184150 h 273050"/>
              <a:gd name="connsiteX2" fmla="*/ 139700 w 139700"/>
              <a:gd name="connsiteY2" fmla="*/ 0 h 273050"/>
            </a:gdLst>
            <a:ahLst/>
            <a:cxnLst>
              <a:cxn ang="0">
                <a:pos x="connsiteX0" y="connsiteY0"/>
              </a:cxn>
              <a:cxn ang="0">
                <a:pos x="connsiteX1" y="connsiteY1"/>
              </a:cxn>
              <a:cxn ang="0">
                <a:pos x="connsiteX2" y="connsiteY2"/>
              </a:cxn>
            </a:cxnLst>
            <a:rect l="l" t="t" r="r" b="b"/>
            <a:pathLst>
              <a:path w="139700" h="273050">
                <a:moveTo>
                  <a:pt x="0" y="273050"/>
                </a:moveTo>
                <a:lnTo>
                  <a:pt x="139700" y="184150"/>
                </a:lnTo>
                <a:lnTo>
                  <a:pt x="13970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solidFill>
                <a:srgbClr val="FFFFFF"/>
              </a:solidFill>
            </a:endParaRPr>
          </a:p>
        </p:txBody>
      </p:sp>
      <p:sp>
        <p:nvSpPr>
          <p:cNvPr id="471" name="Freeform 470"/>
          <p:cNvSpPr/>
          <p:nvPr/>
        </p:nvSpPr>
        <p:spPr bwMode="gray">
          <a:xfrm>
            <a:off x="5137243" y="3006806"/>
            <a:ext cx="129540" cy="152400"/>
          </a:xfrm>
          <a:custGeom>
            <a:avLst/>
            <a:gdLst>
              <a:gd name="connsiteX0" fmla="*/ 121920 w 121920"/>
              <a:gd name="connsiteY0" fmla="*/ 0 h 121920"/>
              <a:gd name="connsiteX1" fmla="*/ 121920 w 121920"/>
              <a:gd name="connsiteY1" fmla="*/ 91440 h 121920"/>
              <a:gd name="connsiteX2" fmla="*/ 0 w 121920"/>
              <a:gd name="connsiteY2" fmla="*/ 121920 h 121920"/>
            </a:gdLst>
            <a:ahLst/>
            <a:cxnLst>
              <a:cxn ang="0">
                <a:pos x="connsiteX0" y="connsiteY0"/>
              </a:cxn>
              <a:cxn ang="0">
                <a:pos x="connsiteX1" y="connsiteY1"/>
              </a:cxn>
              <a:cxn ang="0">
                <a:pos x="connsiteX2" y="connsiteY2"/>
              </a:cxn>
            </a:cxnLst>
            <a:rect l="l" t="t" r="r" b="b"/>
            <a:pathLst>
              <a:path w="121920" h="121920">
                <a:moveTo>
                  <a:pt x="121920" y="0"/>
                </a:moveTo>
                <a:lnTo>
                  <a:pt x="121920" y="91440"/>
                </a:lnTo>
                <a:lnTo>
                  <a:pt x="0" y="12192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215" name="Rectangle 8"/>
          <p:cNvSpPr txBox="1"/>
          <p:nvPr/>
        </p:nvSpPr>
        <p:spPr bwMode="gray">
          <a:xfrm>
            <a:off x="6589209" y="3539331"/>
            <a:ext cx="625172"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rgbClr val="002960"/>
              </a:buClr>
              <a:defRPr sz="1000" b="1" baseline="0">
                <a:solidFill>
                  <a:srgbClr val="FFFFFF"/>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Congo</a:t>
            </a:r>
            <a:br>
              <a:rPr lang="en-US" dirty="0"/>
            </a:br>
            <a:r>
              <a:rPr lang="en-US" dirty="0"/>
              <a:t>Dem. Rep.</a:t>
            </a:r>
          </a:p>
        </p:txBody>
      </p:sp>
      <p:sp>
        <p:nvSpPr>
          <p:cNvPr id="216" name="Rectangle 8"/>
          <p:cNvSpPr txBox="1"/>
          <p:nvPr/>
        </p:nvSpPr>
        <p:spPr bwMode="gray">
          <a:xfrm>
            <a:off x="6834810" y="4249269"/>
            <a:ext cx="44723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rgbClr val="002960"/>
              </a:buClr>
              <a:defRPr sz="1000" b="1" baseline="0">
                <a:solidFill>
                  <a:srgbClr val="FFFFFF"/>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Zambia</a:t>
            </a:r>
          </a:p>
        </p:txBody>
      </p:sp>
      <p:sp>
        <p:nvSpPr>
          <p:cNvPr id="217" name="Rectangle 8"/>
          <p:cNvSpPr txBox="1"/>
          <p:nvPr/>
        </p:nvSpPr>
        <p:spPr bwMode="gray">
          <a:xfrm>
            <a:off x="6440202" y="4116938"/>
            <a:ext cx="43441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algn="ctr" defTabSz="895350" eaLnBrk="1" hangingPunct="1">
              <a:buClr>
                <a:srgbClr val="002960"/>
              </a:buClr>
              <a:defRPr sz="1000" b="1" baseline="0">
                <a:solidFill>
                  <a:srgbClr val="FFFFFF"/>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Angola</a:t>
            </a:r>
          </a:p>
        </p:txBody>
      </p:sp>
      <p:sp>
        <p:nvSpPr>
          <p:cNvPr id="228" name="Oval 213"/>
          <p:cNvSpPr>
            <a:spLocks noChangeArrowheads="1"/>
          </p:cNvSpPr>
          <p:nvPr/>
        </p:nvSpPr>
        <p:spPr bwMode="gray">
          <a:xfrm>
            <a:off x="7951374" y="4176706"/>
            <a:ext cx="101091" cy="106343"/>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650" name="Oval 213"/>
          <p:cNvSpPr>
            <a:spLocks noChangeArrowheads="1"/>
          </p:cNvSpPr>
          <p:nvPr/>
        </p:nvSpPr>
        <p:spPr bwMode="gray">
          <a:xfrm>
            <a:off x="3534737" y="4176706"/>
            <a:ext cx="101091" cy="106343"/>
          </a:xfrm>
          <a:prstGeom prst="ellipse">
            <a:avLst/>
          </a:prstGeom>
          <a:solidFill>
            <a:schemeClr val="accent2"/>
          </a:solidFill>
          <a:ln w="9525" cap="flat" cmpd="sng">
            <a:solidFill>
              <a:schemeClr val="bg1"/>
            </a:solidFill>
            <a:prstDash val="solid"/>
            <a:round/>
            <a:headEnd type="none" w="med" len="med"/>
            <a:tailEnd type="none" w="med" len="med"/>
          </a:ln>
          <a:effectLst/>
          <a:extLst/>
        </p:spPr>
        <p:txBody>
          <a:bodyPr wrap="none" lIns="0" tIns="0" rIns="0" bIns="0" anchor="ctr">
            <a:noAutofit/>
          </a:bodyPr>
          <a:lstStyle/>
          <a:p>
            <a:endParaRPr lang="en-ZA" dirty="0">
              <a:solidFill>
                <a:srgbClr val="000000"/>
              </a:solidFill>
            </a:endParaRPr>
          </a:p>
        </p:txBody>
      </p:sp>
      <p:sp>
        <p:nvSpPr>
          <p:cNvPr id="450" name="Freeform 449"/>
          <p:cNvSpPr/>
          <p:nvPr/>
        </p:nvSpPr>
        <p:spPr bwMode="gray">
          <a:xfrm>
            <a:off x="7246620" y="3810000"/>
            <a:ext cx="1028700" cy="586740"/>
          </a:xfrm>
          <a:custGeom>
            <a:avLst/>
            <a:gdLst>
              <a:gd name="connsiteX0" fmla="*/ 982980 w 982980"/>
              <a:gd name="connsiteY0" fmla="*/ 396240 h 396240"/>
              <a:gd name="connsiteX1" fmla="*/ 99060 w 982980"/>
              <a:gd name="connsiteY1" fmla="*/ 121920 h 396240"/>
              <a:gd name="connsiteX2" fmla="*/ 0 w 982980"/>
              <a:gd name="connsiteY2" fmla="*/ 0 h 396240"/>
            </a:gdLst>
            <a:ahLst/>
            <a:cxnLst>
              <a:cxn ang="0">
                <a:pos x="connsiteX0" y="connsiteY0"/>
              </a:cxn>
              <a:cxn ang="0">
                <a:pos x="connsiteX1" y="connsiteY1"/>
              </a:cxn>
              <a:cxn ang="0">
                <a:pos x="connsiteX2" y="connsiteY2"/>
              </a:cxn>
            </a:cxnLst>
            <a:rect l="l" t="t" r="r" b="b"/>
            <a:pathLst>
              <a:path w="982980" h="396240">
                <a:moveTo>
                  <a:pt x="982980" y="396240"/>
                </a:moveTo>
                <a:lnTo>
                  <a:pt x="99060" y="121920"/>
                </a:lnTo>
                <a:lnTo>
                  <a:pt x="0" y="0"/>
                </a:lnTo>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solidFill>
                <a:srgbClr val="FFFFFF"/>
              </a:solidFill>
            </a:endParaRPr>
          </a:p>
        </p:txBody>
      </p:sp>
      <p:sp>
        <p:nvSpPr>
          <p:cNvPr id="219" name="TextBox 218"/>
          <p:cNvSpPr txBox="1"/>
          <p:nvPr/>
        </p:nvSpPr>
        <p:spPr>
          <a:xfrm>
            <a:off x="8545514" y="6435725"/>
            <a:ext cx="208756" cy="152400"/>
          </a:xfrm>
          <a:prstGeom prst="rect">
            <a:avLst/>
          </a:prstGeom>
          <a:noFill/>
        </p:spPr>
        <p:txBody>
          <a:bodyPr vert="horz" wrap="none" lIns="0" tIns="0" rIns="0" bIns="0" rtlCol="0">
            <a:noAutofit/>
          </a:bodyPr>
          <a:lstStyle/>
          <a:p>
            <a:pPr algn="l"/>
            <a:fld id="{EE9006DD-5909-4658-A007-A16E4E446A23}" type="slidenum">
              <a:rPr lang="en-US" sz="1000" b="0" i="0" baseline="0" smtClean="0"/>
              <a:pPr algn="l"/>
              <a:t>3</a:t>
            </a:fld>
            <a:endParaRPr lang="en-US" sz="1000" b="0" i="0" baseline="0"/>
          </a:p>
        </p:txBody>
      </p:sp>
      <p:sp>
        <p:nvSpPr>
          <p:cNvPr id="220" name="TextBox 219"/>
          <p:cNvSpPr txBox="1"/>
          <p:nvPr/>
        </p:nvSpPr>
        <p:spPr>
          <a:xfrm>
            <a:off x="8545514" y="6435725"/>
            <a:ext cx="208756" cy="152400"/>
          </a:xfrm>
          <a:prstGeom prst="rect">
            <a:avLst/>
          </a:prstGeom>
          <a:noFill/>
        </p:spPr>
        <p:txBody>
          <a:bodyPr vert="horz" wrap="none" lIns="0" tIns="0" rIns="0" bIns="0" rtlCol="0">
            <a:noAutofit/>
          </a:bodyPr>
          <a:lstStyle/>
          <a:p>
            <a:pPr algn="l"/>
            <a:fld id="{5A10F79C-1D41-4ABC-822A-DD97D9BAFB3D}" type="slidenum">
              <a:rPr lang="en-US" sz="1000" b="0" i="0" baseline="0" smtClean="0"/>
              <a:pPr algn="l"/>
              <a:t>3</a:t>
            </a:fld>
            <a:endParaRPr lang="en-US" sz="1000" b="0" i="0" baseline="0"/>
          </a:p>
        </p:txBody>
      </p:sp>
      <p:sp>
        <p:nvSpPr>
          <p:cNvPr id="221" name="TextBox 220"/>
          <p:cNvSpPr txBox="1"/>
          <p:nvPr/>
        </p:nvSpPr>
        <p:spPr>
          <a:xfrm>
            <a:off x="8545514" y="6435725"/>
            <a:ext cx="208756" cy="152400"/>
          </a:xfrm>
          <a:prstGeom prst="rect">
            <a:avLst/>
          </a:prstGeom>
          <a:noFill/>
        </p:spPr>
        <p:txBody>
          <a:bodyPr vert="horz" wrap="none" lIns="0" tIns="0" rIns="0" bIns="0" rtlCol="0">
            <a:noAutofit/>
          </a:bodyPr>
          <a:lstStyle/>
          <a:p>
            <a:pPr algn="l"/>
            <a:fld id="{D00A8529-4812-4B3A-B771-B4982336BE91}" type="slidenum">
              <a:rPr lang="en-US" sz="1000" b="0" i="0" baseline="0" smtClean="0"/>
              <a:pPr algn="l"/>
              <a:t>3</a:t>
            </a:fld>
            <a:endParaRPr lang="en-US" sz="1000" b="0" i="0" baseline="0"/>
          </a:p>
        </p:txBody>
      </p:sp>
    </p:spTree>
    <p:extLst>
      <p:ext uri="{BB962C8B-B14F-4D97-AF65-F5344CB8AC3E}">
        <p14:creationId xmlns:p14="http://schemas.microsoft.com/office/powerpoint/2010/main" val="200592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7" name="Object 226" hidden="1"/>
          <p:cNvGraphicFramePr>
            <a:graphicFrameLocks noChangeAspect="1"/>
          </p:cNvGraphicFramePr>
          <p:nvPr>
            <p:custDataLst>
              <p:tags r:id="rId2"/>
            </p:custDataLst>
            <p:extLst>
              <p:ext uri="{D42A27DB-BD31-4B8C-83A1-F6EECF244321}">
                <p14:modId xmlns:p14="http://schemas.microsoft.com/office/powerpoint/2010/main" val="39085516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41" name="think-cell Slide" r:id="rId60" imgW="270" imgH="270" progId="TCLayout.ActiveDocument.1">
                  <p:embed/>
                </p:oleObj>
              </mc:Choice>
              <mc:Fallback>
                <p:oleObj name="think-cell Slide" r:id="rId60" imgW="270" imgH="270" progId="TCLayout.ActiveDocument.1">
                  <p:embed/>
                  <p:pic>
                    <p:nvPicPr>
                      <p:cNvPr id="0" name=""/>
                      <p:cNvPicPr/>
                      <p:nvPr/>
                    </p:nvPicPr>
                    <p:blipFill>
                      <a:blip r:embed="rId61"/>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30 cities across Africa will witness consumption growth of more than USD 2 billion in the next 5 years</a:t>
            </a:r>
            <a:endParaRPr lang="en-GB" dirty="0"/>
          </a:p>
        </p:txBody>
      </p:sp>
      <p:sp>
        <p:nvSpPr>
          <p:cNvPr id="11" name="McK 3. Unit of measure"/>
          <p:cNvSpPr txBox="1">
            <a:spLocks noChangeArrowheads="1"/>
          </p:cNvSpPr>
          <p:nvPr/>
        </p:nvSpPr>
        <p:spPr bwMode="gray">
          <a:xfrm>
            <a:off x="119062" y="818032"/>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a:solidFill>
                  <a:srgbClr val="808080"/>
                </a:solidFill>
                <a:latin typeface="Arial"/>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Top African cities by consumption growth, </a:t>
            </a:r>
            <a:r>
              <a:rPr lang="en-US" dirty="0" smtClean="0"/>
              <a:t>2013–2018</a:t>
            </a:r>
            <a:endParaRPr lang="en-US" dirty="0"/>
          </a:p>
        </p:txBody>
      </p:sp>
      <p:sp>
        <p:nvSpPr>
          <p:cNvPr id="12" name="McK 5. Source"/>
          <p:cNvSpPr>
            <a:spLocks noChangeArrowheads="1"/>
          </p:cNvSpPr>
          <p:nvPr>
            <p:custDataLst>
              <p:tags r:id="rId3"/>
            </p:custDataLst>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latin typeface="Arial"/>
              </a:rPr>
              <a:t>SOURCE: </a:t>
            </a:r>
            <a:r>
              <a:rPr lang="en-US" sz="1000" dirty="0" err="1" smtClean="0">
                <a:solidFill>
                  <a:srgbClr val="000000"/>
                </a:solidFill>
                <a:latin typeface="Arial"/>
              </a:rPr>
              <a:t>Canback</a:t>
            </a:r>
            <a:r>
              <a:rPr lang="en-US" sz="1000" dirty="0" smtClean="0">
                <a:solidFill>
                  <a:srgbClr val="000000"/>
                </a:solidFill>
                <a:latin typeface="Arial"/>
              </a:rPr>
              <a:t> Global Income Distribution Database (</a:t>
            </a:r>
            <a:r>
              <a:rPr lang="en-US" sz="1000" dirty="0">
                <a:solidFill>
                  <a:srgbClr val="000000"/>
                </a:solidFill>
                <a:latin typeface="Arial"/>
              </a:rPr>
              <a:t>C-GIDD)</a:t>
            </a:r>
          </a:p>
        </p:txBody>
      </p:sp>
      <p:grpSp>
        <p:nvGrpSpPr>
          <p:cNvPr id="3" name="Group 2"/>
          <p:cNvGrpSpPr/>
          <p:nvPr/>
        </p:nvGrpSpPr>
        <p:grpSpPr>
          <a:xfrm>
            <a:off x="664051" y="1127885"/>
            <a:ext cx="8297387" cy="5460239"/>
            <a:chOff x="664051" y="979323"/>
            <a:chExt cx="8090219" cy="5608802"/>
          </a:xfrm>
        </p:grpSpPr>
        <p:sp>
          <p:nvSpPr>
            <p:cNvPr id="179" name="Rectangle 40"/>
            <p:cNvSpPr>
              <a:spLocks noChangeArrowheads="1"/>
            </p:cNvSpPr>
            <p:nvPr/>
          </p:nvSpPr>
          <p:spPr bwMode="gray">
            <a:xfrm>
              <a:off x="664051" y="979323"/>
              <a:ext cx="7528560" cy="5407190"/>
            </a:xfrm>
            <a:prstGeom prst="rect">
              <a:avLst/>
            </a:prstGeom>
            <a:solidFill>
              <a:schemeClr val="bg1"/>
            </a:solidFill>
            <a:ln w="19050">
              <a:solidFill>
                <a:schemeClr val="accent1"/>
              </a:solidFill>
              <a:miter lim="800000"/>
              <a:headEnd/>
              <a:tailEnd/>
            </a:ln>
            <a:effectLst/>
            <a:extLst/>
          </p:spPr>
          <p:txBody>
            <a:bodyPr wrap="none" anchor="ctr">
              <a:noAutofit/>
            </a:bodyPr>
            <a:lstStyle/>
            <a:p>
              <a:endParaRPr lang="en-US" dirty="0">
                <a:solidFill>
                  <a:srgbClr val="000000"/>
                </a:solidFill>
              </a:endParaRPr>
            </a:p>
          </p:txBody>
        </p:sp>
        <p:grpSp>
          <p:nvGrpSpPr>
            <p:cNvPr id="180" name="Group 179"/>
            <p:cNvGrpSpPr/>
            <p:nvPr/>
          </p:nvGrpSpPr>
          <p:grpSpPr bwMode="gray">
            <a:xfrm>
              <a:off x="1288925" y="1068628"/>
              <a:ext cx="4838666" cy="5083537"/>
              <a:chOff x="755383" y="-508346"/>
              <a:chExt cx="4838666" cy="5083537"/>
            </a:xfrm>
            <a:solidFill>
              <a:srgbClr val="D0E5FC"/>
            </a:solidFill>
          </p:grpSpPr>
          <p:sp>
            <p:nvSpPr>
              <p:cNvPr id="182" name="Freeform 201"/>
              <p:cNvSpPr>
                <a:spLocks/>
              </p:cNvSpPr>
              <p:nvPr>
                <p:custDataLst>
                  <p:tags r:id="rId4"/>
                </p:custDataLst>
              </p:nvPr>
            </p:nvSpPr>
            <p:spPr bwMode="gray">
              <a:xfrm>
                <a:off x="3683412" y="1320763"/>
                <a:ext cx="831974" cy="580072"/>
              </a:xfrm>
              <a:custGeom>
                <a:avLst/>
                <a:gdLst>
                  <a:gd name="T0" fmla="*/ 445 w 516"/>
                  <a:gd name="T1" fmla="*/ 339 h 385"/>
                  <a:gd name="T2" fmla="*/ 394 w 516"/>
                  <a:gd name="T3" fmla="*/ 376 h 385"/>
                  <a:gd name="T4" fmla="*/ 346 w 516"/>
                  <a:gd name="T5" fmla="*/ 382 h 385"/>
                  <a:gd name="T6" fmla="*/ 324 w 516"/>
                  <a:gd name="T7" fmla="*/ 384 h 385"/>
                  <a:gd name="T8" fmla="*/ 291 w 516"/>
                  <a:gd name="T9" fmla="*/ 385 h 385"/>
                  <a:gd name="T10" fmla="*/ 256 w 516"/>
                  <a:gd name="T11" fmla="*/ 360 h 385"/>
                  <a:gd name="T12" fmla="*/ 219 w 516"/>
                  <a:gd name="T13" fmla="*/ 345 h 385"/>
                  <a:gd name="T14" fmla="*/ 186 w 516"/>
                  <a:gd name="T15" fmla="*/ 352 h 385"/>
                  <a:gd name="T16" fmla="*/ 148 w 516"/>
                  <a:gd name="T17" fmla="*/ 327 h 385"/>
                  <a:gd name="T18" fmla="*/ 133 w 516"/>
                  <a:gd name="T19" fmla="*/ 312 h 385"/>
                  <a:gd name="T20" fmla="*/ 99 w 516"/>
                  <a:gd name="T21" fmla="*/ 277 h 385"/>
                  <a:gd name="T22" fmla="*/ 85 w 516"/>
                  <a:gd name="T23" fmla="*/ 246 h 385"/>
                  <a:gd name="T24" fmla="*/ 54 w 516"/>
                  <a:gd name="T25" fmla="*/ 222 h 385"/>
                  <a:gd name="T26" fmla="*/ 34 w 516"/>
                  <a:gd name="T27" fmla="*/ 192 h 385"/>
                  <a:gd name="T28" fmla="*/ 1 w 516"/>
                  <a:gd name="T29" fmla="*/ 175 h 385"/>
                  <a:gd name="T30" fmla="*/ 22 w 516"/>
                  <a:gd name="T31" fmla="*/ 130 h 385"/>
                  <a:gd name="T32" fmla="*/ 39 w 516"/>
                  <a:gd name="T33" fmla="*/ 93 h 385"/>
                  <a:gd name="T34" fmla="*/ 102 w 516"/>
                  <a:gd name="T35" fmla="*/ 112 h 385"/>
                  <a:gd name="T36" fmla="*/ 163 w 516"/>
                  <a:gd name="T37" fmla="*/ 120 h 385"/>
                  <a:gd name="T38" fmla="*/ 204 w 516"/>
                  <a:gd name="T39" fmla="*/ 124 h 385"/>
                  <a:gd name="T40" fmla="*/ 223 w 516"/>
                  <a:gd name="T41" fmla="*/ 111 h 385"/>
                  <a:gd name="T42" fmla="*/ 256 w 516"/>
                  <a:gd name="T43" fmla="*/ 84 h 385"/>
                  <a:gd name="T44" fmla="*/ 315 w 516"/>
                  <a:gd name="T45" fmla="*/ 112 h 385"/>
                  <a:gd name="T46" fmla="*/ 363 w 516"/>
                  <a:gd name="T47" fmla="*/ 60 h 385"/>
                  <a:gd name="T48" fmla="*/ 352 w 516"/>
                  <a:gd name="T49" fmla="*/ 13 h 385"/>
                  <a:gd name="T50" fmla="*/ 396 w 516"/>
                  <a:gd name="T51" fmla="*/ 46 h 385"/>
                  <a:gd name="T52" fmla="*/ 429 w 516"/>
                  <a:gd name="T53" fmla="*/ 84 h 385"/>
                  <a:gd name="T54" fmla="*/ 432 w 516"/>
                  <a:gd name="T55" fmla="*/ 124 h 385"/>
                  <a:gd name="T56" fmla="*/ 402 w 516"/>
                  <a:gd name="T57" fmla="*/ 171 h 385"/>
                  <a:gd name="T58" fmla="*/ 412 w 516"/>
                  <a:gd name="T59" fmla="*/ 202 h 385"/>
                  <a:gd name="T60" fmla="*/ 450 w 516"/>
                  <a:gd name="T61" fmla="*/ 243 h 385"/>
                  <a:gd name="T62" fmla="*/ 474 w 516"/>
                  <a:gd name="T63" fmla="*/ 289 h 385"/>
                  <a:gd name="T64" fmla="*/ 489 w 516"/>
                  <a:gd name="T65" fmla="*/ 309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6" h="385">
                    <a:moveTo>
                      <a:pt x="508" y="339"/>
                    </a:moveTo>
                    <a:lnTo>
                      <a:pt x="445" y="339"/>
                    </a:lnTo>
                    <a:cubicBezTo>
                      <a:pt x="437" y="347"/>
                      <a:pt x="429" y="352"/>
                      <a:pt x="420" y="358"/>
                    </a:cubicBezTo>
                    <a:cubicBezTo>
                      <a:pt x="416" y="369"/>
                      <a:pt x="405" y="374"/>
                      <a:pt x="394" y="376"/>
                    </a:cubicBezTo>
                    <a:cubicBezTo>
                      <a:pt x="387" y="371"/>
                      <a:pt x="384" y="372"/>
                      <a:pt x="375" y="373"/>
                    </a:cubicBezTo>
                    <a:cubicBezTo>
                      <a:pt x="370" y="381"/>
                      <a:pt x="356" y="380"/>
                      <a:pt x="346" y="382"/>
                    </a:cubicBezTo>
                    <a:cubicBezTo>
                      <a:pt x="341" y="379"/>
                      <a:pt x="337" y="377"/>
                      <a:pt x="334" y="372"/>
                    </a:cubicBezTo>
                    <a:cubicBezTo>
                      <a:pt x="326" y="373"/>
                      <a:pt x="325" y="376"/>
                      <a:pt x="324" y="384"/>
                    </a:cubicBezTo>
                    <a:cubicBezTo>
                      <a:pt x="319" y="381"/>
                      <a:pt x="316" y="379"/>
                      <a:pt x="310" y="378"/>
                    </a:cubicBezTo>
                    <a:cubicBezTo>
                      <a:pt x="300" y="379"/>
                      <a:pt x="298" y="380"/>
                      <a:pt x="291" y="385"/>
                    </a:cubicBezTo>
                    <a:cubicBezTo>
                      <a:pt x="286" y="384"/>
                      <a:pt x="282" y="382"/>
                      <a:pt x="277" y="381"/>
                    </a:cubicBezTo>
                    <a:cubicBezTo>
                      <a:pt x="276" y="375"/>
                      <a:pt x="262" y="361"/>
                      <a:pt x="256" y="360"/>
                    </a:cubicBezTo>
                    <a:cubicBezTo>
                      <a:pt x="248" y="354"/>
                      <a:pt x="247" y="344"/>
                      <a:pt x="241" y="336"/>
                    </a:cubicBezTo>
                    <a:cubicBezTo>
                      <a:pt x="231" y="337"/>
                      <a:pt x="227" y="341"/>
                      <a:pt x="219" y="345"/>
                    </a:cubicBezTo>
                    <a:cubicBezTo>
                      <a:pt x="216" y="351"/>
                      <a:pt x="214" y="346"/>
                      <a:pt x="208" y="345"/>
                    </a:cubicBezTo>
                    <a:cubicBezTo>
                      <a:pt x="197" y="339"/>
                      <a:pt x="193" y="347"/>
                      <a:pt x="186" y="352"/>
                    </a:cubicBezTo>
                    <a:cubicBezTo>
                      <a:pt x="178" y="351"/>
                      <a:pt x="171" y="352"/>
                      <a:pt x="165" y="346"/>
                    </a:cubicBezTo>
                    <a:cubicBezTo>
                      <a:pt x="158" y="339"/>
                      <a:pt x="160" y="329"/>
                      <a:pt x="148" y="327"/>
                    </a:cubicBezTo>
                    <a:cubicBezTo>
                      <a:pt x="147" y="325"/>
                      <a:pt x="147" y="323"/>
                      <a:pt x="145" y="322"/>
                    </a:cubicBezTo>
                    <a:cubicBezTo>
                      <a:pt x="143" y="320"/>
                      <a:pt x="138" y="318"/>
                      <a:pt x="133" y="312"/>
                    </a:cubicBezTo>
                    <a:cubicBezTo>
                      <a:pt x="130" y="296"/>
                      <a:pt x="132" y="288"/>
                      <a:pt x="115" y="285"/>
                    </a:cubicBezTo>
                    <a:cubicBezTo>
                      <a:pt x="111" y="278"/>
                      <a:pt x="107" y="279"/>
                      <a:pt x="99" y="277"/>
                    </a:cubicBezTo>
                    <a:cubicBezTo>
                      <a:pt x="100" y="270"/>
                      <a:pt x="100" y="268"/>
                      <a:pt x="93" y="265"/>
                    </a:cubicBezTo>
                    <a:cubicBezTo>
                      <a:pt x="89" y="257"/>
                      <a:pt x="98" y="248"/>
                      <a:pt x="85" y="246"/>
                    </a:cubicBezTo>
                    <a:cubicBezTo>
                      <a:pt x="76" y="239"/>
                      <a:pt x="76" y="227"/>
                      <a:pt x="64" y="225"/>
                    </a:cubicBezTo>
                    <a:cubicBezTo>
                      <a:pt x="61" y="223"/>
                      <a:pt x="57" y="224"/>
                      <a:pt x="54" y="222"/>
                    </a:cubicBezTo>
                    <a:cubicBezTo>
                      <a:pt x="51" y="220"/>
                      <a:pt x="51" y="216"/>
                      <a:pt x="48" y="214"/>
                    </a:cubicBezTo>
                    <a:cubicBezTo>
                      <a:pt x="50" y="201"/>
                      <a:pt x="47" y="195"/>
                      <a:pt x="34" y="192"/>
                    </a:cubicBezTo>
                    <a:cubicBezTo>
                      <a:pt x="22" y="186"/>
                      <a:pt x="28" y="184"/>
                      <a:pt x="10" y="181"/>
                    </a:cubicBezTo>
                    <a:cubicBezTo>
                      <a:pt x="7" y="178"/>
                      <a:pt x="1" y="179"/>
                      <a:pt x="1" y="175"/>
                    </a:cubicBezTo>
                    <a:cubicBezTo>
                      <a:pt x="0" y="162"/>
                      <a:pt x="2" y="154"/>
                      <a:pt x="13" y="151"/>
                    </a:cubicBezTo>
                    <a:cubicBezTo>
                      <a:pt x="16" y="143"/>
                      <a:pt x="18" y="137"/>
                      <a:pt x="22" y="130"/>
                    </a:cubicBezTo>
                    <a:cubicBezTo>
                      <a:pt x="23" y="122"/>
                      <a:pt x="23" y="115"/>
                      <a:pt x="27" y="108"/>
                    </a:cubicBezTo>
                    <a:cubicBezTo>
                      <a:pt x="29" y="99"/>
                      <a:pt x="32" y="98"/>
                      <a:pt x="39" y="93"/>
                    </a:cubicBezTo>
                    <a:cubicBezTo>
                      <a:pt x="48" y="78"/>
                      <a:pt x="53" y="85"/>
                      <a:pt x="75" y="87"/>
                    </a:cubicBezTo>
                    <a:cubicBezTo>
                      <a:pt x="85" y="90"/>
                      <a:pt x="93" y="107"/>
                      <a:pt x="102" y="112"/>
                    </a:cubicBezTo>
                    <a:cubicBezTo>
                      <a:pt x="104" y="128"/>
                      <a:pt x="116" y="119"/>
                      <a:pt x="129" y="117"/>
                    </a:cubicBezTo>
                    <a:cubicBezTo>
                      <a:pt x="140" y="117"/>
                      <a:pt x="154" y="114"/>
                      <a:pt x="163" y="120"/>
                    </a:cubicBezTo>
                    <a:cubicBezTo>
                      <a:pt x="168" y="123"/>
                      <a:pt x="167" y="126"/>
                      <a:pt x="174" y="127"/>
                    </a:cubicBezTo>
                    <a:cubicBezTo>
                      <a:pt x="184" y="127"/>
                      <a:pt x="196" y="131"/>
                      <a:pt x="204" y="124"/>
                    </a:cubicBezTo>
                    <a:cubicBezTo>
                      <a:pt x="206" y="123"/>
                      <a:pt x="204" y="120"/>
                      <a:pt x="205" y="118"/>
                    </a:cubicBezTo>
                    <a:cubicBezTo>
                      <a:pt x="207" y="110"/>
                      <a:pt x="216" y="112"/>
                      <a:pt x="223" y="111"/>
                    </a:cubicBezTo>
                    <a:cubicBezTo>
                      <a:pt x="237" y="108"/>
                      <a:pt x="225" y="98"/>
                      <a:pt x="240" y="96"/>
                    </a:cubicBezTo>
                    <a:cubicBezTo>
                      <a:pt x="244" y="93"/>
                      <a:pt x="256" y="84"/>
                      <a:pt x="256" y="84"/>
                    </a:cubicBezTo>
                    <a:lnTo>
                      <a:pt x="297" y="112"/>
                    </a:lnTo>
                    <a:lnTo>
                      <a:pt x="315" y="112"/>
                    </a:lnTo>
                    <a:lnTo>
                      <a:pt x="343" y="78"/>
                    </a:lnTo>
                    <a:lnTo>
                      <a:pt x="363" y="60"/>
                    </a:lnTo>
                    <a:lnTo>
                      <a:pt x="366" y="25"/>
                    </a:lnTo>
                    <a:lnTo>
                      <a:pt x="352" y="13"/>
                    </a:lnTo>
                    <a:cubicBezTo>
                      <a:pt x="379" y="12"/>
                      <a:pt x="379" y="19"/>
                      <a:pt x="382" y="0"/>
                    </a:cubicBezTo>
                    <a:cubicBezTo>
                      <a:pt x="402" y="3"/>
                      <a:pt x="388" y="30"/>
                      <a:pt x="396" y="46"/>
                    </a:cubicBezTo>
                    <a:cubicBezTo>
                      <a:pt x="397" y="62"/>
                      <a:pt x="398" y="74"/>
                      <a:pt x="415" y="76"/>
                    </a:cubicBezTo>
                    <a:cubicBezTo>
                      <a:pt x="420" y="79"/>
                      <a:pt x="424" y="82"/>
                      <a:pt x="429" y="84"/>
                    </a:cubicBezTo>
                    <a:cubicBezTo>
                      <a:pt x="430" y="91"/>
                      <a:pt x="430" y="97"/>
                      <a:pt x="427" y="103"/>
                    </a:cubicBezTo>
                    <a:cubicBezTo>
                      <a:pt x="425" y="112"/>
                      <a:pt x="427" y="117"/>
                      <a:pt x="432" y="124"/>
                    </a:cubicBezTo>
                    <a:cubicBezTo>
                      <a:pt x="433" y="148"/>
                      <a:pt x="444" y="162"/>
                      <a:pt x="424" y="166"/>
                    </a:cubicBezTo>
                    <a:cubicBezTo>
                      <a:pt x="418" y="177"/>
                      <a:pt x="413" y="172"/>
                      <a:pt x="402" y="171"/>
                    </a:cubicBezTo>
                    <a:cubicBezTo>
                      <a:pt x="388" y="173"/>
                      <a:pt x="390" y="179"/>
                      <a:pt x="388" y="192"/>
                    </a:cubicBezTo>
                    <a:cubicBezTo>
                      <a:pt x="392" y="211"/>
                      <a:pt x="386" y="201"/>
                      <a:pt x="412" y="202"/>
                    </a:cubicBezTo>
                    <a:cubicBezTo>
                      <a:pt x="420" y="207"/>
                      <a:pt x="424" y="220"/>
                      <a:pt x="432" y="225"/>
                    </a:cubicBezTo>
                    <a:cubicBezTo>
                      <a:pt x="437" y="232"/>
                      <a:pt x="442" y="238"/>
                      <a:pt x="450" y="243"/>
                    </a:cubicBezTo>
                    <a:cubicBezTo>
                      <a:pt x="455" y="250"/>
                      <a:pt x="464" y="252"/>
                      <a:pt x="469" y="259"/>
                    </a:cubicBezTo>
                    <a:cubicBezTo>
                      <a:pt x="472" y="286"/>
                      <a:pt x="468" y="277"/>
                      <a:pt x="474" y="289"/>
                    </a:cubicBezTo>
                    <a:cubicBezTo>
                      <a:pt x="475" y="296"/>
                      <a:pt x="477" y="297"/>
                      <a:pt x="483" y="300"/>
                    </a:cubicBezTo>
                    <a:cubicBezTo>
                      <a:pt x="485" y="303"/>
                      <a:pt x="485" y="308"/>
                      <a:pt x="489" y="309"/>
                    </a:cubicBezTo>
                    <a:cubicBezTo>
                      <a:pt x="516" y="313"/>
                      <a:pt x="503" y="286"/>
                      <a:pt x="508" y="339"/>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183" name="Freeform 202"/>
              <p:cNvSpPr>
                <a:spLocks/>
              </p:cNvSpPr>
              <p:nvPr>
                <p:custDataLst>
                  <p:tags r:id="rId5"/>
                </p:custDataLst>
              </p:nvPr>
            </p:nvSpPr>
            <p:spPr bwMode="gray">
              <a:xfrm>
                <a:off x="3520565" y="567424"/>
                <a:ext cx="1168954" cy="995915"/>
              </a:xfrm>
              <a:custGeom>
                <a:avLst/>
                <a:gdLst>
                  <a:gd name="T0" fmla="*/ 96 w 725"/>
                  <a:gd name="T1" fmla="*/ 348 h 661"/>
                  <a:gd name="T2" fmla="*/ 138 w 725"/>
                  <a:gd name="T3" fmla="*/ 149 h 661"/>
                  <a:gd name="T4" fmla="*/ 465 w 725"/>
                  <a:gd name="T5" fmla="*/ 59 h 661"/>
                  <a:gd name="T6" fmla="*/ 509 w 725"/>
                  <a:gd name="T7" fmla="*/ 72 h 661"/>
                  <a:gd name="T8" fmla="*/ 537 w 725"/>
                  <a:gd name="T9" fmla="*/ 56 h 661"/>
                  <a:gd name="T10" fmla="*/ 566 w 725"/>
                  <a:gd name="T11" fmla="*/ 29 h 661"/>
                  <a:gd name="T12" fmla="*/ 596 w 725"/>
                  <a:gd name="T13" fmla="*/ 3 h 661"/>
                  <a:gd name="T14" fmla="*/ 620 w 725"/>
                  <a:gd name="T15" fmla="*/ 24 h 661"/>
                  <a:gd name="T16" fmla="*/ 633 w 725"/>
                  <a:gd name="T17" fmla="*/ 36 h 661"/>
                  <a:gd name="T18" fmla="*/ 659 w 725"/>
                  <a:gd name="T19" fmla="*/ 78 h 661"/>
                  <a:gd name="T20" fmla="*/ 669 w 725"/>
                  <a:gd name="T21" fmla="*/ 147 h 661"/>
                  <a:gd name="T22" fmla="*/ 694 w 725"/>
                  <a:gd name="T23" fmla="*/ 215 h 661"/>
                  <a:gd name="T24" fmla="*/ 725 w 725"/>
                  <a:gd name="T25" fmla="*/ 242 h 661"/>
                  <a:gd name="T26" fmla="*/ 678 w 725"/>
                  <a:gd name="T27" fmla="*/ 276 h 661"/>
                  <a:gd name="T28" fmla="*/ 653 w 725"/>
                  <a:gd name="T29" fmla="*/ 321 h 661"/>
                  <a:gd name="T30" fmla="*/ 633 w 725"/>
                  <a:gd name="T31" fmla="*/ 378 h 661"/>
                  <a:gd name="T32" fmla="*/ 605 w 725"/>
                  <a:gd name="T33" fmla="*/ 483 h 661"/>
                  <a:gd name="T34" fmla="*/ 584 w 725"/>
                  <a:gd name="T35" fmla="*/ 518 h 661"/>
                  <a:gd name="T36" fmla="*/ 569 w 725"/>
                  <a:gd name="T37" fmla="*/ 552 h 661"/>
                  <a:gd name="T38" fmla="*/ 543 w 725"/>
                  <a:gd name="T39" fmla="*/ 582 h 661"/>
                  <a:gd name="T40" fmla="*/ 527 w 725"/>
                  <a:gd name="T41" fmla="*/ 608 h 661"/>
                  <a:gd name="T42" fmla="*/ 501 w 725"/>
                  <a:gd name="T43" fmla="*/ 561 h 661"/>
                  <a:gd name="T44" fmla="*/ 483 w 725"/>
                  <a:gd name="T45" fmla="*/ 501 h 661"/>
                  <a:gd name="T46" fmla="*/ 452 w 725"/>
                  <a:gd name="T47" fmla="*/ 515 h 661"/>
                  <a:gd name="T48" fmla="*/ 467 w 725"/>
                  <a:gd name="T49" fmla="*/ 560 h 661"/>
                  <a:gd name="T50" fmla="*/ 416 w 725"/>
                  <a:gd name="T51" fmla="*/ 612 h 661"/>
                  <a:gd name="T52" fmla="*/ 359 w 725"/>
                  <a:gd name="T53" fmla="*/ 585 h 661"/>
                  <a:gd name="T54" fmla="*/ 329 w 725"/>
                  <a:gd name="T55" fmla="*/ 609 h 661"/>
                  <a:gd name="T56" fmla="*/ 293 w 725"/>
                  <a:gd name="T57" fmla="*/ 627 h 661"/>
                  <a:gd name="T58" fmla="*/ 203 w 725"/>
                  <a:gd name="T59" fmla="*/ 620 h 661"/>
                  <a:gd name="T60" fmla="*/ 134 w 725"/>
                  <a:gd name="T61" fmla="*/ 597 h 661"/>
                  <a:gd name="T62" fmla="*/ 104 w 725"/>
                  <a:gd name="T63" fmla="*/ 659 h 661"/>
                  <a:gd name="T64" fmla="*/ 80 w 725"/>
                  <a:gd name="T65" fmla="*/ 626 h 661"/>
                  <a:gd name="T66" fmla="*/ 57 w 725"/>
                  <a:gd name="T67" fmla="*/ 578 h 661"/>
                  <a:gd name="T68" fmla="*/ 47 w 725"/>
                  <a:gd name="T69" fmla="*/ 540 h 661"/>
                  <a:gd name="T70" fmla="*/ 30 w 725"/>
                  <a:gd name="T71" fmla="*/ 522 h 661"/>
                  <a:gd name="T72" fmla="*/ 5 w 725"/>
                  <a:gd name="T73" fmla="*/ 483 h 661"/>
                  <a:gd name="T74" fmla="*/ 17 w 725"/>
                  <a:gd name="T75" fmla="*/ 444 h 661"/>
                  <a:gd name="T76" fmla="*/ 30 w 725"/>
                  <a:gd name="T77" fmla="*/ 420 h 661"/>
                  <a:gd name="T78" fmla="*/ 44 w 725"/>
                  <a:gd name="T79" fmla="*/ 37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5" h="661">
                    <a:moveTo>
                      <a:pt x="53" y="345"/>
                    </a:moveTo>
                    <a:lnTo>
                      <a:pt x="96" y="348"/>
                    </a:lnTo>
                    <a:lnTo>
                      <a:pt x="95" y="146"/>
                    </a:lnTo>
                    <a:lnTo>
                      <a:pt x="138" y="149"/>
                    </a:lnTo>
                    <a:lnTo>
                      <a:pt x="137" y="59"/>
                    </a:lnTo>
                    <a:lnTo>
                      <a:pt x="465" y="59"/>
                    </a:lnTo>
                    <a:lnTo>
                      <a:pt x="495" y="54"/>
                    </a:lnTo>
                    <a:lnTo>
                      <a:pt x="509" y="72"/>
                    </a:lnTo>
                    <a:lnTo>
                      <a:pt x="531" y="69"/>
                    </a:lnTo>
                    <a:cubicBezTo>
                      <a:pt x="530" y="61"/>
                      <a:pt x="531" y="60"/>
                      <a:pt x="537" y="56"/>
                    </a:cubicBezTo>
                    <a:cubicBezTo>
                      <a:pt x="542" y="42"/>
                      <a:pt x="540" y="42"/>
                      <a:pt x="558" y="41"/>
                    </a:cubicBezTo>
                    <a:cubicBezTo>
                      <a:pt x="565" y="38"/>
                      <a:pt x="563" y="35"/>
                      <a:pt x="566" y="29"/>
                    </a:cubicBezTo>
                    <a:cubicBezTo>
                      <a:pt x="568" y="20"/>
                      <a:pt x="572" y="18"/>
                      <a:pt x="581" y="17"/>
                    </a:cubicBezTo>
                    <a:cubicBezTo>
                      <a:pt x="586" y="15"/>
                      <a:pt x="587" y="0"/>
                      <a:pt x="596" y="3"/>
                    </a:cubicBezTo>
                    <a:cubicBezTo>
                      <a:pt x="600" y="4"/>
                      <a:pt x="600" y="20"/>
                      <a:pt x="604" y="23"/>
                    </a:cubicBezTo>
                    <a:cubicBezTo>
                      <a:pt x="608" y="26"/>
                      <a:pt x="616" y="25"/>
                      <a:pt x="620" y="24"/>
                    </a:cubicBezTo>
                    <a:cubicBezTo>
                      <a:pt x="624" y="23"/>
                      <a:pt x="627" y="13"/>
                      <a:pt x="629" y="15"/>
                    </a:cubicBezTo>
                    <a:cubicBezTo>
                      <a:pt x="631" y="17"/>
                      <a:pt x="629" y="28"/>
                      <a:pt x="633" y="36"/>
                    </a:cubicBezTo>
                    <a:cubicBezTo>
                      <a:pt x="645" y="44"/>
                      <a:pt x="649" y="55"/>
                      <a:pt x="653" y="62"/>
                    </a:cubicBezTo>
                    <a:cubicBezTo>
                      <a:pt x="657" y="67"/>
                      <a:pt x="656" y="72"/>
                      <a:pt x="659" y="78"/>
                    </a:cubicBezTo>
                    <a:cubicBezTo>
                      <a:pt x="661" y="86"/>
                      <a:pt x="664" y="94"/>
                      <a:pt x="666" y="105"/>
                    </a:cubicBezTo>
                    <a:cubicBezTo>
                      <a:pt x="668" y="116"/>
                      <a:pt x="668" y="132"/>
                      <a:pt x="669" y="147"/>
                    </a:cubicBezTo>
                    <a:cubicBezTo>
                      <a:pt x="672" y="160"/>
                      <a:pt x="669" y="184"/>
                      <a:pt x="673" y="194"/>
                    </a:cubicBezTo>
                    <a:cubicBezTo>
                      <a:pt x="677" y="205"/>
                      <a:pt x="688" y="209"/>
                      <a:pt x="694" y="215"/>
                    </a:cubicBezTo>
                    <a:cubicBezTo>
                      <a:pt x="700" y="223"/>
                      <a:pt x="699" y="226"/>
                      <a:pt x="710" y="228"/>
                    </a:cubicBezTo>
                    <a:cubicBezTo>
                      <a:pt x="717" y="233"/>
                      <a:pt x="720" y="234"/>
                      <a:pt x="725" y="242"/>
                    </a:cubicBezTo>
                    <a:cubicBezTo>
                      <a:pt x="719" y="254"/>
                      <a:pt x="710" y="267"/>
                      <a:pt x="696" y="270"/>
                    </a:cubicBezTo>
                    <a:cubicBezTo>
                      <a:pt x="690" y="273"/>
                      <a:pt x="684" y="275"/>
                      <a:pt x="678" y="276"/>
                    </a:cubicBezTo>
                    <a:cubicBezTo>
                      <a:pt x="677" y="288"/>
                      <a:pt x="666" y="281"/>
                      <a:pt x="657" y="287"/>
                    </a:cubicBezTo>
                    <a:cubicBezTo>
                      <a:pt x="650" y="296"/>
                      <a:pt x="662" y="314"/>
                      <a:pt x="653" y="321"/>
                    </a:cubicBezTo>
                    <a:cubicBezTo>
                      <a:pt x="647" y="335"/>
                      <a:pt x="648" y="347"/>
                      <a:pt x="639" y="360"/>
                    </a:cubicBezTo>
                    <a:cubicBezTo>
                      <a:pt x="638" y="366"/>
                      <a:pt x="636" y="372"/>
                      <a:pt x="633" y="378"/>
                    </a:cubicBezTo>
                    <a:cubicBezTo>
                      <a:pt x="639" y="394"/>
                      <a:pt x="644" y="441"/>
                      <a:pt x="629" y="452"/>
                    </a:cubicBezTo>
                    <a:cubicBezTo>
                      <a:pt x="618" y="473"/>
                      <a:pt x="635" y="479"/>
                      <a:pt x="605" y="483"/>
                    </a:cubicBezTo>
                    <a:cubicBezTo>
                      <a:pt x="599" y="493"/>
                      <a:pt x="598" y="504"/>
                      <a:pt x="588" y="509"/>
                    </a:cubicBezTo>
                    <a:cubicBezTo>
                      <a:pt x="586" y="512"/>
                      <a:pt x="586" y="515"/>
                      <a:pt x="584" y="518"/>
                    </a:cubicBezTo>
                    <a:cubicBezTo>
                      <a:pt x="582" y="521"/>
                      <a:pt x="575" y="525"/>
                      <a:pt x="575" y="525"/>
                    </a:cubicBezTo>
                    <a:cubicBezTo>
                      <a:pt x="574" y="535"/>
                      <a:pt x="575" y="544"/>
                      <a:pt x="569" y="552"/>
                    </a:cubicBezTo>
                    <a:cubicBezTo>
                      <a:pt x="567" y="569"/>
                      <a:pt x="568" y="569"/>
                      <a:pt x="552" y="570"/>
                    </a:cubicBezTo>
                    <a:cubicBezTo>
                      <a:pt x="551" y="577"/>
                      <a:pt x="549" y="578"/>
                      <a:pt x="543" y="582"/>
                    </a:cubicBezTo>
                    <a:cubicBezTo>
                      <a:pt x="541" y="594"/>
                      <a:pt x="542" y="605"/>
                      <a:pt x="537" y="617"/>
                    </a:cubicBezTo>
                    <a:cubicBezTo>
                      <a:pt x="534" y="621"/>
                      <a:pt x="531" y="615"/>
                      <a:pt x="527" y="608"/>
                    </a:cubicBezTo>
                    <a:cubicBezTo>
                      <a:pt x="535" y="595"/>
                      <a:pt x="526" y="581"/>
                      <a:pt x="513" y="578"/>
                    </a:cubicBezTo>
                    <a:cubicBezTo>
                      <a:pt x="507" y="574"/>
                      <a:pt x="504" y="568"/>
                      <a:pt x="501" y="561"/>
                    </a:cubicBezTo>
                    <a:cubicBezTo>
                      <a:pt x="500" y="549"/>
                      <a:pt x="502" y="545"/>
                      <a:pt x="495" y="536"/>
                    </a:cubicBezTo>
                    <a:cubicBezTo>
                      <a:pt x="495" y="533"/>
                      <a:pt x="506" y="488"/>
                      <a:pt x="483" y="501"/>
                    </a:cubicBezTo>
                    <a:cubicBezTo>
                      <a:pt x="479" y="503"/>
                      <a:pt x="484" y="514"/>
                      <a:pt x="476" y="515"/>
                    </a:cubicBezTo>
                    <a:cubicBezTo>
                      <a:pt x="468" y="516"/>
                      <a:pt x="460" y="515"/>
                      <a:pt x="452" y="515"/>
                    </a:cubicBezTo>
                    <a:lnTo>
                      <a:pt x="467" y="527"/>
                    </a:lnTo>
                    <a:lnTo>
                      <a:pt x="467" y="560"/>
                    </a:lnTo>
                    <a:lnTo>
                      <a:pt x="444" y="579"/>
                    </a:lnTo>
                    <a:lnTo>
                      <a:pt x="416" y="612"/>
                    </a:lnTo>
                    <a:lnTo>
                      <a:pt x="399" y="614"/>
                    </a:lnTo>
                    <a:lnTo>
                      <a:pt x="359" y="585"/>
                    </a:lnTo>
                    <a:cubicBezTo>
                      <a:pt x="352" y="589"/>
                      <a:pt x="344" y="590"/>
                      <a:pt x="339" y="596"/>
                    </a:cubicBezTo>
                    <a:cubicBezTo>
                      <a:pt x="324" y="613"/>
                      <a:pt x="352" y="606"/>
                      <a:pt x="329" y="609"/>
                    </a:cubicBezTo>
                    <a:cubicBezTo>
                      <a:pt x="323" y="613"/>
                      <a:pt x="316" y="614"/>
                      <a:pt x="309" y="615"/>
                    </a:cubicBezTo>
                    <a:cubicBezTo>
                      <a:pt x="307" y="625"/>
                      <a:pt x="303" y="626"/>
                      <a:pt x="293" y="627"/>
                    </a:cubicBezTo>
                    <a:cubicBezTo>
                      <a:pt x="285" y="630"/>
                      <a:pt x="281" y="630"/>
                      <a:pt x="272" y="629"/>
                    </a:cubicBezTo>
                    <a:cubicBezTo>
                      <a:pt x="262" y="605"/>
                      <a:pt x="222" y="620"/>
                      <a:pt x="203" y="620"/>
                    </a:cubicBezTo>
                    <a:cubicBezTo>
                      <a:pt x="198" y="608"/>
                      <a:pt x="185" y="591"/>
                      <a:pt x="174" y="584"/>
                    </a:cubicBezTo>
                    <a:cubicBezTo>
                      <a:pt x="125" y="586"/>
                      <a:pt x="154" y="582"/>
                      <a:pt x="134" y="597"/>
                    </a:cubicBezTo>
                    <a:cubicBezTo>
                      <a:pt x="128" y="608"/>
                      <a:pt x="128" y="619"/>
                      <a:pt x="123" y="630"/>
                    </a:cubicBezTo>
                    <a:cubicBezTo>
                      <a:pt x="122" y="640"/>
                      <a:pt x="112" y="653"/>
                      <a:pt x="104" y="659"/>
                    </a:cubicBezTo>
                    <a:cubicBezTo>
                      <a:pt x="76" y="658"/>
                      <a:pt x="75" y="661"/>
                      <a:pt x="71" y="639"/>
                    </a:cubicBezTo>
                    <a:cubicBezTo>
                      <a:pt x="72" y="631"/>
                      <a:pt x="76" y="632"/>
                      <a:pt x="80" y="626"/>
                    </a:cubicBezTo>
                    <a:cubicBezTo>
                      <a:pt x="82" y="615"/>
                      <a:pt x="80" y="607"/>
                      <a:pt x="75" y="596"/>
                    </a:cubicBezTo>
                    <a:cubicBezTo>
                      <a:pt x="73" y="588"/>
                      <a:pt x="64" y="582"/>
                      <a:pt x="57" y="578"/>
                    </a:cubicBezTo>
                    <a:cubicBezTo>
                      <a:pt x="53" y="572"/>
                      <a:pt x="51" y="566"/>
                      <a:pt x="48" y="560"/>
                    </a:cubicBezTo>
                    <a:cubicBezTo>
                      <a:pt x="48" y="553"/>
                      <a:pt x="49" y="546"/>
                      <a:pt x="47" y="540"/>
                    </a:cubicBezTo>
                    <a:cubicBezTo>
                      <a:pt x="47" y="538"/>
                      <a:pt x="43" y="540"/>
                      <a:pt x="42" y="539"/>
                    </a:cubicBezTo>
                    <a:cubicBezTo>
                      <a:pt x="37" y="536"/>
                      <a:pt x="32" y="527"/>
                      <a:pt x="30" y="522"/>
                    </a:cubicBezTo>
                    <a:cubicBezTo>
                      <a:pt x="29" y="508"/>
                      <a:pt x="26" y="496"/>
                      <a:pt x="24" y="482"/>
                    </a:cubicBezTo>
                    <a:cubicBezTo>
                      <a:pt x="17" y="483"/>
                      <a:pt x="11" y="486"/>
                      <a:pt x="5" y="483"/>
                    </a:cubicBezTo>
                    <a:cubicBezTo>
                      <a:pt x="0" y="473"/>
                      <a:pt x="0" y="463"/>
                      <a:pt x="11" y="459"/>
                    </a:cubicBezTo>
                    <a:cubicBezTo>
                      <a:pt x="15" y="454"/>
                      <a:pt x="15" y="450"/>
                      <a:pt x="17" y="444"/>
                    </a:cubicBezTo>
                    <a:cubicBezTo>
                      <a:pt x="14" y="440"/>
                      <a:pt x="11" y="436"/>
                      <a:pt x="9" y="431"/>
                    </a:cubicBezTo>
                    <a:cubicBezTo>
                      <a:pt x="21" y="428"/>
                      <a:pt x="21" y="427"/>
                      <a:pt x="30" y="420"/>
                    </a:cubicBezTo>
                    <a:cubicBezTo>
                      <a:pt x="17" y="403"/>
                      <a:pt x="33" y="393"/>
                      <a:pt x="47" y="390"/>
                    </a:cubicBezTo>
                    <a:cubicBezTo>
                      <a:pt x="43" y="385"/>
                      <a:pt x="39" y="383"/>
                      <a:pt x="44" y="377"/>
                    </a:cubicBezTo>
                    <a:cubicBezTo>
                      <a:pt x="47" y="361"/>
                      <a:pt x="54" y="365"/>
                      <a:pt x="53" y="345"/>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187" name="Freeform 5"/>
              <p:cNvSpPr>
                <a:spLocks/>
              </p:cNvSpPr>
              <p:nvPr>
                <p:custDataLst>
                  <p:tags r:id="rId6"/>
                </p:custDataLst>
              </p:nvPr>
            </p:nvSpPr>
            <p:spPr bwMode="gray">
              <a:xfrm>
                <a:off x="1064955" y="-395345"/>
                <a:ext cx="852933" cy="635819"/>
              </a:xfrm>
              <a:custGeom>
                <a:avLst/>
                <a:gdLst>
                  <a:gd name="T0" fmla="*/ 1933 w 678"/>
                  <a:gd name="T1" fmla="*/ 191995 h 540"/>
                  <a:gd name="T2" fmla="*/ 8697 w 678"/>
                  <a:gd name="T3" fmla="*/ 185208 h 540"/>
                  <a:gd name="T4" fmla="*/ 17395 w 678"/>
                  <a:gd name="T5" fmla="*/ 185208 h 540"/>
                  <a:gd name="T6" fmla="*/ 27058 w 678"/>
                  <a:gd name="T7" fmla="*/ 181329 h 540"/>
                  <a:gd name="T8" fmla="*/ 33822 w 678"/>
                  <a:gd name="T9" fmla="*/ 174542 h 540"/>
                  <a:gd name="T10" fmla="*/ 40586 w 678"/>
                  <a:gd name="T11" fmla="*/ 168723 h 540"/>
                  <a:gd name="T12" fmla="*/ 51216 w 678"/>
                  <a:gd name="T13" fmla="*/ 164845 h 540"/>
                  <a:gd name="T14" fmla="*/ 57015 w 678"/>
                  <a:gd name="T15" fmla="*/ 158057 h 540"/>
                  <a:gd name="T16" fmla="*/ 60880 w 678"/>
                  <a:gd name="T17" fmla="*/ 149329 h 540"/>
                  <a:gd name="T18" fmla="*/ 67644 w 678"/>
                  <a:gd name="T19" fmla="*/ 138664 h 540"/>
                  <a:gd name="T20" fmla="*/ 67644 w 678"/>
                  <a:gd name="T21" fmla="*/ 127997 h 540"/>
                  <a:gd name="T22" fmla="*/ 65711 w 678"/>
                  <a:gd name="T23" fmla="*/ 121209 h 540"/>
                  <a:gd name="T24" fmla="*/ 65711 w 678"/>
                  <a:gd name="T25" fmla="*/ 108603 h 540"/>
                  <a:gd name="T26" fmla="*/ 70543 w 678"/>
                  <a:gd name="T27" fmla="*/ 100846 h 540"/>
                  <a:gd name="T28" fmla="*/ 76341 w 678"/>
                  <a:gd name="T29" fmla="*/ 94058 h 540"/>
                  <a:gd name="T30" fmla="*/ 76341 w 678"/>
                  <a:gd name="T31" fmla="*/ 81452 h 540"/>
                  <a:gd name="T32" fmla="*/ 83106 w 678"/>
                  <a:gd name="T33" fmla="*/ 74665 h 540"/>
                  <a:gd name="T34" fmla="*/ 88904 w 678"/>
                  <a:gd name="T35" fmla="*/ 65938 h 540"/>
                  <a:gd name="T36" fmla="*/ 97601 w 678"/>
                  <a:gd name="T37" fmla="*/ 62059 h 540"/>
                  <a:gd name="T38" fmla="*/ 105332 w 678"/>
                  <a:gd name="T39" fmla="*/ 57211 h 540"/>
                  <a:gd name="T40" fmla="*/ 114996 w 678"/>
                  <a:gd name="T41" fmla="*/ 53332 h 540"/>
                  <a:gd name="T42" fmla="*/ 124659 w 678"/>
                  <a:gd name="T43" fmla="*/ 46544 h 540"/>
                  <a:gd name="T44" fmla="*/ 129491 w 678"/>
                  <a:gd name="T45" fmla="*/ 37817 h 540"/>
                  <a:gd name="T46" fmla="*/ 135289 w 678"/>
                  <a:gd name="T47" fmla="*/ 26181 h 540"/>
                  <a:gd name="T48" fmla="*/ 138188 w 678"/>
                  <a:gd name="T49" fmla="*/ 14545 h 540"/>
                  <a:gd name="T50" fmla="*/ 142054 w 678"/>
                  <a:gd name="T51" fmla="*/ 6788 h 540"/>
                  <a:gd name="T52" fmla="*/ 150751 w 678"/>
                  <a:gd name="T53" fmla="*/ 1940 h 540"/>
                  <a:gd name="T54" fmla="*/ 152684 w 678"/>
                  <a:gd name="T55" fmla="*/ 1940 h 540"/>
                  <a:gd name="T56" fmla="*/ 158482 w 678"/>
                  <a:gd name="T57" fmla="*/ 10666 h 540"/>
                  <a:gd name="T58" fmla="*/ 165246 w 678"/>
                  <a:gd name="T59" fmla="*/ 17454 h 540"/>
                  <a:gd name="T60" fmla="*/ 175875 w 678"/>
                  <a:gd name="T61" fmla="*/ 19393 h 540"/>
                  <a:gd name="T62" fmla="*/ 184573 w 678"/>
                  <a:gd name="T63" fmla="*/ 19393 h 540"/>
                  <a:gd name="T64" fmla="*/ 193270 w 678"/>
                  <a:gd name="T65" fmla="*/ 19393 h 540"/>
                  <a:gd name="T66" fmla="*/ 199068 w 678"/>
                  <a:gd name="T67" fmla="*/ 12606 h 540"/>
                  <a:gd name="T68" fmla="*/ 202933 w 678"/>
                  <a:gd name="T69" fmla="*/ 21333 h 540"/>
                  <a:gd name="T70" fmla="*/ 202933 w 678"/>
                  <a:gd name="T71" fmla="*/ 19393 h 540"/>
                  <a:gd name="T72" fmla="*/ 212597 w 678"/>
                  <a:gd name="T73" fmla="*/ 19393 h 540"/>
                  <a:gd name="T74" fmla="*/ 218395 w 678"/>
                  <a:gd name="T75" fmla="*/ 26181 h 540"/>
                  <a:gd name="T76" fmla="*/ 225160 w 678"/>
                  <a:gd name="T77" fmla="*/ 33939 h 540"/>
                  <a:gd name="T78" fmla="*/ 225160 w 678"/>
                  <a:gd name="T79" fmla="*/ 46544 h 540"/>
                  <a:gd name="T80" fmla="*/ 227092 w 678"/>
                  <a:gd name="T81" fmla="*/ 57211 h 540"/>
                  <a:gd name="T82" fmla="*/ 229025 w 678"/>
                  <a:gd name="T83" fmla="*/ 70786 h 540"/>
                  <a:gd name="T84" fmla="*/ 235790 w 678"/>
                  <a:gd name="T85" fmla="*/ 78544 h 540"/>
                  <a:gd name="T86" fmla="*/ 235790 w 678"/>
                  <a:gd name="T87" fmla="*/ 85332 h 540"/>
                  <a:gd name="T88" fmla="*/ 235790 w 678"/>
                  <a:gd name="T89" fmla="*/ 90180 h 540"/>
                  <a:gd name="T90" fmla="*/ 225160 w 678"/>
                  <a:gd name="T91" fmla="*/ 91150 h 540"/>
                  <a:gd name="T92" fmla="*/ 212597 w 678"/>
                  <a:gd name="T93" fmla="*/ 90180 h 540"/>
                  <a:gd name="T94" fmla="*/ 201967 w 678"/>
                  <a:gd name="T95" fmla="*/ 94058 h 540"/>
                  <a:gd name="T96" fmla="*/ 199068 w 678"/>
                  <a:gd name="T97" fmla="*/ 100846 h 540"/>
                  <a:gd name="T98" fmla="*/ 188438 w 678"/>
                  <a:gd name="T99" fmla="*/ 101816 h 540"/>
                  <a:gd name="T100" fmla="*/ 184573 w 678"/>
                  <a:gd name="T101" fmla="*/ 110543 h 540"/>
                  <a:gd name="T102" fmla="*/ 188438 w 678"/>
                  <a:gd name="T103" fmla="*/ 119270 h 540"/>
                  <a:gd name="T104" fmla="*/ 179741 w 678"/>
                  <a:gd name="T105" fmla="*/ 121209 h 540"/>
                  <a:gd name="T106" fmla="*/ 169111 w 678"/>
                  <a:gd name="T107" fmla="*/ 124118 h 540"/>
                  <a:gd name="T108" fmla="*/ 163313 w 678"/>
                  <a:gd name="T109" fmla="*/ 129936 h 540"/>
                  <a:gd name="T110" fmla="*/ 158482 w 678"/>
                  <a:gd name="T111" fmla="*/ 138664 h 540"/>
                  <a:gd name="T112" fmla="*/ 150751 w 678"/>
                  <a:gd name="T113" fmla="*/ 142542 h 540"/>
                  <a:gd name="T114" fmla="*/ 138188 w 678"/>
                  <a:gd name="T115" fmla="*/ 147391 h 540"/>
                  <a:gd name="T116" fmla="*/ 127558 w 678"/>
                  <a:gd name="T117" fmla="*/ 149329 h 540"/>
                  <a:gd name="T118" fmla="*/ 116929 w 678"/>
                  <a:gd name="T119" fmla="*/ 151269 h 540"/>
                  <a:gd name="T120" fmla="*/ 108231 w 678"/>
                  <a:gd name="T121" fmla="*/ 155148 h 540"/>
                  <a:gd name="T122" fmla="*/ 99534 w 678"/>
                  <a:gd name="T123" fmla="*/ 161935 h 540"/>
                  <a:gd name="T124" fmla="*/ 88904 w 678"/>
                  <a:gd name="T125" fmla="*/ 168723 h 5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8" h="540">
                    <a:moveTo>
                      <a:pt x="252" y="540"/>
                    </a:moveTo>
                    <a:lnTo>
                      <a:pt x="168" y="540"/>
                    </a:lnTo>
                    <a:lnTo>
                      <a:pt x="96" y="540"/>
                    </a:lnTo>
                    <a:lnTo>
                      <a:pt x="78" y="540"/>
                    </a:lnTo>
                    <a:lnTo>
                      <a:pt x="0" y="540"/>
                    </a:lnTo>
                    <a:lnTo>
                      <a:pt x="6" y="540"/>
                    </a:lnTo>
                    <a:lnTo>
                      <a:pt x="6" y="534"/>
                    </a:lnTo>
                    <a:lnTo>
                      <a:pt x="12" y="534"/>
                    </a:lnTo>
                    <a:lnTo>
                      <a:pt x="12" y="528"/>
                    </a:lnTo>
                    <a:lnTo>
                      <a:pt x="18" y="528"/>
                    </a:lnTo>
                    <a:lnTo>
                      <a:pt x="18" y="522"/>
                    </a:lnTo>
                    <a:lnTo>
                      <a:pt x="24" y="522"/>
                    </a:lnTo>
                    <a:lnTo>
                      <a:pt x="30" y="522"/>
                    </a:lnTo>
                    <a:lnTo>
                      <a:pt x="36" y="522"/>
                    </a:lnTo>
                    <a:lnTo>
                      <a:pt x="42" y="522"/>
                    </a:lnTo>
                    <a:lnTo>
                      <a:pt x="48" y="522"/>
                    </a:lnTo>
                    <a:lnTo>
                      <a:pt x="54" y="522"/>
                    </a:lnTo>
                    <a:lnTo>
                      <a:pt x="48" y="522"/>
                    </a:lnTo>
                    <a:lnTo>
                      <a:pt x="54" y="522"/>
                    </a:lnTo>
                    <a:lnTo>
                      <a:pt x="54" y="516"/>
                    </a:lnTo>
                    <a:lnTo>
                      <a:pt x="60" y="516"/>
                    </a:lnTo>
                    <a:lnTo>
                      <a:pt x="66" y="516"/>
                    </a:lnTo>
                    <a:lnTo>
                      <a:pt x="72" y="510"/>
                    </a:lnTo>
                    <a:lnTo>
                      <a:pt x="78" y="510"/>
                    </a:lnTo>
                    <a:lnTo>
                      <a:pt x="84" y="510"/>
                    </a:lnTo>
                    <a:lnTo>
                      <a:pt x="84" y="504"/>
                    </a:lnTo>
                    <a:lnTo>
                      <a:pt x="90" y="504"/>
                    </a:lnTo>
                    <a:lnTo>
                      <a:pt x="96" y="504"/>
                    </a:lnTo>
                    <a:lnTo>
                      <a:pt x="96" y="498"/>
                    </a:lnTo>
                    <a:lnTo>
                      <a:pt x="96" y="492"/>
                    </a:lnTo>
                    <a:lnTo>
                      <a:pt x="102" y="492"/>
                    </a:lnTo>
                    <a:lnTo>
                      <a:pt x="102" y="486"/>
                    </a:lnTo>
                    <a:lnTo>
                      <a:pt x="108" y="486"/>
                    </a:lnTo>
                    <a:lnTo>
                      <a:pt x="108" y="480"/>
                    </a:lnTo>
                    <a:lnTo>
                      <a:pt x="114" y="480"/>
                    </a:lnTo>
                    <a:lnTo>
                      <a:pt x="114" y="474"/>
                    </a:lnTo>
                    <a:lnTo>
                      <a:pt x="120" y="474"/>
                    </a:lnTo>
                    <a:lnTo>
                      <a:pt x="126" y="474"/>
                    </a:lnTo>
                    <a:lnTo>
                      <a:pt x="126" y="468"/>
                    </a:lnTo>
                    <a:lnTo>
                      <a:pt x="132" y="468"/>
                    </a:lnTo>
                    <a:lnTo>
                      <a:pt x="138" y="462"/>
                    </a:lnTo>
                    <a:lnTo>
                      <a:pt x="144" y="462"/>
                    </a:lnTo>
                    <a:lnTo>
                      <a:pt x="144" y="456"/>
                    </a:lnTo>
                    <a:lnTo>
                      <a:pt x="150" y="456"/>
                    </a:lnTo>
                    <a:lnTo>
                      <a:pt x="150" y="450"/>
                    </a:lnTo>
                    <a:lnTo>
                      <a:pt x="156" y="450"/>
                    </a:lnTo>
                    <a:lnTo>
                      <a:pt x="156" y="444"/>
                    </a:lnTo>
                    <a:lnTo>
                      <a:pt x="162" y="444"/>
                    </a:lnTo>
                    <a:lnTo>
                      <a:pt x="162" y="438"/>
                    </a:lnTo>
                    <a:lnTo>
                      <a:pt x="168" y="438"/>
                    </a:lnTo>
                    <a:lnTo>
                      <a:pt x="168" y="432"/>
                    </a:lnTo>
                    <a:lnTo>
                      <a:pt x="168" y="426"/>
                    </a:lnTo>
                    <a:lnTo>
                      <a:pt x="174" y="426"/>
                    </a:lnTo>
                    <a:lnTo>
                      <a:pt x="174" y="420"/>
                    </a:lnTo>
                    <a:lnTo>
                      <a:pt x="174" y="414"/>
                    </a:lnTo>
                    <a:lnTo>
                      <a:pt x="180" y="414"/>
                    </a:lnTo>
                    <a:lnTo>
                      <a:pt x="186" y="408"/>
                    </a:lnTo>
                    <a:lnTo>
                      <a:pt x="186" y="402"/>
                    </a:lnTo>
                    <a:lnTo>
                      <a:pt x="192" y="396"/>
                    </a:lnTo>
                    <a:lnTo>
                      <a:pt x="192" y="390"/>
                    </a:lnTo>
                    <a:lnTo>
                      <a:pt x="198" y="384"/>
                    </a:lnTo>
                    <a:lnTo>
                      <a:pt x="198" y="378"/>
                    </a:lnTo>
                    <a:lnTo>
                      <a:pt x="198" y="372"/>
                    </a:lnTo>
                    <a:lnTo>
                      <a:pt x="198" y="366"/>
                    </a:lnTo>
                    <a:lnTo>
                      <a:pt x="192" y="366"/>
                    </a:lnTo>
                    <a:lnTo>
                      <a:pt x="192" y="360"/>
                    </a:lnTo>
                    <a:lnTo>
                      <a:pt x="186" y="360"/>
                    </a:lnTo>
                    <a:lnTo>
                      <a:pt x="186" y="354"/>
                    </a:lnTo>
                    <a:lnTo>
                      <a:pt x="180" y="354"/>
                    </a:lnTo>
                    <a:lnTo>
                      <a:pt x="180" y="348"/>
                    </a:lnTo>
                    <a:lnTo>
                      <a:pt x="186" y="348"/>
                    </a:lnTo>
                    <a:lnTo>
                      <a:pt x="186" y="342"/>
                    </a:lnTo>
                    <a:lnTo>
                      <a:pt x="186" y="336"/>
                    </a:lnTo>
                    <a:lnTo>
                      <a:pt x="186" y="330"/>
                    </a:lnTo>
                    <a:lnTo>
                      <a:pt x="186" y="324"/>
                    </a:lnTo>
                    <a:lnTo>
                      <a:pt x="186" y="318"/>
                    </a:lnTo>
                    <a:lnTo>
                      <a:pt x="186" y="312"/>
                    </a:lnTo>
                    <a:lnTo>
                      <a:pt x="186" y="306"/>
                    </a:lnTo>
                    <a:lnTo>
                      <a:pt x="186" y="300"/>
                    </a:lnTo>
                    <a:lnTo>
                      <a:pt x="186" y="294"/>
                    </a:lnTo>
                    <a:lnTo>
                      <a:pt x="192" y="294"/>
                    </a:lnTo>
                    <a:lnTo>
                      <a:pt x="192" y="288"/>
                    </a:lnTo>
                    <a:lnTo>
                      <a:pt x="192" y="282"/>
                    </a:lnTo>
                    <a:lnTo>
                      <a:pt x="198" y="282"/>
                    </a:lnTo>
                    <a:lnTo>
                      <a:pt x="198" y="276"/>
                    </a:lnTo>
                    <a:lnTo>
                      <a:pt x="204" y="276"/>
                    </a:lnTo>
                    <a:lnTo>
                      <a:pt x="204" y="270"/>
                    </a:lnTo>
                    <a:lnTo>
                      <a:pt x="210" y="270"/>
                    </a:lnTo>
                    <a:lnTo>
                      <a:pt x="210" y="264"/>
                    </a:lnTo>
                    <a:lnTo>
                      <a:pt x="216" y="264"/>
                    </a:lnTo>
                    <a:lnTo>
                      <a:pt x="216" y="258"/>
                    </a:lnTo>
                    <a:lnTo>
                      <a:pt x="216" y="252"/>
                    </a:lnTo>
                    <a:lnTo>
                      <a:pt x="216" y="246"/>
                    </a:lnTo>
                    <a:lnTo>
                      <a:pt x="216" y="240"/>
                    </a:lnTo>
                    <a:lnTo>
                      <a:pt x="216" y="234"/>
                    </a:lnTo>
                    <a:lnTo>
                      <a:pt x="216" y="228"/>
                    </a:lnTo>
                    <a:lnTo>
                      <a:pt x="222" y="228"/>
                    </a:lnTo>
                    <a:lnTo>
                      <a:pt x="222" y="222"/>
                    </a:lnTo>
                    <a:lnTo>
                      <a:pt x="228" y="222"/>
                    </a:lnTo>
                    <a:lnTo>
                      <a:pt x="228" y="216"/>
                    </a:lnTo>
                    <a:lnTo>
                      <a:pt x="234" y="216"/>
                    </a:lnTo>
                    <a:lnTo>
                      <a:pt x="234" y="210"/>
                    </a:lnTo>
                    <a:lnTo>
                      <a:pt x="240" y="210"/>
                    </a:lnTo>
                    <a:lnTo>
                      <a:pt x="240" y="204"/>
                    </a:lnTo>
                    <a:lnTo>
                      <a:pt x="246" y="204"/>
                    </a:lnTo>
                    <a:lnTo>
                      <a:pt x="246" y="198"/>
                    </a:lnTo>
                    <a:lnTo>
                      <a:pt x="252" y="192"/>
                    </a:lnTo>
                    <a:lnTo>
                      <a:pt x="252" y="186"/>
                    </a:lnTo>
                    <a:lnTo>
                      <a:pt x="258" y="186"/>
                    </a:lnTo>
                    <a:lnTo>
                      <a:pt x="258" y="180"/>
                    </a:lnTo>
                    <a:lnTo>
                      <a:pt x="264" y="180"/>
                    </a:lnTo>
                    <a:lnTo>
                      <a:pt x="270" y="180"/>
                    </a:lnTo>
                    <a:lnTo>
                      <a:pt x="270" y="174"/>
                    </a:lnTo>
                    <a:lnTo>
                      <a:pt x="276" y="174"/>
                    </a:lnTo>
                    <a:lnTo>
                      <a:pt x="282" y="174"/>
                    </a:lnTo>
                    <a:lnTo>
                      <a:pt x="282" y="168"/>
                    </a:lnTo>
                    <a:lnTo>
                      <a:pt x="288" y="168"/>
                    </a:lnTo>
                    <a:lnTo>
                      <a:pt x="294" y="168"/>
                    </a:lnTo>
                    <a:lnTo>
                      <a:pt x="294" y="162"/>
                    </a:lnTo>
                    <a:lnTo>
                      <a:pt x="300" y="162"/>
                    </a:lnTo>
                    <a:lnTo>
                      <a:pt x="306" y="162"/>
                    </a:lnTo>
                    <a:lnTo>
                      <a:pt x="306" y="156"/>
                    </a:lnTo>
                    <a:lnTo>
                      <a:pt x="312" y="156"/>
                    </a:lnTo>
                    <a:lnTo>
                      <a:pt x="318" y="156"/>
                    </a:lnTo>
                    <a:lnTo>
                      <a:pt x="318" y="150"/>
                    </a:lnTo>
                    <a:lnTo>
                      <a:pt x="324" y="150"/>
                    </a:lnTo>
                    <a:lnTo>
                      <a:pt x="330" y="150"/>
                    </a:lnTo>
                    <a:lnTo>
                      <a:pt x="330" y="144"/>
                    </a:lnTo>
                    <a:lnTo>
                      <a:pt x="336" y="144"/>
                    </a:lnTo>
                    <a:lnTo>
                      <a:pt x="342" y="138"/>
                    </a:lnTo>
                    <a:lnTo>
                      <a:pt x="348" y="132"/>
                    </a:lnTo>
                    <a:lnTo>
                      <a:pt x="354" y="132"/>
                    </a:lnTo>
                    <a:lnTo>
                      <a:pt x="354" y="126"/>
                    </a:lnTo>
                    <a:lnTo>
                      <a:pt x="360" y="120"/>
                    </a:lnTo>
                    <a:lnTo>
                      <a:pt x="360" y="114"/>
                    </a:lnTo>
                    <a:lnTo>
                      <a:pt x="366" y="114"/>
                    </a:lnTo>
                    <a:lnTo>
                      <a:pt x="360" y="114"/>
                    </a:lnTo>
                    <a:lnTo>
                      <a:pt x="366" y="108"/>
                    </a:lnTo>
                    <a:lnTo>
                      <a:pt x="366" y="102"/>
                    </a:lnTo>
                    <a:lnTo>
                      <a:pt x="372" y="96"/>
                    </a:lnTo>
                    <a:lnTo>
                      <a:pt x="378" y="90"/>
                    </a:lnTo>
                    <a:lnTo>
                      <a:pt x="378" y="84"/>
                    </a:lnTo>
                    <a:lnTo>
                      <a:pt x="378" y="78"/>
                    </a:lnTo>
                    <a:lnTo>
                      <a:pt x="384" y="72"/>
                    </a:lnTo>
                    <a:lnTo>
                      <a:pt x="384" y="66"/>
                    </a:lnTo>
                    <a:lnTo>
                      <a:pt x="384" y="60"/>
                    </a:lnTo>
                    <a:lnTo>
                      <a:pt x="390" y="60"/>
                    </a:lnTo>
                    <a:lnTo>
                      <a:pt x="390" y="54"/>
                    </a:lnTo>
                    <a:lnTo>
                      <a:pt x="390" y="48"/>
                    </a:lnTo>
                    <a:lnTo>
                      <a:pt x="390" y="42"/>
                    </a:lnTo>
                    <a:lnTo>
                      <a:pt x="396" y="42"/>
                    </a:lnTo>
                    <a:lnTo>
                      <a:pt x="396" y="36"/>
                    </a:lnTo>
                    <a:lnTo>
                      <a:pt x="396" y="30"/>
                    </a:lnTo>
                    <a:lnTo>
                      <a:pt x="396" y="24"/>
                    </a:lnTo>
                    <a:lnTo>
                      <a:pt x="402" y="24"/>
                    </a:lnTo>
                    <a:lnTo>
                      <a:pt x="402" y="18"/>
                    </a:lnTo>
                    <a:lnTo>
                      <a:pt x="402" y="12"/>
                    </a:lnTo>
                    <a:lnTo>
                      <a:pt x="408" y="12"/>
                    </a:lnTo>
                    <a:lnTo>
                      <a:pt x="414" y="12"/>
                    </a:lnTo>
                    <a:lnTo>
                      <a:pt x="414" y="6"/>
                    </a:lnTo>
                    <a:lnTo>
                      <a:pt x="420" y="6"/>
                    </a:lnTo>
                    <a:lnTo>
                      <a:pt x="426" y="6"/>
                    </a:lnTo>
                    <a:lnTo>
                      <a:pt x="426" y="0"/>
                    </a:lnTo>
                    <a:lnTo>
                      <a:pt x="432" y="0"/>
                    </a:lnTo>
                    <a:lnTo>
                      <a:pt x="438" y="6"/>
                    </a:lnTo>
                    <a:lnTo>
                      <a:pt x="438" y="0"/>
                    </a:lnTo>
                    <a:lnTo>
                      <a:pt x="438" y="6"/>
                    </a:lnTo>
                    <a:lnTo>
                      <a:pt x="432" y="6"/>
                    </a:lnTo>
                    <a:lnTo>
                      <a:pt x="432" y="12"/>
                    </a:lnTo>
                    <a:lnTo>
                      <a:pt x="438" y="12"/>
                    </a:lnTo>
                    <a:lnTo>
                      <a:pt x="438" y="18"/>
                    </a:lnTo>
                    <a:lnTo>
                      <a:pt x="438" y="24"/>
                    </a:lnTo>
                    <a:lnTo>
                      <a:pt x="444" y="30"/>
                    </a:lnTo>
                    <a:lnTo>
                      <a:pt x="450" y="30"/>
                    </a:lnTo>
                    <a:lnTo>
                      <a:pt x="450" y="36"/>
                    </a:lnTo>
                    <a:lnTo>
                      <a:pt x="456" y="36"/>
                    </a:lnTo>
                    <a:lnTo>
                      <a:pt x="456" y="42"/>
                    </a:lnTo>
                    <a:lnTo>
                      <a:pt x="462" y="42"/>
                    </a:lnTo>
                    <a:lnTo>
                      <a:pt x="462" y="48"/>
                    </a:lnTo>
                    <a:lnTo>
                      <a:pt x="468" y="48"/>
                    </a:lnTo>
                    <a:lnTo>
                      <a:pt x="474" y="48"/>
                    </a:lnTo>
                    <a:lnTo>
                      <a:pt x="474" y="54"/>
                    </a:lnTo>
                    <a:lnTo>
                      <a:pt x="480" y="54"/>
                    </a:lnTo>
                    <a:lnTo>
                      <a:pt x="486" y="54"/>
                    </a:lnTo>
                    <a:lnTo>
                      <a:pt x="492" y="54"/>
                    </a:lnTo>
                    <a:lnTo>
                      <a:pt x="498" y="54"/>
                    </a:lnTo>
                    <a:lnTo>
                      <a:pt x="504" y="54"/>
                    </a:lnTo>
                    <a:lnTo>
                      <a:pt x="504" y="48"/>
                    </a:lnTo>
                    <a:lnTo>
                      <a:pt x="510" y="48"/>
                    </a:lnTo>
                    <a:lnTo>
                      <a:pt x="516" y="48"/>
                    </a:lnTo>
                    <a:lnTo>
                      <a:pt x="516" y="54"/>
                    </a:lnTo>
                    <a:lnTo>
                      <a:pt x="522" y="54"/>
                    </a:lnTo>
                    <a:lnTo>
                      <a:pt x="522" y="48"/>
                    </a:lnTo>
                    <a:lnTo>
                      <a:pt x="528" y="48"/>
                    </a:lnTo>
                    <a:lnTo>
                      <a:pt x="534" y="48"/>
                    </a:lnTo>
                    <a:lnTo>
                      <a:pt x="540" y="48"/>
                    </a:lnTo>
                    <a:lnTo>
                      <a:pt x="540" y="54"/>
                    </a:lnTo>
                    <a:lnTo>
                      <a:pt x="546" y="54"/>
                    </a:lnTo>
                    <a:lnTo>
                      <a:pt x="546" y="48"/>
                    </a:lnTo>
                    <a:lnTo>
                      <a:pt x="552" y="48"/>
                    </a:lnTo>
                    <a:lnTo>
                      <a:pt x="558" y="48"/>
                    </a:lnTo>
                    <a:lnTo>
                      <a:pt x="564" y="48"/>
                    </a:lnTo>
                    <a:lnTo>
                      <a:pt x="564" y="42"/>
                    </a:lnTo>
                    <a:lnTo>
                      <a:pt x="564" y="36"/>
                    </a:lnTo>
                    <a:lnTo>
                      <a:pt x="570" y="36"/>
                    </a:lnTo>
                    <a:lnTo>
                      <a:pt x="570" y="42"/>
                    </a:lnTo>
                    <a:lnTo>
                      <a:pt x="570" y="48"/>
                    </a:lnTo>
                    <a:lnTo>
                      <a:pt x="570" y="54"/>
                    </a:lnTo>
                    <a:lnTo>
                      <a:pt x="576" y="54"/>
                    </a:lnTo>
                    <a:lnTo>
                      <a:pt x="576" y="60"/>
                    </a:lnTo>
                    <a:lnTo>
                      <a:pt x="582" y="60"/>
                    </a:lnTo>
                    <a:lnTo>
                      <a:pt x="582" y="54"/>
                    </a:lnTo>
                    <a:lnTo>
                      <a:pt x="576" y="54"/>
                    </a:lnTo>
                    <a:lnTo>
                      <a:pt x="570" y="48"/>
                    </a:lnTo>
                    <a:lnTo>
                      <a:pt x="576" y="48"/>
                    </a:lnTo>
                    <a:lnTo>
                      <a:pt x="576" y="54"/>
                    </a:lnTo>
                    <a:lnTo>
                      <a:pt x="582" y="54"/>
                    </a:lnTo>
                    <a:lnTo>
                      <a:pt x="582" y="60"/>
                    </a:lnTo>
                    <a:lnTo>
                      <a:pt x="588" y="60"/>
                    </a:lnTo>
                    <a:lnTo>
                      <a:pt x="594" y="60"/>
                    </a:lnTo>
                    <a:lnTo>
                      <a:pt x="594" y="54"/>
                    </a:lnTo>
                    <a:lnTo>
                      <a:pt x="600" y="54"/>
                    </a:lnTo>
                    <a:lnTo>
                      <a:pt x="606" y="54"/>
                    </a:lnTo>
                    <a:lnTo>
                      <a:pt x="606" y="60"/>
                    </a:lnTo>
                    <a:lnTo>
                      <a:pt x="612" y="60"/>
                    </a:lnTo>
                    <a:lnTo>
                      <a:pt x="612" y="66"/>
                    </a:lnTo>
                    <a:lnTo>
                      <a:pt x="618" y="66"/>
                    </a:lnTo>
                    <a:lnTo>
                      <a:pt x="618" y="72"/>
                    </a:lnTo>
                    <a:lnTo>
                      <a:pt x="624" y="72"/>
                    </a:lnTo>
                    <a:lnTo>
                      <a:pt x="624" y="78"/>
                    </a:lnTo>
                    <a:lnTo>
                      <a:pt x="630" y="78"/>
                    </a:lnTo>
                    <a:lnTo>
                      <a:pt x="636" y="84"/>
                    </a:lnTo>
                    <a:lnTo>
                      <a:pt x="630" y="90"/>
                    </a:lnTo>
                    <a:lnTo>
                      <a:pt x="636" y="96"/>
                    </a:lnTo>
                    <a:lnTo>
                      <a:pt x="636" y="102"/>
                    </a:lnTo>
                    <a:lnTo>
                      <a:pt x="636" y="108"/>
                    </a:lnTo>
                    <a:lnTo>
                      <a:pt x="636" y="120"/>
                    </a:lnTo>
                    <a:lnTo>
                      <a:pt x="642" y="126"/>
                    </a:lnTo>
                    <a:lnTo>
                      <a:pt x="642" y="132"/>
                    </a:lnTo>
                    <a:lnTo>
                      <a:pt x="636" y="132"/>
                    </a:lnTo>
                    <a:lnTo>
                      <a:pt x="636" y="144"/>
                    </a:lnTo>
                    <a:lnTo>
                      <a:pt x="642" y="150"/>
                    </a:lnTo>
                    <a:lnTo>
                      <a:pt x="636" y="150"/>
                    </a:lnTo>
                    <a:lnTo>
                      <a:pt x="636" y="156"/>
                    </a:lnTo>
                    <a:lnTo>
                      <a:pt x="642" y="156"/>
                    </a:lnTo>
                    <a:lnTo>
                      <a:pt x="642" y="162"/>
                    </a:lnTo>
                    <a:lnTo>
                      <a:pt x="642" y="168"/>
                    </a:lnTo>
                    <a:lnTo>
                      <a:pt x="642" y="174"/>
                    </a:lnTo>
                    <a:lnTo>
                      <a:pt x="642" y="180"/>
                    </a:lnTo>
                    <a:lnTo>
                      <a:pt x="642" y="186"/>
                    </a:lnTo>
                    <a:lnTo>
                      <a:pt x="648" y="192"/>
                    </a:lnTo>
                    <a:lnTo>
                      <a:pt x="648" y="198"/>
                    </a:lnTo>
                    <a:lnTo>
                      <a:pt x="648" y="204"/>
                    </a:lnTo>
                    <a:lnTo>
                      <a:pt x="654" y="210"/>
                    </a:lnTo>
                    <a:lnTo>
                      <a:pt x="654" y="216"/>
                    </a:lnTo>
                    <a:lnTo>
                      <a:pt x="660" y="216"/>
                    </a:lnTo>
                    <a:lnTo>
                      <a:pt x="660" y="222"/>
                    </a:lnTo>
                    <a:lnTo>
                      <a:pt x="666" y="222"/>
                    </a:lnTo>
                    <a:lnTo>
                      <a:pt x="672" y="228"/>
                    </a:lnTo>
                    <a:lnTo>
                      <a:pt x="678" y="228"/>
                    </a:lnTo>
                    <a:lnTo>
                      <a:pt x="678" y="234"/>
                    </a:lnTo>
                    <a:lnTo>
                      <a:pt x="672" y="234"/>
                    </a:lnTo>
                    <a:lnTo>
                      <a:pt x="672" y="240"/>
                    </a:lnTo>
                    <a:lnTo>
                      <a:pt x="666" y="240"/>
                    </a:lnTo>
                    <a:lnTo>
                      <a:pt x="666" y="246"/>
                    </a:lnTo>
                    <a:lnTo>
                      <a:pt x="660" y="246"/>
                    </a:lnTo>
                    <a:lnTo>
                      <a:pt x="666" y="246"/>
                    </a:lnTo>
                    <a:lnTo>
                      <a:pt x="660" y="246"/>
                    </a:lnTo>
                    <a:lnTo>
                      <a:pt x="660" y="252"/>
                    </a:lnTo>
                    <a:lnTo>
                      <a:pt x="666" y="252"/>
                    </a:lnTo>
                    <a:lnTo>
                      <a:pt x="666" y="258"/>
                    </a:lnTo>
                    <a:lnTo>
                      <a:pt x="660" y="258"/>
                    </a:lnTo>
                    <a:lnTo>
                      <a:pt x="654" y="258"/>
                    </a:lnTo>
                    <a:lnTo>
                      <a:pt x="648" y="258"/>
                    </a:lnTo>
                    <a:lnTo>
                      <a:pt x="642" y="258"/>
                    </a:lnTo>
                    <a:lnTo>
                      <a:pt x="636" y="258"/>
                    </a:lnTo>
                    <a:lnTo>
                      <a:pt x="630" y="258"/>
                    </a:lnTo>
                    <a:lnTo>
                      <a:pt x="624" y="258"/>
                    </a:lnTo>
                    <a:lnTo>
                      <a:pt x="618" y="258"/>
                    </a:lnTo>
                    <a:lnTo>
                      <a:pt x="612" y="252"/>
                    </a:lnTo>
                    <a:lnTo>
                      <a:pt x="606" y="252"/>
                    </a:lnTo>
                    <a:lnTo>
                      <a:pt x="600" y="252"/>
                    </a:lnTo>
                    <a:lnTo>
                      <a:pt x="594" y="252"/>
                    </a:lnTo>
                    <a:lnTo>
                      <a:pt x="588" y="258"/>
                    </a:lnTo>
                    <a:lnTo>
                      <a:pt x="582" y="258"/>
                    </a:lnTo>
                    <a:lnTo>
                      <a:pt x="576" y="258"/>
                    </a:lnTo>
                    <a:lnTo>
                      <a:pt x="570" y="258"/>
                    </a:lnTo>
                    <a:lnTo>
                      <a:pt x="570" y="264"/>
                    </a:lnTo>
                    <a:lnTo>
                      <a:pt x="570" y="270"/>
                    </a:lnTo>
                    <a:lnTo>
                      <a:pt x="576" y="270"/>
                    </a:lnTo>
                    <a:lnTo>
                      <a:pt x="576" y="276"/>
                    </a:lnTo>
                    <a:lnTo>
                      <a:pt x="576" y="282"/>
                    </a:lnTo>
                    <a:lnTo>
                      <a:pt x="570" y="282"/>
                    </a:lnTo>
                    <a:lnTo>
                      <a:pt x="564" y="282"/>
                    </a:lnTo>
                    <a:lnTo>
                      <a:pt x="558" y="282"/>
                    </a:lnTo>
                    <a:lnTo>
                      <a:pt x="552" y="282"/>
                    </a:lnTo>
                    <a:lnTo>
                      <a:pt x="552" y="288"/>
                    </a:lnTo>
                    <a:lnTo>
                      <a:pt x="546" y="288"/>
                    </a:lnTo>
                    <a:lnTo>
                      <a:pt x="540" y="288"/>
                    </a:lnTo>
                    <a:lnTo>
                      <a:pt x="534" y="288"/>
                    </a:lnTo>
                    <a:lnTo>
                      <a:pt x="528" y="288"/>
                    </a:lnTo>
                    <a:lnTo>
                      <a:pt x="528" y="294"/>
                    </a:lnTo>
                    <a:lnTo>
                      <a:pt x="528" y="300"/>
                    </a:lnTo>
                    <a:lnTo>
                      <a:pt x="528" y="306"/>
                    </a:lnTo>
                    <a:lnTo>
                      <a:pt x="522" y="306"/>
                    </a:lnTo>
                    <a:lnTo>
                      <a:pt x="522" y="312"/>
                    </a:lnTo>
                    <a:lnTo>
                      <a:pt x="522" y="318"/>
                    </a:lnTo>
                    <a:lnTo>
                      <a:pt x="522" y="324"/>
                    </a:lnTo>
                    <a:lnTo>
                      <a:pt x="528" y="324"/>
                    </a:lnTo>
                    <a:lnTo>
                      <a:pt x="534" y="324"/>
                    </a:lnTo>
                    <a:lnTo>
                      <a:pt x="534" y="330"/>
                    </a:lnTo>
                    <a:lnTo>
                      <a:pt x="534" y="336"/>
                    </a:lnTo>
                    <a:lnTo>
                      <a:pt x="528" y="336"/>
                    </a:lnTo>
                    <a:lnTo>
                      <a:pt x="522" y="336"/>
                    </a:lnTo>
                    <a:lnTo>
                      <a:pt x="522" y="342"/>
                    </a:lnTo>
                    <a:lnTo>
                      <a:pt x="522" y="336"/>
                    </a:lnTo>
                    <a:lnTo>
                      <a:pt x="516" y="336"/>
                    </a:lnTo>
                    <a:lnTo>
                      <a:pt x="510" y="342"/>
                    </a:lnTo>
                    <a:lnTo>
                      <a:pt x="504" y="342"/>
                    </a:lnTo>
                    <a:lnTo>
                      <a:pt x="504" y="348"/>
                    </a:lnTo>
                    <a:lnTo>
                      <a:pt x="498" y="348"/>
                    </a:lnTo>
                    <a:lnTo>
                      <a:pt x="492" y="348"/>
                    </a:lnTo>
                    <a:lnTo>
                      <a:pt x="486" y="348"/>
                    </a:lnTo>
                    <a:lnTo>
                      <a:pt x="480" y="348"/>
                    </a:lnTo>
                    <a:lnTo>
                      <a:pt x="474" y="348"/>
                    </a:lnTo>
                    <a:lnTo>
                      <a:pt x="474" y="354"/>
                    </a:lnTo>
                    <a:lnTo>
                      <a:pt x="468" y="354"/>
                    </a:lnTo>
                    <a:lnTo>
                      <a:pt x="462" y="354"/>
                    </a:lnTo>
                    <a:lnTo>
                      <a:pt x="462" y="360"/>
                    </a:lnTo>
                    <a:lnTo>
                      <a:pt x="462" y="366"/>
                    </a:lnTo>
                    <a:lnTo>
                      <a:pt x="456" y="366"/>
                    </a:lnTo>
                    <a:lnTo>
                      <a:pt x="456" y="372"/>
                    </a:lnTo>
                    <a:lnTo>
                      <a:pt x="456" y="378"/>
                    </a:lnTo>
                    <a:lnTo>
                      <a:pt x="456" y="384"/>
                    </a:lnTo>
                    <a:lnTo>
                      <a:pt x="450" y="384"/>
                    </a:lnTo>
                    <a:lnTo>
                      <a:pt x="450" y="390"/>
                    </a:lnTo>
                    <a:lnTo>
                      <a:pt x="450" y="396"/>
                    </a:lnTo>
                    <a:lnTo>
                      <a:pt x="444" y="396"/>
                    </a:lnTo>
                    <a:lnTo>
                      <a:pt x="438" y="396"/>
                    </a:lnTo>
                    <a:lnTo>
                      <a:pt x="438" y="402"/>
                    </a:lnTo>
                    <a:lnTo>
                      <a:pt x="432" y="402"/>
                    </a:lnTo>
                    <a:lnTo>
                      <a:pt x="426" y="402"/>
                    </a:lnTo>
                    <a:lnTo>
                      <a:pt x="420" y="408"/>
                    </a:lnTo>
                    <a:lnTo>
                      <a:pt x="414" y="408"/>
                    </a:lnTo>
                    <a:lnTo>
                      <a:pt x="408" y="408"/>
                    </a:lnTo>
                    <a:lnTo>
                      <a:pt x="402" y="408"/>
                    </a:lnTo>
                    <a:lnTo>
                      <a:pt x="396" y="414"/>
                    </a:lnTo>
                    <a:lnTo>
                      <a:pt x="390" y="414"/>
                    </a:lnTo>
                    <a:lnTo>
                      <a:pt x="384" y="414"/>
                    </a:lnTo>
                    <a:lnTo>
                      <a:pt x="378" y="414"/>
                    </a:lnTo>
                    <a:lnTo>
                      <a:pt x="372" y="414"/>
                    </a:lnTo>
                    <a:lnTo>
                      <a:pt x="372" y="420"/>
                    </a:lnTo>
                    <a:lnTo>
                      <a:pt x="366" y="420"/>
                    </a:lnTo>
                    <a:lnTo>
                      <a:pt x="360" y="420"/>
                    </a:lnTo>
                    <a:lnTo>
                      <a:pt x="354" y="420"/>
                    </a:lnTo>
                    <a:lnTo>
                      <a:pt x="348" y="420"/>
                    </a:lnTo>
                    <a:lnTo>
                      <a:pt x="342" y="420"/>
                    </a:lnTo>
                    <a:lnTo>
                      <a:pt x="336" y="420"/>
                    </a:lnTo>
                    <a:lnTo>
                      <a:pt x="330" y="420"/>
                    </a:lnTo>
                    <a:lnTo>
                      <a:pt x="330" y="426"/>
                    </a:lnTo>
                    <a:lnTo>
                      <a:pt x="324" y="426"/>
                    </a:lnTo>
                    <a:lnTo>
                      <a:pt x="324" y="432"/>
                    </a:lnTo>
                    <a:lnTo>
                      <a:pt x="318" y="432"/>
                    </a:lnTo>
                    <a:lnTo>
                      <a:pt x="318" y="438"/>
                    </a:lnTo>
                    <a:lnTo>
                      <a:pt x="312" y="432"/>
                    </a:lnTo>
                    <a:lnTo>
                      <a:pt x="306" y="438"/>
                    </a:lnTo>
                    <a:lnTo>
                      <a:pt x="300" y="438"/>
                    </a:lnTo>
                    <a:lnTo>
                      <a:pt x="300" y="444"/>
                    </a:lnTo>
                    <a:lnTo>
                      <a:pt x="294" y="444"/>
                    </a:lnTo>
                    <a:lnTo>
                      <a:pt x="294" y="450"/>
                    </a:lnTo>
                    <a:lnTo>
                      <a:pt x="288" y="450"/>
                    </a:lnTo>
                    <a:lnTo>
                      <a:pt x="282" y="456"/>
                    </a:lnTo>
                    <a:lnTo>
                      <a:pt x="276" y="456"/>
                    </a:lnTo>
                    <a:lnTo>
                      <a:pt x="270" y="462"/>
                    </a:lnTo>
                    <a:lnTo>
                      <a:pt x="264" y="468"/>
                    </a:lnTo>
                    <a:lnTo>
                      <a:pt x="258" y="468"/>
                    </a:lnTo>
                    <a:lnTo>
                      <a:pt x="258" y="474"/>
                    </a:lnTo>
                    <a:lnTo>
                      <a:pt x="252" y="474"/>
                    </a:lnTo>
                    <a:lnTo>
                      <a:pt x="252" y="480"/>
                    </a:lnTo>
                    <a:lnTo>
                      <a:pt x="252" y="486"/>
                    </a:lnTo>
                    <a:lnTo>
                      <a:pt x="252" y="498"/>
                    </a:lnTo>
                    <a:lnTo>
                      <a:pt x="252" y="504"/>
                    </a:lnTo>
                    <a:lnTo>
                      <a:pt x="252" y="54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188" name="Freeform 6"/>
              <p:cNvSpPr>
                <a:spLocks/>
              </p:cNvSpPr>
              <p:nvPr>
                <p:custDataLst>
                  <p:tags r:id="rId7"/>
                </p:custDataLst>
              </p:nvPr>
            </p:nvSpPr>
            <p:spPr bwMode="gray">
              <a:xfrm>
                <a:off x="784406" y="240474"/>
                <a:ext cx="596570" cy="503231"/>
              </a:xfrm>
              <a:custGeom>
                <a:avLst/>
                <a:gdLst>
                  <a:gd name="T0" fmla="*/ 1936 w 474"/>
                  <a:gd name="T1" fmla="*/ 151395 h 426"/>
                  <a:gd name="T2" fmla="*/ 1936 w 474"/>
                  <a:gd name="T3" fmla="*/ 147488 h 426"/>
                  <a:gd name="T4" fmla="*/ 1936 w 474"/>
                  <a:gd name="T5" fmla="*/ 138698 h 426"/>
                  <a:gd name="T6" fmla="*/ 3872 w 474"/>
                  <a:gd name="T7" fmla="*/ 132837 h 426"/>
                  <a:gd name="T8" fmla="*/ 6776 w 474"/>
                  <a:gd name="T9" fmla="*/ 126000 h 426"/>
                  <a:gd name="T10" fmla="*/ 10648 w 474"/>
                  <a:gd name="T11" fmla="*/ 121117 h 426"/>
                  <a:gd name="T12" fmla="*/ 14521 w 474"/>
                  <a:gd name="T13" fmla="*/ 117209 h 426"/>
                  <a:gd name="T14" fmla="*/ 17424 w 474"/>
                  <a:gd name="T15" fmla="*/ 110372 h 426"/>
                  <a:gd name="T16" fmla="*/ 19360 w 474"/>
                  <a:gd name="T17" fmla="*/ 103535 h 426"/>
                  <a:gd name="T18" fmla="*/ 21296 w 474"/>
                  <a:gd name="T19" fmla="*/ 97675 h 426"/>
                  <a:gd name="T20" fmla="*/ 26137 w 474"/>
                  <a:gd name="T21" fmla="*/ 92791 h 426"/>
                  <a:gd name="T22" fmla="*/ 26137 w 474"/>
                  <a:gd name="T23" fmla="*/ 88884 h 426"/>
                  <a:gd name="T24" fmla="*/ 27104 w 474"/>
                  <a:gd name="T25" fmla="*/ 86930 h 426"/>
                  <a:gd name="T26" fmla="*/ 26137 w 474"/>
                  <a:gd name="T27" fmla="*/ 88884 h 426"/>
                  <a:gd name="T28" fmla="*/ 23232 w 474"/>
                  <a:gd name="T29" fmla="*/ 86930 h 426"/>
                  <a:gd name="T30" fmla="*/ 30008 w 474"/>
                  <a:gd name="T31" fmla="*/ 84000 h 426"/>
                  <a:gd name="T32" fmla="*/ 31944 w 474"/>
                  <a:gd name="T33" fmla="*/ 83023 h 426"/>
                  <a:gd name="T34" fmla="*/ 36785 w 474"/>
                  <a:gd name="T35" fmla="*/ 76186 h 426"/>
                  <a:gd name="T36" fmla="*/ 40656 w 474"/>
                  <a:gd name="T37" fmla="*/ 71302 h 426"/>
                  <a:gd name="T38" fmla="*/ 44529 w 474"/>
                  <a:gd name="T39" fmla="*/ 67395 h 426"/>
                  <a:gd name="T40" fmla="*/ 46465 w 474"/>
                  <a:gd name="T41" fmla="*/ 58604 h 426"/>
                  <a:gd name="T42" fmla="*/ 46465 w 474"/>
                  <a:gd name="T43" fmla="*/ 53721 h 426"/>
                  <a:gd name="T44" fmla="*/ 46465 w 474"/>
                  <a:gd name="T45" fmla="*/ 49814 h 426"/>
                  <a:gd name="T46" fmla="*/ 49368 w 474"/>
                  <a:gd name="T47" fmla="*/ 42977 h 426"/>
                  <a:gd name="T48" fmla="*/ 53241 w 474"/>
                  <a:gd name="T49" fmla="*/ 37116 h 426"/>
                  <a:gd name="T50" fmla="*/ 57113 w 474"/>
                  <a:gd name="T51" fmla="*/ 32233 h 426"/>
                  <a:gd name="T52" fmla="*/ 61953 w 474"/>
                  <a:gd name="T53" fmla="*/ 28326 h 426"/>
                  <a:gd name="T54" fmla="*/ 67761 w 474"/>
                  <a:gd name="T55" fmla="*/ 26372 h 426"/>
                  <a:gd name="T56" fmla="*/ 72601 w 474"/>
                  <a:gd name="T57" fmla="*/ 21488 h 426"/>
                  <a:gd name="T58" fmla="*/ 74537 w 474"/>
                  <a:gd name="T59" fmla="*/ 15628 h 426"/>
                  <a:gd name="T60" fmla="*/ 76473 w 474"/>
                  <a:gd name="T61" fmla="*/ 6838 h 426"/>
                  <a:gd name="T62" fmla="*/ 78409 w 474"/>
                  <a:gd name="T63" fmla="*/ 0 h 426"/>
                  <a:gd name="T64" fmla="*/ 168434 w 474"/>
                  <a:gd name="T65" fmla="*/ 0 h 426"/>
                  <a:gd name="T66" fmla="*/ 168434 w 474"/>
                  <a:gd name="T67" fmla="*/ 39069 h 426"/>
                  <a:gd name="T68" fmla="*/ 157786 w 474"/>
                  <a:gd name="T69" fmla="*/ 39069 h 426"/>
                  <a:gd name="T70" fmla="*/ 147138 w 474"/>
                  <a:gd name="T71" fmla="*/ 39069 h 426"/>
                  <a:gd name="T72" fmla="*/ 136490 w 474"/>
                  <a:gd name="T73" fmla="*/ 39069 h 426"/>
                  <a:gd name="T74" fmla="*/ 127778 w 474"/>
                  <a:gd name="T75" fmla="*/ 39069 h 426"/>
                  <a:gd name="T76" fmla="*/ 115193 w 474"/>
                  <a:gd name="T77" fmla="*/ 39069 h 426"/>
                  <a:gd name="T78" fmla="*/ 104545 w 474"/>
                  <a:gd name="T79" fmla="*/ 39069 h 426"/>
                  <a:gd name="T80" fmla="*/ 101641 w 474"/>
                  <a:gd name="T81" fmla="*/ 64465 h 426"/>
                  <a:gd name="T82" fmla="*/ 90026 w 474"/>
                  <a:gd name="T83" fmla="*/ 95721 h 426"/>
                  <a:gd name="T84" fmla="*/ 81313 w 474"/>
                  <a:gd name="T85" fmla="*/ 101581 h 426"/>
                  <a:gd name="T86" fmla="*/ 78409 w 474"/>
                  <a:gd name="T87" fmla="*/ 110372 h 426"/>
                  <a:gd name="T88" fmla="*/ 81313 w 474"/>
                  <a:gd name="T89" fmla="*/ 121117 h 426"/>
                  <a:gd name="T90" fmla="*/ 81313 w 474"/>
                  <a:gd name="T91" fmla="*/ 129907 h 426"/>
                  <a:gd name="T92" fmla="*/ 81313 w 474"/>
                  <a:gd name="T93" fmla="*/ 138698 h 426"/>
                  <a:gd name="T94" fmla="*/ 72601 w 474"/>
                  <a:gd name="T95" fmla="*/ 140651 h 426"/>
                  <a:gd name="T96" fmla="*/ 61953 w 474"/>
                  <a:gd name="T97" fmla="*/ 140651 h 426"/>
                  <a:gd name="T98" fmla="*/ 53241 w 474"/>
                  <a:gd name="T99" fmla="*/ 140651 h 426"/>
                  <a:gd name="T100" fmla="*/ 44529 w 474"/>
                  <a:gd name="T101" fmla="*/ 140651 h 426"/>
                  <a:gd name="T102" fmla="*/ 27104 w 474"/>
                  <a:gd name="T103" fmla="*/ 140651 h 426"/>
                  <a:gd name="T104" fmla="*/ 3872 w 474"/>
                  <a:gd name="T105" fmla="*/ 140651 h 426"/>
                  <a:gd name="T106" fmla="*/ 1936 w 474"/>
                  <a:gd name="T107" fmla="*/ 147488 h 4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74" h="426">
                    <a:moveTo>
                      <a:pt x="6" y="426"/>
                    </a:moveTo>
                    <a:lnTo>
                      <a:pt x="6" y="420"/>
                    </a:lnTo>
                    <a:lnTo>
                      <a:pt x="0" y="420"/>
                    </a:lnTo>
                    <a:lnTo>
                      <a:pt x="6" y="420"/>
                    </a:lnTo>
                    <a:lnTo>
                      <a:pt x="6" y="414"/>
                    </a:lnTo>
                    <a:lnTo>
                      <a:pt x="0" y="414"/>
                    </a:lnTo>
                    <a:lnTo>
                      <a:pt x="6" y="414"/>
                    </a:lnTo>
                    <a:lnTo>
                      <a:pt x="6" y="408"/>
                    </a:lnTo>
                    <a:lnTo>
                      <a:pt x="6" y="402"/>
                    </a:lnTo>
                    <a:lnTo>
                      <a:pt x="6" y="396"/>
                    </a:lnTo>
                    <a:lnTo>
                      <a:pt x="6" y="390"/>
                    </a:lnTo>
                    <a:lnTo>
                      <a:pt x="6" y="384"/>
                    </a:lnTo>
                    <a:lnTo>
                      <a:pt x="6" y="378"/>
                    </a:lnTo>
                    <a:lnTo>
                      <a:pt x="12" y="378"/>
                    </a:lnTo>
                    <a:lnTo>
                      <a:pt x="12" y="372"/>
                    </a:lnTo>
                    <a:lnTo>
                      <a:pt x="12" y="366"/>
                    </a:lnTo>
                    <a:lnTo>
                      <a:pt x="12" y="360"/>
                    </a:lnTo>
                    <a:lnTo>
                      <a:pt x="12" y="354"/>
                    </a:lnTo>
                    <a:lnTo>
                      <a:pt x="18" y="354"/>
                    </a:lnTo>
                    <a:lnTo>
                      <a:pt x="18" y="348"/>
                    </a:lnTo>
                    <a:lnTo>
                      <a:pt x="18" y="342"/>
                    </a:lnTo>
                    <a:lnTo>
                      <a:pt x="18" y="336"/>
                    </a:lnTo>
                    <a:lnTo>
                      <a:pt x="24" y="336"/>
                    </a:lnTo>
                    <a:lnTo>
                      <a:pt x="30" y="336"/>
                    </a:lnTo>
                    <a:lnTo>
                      <a:pt x="36" y="336"/>
                    </a:lnTo>
                    <a:lnTo>
                      <a:pt x="36" y="330"/>
                    </a:lnTo>
                    <a:lnTo>
                      <a:pt x="36" y="324"/>
                    </a:lnTo>
                    <a:lnTo>
                      <a:pt x="42" y="324"/>
                    </a:lnTo>
                    <a:lnTo>
                      <a:pt x="42" y="318"/>
                    </a:lnTo>
                    <a:lnTo>
                      <a:pt x="42" y="312"/>
                    </a:lnTo>
                    <a:lnTo>
                      <a:pt x="42" y="306"/>
                    </a:lnTo>
                    <a:lnTo>
                      <a:pt x="48" y="306"/>
                    </a:lnTo>
                    <a:lnTo>
                      <a:pt x="48" y="300"/>
                    </a:lnTo>
                    <a:lnTo>
                      <a:pt x="48" y="294"/>
                    </a:lnTo>
                    <a:lnTo>
                      <a:pt x="54" y="294"/>
                    </a:lnTo>
                    <a:lnTo>
                      <a:pt x="54" y="288"/>
                    </a:lnTo>
                    <a:lnTo>
                      <a:pt x="54" y="282"/>
                    </a:lnTo>
                    <a:lnTo>
                      <a:pt x="60" y="282"/>
                    </a:lnTo>
                    <a:lnTo>
                      <a:pt x="60" y="276"/>
                    </a:lnTo>
                    <a:lnTo>
                      <a:pt x="60" y="270"/>
                    </a:lnTo>
                    <a:lnTo>
                      <a:pt x="66" y="270"/>
                    </a:lnTo>
                    <a:lnTo>
                      <a:pt x="66" y="264"/>
                    </a:lnTo>
                    <a:lnTo>
                      <a:pt x="66" y="258"/>
                    </a:lnTo>
                    <a:lnTo>
                      <a:pt x="72" y="258"/>
                    </a:lnTo>
                    <a:lnTo>
                      <a:pt x="72" y="252"/>
                    </a:lnTo>
                    <a:lnTo>
                      <a:pt x="72" y="246"/>
                    </a:lnTo>
                    <a:lnTo>
                      <a:pt x="78" y="246"/>
                    </a:lnTo>
                    <a:lnTo>
                      <a:pt x="72" y="246"/>
                    </a:lnTo>
                    <a:lnTo>
                      <a:pt x="78" y="246"/>
                    </a:lnTo>
                    <a:lnTo>
                      <a:pt x="78" y="240"/>
                    </a:lnTo>
                    <a:lnTo>
                      <a:pt x="78" y="234"/>
                    </a:lnTo>
                    <a:lnTo>
                      <a:pt x="78" y="240"/>
                    </a:lnTo>
                    <a:lnTo>
                      <a:pt x="78" y="234"/>
                    </a:lnTo>
                    <a:lnTo>
                      <a:pt x="78" y="240"/>
                    </a:lnTo>
                    <a:lnTo>
                      <a:pt x="72" y="240"/>
                    </a:lnTo>
                    <a:lnTo>
                      <a:pt x="72" y="246"/>
                    </a:lnTo>
                    <a:lnTo>
                      <a:pt x="66" y="246"/>
                    </a:lnTo>
                    <a:lnTo>
                      <a:pt x="66" y="252"/>
                    </a:lnTo>
                    <a:lnTo>
                      <a:pt x="66" y="246"/>
                    </a:lnTo>
                    <a:lnTo>
                      <a:pt x="66" y="240"/>
                    </a:lnTo>
                    <a:lnTo>
                      <a:pt x="72" y="240"/>
                    </a:lnTo>
                    <a:lnTo>
                      <a:pt x="72" y="234"/>
                    </a:lnTo>
                    <a:lnTo>
                      <a:pt x="78" y="234"/>
                    </a:lnTo>
                    <a:lnTo>
                      <a:pt x="84" y="234"/>
                    </a:lnTo>
                    <a:lnTo>
                      <a:pt x="84" y="228"/>
                    </a:lnTo>
                    <a:lnTo>
                      <a:pt x="90" y="228"/>
                    </a:lnTo>
                    <a:lnTo>
                      <a:pt x="84" y="228"/>
                    </a:lnTo>
                    <a:lnTo>
                      <a:pt x="90" y="228"/>
                    </a:lnTo>
                    <a:lnTo>
                      <a:pt x="90" y="222"/>
                    </a:lnTo>
                    <a:lnTo>
                      <a:pt x="96" y="216"/>
                    </a:lnTo>
                    <a:lnTo>
                      <a:pt x="102" y="216"/>
                    </a:lnTo>
                    <a:lnTo>
                      <a:pt x="102" y="210"/>
                    </a:lnTo>
                    <a:lnTo>
                      <a:pt x="102" y="204"/>
                    </a:lnTo>
                    <a:lnTo>
                      <a:pt x="108" y="204"/>
                    </a:lnTo>
                    <a:lnTo>
                      <a:pt x="108" y="198"/>
                    </a:lnTo>
                    <a:lnTo>
                      <a:pt x="114" y="198"/>
                    </a:lnTo>
                    <a:lnTo>
                      <a:pt x="120" y="198"/>
                    </a:lnTo>
                    <a:lnTo>
                      <a:pt x="120" y="192"/>
                    </a:lnTo>
                    <a:lnTo>
                      <a:pt x="126" y="192"/>
                    </a:lnTo>
                    <a:lnTo>
                      <a:pt x="126" y="186"/>
                    </a:lnTo>
                    <a:lnTo>
                      <a:pt x="126" y="180"/>
                    </a:lnTo>
                    <a:lnTo>
                      <a:pt x="126" y="174"/>
                    </a:lnTo>
                    <a:lnTo>
                      <a:pt x="132" y="168"/>
                    </a:lnTo>
                    <a:lnTo>
                      <a:pt x="132" y="162"/>
                    </a:lnTo>
                    <a:lnTo>
                      <a:pt x="126" y="162"/>
                    </a:lnTo>
                    <a:lnTo>
                      <a:pt x="126" y="156"/>
                    </a:lnTo>
                    <a:lnTo>
                      <a:pt x="132" y="156"/>
                    </a:lnTo>
                    <a:lnTo>
                      <a:pt x="132" y="150"/>
                    </a:lnTo>
                    <a:lnTo>
                      <a:pt x="126" y="150"/>
                    </a:lnTo>
                    <a:lnTo>
                      <a:pt x="132" y="150"/>
                    </a:lnTo>
                    <a:lnTo>
                      <a:pt x="132" y="144"/>
                    </a:lnTo>
                    <a:lnTo>
                      <a:pt x="132" y="138"/>
                    </a:lnTo>
                    <a:lnTo>
                      <a:pt x="138" y="138"/>
                    </a:lnTo>
                    <a:lnTo>
                      <a:pt x="138" y="132"/>
                    </a:lnTo>
                    <a:lnTo>
                      <a:pt x="138" y="126"/>
                    </a:lnTo>
                    <a:lnTo>
                      <a:pt x="138" y="120"/>
                    </a:lnTo>
                    <a:lnTo>
                      <a:pt x="144" y="120"/>
                    </a:lnTo>
                    <a:lnTo>
                      <a:pt x="144" y="114"/>
                    </a:lnTo>
                    <a:lnTo>
                      <a:pt x="150" y="108"/>
                    </a:lnTo>
                    <a:lnTo>
                      <a:pt x="150" y="102"/>
                    </a:lnTo>
                    <a:lnTo>
                      <a:pt x="150" y="96"/>
                    </a:lnTo>
                    <a:lnTo>
                      <a:pt x="150" y="90"/>
                    </a:lnTo>
                    <a:lnTo>
                      <a:pt x="156" y="90"/>
                    </a:lnTo>
                    <a:lnTo>
                      <a:pt x="162" y="90"/>
                    </a:lnTo>
                    <a:lnTo>
                      <a:pt x="162" y="84"/>
                    </a:lnTo>
                    <a:lnTo>
                      <a:pt x="168" y="84"/>
                    </a:lnTo>
                    <a:lnTo>
                      <a:pt x="168" y="78"/>
                    </a:lnTo>
                    <a:lnTo>
                      <a:pt x="174" y="78"/>
                    </a:lnTo>
                    <a:lnTo>
                      <a:pt x="180" y="78"/>
                    </a:lnTo>
                    <a:lnTo>
                      <a:pt x="180" y="72"/>
                    </a:lnTo>
                    <a:lnTo>
                      <a:pt x="186" y="72"/>
                    </a:lnTo>
                    <a:lnTo>
                      <a:pt x="192" y="72"/>
                    </a:lnTo>
                    <a:lnTo>
                      <a:pt x="192" y="66"/>
                    </a:lnTo>
                    <a:lnTo>
                      <a:pt x="198" y="66"/>
                    </a:lnTo>
                    <a:lnTo>
                      <a:pt x="198" y="60"/>
                    </a:lnTo>
                    <a:lnTo>
                      <a:pt x="204" y="60"/>
                    </a:lnTo>
                    <a:lnTo>
                      <a:pt x="204" y="54"/>
                    </a:lnTo>
                    <a:lnTo>
                      <a:pt x="204" y="48"/>
                    </a:lnTo>
                    <a:lnTo>
                      <a:pt x="204" y="42"/>
                    </a:lnTo>
                    <a:lnTo>
                      <a:pt x="210" y="42"/>
                    </a:lnTo>
                    <a:lnTo>
                      <a:pt x="210" y="36"/>
                    </a:lnTo>
                    <a:lnTo>
                      <a:pt x="210" y="30"/>
                    </a:lnTo>
                    <a:lnTo>
                      <a:pt x="216" y="24"/>
                    </a:lnTo>
                    <a:lnTo>
                      <a:pt x="216" y="18"/>
                    </a:lnTo>
                    <a:lnTo>
                      <a:pt x="216" y="12"/>
                    </a:lnTo>
                    <a:lnTo>
                      <a:pt x="222" y="12"/>
                    </a:lnTo>
                    <a:lnTo>
                      <a:pt x="222" y="6"/>
                    </a:lnTo>
                    <a:lnTo>
                      <a:pt x="222" y="0"/>
                    </a:lnTo>
                    <a:lnTo>
                      <a:pt x="300" y="0"/>
                    </a:lnTo>
                    <a:lnTo>
                      <a:pt x="318" y="0"/>
                    </a:lnTo>
                    <a:lnTo>
                      <a:pt x="390" y="0"/>
                    </a:lnTo>
                    <a:lnTo>
                      <a:pt x="474" y="0"/>
                    </a:lnTo>
                    <a:lnTo>
                      <a:pt x="474" y="30"/>
                    </a:lnTo>
                    <a:lnTo>
                      <a:pt x="474" y="42"/>
                    </a:lnTo>
                    <a:lnTo>
                      <a:pt x="474" y="54"/>
                    </a:lnTo>
                    <a:lnTo>
                      <a:pt x="474" y="108"/>
                    </a:lnTo>
                    <a:lnTo>
                      <a:pt x="468" y="108"/>
                    </a:lnTo>
                    <a:lnTo>
                      <a:pt x="456" y="108"/>
                    </a:lnTo>
                    <a:lnTo>
                      <a:pt x="450" y="108"/>
                    </a:lnTo>
                    <a:lnTo>
                      <a:pt x="444" y="108"/>
                    </a:lnTo>
                    <a:lnTo>
                      <a:pt x="438" y="108"/>
                    </a:lnTo>
                    <a:lnTo>
                      <a:pt x="426" y="108"/>
                    </a:lnTo>
                    <a:lnTo>
                      <a:pt x="420" y="108"/>
                    </a:lnTo>
                    <a:lnTo>
                      <a:pt x="414" y="108"/>
                    </a:lnTo>
                    <a:lnTo>
                      <a:pt x="402" y="108"/>
                    </a:lnTo>
                    <a:lnTo>
                      <a:pt x="396" y="108"/>
                    </a:lnTo>
                    <a:lnTo>
                      <a:pt x="390" y="108"/>
                    </a:lnTo>
                    <a:lnTo>
                      <a:pt x="384" y="108"/>
                    </a:lnTo>
                    <a:lnTo>
                      <a:pt x="378" y="108"/>
                    </a:lnTo>
                    <a:lnTo>
                      <a:pt x="372" y="108"/>
                    </a:lnTo>
                    <a:lnTo>
                      <a:pt x="366" y="108"/>
                    </a:lnTo>
                    <a:lnTo>
                      <a:pt x="360" y="108"/>
                    </a:lnTo>
                    <a:lnTo>
                      <a:pt x="348" y="108"/>
                    </a:lnTo>
                    <a:lnTo>
                      <a:pt x="342" y="108"/>
                    </a:lnTo>
                    <a:lnTo>
                      <a:pt x="336" y="108"/>
                    </a:lnTo>
                    <a:lnTo>
                      <a:pt x="324" y="108"/>
                    </a:lnTo>
                    <a:lnTo>
                      <a:pt x="318" y="108"/>
                    </a:lnTo>
                    <a:lnTo>
                      <a:pt x="312" y="108"/>
                    </a:lnTo>
                    <a:lnTo>
                      <a:pt x="300" y="108"/>
                    </a:lnTo>
                    <a:lnTo>
                      <a:pt x="294" y="108"/>
                    </a:lnTo>
                    <a:lnTo>
                      <a:pt x="288" y="108"/>
                    </a:lnTo>
                    <a:lnTo>
                      <a:pt x="288" y="114"/>
                    </a:lnTo>
                    <a:lnTo>
                      <a:pt x="288" y="168"/>
                    </a:lnTo>
                    <a:lnTo>
                      <a:pt x="288" y="180"/>
                    </a:lnTo>
                    <a:lnTo>
                      <a:pt x="288" y="204"/>
                    </a:lnTo>
                    <a:lnTo>
                      <a:pt x="288" y="264"/>
                    </a:lnTo>
                    <a:lnTo>
                      <a:pt x="258" y="264"/>
                    </a:lnTo>
                    <a:lnTo>
                      <a:pt x="252" y="264"/>
                    </a:lnTo>
                    <a:lnTo>
                      <a:pt x="246" y="270"/>
                    </a:lnTo>
                    <a:lnTo>
                      <a:pt x="240" y="270"/>
                    </a:lnTo>
                    <a:lnTo>
                      <a:pt x="234" y="276"/>
                    </a:lnTo>
                    <a:lnTo>
                      <a:pt x="228" y="282"/>
                    </a:lnTo>
                    <a:lnTo>
                      <a:pt x="228" y="288"/>
                    </a:lnTo>
                    <a:lnTo>
                      <a:pt x="228" y="294"/>
                    </a:lnTo>
                    <a:lnTo>
                      <a:pt x="222" y="300"/>
                    </a:lnTo>
                    <a:lnTo>
                      <a:pt x="222" y="306"/>
                    </a:lnTo>
                    <a:lnTo>
                      <a:pt x="222" y="312"/>
                    </a:lnTo>
                    <a:lnTo>
                      <a:pt x="222" y="318"/>
                    </a:lnTo>
                    <a:lnTo>
                      <a:pt x="222" y="330"/>
                    </a:lnTo>
                    <a:lnTo>
                      <a:pt x="228" y="336"/>
                    </a:lnTo>
                    <a:lnTo>
                      <a:pt x="228" y="342"/>
                    </a:lnTo>
                    <a:lnTo>
                      <a:pt x="228" y="348"/>
                    </a:lnTo>
                    <a:lnTo>
                      <a:pt x="228" y="354"/>
                    </a:lnTo>
                    <a:lnTo>
                      <a:pt x="228" y="360"/>
                    </a:lnTo>
                    <a:lnTo>
                      <a:pt x="228" y="366"/>
                    </a:lnTo>
                    <a:lnTo>
                      <a:pt x="228" y="372"/>
                    </a:lnTo>
                    <a:lnTo>
                      <a:pt x="228" y="378"/>
                    </a:lnTo>
                    <a:lnTo>
                      <a:pt x="228" y="384"/>
                    </a:lnTo>
                    <a:lnTo>
                      <a:pt x="228" y="390"/>
                    </a:lnTo>
                    <a:lnTo>
                      <a:pt x="222" y="390"/>
                    </a:lnTo>
                    <a:lnTo>
                      <a:pt x="210" y="390"/>
                    </a:lnTo>
                    <a:lnTo>
                      <a:pt x="204" y="390"/>
                    </a:lnTo>
                    <a:lnTo>
                      <a:pt x="198" y="390"/>
                    </a:lnTo>
                    <a:lnTo>
                      <a:pt x="192" y="390"/>
                    </a:lnTo>
                    <a:lnTo>
                      <a:pt x="180" y="390"/>
                    </a:lnTo>
                    <a:lnTo>
                      <a:pt x="174" y="390"/>
                    </a:lnTo>
                    <a:lnTo>
                      <a:pt x="168" y="390"/>
                    </a:lnTo>
                    <a:lnTo>
                      <a:pt x="162" y="390"/>
                    </a:lnTo>
                    <a:lnTo>
                      <a:pt x="156" y="390"/>
                    </a:lnTo>
                    <a:lnTo>
                      <a:pt x="150" y="390"/>
                    </a:lnTo>
                    <a:lnTo>
                      <a:pt x="144" y="390"/>
                    </a:lnTo>
                    <a:lnTo>
                      <a:pt x="138" y="390"/>
                    </a:lnTo>
                    <a:lnTo>
                      <a:pt x="132" y="390"/>
                    </a:lnTo>
                    <a:lnTo>
                      <a:pt x="126" y="390"/>
                    </a:lnTo>
                    <a:lnTo>
                      <a:pt x="120" y="390"/>
                    </a:lnTo>
                    <a:lnTo>
                      <a:pt x="108" y="390"/>
                    </a:lnTo>
                    <a:lnTo>
                      <a:pt x="90" y="390"/>
                    </a:lnTo>
                    <a:lnTo>
                      <a:pt x="78" y="390"/>
                    </a:lnTo>
                    <a:lnTo>
                      <a:pt x="60" y="390"/>
                    </a:lnTo>
                    <a:lnTo>
                      <a:pt x="48" y="390"/>
                    </a:lnTo>
                    <a:lnTo>
                      <a:pt x="30" y="390"/>
                    </a:lnTo>
                    <a:lnTo>
                      <a:pt x="12" y="390"/>
                    </a:lnTo>
                    <a:lnTo>
                      <a:pt x="12" y="396"/>
                    </a:lnTo>
                    <a:lnTo>
                      <a:pt x="12" y="402"/>
                    </a:lnTo>
                    <a:lnTo>
                      <a:pt x="6" y="402"/>
                    </a:lnTo>
                    <a:lnTo>
                      <a:pt x="6" y="408"/>
                    </a:lnTo>
                    <a:lnTo>
                      <a:pt x="6" y="414"/>
                    </a:lnTo>
                    <a:lnTo>
                      <a:pt x="6" y="420"/>
                    </a:lnTo>
                    <a:lnTo>
                      <a:pt x="6" y="42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189" name="Freeform 8"/>
              <p:cNvSpPr>
                <a:spLocks noEditPoints="1"/>
              </p:cNvSpPr>
              <p:nvPr>
                <p:custDataLst>
                  <p:tags r:id="rId8"/>
                </p:custDataLst>
              </p:nvPr>
            </p:nvSpPr>
            <p:spPr bwMode="gray">
              <a:xfrm>
                <a:off x="815041" y="1295149"/>
                <a:ext cx="219280" cy="128068"/>
              </a:xfrm>
              <a:custGeom>
                <a:avLst/>
                <a:gdLst>
                  <a:gd name="T0" fmla="*/ 31879 w 174"/>
                  <a:gd name="T1" fmla="*/ 35479 h 108"/>
                  <a:gd name="T2" fmla="*/ 31879 w 174"/>
                  <a:gd name="T3" fmla="*/ 33508 h 108"/>
                  <a:gd name="T4" fmla="*/ 33811 w 174"/>
                  <a:gd name="T5" fmla="*/ 33508 h 108"/>
                  <a:gd name="T6" fmla="*/ 29947 w 174"/>
                  <a:gd name="T7" fmla="*/ 30551 h 108"/>
                  <a:gd name="T8" fmla="*/ 25116 w 174"/>
                  <a:gd name="T9" fmla="*/ 28580 h 108"/>
                  <a:gd name="T10" fmla="*/ 23184 w 174"/>
                  <a:gd name="T11" fmla="*/ 28580 h 108"/>
                  <a:gd name="T12" fmla="*/ 25116 w 174"/>
                  <a:gd name="T13" fmla="*/ 23653 h 108"/>
                  <a:gd name="T14" fmla="*/ 27048 w 174"/>
                  <a:gd name="T15" fmla="*/ 23653 h 108"/>
                  <a:gd name="T16" fmla="*/ 27048 w 174"/>
                  <a:gd name="T17" fmla="*/ 22667 h 108"/>
                  <a:gd name="T18" fmla="*/ 31879 w 174"/>
                  <a:gd name="T19" fmla="*/ 23653 h 108"/>
                  <a:gd name="T20" fmla="*/ 33811 w 174"/>
                  <a:gd name="T21" fmla="*/ 23653 h 108"/>
                  <a:gd name="T22" fmla="*/ 29947 w 174"/>
                  <a:gd name="T23" fmla="*/ 22667 h 108"/>
                  <a:gd name="T24" fmla="*/ 27048 w 174"/>
                  <a:gd name="T25" fmla="*/ 22667 h 108"/>
                  <a:gd name="T26" fmla="*/ 27048 w 174"/>
                  <a:gd name="T27" fmla="*/ 19711 h 108"/>
                  <a:gd name="T28" fmla="*/ 25116 w 174"/>
                  <a:gd name="T29" fmla="*/ 22667 h 108"/>
                  <a:gd name="T30" fmla="*/ 25116 w 174"/>
                  <a:gd name="T31" fmla="*/ 17740 h 108"/>
                  <a:gd name="T32" fmla="*/ 33811 w 174"/>
                  <a:gd name="T33" fmla="*/ 15768 h 108"/>
                  <a:gd name="T34" fmla="*/ 25116 w 174"/>
                  <a:gd name="T35" fmla="*/ 15768 h 108"/>
                  <a:gd name="T36" fmla="*/ 19321 w 174"/>
                  <a:gd name="T37" fmla="*/ 19711 h 108"/>
                  <a:gd name="T38" fmla="*/ 14490 w 174"/>
                  <a:gd name="T39" fmla="*/ 17740 h 108"/>
                  <a:gd name="T40" fmla="*/ 12558 w 174"/>
                  <a:gd name="T41" fmla="*/ 17740 h 108"/>
                  <a:gd name="T42" fmla="*/ 6762 w 174"/>
                  <a:gd name="T43" fmla="*/ 10841 h 108"/>
                  <a:gd name="T44" fmla="*/ 7728 w 174"/>
                  <a:gd name="T45" fmla="*/ 10841 h 108"/>
                  <a:gd name="T46" fmla="*/ 0 w 174"/>
                  <a:gd name="T47" fmla="*/ 8870 h 108"/>
                  <a:gd name="T48" fmla="*/ 7728 w 174"/>
                  <a:gd name="T49" fmla="*/ 6898 h 108"/>
                  <a:gd name="T50" fmla="*/ 19321 w 174"/>
                  <a:gd name="T51" fmla="*/ 6898 h 108"/>
                  <a:gd name="T52" fmla="*/ 25116 w 174"/>
                  <a:gd name="T53" fmla="*/ 1971 h 108"/>
                  <a:gd name="T54" fmla="*/ 35742 w 174"/>
                  <a:gd name="T55" fmla="*/ 0 h 108"/>
                  <a:gd name="T56" fmla="*/ 48301 w 174"/>
                  <a:gd name="T57" fmla="*/ 0 h 108"/>
                  <a:gd name="T58" fmla="*/ 58927 w 174"/>
                  <a:gd name="T59" fmla="*/ 0 h 108"/>
                  <a:gd name="T60" fmla="*/ 58927 w 174"/>
                  <a:gd name="T61" fmla="*/ 6898 h 108"/>
                  <a:gd name="T62" fmla="*/ 55063 w 174"/>
                  <a:gd name="T63" fmla="*/ 8870 h 108"/>
                  <a:gd name="T64" fmla="*/ 58927 w 174"/>
                  <a:gd name="T65" fmla="*/ 15768 h 108"/>
                  <a:gd name="T66" fmla="*/ 56995 w 174"/>
                  <a:gd name="T67" fmla="*/ 19711 h 108"/>
                  <a:gd name="T68" fmla="*/ 55063 w 174"/>
                  <a:gd name="T69" fmla="*/ 19711 h 108"/>
                  <a:gd name="T70" fmla="*/ 46369 w 174"/>
                  <a:gd name="T71" fmla="*/ 22667 h 108"/>
                  <a:gd name="T72" fmla="*/ 40573 w 174"/>
                  <a:gd name="T73" fmla="*/ 23653 h 108"/>
                  <a:gd name="T74" fmla="*/ 35742 w 174"/>
                  <a:gd name="T75" fmla="*/ 33508 h 108"/>
                  <a:gd name="T76" fmla="*/ 7728 w 174"/>
                  <a:gd name="T77" fmla="*/ 35479 h 108"/>
                  <a:gd name="T78" fmla="*/ 10626 w 174"/>
                  <a:gd name="T79" fmla="*/ 19711 h 108"/>
                  <a:gd name="T80" fmla="*/ 12558 w 174"/>
                  <a:gd name="T81" fmla="*/ 26610 h 108"/>
                  <a:gd name="T82" fmla="*/ 6762 w 174"/>
                  <a:gd name="T83" fmla="*/ 26610 h 108"/>
                  <a:gd name="T84" fmla="*/ 19321 w 174"/>
                  <a:gd name="T85" fmla="*/ 33508 h 108"/>
                  <a:gd name="T86" fmla="*/ 14490 w 174"/>
                  <a:gd name="T87" fmla="*/ 35479 h 108"/>
                  <a:gd name="T88" fmla="*/ 6762 w 174"/>
                  <a:gd name="T89" fmla="*/ 17740 h 108"/>
                  <a:gd name="T90" fmla="*/ 7728 w 174"/>
                  <a:gd name="T91" fmla="*/ 30551 h 108"/>
                  <a:gd name="T92" fmla="*/ 21252 w 174"/>
                  <a:gd name="T93" fmla="*/ 23653 h 108"/>
                  <a:gd name="T94" fmla="*/ 12558 w 174"/>
                  <a:gd name="T95" fmla="*/ 35479 h 108"/>
                  <a:gd name="T96" fmla="*/ 7728 w 174"/>
                  <a:gd name="T97" fmla="*/ 26610 h 108"/>
                  <a:gd name="T98" fmla="*/ 14490 w 174"/>
                  <a:gd name="T99" fmla="*/ 30551 h 108"/>
                  <a:gd name="T100" fmla="*/ 10626 w 174"/>
                  <a:gd name="T101" fmla="*/ 28580 h 108"/>
                  <a:gd name="T102" fmla="*/ 17388 w 174"/>
                  <a:gd name="T103" fmla="*/ 23653 h 108"/>
                  <a:gd name="T104" fmla="*/ 21252 w 174"/>
                  <a:gd name="T105" fmla="*/ 26610 h 108"/>
                  <a:gd name="T106" fmla="*/ 12558 w 174"/>
                  <a:gd name="T107" fmla="*/ 28580 h 108"/>
                  <a:gd name="T108" fmla="*/ 17388 w 174"/>
                  <a:gd name="T109" fmla="*/ 28580 h 108"/>
                  <a:gd name="T110" fmla="*/ 6762 w 174"/>
                  <a:gd name="T111" fmla="*/ 28580 h 108"/>
                  <a:gd name="T112" fmla="*/ 14490 w 174"/>
                  <a:gd name="T113" fmla="*/ 17740 h 108"/>
                  <a:gd name="T114" fmla="*/ 6762 w 174"/>
                  <a:gd name="T115" fmla="*/ 30551 h 108"/>
                  <a:gd name="T116" fmla="*/ 21252 w 174"/>
                  <a:gd name="T117" fmla="*/ 37450 h 108"/>
                  <a:gd name="T118" fmla="*/ 12558 w 174"/>
                  <a:gd name="T119" fmla="*/ 28580 h 108"/>
                  <a:gd name="T120" fmla="*/ 29947 w 174"/>
                  <a:gd name="T121" fmla="*/ 39421 h 1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108">
                    <a:moveTo>
                      <a:pt x="102" y="96"/>
                    </a:moveTo>
                    <a:lnTo>
                      <a:pt x="96" y="96"/>
                    </a:lnTo>
                    <a:lnTo>
                      <a:pt x="96" y="102"/>
                    </a:lnTo>
                    <a:lnTo>
                      <a:pt x="90" y="102"/>
                    </a:lnTo>
                    <a:lnTo>
                      <a:pt x="90" y="96"/>
                    </a:lnTo>
                    <a:lnTo>
                      <a:pt x="96" y="96"/>
                    </a:lnTo>
                    <a:lnTo>
                      <a:pt x="90" y="96"/>
                    </a:lnTo>
                    <a:lnTo>
                      <a:pt x="90" y="102"/>
                    </a:lnTo>
                    <a:lnTo>
                      <a:pt x="90" y="96"/>
                    </a:lnTo>
                    <a:lnTo>
                      <a:pt x="90" y="90"/>
                    </a:lnTo>
                    <a:lnTo>
                      <a:pt x="96" y="90"/>
                    </a:lnTo>
                    <a:lnTo>
                      <a:pt x="90" y="90"/>
                    </a:lnTo>
                    <a:lnTo>
                      <a:pt x="96" y="90"/>
                    </a:lnTo>
                    <a:lnTo>
                      <a:pt x="96" y="84"/>
                    </a:lnTo>
                    <a:lnTo>
                      <a:pt x="96" y="90"/>
                    </a:lnTo>
                    <a:lnTo>
                      <a:pt x="90" y="90"/>
                    </a:lnTo>
                    <a:lnTo>
                      <a:pt x="84" y="90"/>
                    </a:lnTo>
                    <a:lnTo>
                      <a:pt x="84" y="96"/>
                    </a:lnTo>
                    <a:lnTo>
                      <a:pt x="84" y="90"/>
                    </a:lnTo>
                    <a:lnTo>
                      <a:pt x="84" y="84"/>
                    </a:lnTo>
                    <a:lnTo>
                      <a:pt x="84" y="90"/>
                    </a:lnTo>
                    <a:lnTo>
                      <a:pt x="78" y="90"/>
                    </a:lnTo>
                    <a:lnTo>
                      <a:pt x="72" y="90"/>
                    </a:lnTo>
                    <a:lnTo>
                      <a:pt x="72" y="84"/>
                    </a:lnTo>
                    <a:lnTo>
                      <a:pt x="72" y="78"/>
                    </a:lnTo>
                    <a:lnTo>
                      <a:pt x="78" y="78"/>
                    </a:lnTo>
                    <a:lnTo>
                      <a:pt x="78" y="72"/>
                    </a:lnTo>
                    <a:lnTo>
                      <a:pt x="72" y="72"/>
                    </a:lnTo>
                    <a:lnTo>
                      <a:pt x="72" y="78"/>
                    </a:lnTo>
                    <a:lnTo>
                      <a:pt x="66" y="78"/>
                    </a:lnTo>
                    <a:lnTo>
                      <a:pt x="66" y="72"/>
                    </a:lnTo>
                    <a:lnTo>
                      <a:pt x="72" y="72"/>
                    </a:lnTo>
                    <a:lnTo>
                      <a:pt x="66" y="72"/>
                    </a:lnTo>
                    <a:lnTo>
                      <a:pt x="72" y="72"/>
                    </a:lnTo>
                    <a:lnTo>
                      <a:pt x="72" y="66"/>
                    </a:lnTo>
                    <a:lnTo>
                      <a:pt x="72" y="72"/>
                    </a:lnTo>
                    <a:lnTo>
                      <a:pt x="72" y="66"/>
                    </a:lnTo>
                    <a:lnTo>
                      <a:pt x="78" y="66"/>
                    </a:lnTo>
                    <a:lnTo>
                      <a:pt x="78" y="60"/>
                    </a:lnTo>
                    <a:lnTo>
                      <a:pt x="78" y="66"/>
                    </a:lnTo>
                    <a:lnTo>
                      <a:pt x="84" y="66"/>
                    </a:lnTo>
                    <a:lnTo>
                      <a:pt x="78" y="66"/>
                    </a:lnTo>
                    <a:lnTo>
                      <a:pt x="84" y="66"/>
                    </a:lnTo>
                    <a:lnTo>
                      <a:pt x="78" y="66"/>
                    </a:lnTo>
                    <a:lnTo>
                      <a:pt x="78" y="60"/>
                    </a:lnTo>
                    <a:lnTo>
                      <a:pt x="84" y="60"/>
                    </a:lnTo>
                    <a:lnTo>
                      <a:pt x="84" y="66"/>
                    </a:lnTo>
                    <a:lnTo>
                      <a:pt x="84" y="60"/>
                    </a:lnTo>
                    <a:lnTo>
                      <a:pt x="90" y="60"/>
                    </a:lnTo>
                    <a:lnTo>
                      <a:pt x="90" y="66"/>
                    </a:lnTo>
                    <a:lnTo>
                      <a:pt x="90" y="60"/>
                    </a:lnTo>
                    <a:lnTo>
                      <a:pt x="90" y="66"/>
                    </a:lnTo>
                    <a:lnTo>
                      <a:pt x="96" y="66"/>
                    </a:lnTo>
                    <a:lnTo>
                      <a:pt x="96" y="60"/>
                    </a:lnTo>
                    <a:lnTo>
                      <a:pt x="96" y="66"/>
                    </a:lnTo>
                    <a:lnTo>
                      <a:pt x="90" y="66"/>
                    </a:lnTo>
                    <a:lnTo>
                      <a:pt x="90" y="60"/>
                    </a:lnTo>
                    <a:lnTo>
                      <a:pt x="84" y="60"/>
                    </a:lnTo>
                    <a:lnTo>
                      <a:pt x="90" y="60"/>
                    </a:lnTo>
                    <a:lnTo>
                      <a:pt x="84" y="60"/>
                    </a:lnTo>
                    <a:lnTo>
                      <a:pt x="78" y="60"/>
                    </a:lnTo>
                    <a:lnTo>
                      <a:pt x="84" y="60"/>
                    </a:lnTo>
                    <a:lnTo>
                      <a:pt x="84" y="54"/>
                    </a:lnTo>
                    <a:lnTo>
                      <a:pt x="84" y="60"/>
                    </a:lnTo>
                    <a:lnTo>
                      <a:pt x="78" y="60"/>
                    </a:lnTo>
                    <a:lnTo>
                      <a:pt x="84" y="60"/>
                    </a:lnTo>
                    <a:lnTo>
                      <a:pt x="78" y="60"/>
                    </a:lnTo>
                    <a:lnTo>
                      <a:pt x="78" y="54"/>
                    </a:lnTo>
                    <a:lnTo>
                      <a:pt x="78" y="60"/>
                    </a:lnTo>
                    <a:lnTo>
                      <a:pt x="78" y="54"/>
                    </a:lnTo>
                    <a:lnTo>
                      <a:pt x="78" y="60"/>
                    </a:lnTo>
                    <a:lnTo>
                      <a:pt x="72" y="60"/>
                    </a:lnTo>
                    <a:lnTo>
                      <a:pt x="78" y="66"/>
                    </a:lnTo>
                    <a:lnTo>
                      <a:pt x="72" y="66"/>
                    </a:lnTo>
                    <a:lnTo>
                      <a:pt x="72" y="60"/>
                    </a:lnTo>
                    <a:lnTo>
                      <a:pt x="72" y="66"/>
                    </a:lnTo>
                    <a:lnTo>
                      <a:pt x="72" y="60"/>
                    </a:lnTo>
                    <a:lnTo>
                      <a:pt x="66" y="60"/>
                    </a:lnTo>
                    <a:lnTo>
                      <a:pt x="66" y="54"/>
                    </a:lnTo>
                    <a:lnTo>
                      <a:pt x="72" y="48"/>
                    </a:lnTo>
                    <a:lnTo>
                      <a:pt x="78" y="48"/>
                    </a:lnTo>
                    <a:lnTo>
                      <a:pt x="84" y="48"/>
                    </a:lnTo>
                    <a:lnTo>
                      <a:pt x="90" y="48"/>
                    </a:lnTo>
                    <a:lnTo>
                      <a:pt x="90" y="42"/>
                    </a:lnTo>
                    <a:lnTo>
                      <a:pt x="96" y="42"/>
                    </a:lnTo>
                    <a:lnTo>
                      <a:pt x="90" y="42"/>
                    </a:lnTo>
                    <a:lnTo>
                      <a:pt x="84" y="42"/>
                    </a:lnTo>
                    <a:lnTo>
                      <a:pt x="84" y="48"/>
                    </a:lnTo>
                    <a:lnTo>
                      <a:pt x="78" y="42"/>
                    </a:lnTo>
                    <a:lnTo>
                      <a:pt x="72" y="42"/>
                    </a:lnTo>
                    <a:lnTo>
                      <a:pt x="66" y="42"/>
                    </a:lnTo>
                    <a:lnTo>
                      <a:pt x="66" y="48"/>
                    </a:lnTo>
                    <a:lnTo>
                      <a:pt x="60" y="48"/>
                    </a:lnTo>
                    <a:lnTo>
                      <a:pt x="60" y="54"/>
                    </a:lnTo>
                    <a:lnTo>
                      <a:pt x="54" y="54"/>
                    </a:lnTo>
                    <a:lnTo>
                      <a:pt x="48" y="54"/>
                    </a:lnTo>
                    <a:lnTo>
                      <a:pt x="48" y="48"/>
                    </a:lnTo>
                    <a:lnTo>
                      <a:pt x="48" y="54"/>
                    </a:lnTo>
                    <a:lnTo>
                      <a:pt x="42" y="54"/>
                    </a:lnTo>
                    <a:lnTo>
                      <a:pt x="42" y="48"/>
                    </a:lnTo>
                    <a:lnTo>
                      <a:pt x="48" y="48"/>
                    </a:lnTo>
                    <a:lnTo>
                      <a:pt x="48" y="42"/>
                    </a:lnTo>
                    <a:lnTo>
                      <a:pt x="42" y="42"/>
                    </a:lnTo>
                    <a:lnTo>
                      <a:pt x="42" y="48"/>
                    </a:lnTo>
                    <a:lnTo>
                      <a:pt x="36" y="48"/>
                    </a:lnTo>
                    <a:lnTo>
                      <a:pt x="30" y="48"/>
                    </a:lnTo>
                    <a:lnTo>
                      <a:pt x="24" y="42"/>
                    </a:lnTo>
                    <a:lnTo>
                      <a:pt x="18" y="42"/>
                    </a:lnTo>
                    <a:lnTo>
                      <a:pt x="18" y="36"/>
                    </a:lnTo>
                    <a:lnTo>
                      <a:pt x="18" y="30"/>
                    </a:lnTo>
                    <a:lnTo>
                      <a:pt x="24" y="30"/>
                    </a:lnTo>
                    <a:lnTo>
                      <a:pt x="24" y="24"/>
                    </a:lnTo>
                    <a:lnTo>
                      <a:pt x="30" y="24"/>
                    </a:lnTo>
                    <a:lnTo>
                      <a:pt x="24" y="24"/>
                    </a:lnTo>
                    <a:lnTo>
                      <a:pt x="24" y="30"/>
                    </a:lnTo>
                    <a:lnTo>
                      <a:pt x="18" y="30"/>
                    </a:lnTo>
                    <a:lnTo>
                      <a:pt x="12" y="30"/>
                    </a:lnTo>
                    <a:lnTo>
                      <a:pt x="12" y="24"/>
                    </a:lnTo>
                    <a:lnTo>
                      <a:pt x="6" y="24"/>
                    </a:lnTo>
                    <a:lnTo>
                      <a:pt x="0" y="24"/>
                    </a:lnTo>
                    <a:lnTo>
                      <a:pt x="0" y="18"/>
                    </a:lnTo>
                    <a:lnTo>
                      <a:pt x="6" y="18"/>
                    </a:lnTo>
                    <a:lnTo>
                      <a:pt x="12" y="18"/>
                    </a:lnTo>
                    <a:lnTo>
                      <a:pt x="18" y="18"/>
                    </a:lnTo>
                    <a:lnTo>
                      <a:pt x="24" y="18"/>
                    </a:lnTo>
                    <a:lnTo>
                      <a:pt x="30" y="12"/>
                    </a:lnTo>
                    <a:lnTo>
                      <a:pt x="36" y="12"/>
                    </a:lnTo>
                    <a:lnTo>
                      <a:pt x="42" y="18"/>
                    </a:lnTo>
                    <a:lnTo>
                      <a:pt x="48" y="18"/>
                    </a:lnTo>
                    <a:lnTo>
                      <a:pt x="54" y="18"/>
                    </a:lnTo>
                    <a:lnTo>
                      <a:pt x="60" y="18"/>
                    </a:lnTo>
                    <a:lnTo>
                      <a:pt x="60" y="12"/>
                    </a:lnTo>
                    <a:lnTo>
                      <a:pt x="66" y="12"/>
                    </a:lnTo>
                    <a:lnTo>
                      <a:pt x="72" y="12"/>
                    </a:lnTo>
                    <a:lnTo>
                      <a:pt x="72" y="6"/>
                    </a:lnTo>
                    <a:lnTo>
                      <a:pt x="78" y="6"/>
                    </a:lnTo>
                    <a:lnTo>
                      <a:pt x="84" y="0"/>
                    </a:lnTo>
                    <a:lnTo>
                      <a:pt x="90" y="0"/>
                    </a:lnTo>
                    <a:lnTo>
                      <a:pt x="96" y="0"/>
                    </a:lnTo>
                    <a:lnTo>
                      <a:pt x="102" y="0"/>
                    </a:lnTo>
                    <a:lnTo>
                      <a:pt x="108" y="0"/>
                    </a:lnTo>
                    <a:lnTo>
                      <a:pt x="114" y="0"/>
                    </a:lnTo>
                    <a:lnTo>
                      <a:pt x="120" y="0"/>
                    </a:lnTo>
                    <a:lnTo>
                      <a:pt x="132" y="0"/>
                    </a:lnTo>
                    <a:lnTo>
                      <a:pt x="138" y="0"/>
                    </a:lnTo>
                    <a:lnTo>
                      <a:pt x="144" y="0"/>
                    </a:lnTo>
                    <a:lnTo>
                      <a:pt x="150" y="0"/>
                    </a:lnTo>
                    <a:lnTo>
                      <a:pt x="156" y="0"/>
                    </a:lnTo>
                    <a:lnTo>
                      <a:pt x="162" y="0"/>
                    </a:lnTo>
                    <a:lnTo>
                      <a:pt x="168" y="0"/>
                    </a:lnTo>
                    <a:lnTo>
                      <a:pt x="168" y="6"/>
                    </a:lnTo>
                    <a:lnTo>
                      <a:pt x="168" y="12"/>
                    </a:lnTo>
                    <a:lnTo>
                      <a:pt x="174" y="12"/>
                    </a:lnTo>
                    <a:lnTo>
                      <a:pt x="174" y="18"/>
                    </a:lnTo>
                    <a:lnTo>
                      <a:pt x="168" y="18"/>
                    </a:lnTo>
                    <a:lnTo>
                      <a:pt x="168" y="24"/>
                    </a:lnTo>
                    <a:lnTo>
                      <a:pt x="162" y="24"/>
                    </a:lnTo>
                    <a:lnTo>
                      <a:pt x="156" y="24"/>
                    </a:lnTo>
                    <a:lnTo>
                      <a:pt x="162" y="24"/>
                    </a:lnTo>
                    <a:lnTo>
                      <a:pt x="156" y="24"/>
                    </a:lnTo>
                    <a:lnTo>
                      <a:pt x="156" y="30"/>
                    </a:lnTo>
                    <a:lnTo>
                      <a:pt x="156" y="36"/>
                    </a:lnTo>
                    <a:lnTo>
                      <a:pt x="162" y="36"/>
                    </a:lnTo>
                    <a:lnTo>
                      <a:pt x="162" y="42"/>
                    </a:lnTo>
                    <a:lnTo>
                      <a:pt x="168" y="42"/>
                    </a:lnTo>
                    <a:lnTo>
                      <a:pt x="168" y="48"/>
                    </a:lnTo>
                    <a:lnTo>
                      <a:pt x="168" y="54"/>
                    </a:lnTo>
                    <a:lnTo>
                      <a:pt x="168" y="60"/>
                    </a:lnTo>
                    <a:lnTo>
                      <a:pt x="162" y="60"/>
                    </a:lnTo>
                    <a:lnTo>
                      <a:pt x="162" y="54"/>
                    </a:lnTo>
                    <a:lnTo>
                      <a:pt x="162" y="60"/>
                    </a:lnTo>
                    <a:lnTo>
                      <a:pt x="162" y="54"/>
                    </a:lnTo>
                    <a:lnTo>
                      <a:pt x="156" y="54"/>
                    </a:lnTo>
                    <a:lnTo>
                      <a:pt x="162" y="54"/>
                    </a:lnTo>
                    <a:lnTo>
                      <a:pt x="156" y="54"/>
                    </a:lnTo>
                    <a:lnTo>
                      <a:pt x="156" y="60"/>
                    </a:lnTo>
                    <a:lnTo>
                      <a:pt x="150" y="60"/>
                    </a:lnTo>
                    <a:lnTo>
                      <a:pt x="144" y="60"/>
                    </a:lnTo>
                    <a:lnTo>
                      <a:pt x="138" y="60"/>
                    </a:lnTo>
                    <a:lnTo>
                      <a:pt x="132" y="60"/>
                    </a:lnTo>
                    <a:lnTo>
                      <a:pt x="132" y="66"/>
                    </a:lnTo>
                    <a:lnTo>
                      <a:pt x="126" y="66"/>
                    </a:lnTo>
                    <a:lnTo>
                      <a:pt x="120" y="72"/>
                    </a:lnTo>
                    <a:lnTo>
                      <a:pt x="120" y="66"/>
                    </a:lnTo>
                    <a:lnTo>
                      <a:pt x="114" y="66"/>
                    </a:lnTo>
                    <a:lnTo>
                      <a:pt x="114" y="72"/>
                    </a:lnTo>
                    <a:lnTo>
                      <a:pt x="108" y="72"/>
                    </a:lnTo>
                    <a:lnTo>
                      <a:pt x="108" y="78"/>
                    </a:lnTo>
                    <a:lnTo>
                      <a:pt x="108" y="84"/>
                    </a:lnTo>
                    <a:lnTo>
                      <a:pt x="102" y="90"/>
                    </a:lnTo>
                    <a:lnTo>
                      <a:pt x="102" y="96"/>
                    </a:lnTo>
                    <a:close/>
                    <a:moveTo>
                      <a:pt x="24" y="84"/>
                    </a:moveTo>
                    <a:lnTo>
                      <a:pt x="36" y="84"/>
                    </a:lnTo>
                    <a:lnTo>
                      <a:pt x="36" y="96"/>
                    </a:lnTo>
                    <a:lnTo>
                      <a:pt x="24" y="96"/>
                    </a:lnTo>
                    <a:lnTo>
                      <a:pt x="24" y="84"/>
                    </a:lnTo>
                    <a:close/>
                    <a:moveTo>
                      <a:pt x="30" y="48"/>
                    </a:moveTo>
                    <a:lnTo>
                      <a:pt x="42" y="48"/>
                    </a:lnTo>
                    <a:lnTo>
                      <a:pt x="42" y="54"/>
                    </a:lnTo>
                    <a:lnTo>
                      <a:pt x="30" y="54"/>
                    </a:lnTo>
                    <a:lnTo>
                      <a:pt x="30" y="48"/>
                    </a:lnTo>
                    <a:close/>
                    <a:moveTo>
                      <a:pt x="36" y="66"/>
                    </a:moveTo>
                    <a:lnTo>
                      <a:pt x="42" y="66"/>
                    </a:lnTo>
                    <a:lnTo>
                      <a:pt x="42" y="72"/>
                    </a:lnTo>
                    <a:lnTo>
                      <a:pt x="36" y="72"/>
                    </a:lnTo>
                    <a:lnTo>
                      <a:pt x="36" y="66"/>
                    </a:lnTo>
                    <a:close/>
                    <a:moveTo>
                      <a:pt x="18" y="66"/>
                    </a:moveTo>
                    <a:lnTo>
                      <a:pt x="24" y="66"/>
                    </a:lnTo>
                    <a:lnTo>
                      <a:pt x="24" y="72"/>
                    </a:lnTo>
                    <a:lnTo>
                      <a:pt x="18" y="72"/>
                    </a:lnTo>
                    <a:lnTo>
                      <a:pt x="18" y="66"/>
                    </a:lnTo>
                    <a:close/>
                    <a:moveTo>
                      <a:pt x="54" y="78"/>
                    </a:moveTo>
                    <a:lnTo>
                      <a:pt x="60" y="78"/>
                    </a:lnTo>
                    <a:lnTo>
                      <a:pt x="60" y="90"/>
                    </a:lnTo>
                    <a:lnTo>
                      <a:pt x="54" y="90"/>
                    </a:lnTo>
                    <a:lnTo>
                      <a:pt x="54" y="78"/>
                    </a:lnTo>
                    <a:close/>
                    <a:moveTo>
                      <a:pt x="42" y="84"/>
                    </a:moveTo>
                    <a:lnTo>
                      <a:pt x="48" y="84"/>
                    </a:lnTo>
                    <a:lnTo>
                      <a:pt x="48" y="96"/>
                    </a:lnTo>
                    <a:lnTo>
                      <a:pt x="42" y="96"/>
                    </a:lnTo>
                    <a:lnTo>
                      <a:pt x="42" y="84"/>
                    </a:lnTo>
                    <a:close/>
                    <a:moveTo>
                      <a:pt x="18" y="42"/>
                    </a:moveTo>
                    <a:lnTo>
                      <a:pt x="30" y="42"/>
                    </a:lnTo>
                    <a:lnTo>
                      <a:pt x="30" y="48"/>
                    </a:lnTo>
                    <a:lnTo>
                      <a:pt x="18" y="48"/>
                    </a:lnTo>
                    <a:lnTo>
                      <a:pt x="18" y="42"/>
                    </a:lnTo>
                    <a:close/>
                    <a:moveTo>
                      <a:pt x="24" y="78"/>
                    </a:moveTo>
                    <a:lnTo>
                      <a:pt x="30" y="78"/>
                    </a:lnTo>
                    <a:lnTo>
                      <a:pt x="30" y="84"/>
                    </a:lnTo>
                    <a:lnTo>
                      <a:pt x="24" y="84"/>
                    </a:lnTo>
                    <a:lnTo>
                      <a:pt x="24" y="78"/>
                    </a:lnTo>
                    <a:close/>
                    <a:moveTo>
                      <a:pt x="60" y="60"/>
                    </a:moveTo>
                    <a:lnTo>
                      <a:pt x="72" y="60"/>
                    </a:lnTo>
                    <a:lnTo>
                      <a:pt x="72" y="66"/>
                    </a:lnTo>
                    <a:lnTo>
                      <a:pt x="60" y="66"/>
                    </a:lnTo>
                    <a:lnTo>
                      <a:pt x="60" y="60"/>
                    </a:lnTo>
                    <a:close/>
                    <a:moveTo>
                      <a:pt x="36" y="84"/>
                    </a:moveTo>
                    <a:lnTo>
                      <a:pt x="42" y="84"/>
                    </a:lnTo>
                    <a:lnTo>
                      <a:pt x="42" y="96"/>
                    </a:lnTo>
                    <a:lnTo>
                      <a:pt x="36" y="96"/>
                    </a:lnTo>
                    <a:lnTo>
                      <a:pt x="36" y="84"/>
                    </a:lnTo>
                    <a:close/>
                    <a:moveTo>
                      <a:pt x="24" y="66"/>
                    </a:moveTo>
                    <a:lnTo>
                      <a:pt x="30" y="66"/>
                    </a:lnTo>
                    <a:lnTo>
                      <a:pt x="30" y="72"/>
                    </a:lnTo>
                    <a:lnTo>
                      <a:pt x="24" y="72"/>
                    </a:lnTo>
                    <a:lnTo>
                      <a:pt x="24" y="66"/>
                    </a:lnTo>
                    <a:close/>
                    <a:moveTo>
                      <a:pt x="42" y="78"/>
                    </a:moveTo>
                    <a:lnTo>
                      <a:pt x="48" y="78"/>
                    </a:lnTo>
                    <a:lnTo>
                      <a:pt x="48" y="84"/>
                    </a:lnTo>
                    <a:lnTo>
                      <a:pt x="42" y="84"/>
                    </a:lnTo>
                    <a:lnTo>
                      <a:pt x="42" y="78"/>
                    </a:lnTo>
                    <a:close/>
                    <a:moveTo>
                      <a:pt x="78" y="96"/>
                    </a:moveTo>
                    <a:lnTo>
                      <a:pt x="84" y="96"/>
                    </a:lnTo>
                    <a:lnTo>
                      <a:pt x="78" y="96"/>
                    </a:lnTo>
                    <a:close/>
                    <a:moveTo>
                      <a:pt x="30" y="78"/>
                    </a:moveTo>
                    <a:lnTo>
                      <a:pt x="36" y="78"/>
                    </a:lnTo>
                    <a:lnTo>
                      <a:pt x="30" y="78"/>
                    </a:lnTo>
                    <a:close/>
                    <a:moveTo>
                      <a:pt x="42" y="60"/>
                    </a:moveTo>
                    <a:lnTo>
                      <a:pt x="48" y="60"/>
                    </a:lnTo>
                    <a:lnTo>
                      <a:pt x="48" y="66"/>
                    </a:lnTo>
                    <a:lnTo>
                      <a:pt x="42" y="66"/>
                    </a:lnTo>
                    <a:lnTo>
                      <a:pt x="42" y="60"/>
                    </a:lnTo>
                    <a:close/>
                    <a:moveTo>
                      <a:pt x="54" y="66"/>
                    </a:moveTo>
                    <a:lnTo>
                      <a:pt x="60" y="66"/>
                    </a:lnTo>
                    <a:lnTo>
                      <a:pt x="60" y="72"/>
                    </a:lnTo>
                    <a:lnTo>
                      <a:pt x="54" y="72"/>
                    </a:lnTo>
                    <a:lnTo>
                      <a:pt x="54" y="66"/>
                    </a:lnTo>
                    <a:close/>
                    <a:moveTo>
                      <a:pt x="30" y="72"/>
                    </a:moveTo>
                    <a:lnTo>
                      <a:pt x="36" y="72"/>
                    </a:lnTo>
                    <a:lnTo>
                      <a:pt x="36" y="78"/>
                    </a:lnTo>
                    <a:lnTo>
                      <a:pt x="30" y="78"/>
                    </a:lnTo>
                    <a:lnTo>
                      <a:pt x="30" y="72"/>
                    </a:lnTo>
                    <a:close/>
                    <a:moveTo>
                      <a:pt x="48" y="78"/>
                    </a:moveTo>
                    <a:lnTo>
                      <a:pt x="54" y="78"/>
                    </a:lnTo>
                    <a:lnTo>
                      <a:pt x="48" y="78"/>
                    </a:lnTo>
                    <a:close/>
                    <a:moveTo>
                      <a:pt x="36" y="66"/>
                    </a:moveTo>
                    <a:lnTo>
                      <a:pt x="42" y="66"/>
                    </a:lnTo>
                    <a:lnTo>
                      <a:pt x="36" y="66"/>
                    </a:lnTo>
                    <a:close/>
                    <a:moveTo>
                      <a:pt x="12" y="78"/>
                    </a:moveTo>
                    <a:lnTo>
                      <a:pt x="18" y="78"/>
                    </a:lnTo>
                    <a:lnTo>
                      <a:pt x="18" y="84"/>
                    </a:lnTo>
                    <a:lnTo>
                      <a:pt x="12" y="84"/>
                    </a:lnTo>
                    <a:lnTo>
                      <a:pt x="12" y="78"/>
                    </a:lnTo>
                    <a:close/>
                    <a:moveTo>
                      <a:pt x="36" y="48"/>
                    </a:moveTo>
                    <a:lnTo>
                      <a:pt x="42" y="48"/>
                    </a:lnTo>
                    <a:lnTo>
                      <a:pt x="42" y="54"/>
                    </a:lnTo>
                    <a:lnTo>
                      <a:pt x="36" y="54"/>
                    </a:lnTo>
                    <a:lnTo>
                      <a:pt x="36" y="48"/>
                    </a:lnTo>
                    <a:close/>
                    <a:moveTo>
                      <a:pt x="18" y="78"/>
                    </a:moveTo>
                    <a:lnTo>
                      <a:pt x="18" y="84"/>
                    </a:lnTo>
                    <a:lnTo>
                      <a:pt x="19" y="84"/>
                    </a:lnTo>
                    <a:lnTo>
                      <a:pt x="18" y="78"/>
                    </a:lnTo>
                    <a:close/>
                    <a:moveTo>
                      <a:pt x="60" y="96"/>
                    </a:moveTo>
                    <a:lnTo>
                      <a:pt x="60" y="102"/>
                    </a:lnTo>
                    <a:lnTo>
                      <a:pt x="61" y="102"/>
                    </a:lnTo>
                    <a:lnTo>
                      <a:pt x="60" y="96"/>
                    </a:lnTo>
                    <a:close/>
                    <a:moveTo>
                      <a:pt x="36" y="48"/>
                    </a:moveTo>
                    <a:lnTo>
                      <a:pt x="42" y="48"/>
                    </a:lnTo>
                    <a:lnTo>
                      <a:pt x="36" y="48"/>
                    </a:lnTo>
                    <a:close/>
                    <a:moveTo>
                      <a:pt x="36" y="78"/>
                    </a:moveTo>
                    <a:lnTo>
                      <a:pt x="42" y="78"/>
                    </a:lnTo>
                    <a:lnTo>
                      <a:pt x="36" y="78"/>
                    </a:lnTo>
                    <a:close/>
                    <a:moveTo>
                      <a:pt x="84" y="102"/>
                    </a:moveTo>
                    <a:lnTo>
                      <a:pt x="84" y="108"/>
                    </a:lnTo>
                    <a:lnTo>
                      <a:pt x="85" y="108"/>
                    </a:lnTo>
                    <a:lnTo>
                      <a:pt x="84" y="10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195" name="Freeform 9"/>
              <p:cNvSpPr>
                <a:spLocks/>
              </p:cNvSpPr>
              <p:nvPr>
                <p:custDataLst>
                  <p:tags r:id="rId9"/>
                </p:custDataLst>
              </p:nvPr>
            </p:nvSpPr>
            <p:spPr bwMode="gray">
              <a:xfrm>
                <a:off x="806979" y="1216803"/>
                <a:ext cx="212830" cy="55748"/>
              </a:xfrm>
              <a:custGeom>
                <a:avLst/>
                <a:gdLst>
                  <a:gd name="T0" fmla="*/ 0 w 168"/>
                  <a:gd name="T1" fmla="*/ 17177 h 48"/>
                  <a:gd name="T2" fmla="*/ 0 w 168"/>
                  <a:gd name="T3" fmla="*/ 12406 h 48"/>
                  <a:gd name="T4" fmla="*/ 1954 w 168"/>
                  <a:gd name="T5" fmla="*/ 8589 h 48"/>
                  <a:gd name="T6" fmla="*/ 3908 w 168"/>
                  <a:gd name="T7" fmla="*/ 10497 h 48"/>
                  <a:gd name="T8" fmla="*/ 6840 w 168"/>
                  <a:gd name="T9" fmla="*/ 12406 h 48"/>
                  <a:gd name="T10" fmla="*/ 10748 w 168"/>
                  <a:gd name="T11" fmla="*/ 10497 h 48"/>
                  <a:gd name="T12" fmla="*/ 10748 w 168"/>
                  <a:gd name="T13" fmla="*/ 10497 h 48"/>
                  <a:gd name="T14" fmla="*/ 12702 w 168"/>
                  <a:gd name="T15" fmla="*/ 8589 h 48"/>
                  <a:gd name="T16" fmla="*/ 17587 w 168"/>
                  <a:gd name="T17" fmla="*/ 8589 h 48"/>
                  <a:gd name="T18" fmla="*/ 21495 w 168"/>
                  <a:gd name="T19" fmla="*/ 8589 h 48"/>
                  <a:gd name="T20" fmla="*/ 23449 w 168"/>
                  <a:gd name="T21" fmla="*/ 6680 h 48"/>
                  <a:gd name="T22" fmla="*/ 23449 w 168"/>
                  <a:gd name="T23" fmla="*/ 6680 h 48"/>
                  <a:gd name="T24" fmla="*/ 19541 w 168"/>
                  <a:gd name="T25" fmla="*/ 8589 h 48"/>
                  <a:gd name="T26" fmla="*/ 15633 w 168"/>
                  <a:gd name="T27" fmla="*/ 8589 h 48"/>
                  <a:gd name="T28" fmla="*/ 10748 w 168"/>
                  <a:gd name="T29" fmla="*/ 8589 h 48"/>
                  <a:gd name="T30" fmla="*/ 8794 w 168"/>
                  <a:gd name="T31" fmla="*/ 10497 h 48"/>
                  <a:gd name="T32" fmla="*/ 6840 w 168"/>
                  <a:gd name="T33" fmla="*/ 8589 h 48"/>
                  <a:gd name="T34" fmla="*/ 3908 w 168"/>
                  <a:gd name="T35" fmla="*/ 6680 h 48"/>
                  <a:gd name="T36" fmla="*/ 3908 w 168"/>
                  <a:gd name="T37" fmla="*/ 6680 h 48"/>
                  <a:gd name="T38" fmla="*/ 8794 w 168"/>
                  <a:gd name="T39" fmla="*/ 6680 h 48"/>
                  <a:gd name="T40" fmla="*/ 12702 w 168"/>
                  <a:gd name="T41" fmla="*/ 6680 h 48"/>
                  <a:gd name="T42" fmla="*/ 17587 w 168"/>
                  <a:gd name="T43" fmla="*/ 6680 h 48"/>
                  <a:gd name="T44" fmla="*/ 21495 w 168"/>
                  <a:gd name="T45" fmla="*/ 6680 h 48"/>
                  <a:gd name="T46" fmla="*/ 26380 w 168"/>
                  <a:gd name="T47" fmla="*/ 6680 h 48"/>
                  <a:gd name="T48" fmla="*/ 28334 w 168"/>
                  <a:gd name="T49" fmla="*/ 3817 h 48"/>
                  <a:gd name="T50" fmla="*/ 30289 w 168"/>
                  <a:gd name="T51" fmla="*/ 1909 h 48"/>
                  <a:gd name="T52" fmla="*/ 34197 w 168"/>
                  <a:gd name="T53" fmla="*/ 1909 h 48"/>
                  <a:gd name="T54" fmla="*/ 37127 w 168"/>
                  <a:gd name="T55" fmla="*/ 1909 h 48"/>
                  <a:gd name="T56" fmla="*/ 41036 w 168"/>
                  <a:gd name="T57" fmla="*/ 1909 h 48"/>
                  <a:gd name="T58" fmla="*/ 42990 w 168"/>
                  <a:gd name="T59" fmla="*/ 3817 h 48"/>
                  <a:gd name="T60" fmla="*/ 47875 w 168"/>
                  <a:gd name="T61" fmla="*/ 3817 h 48"/>
                  <a:gd name="T62" fmla="*/ 49829 w 168"/>
                  <a:gd name="T63" fmla="*/ 8589 h 48"/>
                  <a:gd name="T64" fmla="*/ 51783 w 168"/>
                  <a:gd name="T65" fmla="*/ 6680 h 48"/>
                  <a:gd name="T66" fmla="*/ 56668 w 168"/>
                  <a:gd name="T67" fmla="*/ 6680 h 48"/>
                  <a:gd name="T68" fmla="*/ 60576 w 168"/>
                  <a:gd name="T69" fmla="*/ 6680 h 48"/>
                  <a:gd name="T70" fmla="*/ 60576 w 168"/>
                  <a:gd name="T71" fmla="*/ 10497 h 48"/>
                  <a:gd name="T72" fmla="*/ 56668 w 168"/>
                  <a:gd name="T73" fmla="*/ 10497 h 48"/>
                  <a:gd name="T74" fmla="*/ 53737 w 168"/>
                  <a:gd name="T75" fmla="*/ 12406 h 48"/>
                  <a:gd name="T76" fmla="*/ 49829 w 168"/>
                  <a:gd name="T77" fmla="*/ 12406 h 48"/>
                  <a:gd name="T78" fmla="*/ 47875 w 168"/>
                  <a:gd name="T79" fmla="*/ 10497 h 48"/>
                  <a:gd name="T80" fmla="*/ 42990 w 168"/>
                  <a:gd name="T81" fmla="*/ 10497 h 48"/>
                  <a:gd name="T82" fmla="*/ 41036 w 168"/>
                  <a:gd name="T83" fmla="*/ 8589 h 48"/>
                  <a:gd name="T84" fmla="*/ 37127 w 168"/>
                  <a:gd name="T85" fmla="*/ 8589 h 48"/>
                  <a:gd name="T86" fmla="*/ 32243 w 168"/>
                  <a:gd name="T87" fmla="*/ 6680 h 48"/>
                  <a:gd name="T88" fmla="*/ 30289 w 168"/>
                  <a:gd name="T89" fmla="*/ 10497 h 48"/>
                  <a:gd name="T90" fmla="*/ 26380 w 168"/>
                  <a:gd name="T91" fmla="*/ 10497 h 48"/>
                  <a:gd name="T92" fmla="*/ 21495 w 168"/>
                  <a:gd name="T93" fmla="*/ 10497 h 48"/>
                  <a:gd name="T94" fmla="*/ 19541 w 168"/>
                  <a:gd name="T95" fmla="*/ 12406 h 48"/>
                  <a:gd name="T96" fmla="*/ 17587 w 168"/>
                  <a:gd name="T97" fmla="*/ 14314 h 48"/>
                  <a:gd name="T98" fmla="*/ 12702 w 168"/>
                  <a:gd name="T99" fmla="*/ 14314 h 48"/>
                  <a:gd name="T100" fmla="*/ 8794 w 168"/>
                  <a:gd name="T101" fmla="*/ 14314 h 48"/>
                  <a:gd name="T102" fmla="*/ 3908 w 168"/>
                  <a:gd name="T103" fmla="*/ 14314 h 48"/>
                  <a:gd name="T104" fmla="*/ 1954 w 168"/>
                  <a:gd name="T105" fmla="*/ 17177 h 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8" h="48">
                    <a:moveTo>
                      <a:pt x="6" y="48"/>
                    </a:moveTo>
                    <a:lnTo>
                      <a:pt x="0" y="48"/>
                    </a:lnTo>
                    <a:lnTo>
                      <a:pt x="0" y="42"/>
                    </a:lnTo>
                    <a:lnTo>
                      <a:pt x="0" y="36"/>
                    </a:lnTo>
                    <a:lnTo>
                      <a:pt x="0" y="30"/>
                    </a:lnTo>
                    <a:lnTo>
                      <a:pt x="6" y="24"/>
                    </a:lnTo>
                    <a:lnTo>
                      <a:pt x="12" y="24"/>
                    </a:lnTo>
                    <a:lnTo>
                      <a:pt x="12" y="30"/>
                    </a:lnTo>
                    <a:lnTo>
                      <a:pt x="18" y="30"/>
                    </a:lnTo>
                    <a:lnTo>
                      <a:pt x="18" y="36"/>
                    </a:lnTo>
                    <a:lnTo>
                      <a:pt x="24" y="36"/>
                    </a:lnTo>
                    <a:lnTo>
                      <a:pt x="30" y="30"/>
                    </a:lnTo>
                    <a:lnTo>
                      <a:pt x="30" y="36"/>
                    </a:lnTo>
                    <a:lnTo>
                      <a:pt x="30" y="30"/>
                    </a:lnTo>
                    <a:lnTo>
                      <a:pt x="36" y="30"/>
                    </a:lnTo>
                    <a:lnTo>
                      <a:pt x="36" y="24"/>
                    </a:lnTo>
                    <a:lnTo>
                      <a:pt x="42" y="24"/>
                    </a:lnTo>
                    <a:lnTo>
                      <a:pt x="48" y="24"/>
                    </a:lnTo>
                    <a:lnTo>
                      <a:pt x="54" y="24"/>
                    </a:lnTo>
                    <a:lnTo>
                      <a:pt x="60" y="24"/>
                    </a:lnTo>
                    <a:lnTo>
                      <a:pt x="66" y="24"/>
                    </a:lnTo>
                    <a:lnTo>
                      <a:pt x="66" y="18"/>
                    </a:lnTo>
                    <a:lnTo>
                      <a:pt x="66" y="24"/>
                    </a:lnTo>
                    <a:lnTo>
                      <a:pt x="66" y="18"/>
                    </a:lnTo>
                    <a:lnTo>
                      <a:pt x="60" y="24"/>
                    </a:lnTo>
                    <a:lnTo>
                      <a:pt x="54" y="24"/>
                    </a:lnTo>
                    <a:lnTo>
                      <a:pt x="48" y="24"/>
                    </a:lnTo>
                    <a:lnTo>
                      <a:pt x="42" y="24"/>
                    </a:lnTo>
                    <a:lnTo>
                      <a:pt x="36" y="24"/>
                    </a:lnTo>
                    <a:lnTo>
                      <a:pt x="30" y="24"/>
                    </a:lnTo>
                    <a:lnTo>
                      <a:pt x="30" y="30"/>
                    </a:lnTo>
                    <a:lnTo>
                      <a:pt x="24" y="30"/>
                    </a:lnTo>
                    <a:lnTo>
                      <a:pt x="18" y="30"/>
                    </a:lnTo>
                    <a:lnTo>
                      <a:pt x="18" y="24"/>
                    </a:lnTo>
                    <a:lnTo>
                      <a:pt x="12" y="24"/>
                    </a:lnTo>
                    <a:lnTo>
                      <a:pt x="12" y="18"/>
                    </a:lnTo>
                    <a:lnTo>
                      <a:pt x="18" y="18"/>
                    </a:lnTo>
                    <a:lnTo>
                      <a:pt x="12" y="18"/>
                    </a:lnTo>
                    <a:lnTo>
                      <a:pt x="18" y="18"/>
                    </a:lnTo>
                    <a:lnTo>
                      <a:pt x="24" y="18"/>
                    </a:lnTo>
                    <a:lnTo>
                      <a:pt x="30" y="18"/>
                    </a:lnTo>
                    <a:lnTo>
                      <a:pt x="36" y="18"/>
                    </a:lnTo>
                    <a:lnTo>
                      <a:pt x="42" y="18"/>
                    </a:lnTo>
                    <a:lnTo>
                      <a:pt x="48" y="18"/>
                    </a:lnTo>
                    <a:lnTo>
                      <a:pt x="54" y="18"/>
                    </a:lnTo>
                    <a:lnTo>
                      <a:pt x="60" y="18"/>
                    </a:lnTo>
                    <a:lnTo>
                      <a:pt x="66" y="18"/>
                    </a:lnTo>
                    <a:lnTo>
                      <a:pt x="72" y="18"/>
                    </a:lnTo>
                    <a:lnTo>
                      <a:pt x="72" y="12"/>
                    </a:lnTo>
                    <a:lnTo>
                      <a:pt x="78" y="12"/>
                    </a:lnTo>
                    <a:lnTo>
                      <a:pt x="78" y="6"/>
                    </a:lnTo>
                    <a:lnTo>
                      <a:pt x="84" y="6"/>
                    </a:lnTo>
                    <a:lnTo>
                      <a:pt x="90" y="6"/>
                    </a:lnTo>
                    <a:lnTo>
                      <a:pt x="96" y="6"/>
                    </a:lnTo>
                    <a:lnTo>
                      <a:pt x="96" y="0"/>
                    </a:lnTo>
                    <a:lnTo>
                      <a:pt x="102" y="6"/>
                    </a:lnTo>
                    <a:lnTo>
                      <a:pt x="108" y="6"/>
                    </a:lnTo>
                    <a:lnTo>
                      <a:pt x="114" y="6"/>
                    </a:lnTo>
                    <a:lnTo>
                      <a:pt x="114" y="12"/>
                    </a:lnTo>
                    <a:lnTo>
                      <a:pt x="120" y="12"/>
                    </a:lnTo>
                    <a:lnTo>
                      <a:pt x="126" y="12"/>
                    </a:lnTo>
                    <a:lnTo>
                      <a:pt x="132" y="12"/>
                    </a:lnTo>
                    <a:lnTo>
                      <a:pt x="132" y="18"/>
                    </a:lnTo>
                    <a:lnTo>
                      <a:pt x="138" y="24"/>
                    </a:lnTo>
                    <a:lnTo>
                      <a:pt x="144" y="24"/>
                    </a:lnTo>
                    <a:lnTo>
                      <a:pt x="144" y="18"/>
                    </a:lnTo>
                    <a:lnTo>
                      <a:pt x="150" y="18"/>
                    </a:lnTo>
                    <a:lnTo>
                      <a:pt x="156" y="18"/>
                    </a:lnTo>
                    <a:lnTo>
                      <a:pt x="162" y="18"/>
                    </a:lnTo>
                    <a:lnTo>
                      <a:pt x="168" y="18"/>
                    </a:lnTo>
                    <a:lnTo>
                      <a:pt x="168" y="24"/>
                    </a:lnTo>
                    <a:lnTo>
                      <a:pt x="168" y="30"/>
                    </a:lnTo>
                    <a:lnTo>
                      <a:pt x="162" y="30"/>
                    </a:lnTo>
                    <a:lnTo>
                      <a:pt x="156" y="30"/>
                    </a:lnTo>
                    <a:lnTo>
                      <a:pt x="156" y="36"/>
                    </a:lnTo>
                    <a:lnTo>
                      <a:pt x="150" y="36"/>
                    </a:lnTo>
                    <a:lnTo>
                      <a:pt x="144" y="36"/>
                    </a:lnTo>
                    <a:lnTo>
                      <a:pt x="138" y="36"/>
                    </a:lnTo>
                    <a:lnTo>
                      <a:pt x="132" y="36"/>
                    </a:lnTo>
                    <a:lnTo>
                      <a:pt x="132" y="30"/>
                    </a:lnTo>
                    <a:lnTo>
                      <a:pt x="126" y="30"/>
                    </a:lnTo>
                    <a:lnTo>
                      <a:pt x="120" y="30"/>
                    </a:lnTo>
                    <a:lnTo>
                      <a:pt x="114" y="30"/>
                    </a:lnTo>
                    <a:lnTo>
                      <a:pt x="114" y="24"/>
                    </a:lnTo>
                    <a:lnTo>
                      <a:pt x="108" y="24"/>
                    </a:lnTo>
                    <a:lnTo>
                      <a:pt x="102" y="24"/>
                    </a:lnTo>
                    <a:lnTo>
                      <a:pt x="96" y="18"/>
                    </a:lnTo>
                    <a:lnTo>
                      <a:pt x="90" y="18"/>
                    </a:lnTo>
                    <a:lnTo>
                      <a:pt x="90" y="24"/>
                    </a:lnTo>
                    <a:lnTo>
                      <a:pt x="84" y="30"/>
                    </a:lnTo>
                    <a:lnTo>
                      <a:pt x="78" y="30"/>
                    </a:lnTo>
                    <a:lnTo>
                      <a:pt x="72" y="30"/>
                    </a:lnTo>
                    <a:lnTo>
                      <a:pt x="66" y="30"/>
                    </a:lnTo>
                    <a:lnTo>
                      <a:pt x="60" y="30"/>
                    </a:lnTo>
                    <a:lnTo>
                      <a:pt x="54" y="30"/>
                    </a:lnTo>
                    <a:lnTo>
                      <a:pt x="54" y="36"/>
                    </a:lnTo>
                    <a:lnTo>
                      <a:pt x="54" y="42"/>
                    </a:lnTo>
                    <a:lnTo>
                      <a:pt x="48" y="42"/>
                    </a:lnTo>
                    <a:lnTo>
                      <a:pt x="42" y="42"/>
                    </a:lnTo>
                    <a:lnTo>
                      <a:pt x="36" y="42"/>
                    </a:lnTo>
                    <a:lnTo>
                      <a:pt x="30" y="42"/>
                    </a:lnTo>
                    <a:lnTo>
                      <a:pt x="24" y="42"/>
                    </a:lnTo>
                    <a:lnTo>
                      <a:pt x="18" y="42"/>
                    </a:lnTo>
                    <a:lnTo>
                      <a:pt x="12" y="42"/>
                    </a:lnTo>
                    <a:lnTo>
                      <a:pt x="6" y="42"/>
                    </a:lnTo>
                    <a:lnTo>
                      <a:pt x="6" y="48"/>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14" name="Freeform 10"/>
              <p:cNvSpPr>
                <a:spLocks noEditPoints="1"/>
              </p:cNvSpPr>
              <p:nvPr>
                <p:custDataLst>
                  <p:tags r:id="rId10"/>
                </p:custDataLst>
              </p:nvPr>
            </p:nvSpPr>
            <p:spPr bwMode="gray">
              <a:xfrm>
                <a:off x="755383" y="1025453"/>
                <a:ext cx="438560" cy="298323"/>
              </a:xfrm>
              <a:custGeom>
                <a:avLst/>
                <a:gdLst>
                  <a:gd name="T0" fmla="*/ 66972 w 348"/>
                  <a:gd name="T1" fmla="*/ 82109 h 252"/>
                  <a:gd name="T2" fmla="*/ 51442 w 348"/>
                  <a:gd name="T3" fmla="*/ 82109 h 252"/>
                  <a:gd name="T4" fmla="*/ 40766 w 348"/>
                  <a:gd name="T5" fmla="*/ 86996 h 252"/>
                  <a:gd name="T6" fmla="*/ 30089 w 348"/>
                  <a:gd name="T7" fmla="*/ 86996 h 252"/>
                  <a:gd name="T8" fmla="*/ 17471 w 348"/>
                  <a:gd name="T9" fmla="*/ 87973 h 252"/>
                  <a:gd name="T10" fmla="*/ 17471 w 348"/>
                  <a:gd name="T11" fmla="*/ 84064 h 252"/>
                  <a:gd name="T12" fmla="*/ 21354 w 348"/>
                  <a:gd name="T13" fmla="*/ 84064 h 252"/>
                  <a:gd name="T14" fmla="*/ 14559 w 348"/>
                  <a:gd name="T15" fmla="*/ 80154 h 252"/>
                  <a:gd name="T16" fmla="*/ 21354 w 348"/>
                  <a:gd name="T17" fmla="*/ 73311 h 252"/>
                  <a:gd name="T18" fmla="*/ 33972 w 348"/>
                  <a:gd name="T19" fmla="*/ 73311 h 252"/>
                  <a:gd name="T20" fmla="*/ 42707 w 348"/>
                  <a:gd name="T21" fmla="*/ 69401 h 252"/>
                  <a:gd name="T22" fmla="*/ 53384 w 348"/>
                  <a:gd name="T23" fmla="*/ 67447 h 252"/>
                  <a:gd name="T24" fmla="*/ 62119 w 348"/>
                  <a:gd name="T25" fmla="*/ 71356 h 252"/>
                  <a:gd name="T26" fmla="*/ 72796 w 348"/>
                  <a:gd name="T27" fmla="*/ 69401 h 252"/>
                  <a:gd name="T28" fmla="*/ 67943 w 348"/>
                  <a:gd name="T29" fmla="*/ 64513 h 252"/>
                  <a:gd name="T30" fmla="*/ 60178 w 348"/>
                  <a:gd name="T31" fmla="*/ 62559 h 252"/>
                  <a:gd name="T32" fmla="*/ 49502 w 348"/>
                  <a:gd name="T33" fmla="*/ 58649 h 252"/>
                  <a:gd name="T34" fmla="*/ 40766 w 348"/>
                  <a:gd name="T35" fmla="*/ 62559 h 252"/>
                  <a:gd name="T36" fmla="*/ 30089 w 348"/>
                  <a:gd name="T37" fmla="*/ 64513 h 252"/>
                  <a:gd name="T38" fmla="*/ 19412 w 348"/>
                  <a:gd name="T39" fmla="*/ 62559 h 252"/>
                  <a:gd name="T40" fmla="*/ 19412 w 348"/>
                  <a:gd name="T41" fmla="*/ 58649 h 252"/>
                  <a:gd name="T42" fmla="*/ 14559 w 348"/>
                  <a:gd name="T43" fmla="*/ 58649 h 252"/>
                  <a:gd name="T44" fmla="*/ 12618 w 348"/>
                  <a:gd name="T45" fmla="*/ 51807 h 252"/>
                  <a:gd name="T46" fmla="*/ 8735 w 348"/>
                  <a:gd name="T47" fmla="*/ 43009 h 252"/>
                  <a:gd name="T48" fmla="*/ 1942 w 348"/>
                  <a:gd name="T49" fmla="*/ 39100 h 252"/>
                  <a:gd name="T50" fmla="*/ 10677 w 348"/>
                  <a:gd name="T51" fmla="*/ 34212 h 252"/>
                  <a:gd name="T52" fmla="*/ 14559 w 348"/>
                  <a:gd name="T53" fmla="*/ 26392 h 252"/>
                  <a:gd name="T54" fmla="*/ 21354 w 348"/>
                  <a:gd name="T55" fmla="*/ 17595 h 252"/>
                  <a:gd name="T56" fmla="*/ 23295 w 348"/>
                  <a:gd name="T57" fmla="*/ 8798 h 252"/>
                  <a:gd name="T58" fmla="*/ 27177 w 348"/>
                  <a:gd name="T59" fmla="*/ 1955 h 252"/>
                  <a:gd name="T60" fmla="*/ 36883 w 348"/>
                  <a:gd name="T61" fmla="*/ 3910 h 252"/>
                  <a:gd name="T62" fmla="*/ 42707 w 348"/>
                  <a:gd name="T63" fmla="*/ 1955 h 252"/>
                  <a:gd name="T64" fmla="*/ 53384 w 348"/>
                  <a:gd name="T65" fmla="*/ 0 h 252"/>
                  <a:gd name="T66" fmla="*/ 64061 w 348"/>
                  <a:gd name="T67" fmla="*/ 1955 h 252"/>
                  <a:gd name="T68" fmla="*/ 72796 w 348"/>
                  <a:gd name="T69" fmla="*/ 8798 h 252"/>
                  <a:gd name="T70" fmla="*/ 76678 w 348"/>
                  <a:gd name="T71" fmla="*/ 12707 h 252"/>
                  <a:gd name="T72" fmla="*/ 81532 w 348"/>
                  <a:gd name="T73" fmla="*/ 12707 h 252"/>
                  <a:gd name="T74" fmla="*/ 86385 w 348"/>
                  <a:gd name="T75" fmla="*/ 21504 h 252"/>
                  <a:gd name="T76" fmla="*/ 90267 w 348"/>
                  <a:gd name="T77" fmla="*/ 23460 h 252"/>
                  <a:gd name="T78" fmla="*/ 92209 w 348"/>
                  <a:gd name="T79" fmla="*/ 30302 h 252"/>
                  <a:gd name="T80" fmla="*/ 100944 w 348"/>
                  <a:gd name="T81" fmla="*/ 34212 h 252"/>
                  <a:gd name="T82" fmla="*/ 106768 w 348"/>
                  <a:gd name="T83" fmla="*/ 41054 h 252"/>
                  <a:gd name="T84" fmla="*/ 111621 w 348"/>
                  <a:gd name="T85" fmla="*/ 49851 h 252"/>
                  <a:gd name="T86" fmla="*/ 109679 w 348"/>
                  <a:gd name="T87" fmla="*/ 60604 h 252"/>
                  <a:gd name="T88" fmla="*/ 115503 w 348"/>
                  <a:gd name="T89" fmla="*/ 67447 h 252"/>
                  <a:gd name="T90" fmla="*/ 122298 w 348"/>
                  <a:gd name="T91" fmla="*/ 73311 h 252"/>
                  <a:gd name="T92" fmla="*/ 122298 w 348"/>
                  <a:gd name="T93" fmla="*/ 78198 h 252"/>
                  <a:gd name="T94" fmla="*/ 122298 w 348"/>
                  <a:gd name="T95" fmla="*/ 86996 h 252"/>
                  <a:gd name="T96" fmla="*/ 120356 w 348"/>
                  <a:gd name="T97" fmla="*/ 87973 h 252"/>
                  <a:gd name="T98" fmla="*/ 106768 w 348"/>
                  <a:gd name="T99" fmla="*/ 87973 h 252"/>
                  <a:gd name="T100" fmla="*/ 96091 w 348"/>
                  <a:gd name="T101" fmla="*/ 87973 h 252"/>
                  <a:gd name="T102" fmla="*/ 87355 w 348"/>
                  <a:gd name="T103" fmla="*/ 84064 h 252"/>
                  <a:gd name="T104" fmla="*/ 76678 w 348"/>
                  <a:gd name="T105" fmla="*/ 82109 h 252"/>
                  <a:gd name="T106" fmla="*/ 17471 w 348"/>
                  <a:gd name="T107" fmla="*/ 62559 h 252"/>
                  <a:gd name="T108" fmla="*/ 17471 w 348"/>
                  <a:gd name="T109" fmla="*/ 56694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8" h="252">
                    <a:moveTo>
                      <a:pt x="216" y="228"/>
                    </a:moveTo>
                    <a:lnTo>
                      <a:pt x="210" y="228"/>
                    </a:lnTo>
                    <a:lnTo>
                      <a:pt x="204" y="228"/>
                    </a:lnTo>
                    <a:lnTo>
                      <a:pt x="198" y="228"/>
                    </a:lnTo>
                    <a:lnTo>
                      <a:pt x="192" y="228"/>
                    </a:lnTo>
                    <a:lnTo>
                      <a:pt x="186" y="228"/>
                    </a:lnTo>
                    <a:lnTo>
                      <a:pt x="180" y="228"/>
                    </a:lnTo>
                    <a:lnTo>
                      <a:pt x="168" y="228"/>
                    </a:lnTo>
                    <a:lnTo>
                      <a:pt x="162" y="228"/>
                    </a:lnTo>
                    <a:lnTo>
                      <a:pt x="156" y="228"/>
                    </a:lnTo>
                    <a:lnTo>
                      <a:pt x="150" y="228"/>
                    </a:lnTo>
                    <a:lnTo>
                      <a:pt x="144" y="228"/>
                    </a:lnTo>
                    <a:lnTo>
                      <a:pt x="138" y="228"/>
                    </a:lnTo>
                    <a:lnTo>
                      <a:pt x="132" y="228"/>
                    </a:lnTo>
                    <a:lnTo>
                      <a:pt x="126" y="234"/>
                    </a:lnTo>
                    <a:lnTo>
                      <a:pt x="120" y="234"/>
                    </a:lnTo>
                    <a:lnTo>
                      <a:pt x="120" y="240"/>
                    </a:lnTo>
                    <a:lnTo>
                      <a:pt x="114" y="240"/>
                    </a:lnTo>
                    <a:lnTo>
                      <a:pt x="108" y="240"/>
                    </a:lnTo>
                    <a:lnTo>
                      <a:pt x="108" y="246"/>
                    </a:lnTo>
                    <a:lnTo>
                      <a:pt x="102" y="246"/>
                    </a:lnTo>
                    <a:lnTo>
                      <a:pt x="96" y="246"/>
                    </a:lnTo>
                    <a:lnTo>
                      <a:pt x="90" y="246"/>
                    </a:lnTo>
                    <a:lnTo>
                      <a:pt x="84" y="240"/>
                    </a:lnTo>
                    <a:lnTo>
                      <a:pt x="78" y="240"/>
                    </a:lnTo>
                    <a:lnTo>
                      <a:pt x="72" y="246"/>
                    </a:lnTo>
                    <a:lnTo>
                      <a:pt x="66" y="246"/>
                    </a:lnTo>
                    <a:lnTo>
                      <a:pt x="60" y="246"/>
                    </a:lnTo>
                    <a:lnTo>
                      <a:pt x="54" y="246"/>
                    </a:lnTo>
                    <a:lnTo>
                      <a:pt x="48" y="246"/>
                    </a:lnTo>
                    <a:lnTo>
                      <a:pt x="48" y="252"/>
                    </a:lnTo>
                    <a:lnTo>
                      <a:pt x="48" y="246"/>
                    </a:lnTo>
                    <a:lnTo>
                      <a:pt x="42" y="246"/>
                    </a:lnTo>
                    <a:lnTo>
                      <a:pt x="42" y="240"/>
                    </a:lnTo>
                    <a:lnTo>
                      <a:pt x="48" y="240"/>
                    </a:lnTo>
                    <a:lnTo>
                      <a:pt x="48" y="234"/>
                    </a:lnTo>
                    <a:lnTo>
                      <a:pt x="48" y="240"/>
                    </a:lnTo>
                    <a:lnTo>
                      <a:pt x="48" y="234"/>
                    </a:lnTo>
                    <a:lnTo>
                      <a:pt x="54" y="234"/>
                    </a:lnTo>
                    <a:lnTo>
                      <a:pt x="60" y="234"/>
                    </a:lnTo>
                    <a:lnTo>
                      <a:pt x="66" y="234"/>
                    </a:lnTo>
                    <a:lnTo>
                      <a:pt x="60" y="234"/>
                    </a:lnTo>
                    <a:lnTo>
                      <a:pt x="54" y="228"/>
                    </a:lnTo>
                    <a:lnTo>
                      <a:pt x="54" y="234"/>
                    </a:lnTo>
                    <a:lnTo>
                      <a:pt x="48" y="234"/>
                    </a:lnTo>
                    <a:lnTo>
                      <a:pt x="42" y="234"/>
                    </a:lnTo>
                    <a:lnTo>
                      <a:pt x="42" y="228"/>
                    </a:lnTo>
                    <a:lnTo>
                      <a:pt x="42" y="222"/>
                    </a:lnTo>
                    <a:lnTo>
                      <a:pt x="42" y="216"/>
                    </a:lnTo>
                    <a:lnTo>
                      <a:pt x="48" y="216"/>
                    </a:lnTo>
                    <a:lnTo>
                      <a:pt x="48" y="210"/>
                    </a:lnTo>
                    <a:lnTo>
                      <a:pt x="48" y="204"/>
                    </a:lnTo>
                    <a:lnTo>
                      <a:pt x="54" y="204"/>
                    </a:lnTo>
                    <a:lnTo>
                      <a:pt x="60" y="204"/>
                    </a:lnTo>
                    <a:lnTo>
                      <a:pt x="66" y="204"/>
                    </a:lnTo>
                    <a:lnTo>
                      <a:pt x="72" y="204"/>
                    </a:lnTo>
                    <a:lnTo>
                      <a:pt x="78" y="204"/>
                    </a:lnTo>
                    <a:lnTo>
                      <a:pt x="84" y="204"/>
                    </a:lnTo>
                    <a:lnTo>
                      <a:pt x="90" y="204"/>
                    </a:lnTo>
                    <a:lnTo>
                      <a:pt x="96" y="204"/>
                    </a:lnTo>
                    <a:lnTo>
                      <a:pt x="96" y="198"/>
                    </a:lnTo>
                    <a:lnTo>
                      <a:pt x="96" y="192"/>
                    </a:lnTo>
                    <a:lnTo>
                      <a:pt x="102" y="192"/>
                    </a:lnTo>
                    <a:lnTo>
                      <a:pt x="108" y="192"/>
                    </a:lnTo>
                    <a:lnTo>
                      <a:pt x="114" y="192"/>
                    </a:lnTo>
                    <a:lnTo>
                      <a:pt x="120" y="192"/>
                    </a:lnTo>
                    <a:lnTo>
                      <a:pt x="126" y="192"/>
                    </a:lnTo>
                    <a:lnTo>
                      <a:pt x="132" y="186"/>
                    </a:lnTo>
                    <a:lnTo>
                      <a:pt x="132" y="180"/>
                    </a:lnTo>
                    <a:lnTo>
                      <a:pt x="138" y="180"/>
                    </a:lnTo>
                    <a:lnTo>
                      <a:pt x="144" y="186"/>
                    </a:lnTo>
                    <a:lnTo>
                      <a:pt x="150" y="186"/>
                    </a:lnTo>
                    <a:lnTo>
                      <a:pt x="156" y="186"/>
                    </a:lnTo>
                    <a:lnTo>
                      <a:pt x="156" y="192"/>
                    </a:lnTo>
                    <a:lnTo>
                      <a:pt x="162" y="192"/>
                    </a:lnTo>
                    <a:lnTo>
                      <a:pt x="168" y="192"/>
                    </a:lnTo>
                    <a:lnTo>
                      <a:pt x="174" y="192"/>
                    </a:lnTo>
                    <a:lnTo>
                      <a:pt x="174" y="198"/>
                    </a:lnTo>
                    <a:lnTo>
                      <a:pt x="180" y="198"/>
                    </a:lnTo>
                    <a:lnTo>
                      <a:pt x="186" y="198"/>
                    </a:lnTo>
                    <a:lnTo>
                      <a:pt x="192" y="198"/>
                    </a:lnTo>
                    <a:lnTo>
                      <a:pt x="198" y="198"/>
                    </a:lnTo>
                    <a:lnTo>
                      <a:pt x="198" y="192"/>
                    </a:lnTo>
                    <a:lnTo>
                      <a:pt x="204" y="192"/>
                    </a:lnTo>
                    <a:lnTo>
                      <a:pt x="210" y="192"/>
                    </a:lnTo>
                    <a:lnTo>
                      <a:pt x="210" y="186"/>
                    </a:lnTo>
                    <a:lnTo>
                      <a:pt x="210" y="180"/>
                    </a:lnTo>
                    <a:lnTo>
                      <a:pt x="204" y="180"/>
                    </a:lnTo>
                    <a:lnTo>
                      <a:pt x="198" y="180"/>
                    </a:lnTo>
                    <a:lnTo>
                      <a:pt x="192" y="180"/>
                    </a:lnTo>
                    <a:lnTo>
                      <a:pt x="186" y="180"/>
                    </a:lnTo>
                    <a:lnTo>
                      <a:pt x="186" y="186"/>
                    </a:lnTo>
                    <a:lnTo>
                      <a:pt x="180" y="186"/>
                    </a:lnTo>
                    <a:lnTo>
                      <a:pt x="174" y="180"/>
                    </a:lnTo>
                    <a:lnTo>
                      <a:pt x="174" y="174"/>
                    </a:lnTo>
                    <a:lnTo>
                      <a:pt x="168" y="174"/>
                    </a:lnTo>
                    <a:lnTo>
                      <a:pt x="162" y="174"/>
                    </a:lnTo>
                    <a:lnTo>
                      <a:pt x="156" y="174"/>
                    </a:lnTo>
                    <a:lnTo>
                      <a:pt x="156" y="168"/>
                    </a:lnTo>
                    <a:lnTo>
                      <a:pt x="150" y="168"/>
                    </a:lnTo>
                    <a:lnTo>
                      <a:pt x="144" y="168"/>
                    </a:lnTo>
                    <a:lnTo>
                      <a:pt x="138" y="162"/>
                    </a:lnTo>
                    <a:lnTo>
                      <a:pt x="138" y="168"/>
                    </a:lnTo>
                    <a:lnTo>
                      <a:pt x="132" y="168"/>
                    </a:lnTo>
                    <a:lnTo>
                      <a:pt x="126" y="168"/>
                    </a:lnTo>
                    <a:lnTo>
                      <a:pt x="120" y="168"/>
                    </a:lnTo>
                    <a:lnTo>
                      <a:pt x="120" y="174"/>
                    </a:lnTo>
                    <a:lnTo>
                      <a:pt x="114" y="174"/>
                    </a:lnTo>
                    <a:lnTo>
                      <a:pt x="114" y="180"/>
                    </a:lnTo>
                    <a:lnTo>
                      <a:pt x="108" y="180"/>
                    </a:lnTo>
                    <a:lnTo>
                      <a:pt x="102" y="180"/>
                    </a:lnTo>
                    <a:lnTo>
                      <a:pt x="96" y="180"/>
                    </a:lnTo>
                    <a:lnTo>
                      <a:pt x="90" y="180"/>
                    </a:lnTo>
                    <a:lnTo>
                      <a:pt x="84" y="180"/>
                    </a:lnTo>
                    <a:lnTo>
                      <a:pt x="78" y="180"/>
                    </a:lnTo>
                    <a:lnTo>
                      <a:pt x="72" y="180"/>
                    </a:lnTo>
                    <a:lnTo>
                      <a:pt x="66" y="180"/>
                    </a:lnTo>
                    <a:lnTo>
                      <a:pt x="60" y="180"/>
                    </a:lnTo>
                    <a:lnTo>
                      <a:pt x="54" y="180"/>
                    </a:lnTo>
                    <a:lnTo>
                      <a:pt x="54" y="174"/>
                    </a:lnTo>
                    <a:lnTo>
                      <a:pt x="54" y="168"/>
                    </a:lnTo>
                    <a:lnTo>
                      <a:pt x="54" y="162"/>
                    </a:lnTo>
                    <a:lnTo>
                      <a:pt x="60" y="162"/>
                    </a:lnTo>
                    <a:lnTo>
                      <a:pt x="54" y="162"/>
                    </a:lnTo>
                    <a:lnTo>
                      <a:pt x="60" y="162"/>
                    </a:lnTo>
                    <a:lnTo>
                      <a:pt x="54" y="162"/>
                    </a:lnTo>
                    <a:lnTo>
                      <a:pt x="48" y="162"/>
                    </a:lnTo>
                    <a:lnTo>
                      <a:pt x="48" y="168"/>
                    </a:lnTo>
                    <a:lnTo>
                      <a:pt x="48" y="162"/>
                    </a:lnTo>
                    <a:lnTo>
                      <a:pt x="48" y="156"/>
                    </a:lnTo>
                    <a:lnTo>
                      <a:pt x="42" y="156"/>
                    </a:lnTo>
                    <a:lnTo>
                      <a:pt x="42" y="162"/>
                    </a:lnTo>
                    <a:lnTo>
                      <a:pt x="48" y="162"/>
                    </a:lnTo>
                    <a:lnTo>
                      <a:pt x="42" y="162"/>
                    </a:lnTo>
                    <a:lnTo>
                      <a:pt x="42" y="156"/>
                    </a:lnTo>
                    <a:lnTo>
                      <a:pt x="42" y="150"/>
                    </a:lnTo>
                    <a:lnTo>
                      <a:pt x="42" y="144"/>
                    </a:lnTo>
                    <a:lnTo>
                      <a:pt x="36" y="144"/>
                    </a:lnTo>
                    <a:lnTo>
                      <a:pt x="36" y="138"/>
                    </a:lnTo>
                    <a:lnTo>
                      <a:pt x="36" y="132"/>
                    </a:lnTo>
                    <a:lnTo>
                      <a:pt x="30" y="132"/>
                    </a:lnTo>
                    <a:lnTo>
                      <a:pt x="30" y="126"/>
                    </a:lnTo>
                    <a:lnTo>
                      <a:pt x="24" y="126"/>
                    </a:lnTo>
                    <a:lnTo>
                      <a:pt x="24" y="120"/>
                    </a:lnTo>
                    <a:lnTo>
                      <a:pt x="18" y="114"/>
                    </a:lnTo>
                    <a:lnTo>
                      <a:pt x="12" y="114"/>
                    </a:lnTo>
                    <a:lnTo>
                      <a:pt x="6" y="114"/>
                    </a:lnTo>
                    <a:lnTo>
                      <a:pt x="0" y="114"/>
                    </a:lnTo>
                    <a:lnTo>
                      <a:pt x="6" y="114"/>
                    </a:lnTo>
                    <a:lnTo>
                      <a:pt x="6" y="108"/>
                    </a:lnTo>
                    <a:lnTo>
                      <a:pt x="12" y="108"/>
                    </a:lnTo>
                    <a:lnTo>
                      <a:pt x="18" y="108"/>
                    </a:lnTo>
                    <a:lnTo>
                      <a:pt x="18" y="102"/>
                    </a:lnTo>
                    <a:lnTo>
                      <a:pt x="24" y="102"/>
                    </a:lnTo>
                    <a:lnTo>
                      <a:pt x="24" y="96"/>
                    </a:lnTo>
                    <a:lnTo>
                      <a:pt x="30" y="96"/>
                    </a:lnTo>
                    <a:lnTo>
                      <a:pt x="30" y="90"/>
                    </a:lnTo>
                    <a:lnTo>
                      <a:pt x="36" y="90"/>
                    </a:lnTo>
                    <a:lnTo>
                      <a:pt x="36" y="84"/>
                    </a:lnTo>
                    <a:lnTo>
                      <a:pt x="42" y="84"/>
                    </a:lnTo>
                    <a:lnTo>
                      <a:pt x="42" y="78"/>
                    </a:lnTo>
                    <a:lnTo>
                      <a:pt x="42" y="72"/>
                    </a:lnTo>
                    <a:lnTo>
                      <a:pt x="48" y="72"/>
                    </a:lnTo>
                    <a:lnTo>
                      <a:pt x="48" y="66"/>
                    </a:lnTo>
                    <a:lnTo>
                      <a:pt x="54" y="60"/>
                    </a:lnTo>
                    <a:lnTo>
                      <a:pt x="54" y="54"/>
                    </a:lnTo>
                    <a:lnTo>
                      <a:pt x="60" y="54"/>
                    </a:lnTo>
                    <a:lnTo>
                      <a:pt x="60" y="48"/>
                    </a:lnTo>
                    <a:lnTo>
                      <a:pt x="60" y="42"/>
                    </a:lnTo>
                    <a:lnTo>
                      <a:pt x="60" y="36"/>
                    </a:lnTo>
                    <a:lnTo>
                      <a:pt x="66" y="36"/>
                    </a:lnTo>
                    <a:lnTo>
                      <a:pt x="66" y="30"/>
                    </a:lnTo>
                    <a:lnTo>
                      <a:pt x="60" y="30"/>
                    </a:lnTo>
                    <a:lnTo>
                      <a:pt x="66" y="24"/>
                    </a:lnTo>
                    <a:lnTo>
                      <a:pt x="66" y="18"/>
                    </a:lnTo>
                    <a:lnTo>
                      <a:pt x="72" y="18"/>
                    </a:lnTo>
                    <a:lnTo>
                      <a:pt x="72" y="12"/>
                    </a:lnTo>
                    <a:lnTo>
                      <a:pt x="72" y="6"/>
                    </a:lnTo>
                    <a:lnTo>
                      <a:pt x="78" y="12"/>
                    </a:lnTo>
                    <a:lnTo>
                      <a:pt x="78" y="6"/>
                    </a:lnTo>
                    <a:lnTo>
                      <a:pt x="84" y="6"/>
                    </a:lnTo>
                    <a:lnTo>
                      <a:pt x="84" y="12"/>
                    </a:lnTo>
                    <a:lnTo>
                      <a:pt x="90" y="12"/>
                    </a:lnTo>
                    <a:lnTo>
                      <a:pt x="96" y="6"/>
                    </a:lnTo>
                    <a:lnTo>
                      <a:pt x="96" y="12"/>
                    </a:lnTo>
                    <a:lnTo>
                      <a:pt x="102" y="12"/>
                    </a:lnTo>
                    <a:lnTo>
                      <a:pt x="108" y="12"/>
                    </a:lnTo>
                    <a:lnTo>
                      <a:pt x="108" y="6"/>
                    </a:lnTo>
                    <a:lnTo>
                      <a:pt x="114" y="6"/>
                    </a:lnTo>
                    <a:lnTo>
                      <a:pt x="114" y="12"/>
                    </a:lnTo>
                    <a:lnTo>
                      <a:pt x="114" y="6"/>
                    </a:lnTo>
                    <a:lnTo>
                      <a:pt x="120" y="6"/>
                    </a:lnTo>
                    <a:lnTo>
                      <a:pt x="126" y="6"/>
                    </a:lnTo>
                    <a:lnTo>
                      <a:pt x="132" y="6"/>
                    </a:lnTo>
                    <a:lnTo>
                      <a:pt x="138" y="6"/>
                    </a:lnTo>
                    <a:lnTo>
                      <a:pt x="138" y="0"/>
                    </a:lnTo>
                    <a:lnTo>
                      <a:pt x="144" y="0"/>
                    </a:lnTo>
                    <a:lnTo>
                      <a:pt x="150" y="0"/>
                    </a:lnTo>
                    <a:lnTo>
                      <a:pt x="156" y="0"/>
                    </a:lnTo>
                    <a:lnTo>
                      <a:pt x="162" y="0"/>
                    </a:lnTo>
                    <a:lnTo>
                      <a:pt x="168" y="0"/>
                    </a:lnTo>
                    <a:lnTo>
                      <a:pt x="174" y="0"/>
                    </a:lnTo>
                    <a:lnTo>
                      <a:pt x="180" y="0"/>
                    </a:lnTo>
                    <a:lnTo>
                      <a:pt x="180" y="6"/>
                    </a:lnTo>
                    <a:lnTo>
                      <a:pt x="186" y="6"/>
                    </a:lnTo>
                    <a:lnTo>
                      <a:pt x="186" y="12"/>
                    </a:lnTo>
                    <a:lnTo>
                      <a:pt x="192" y="12"/>
                    </a:lnTo>
                    <a:lnTo>
                      <a:pt x="198" y="18"/>
                    </a:lnTo>
                    <a:lnTo>
                      <a:pt x="204" y="18"/>
                    </a:lnTo>
                    <a:lnTo>
                      <a:pt x="204" y="24"/>
                    </a:lnTo>
                    <a:lnTo>
                      <a:pt x="198" y="24"/>
                    </a:lnTo>
                    <a:lnTo>
                      <a:pt x="204" y="24"/>
                    </a:lnTo>
                    <a:lnTo>
                      <a:pt x="204" y="30"/>
                    </a:lnTo>
                    <a:lnTo>
                      <a:pt x="210" y="30"/>
                    </a:lnTo>
                    <a:lnTo>
                      <a:pt x="216" y="30"/>
                    </a:lnTo>
                    <a:lnTo>
                      <a:pt x="216" y="36"/>
                    </a:lnTo>
                    <a:lnTo>
                      <a:pt x="216" y="30"/>
                    </a:lnTo>
                    <a:lnTo>
                      <a:pt x="222" y="30"/>
                    </a:lnTo>
                    <a:lnTo>
                      <a:pt x="228" y="30"/>
                    </a:lnTo>
                    <a:lnTo>
                      <a:pt x="228" y="36"/>
                    </a:lnTo>
                    <a:lnTo>
                      <a:pt x="228" y="30"/>
                    </a:lnTo>
                    <a:lnTo>
                      <a:pt x="228" y="36"/>
                    </a:lnTo>
                    <a:lnTo>
                      <a:pt x="234" y="36"/>
                    </a:lnTo>
                    <a:lnTo>
                      <a:pt x="234" y="42"/>
                    </a:lnTo>
                    <a:lnTo>
                      <a:pt x="234" y="48"/>
                    </a:lnTo>
                    <a:lnTo>
                      <a:pt x="240" y="48"/>
                    </a:lnTo>
                    <a:lnTo>
                      <a:pt x="240" y="54"/>
                    </a:lnTo>
                    <a:lnTo>
                      <a:pt x="240" y="60"/>
                    </a:lnTo>
                    <a:lnTo>
                      <a:pt x="246" y="60"/>
                    </a:lnTo>
                    <a:lnTo>
                      <a:pt x="252" y="66"/>
                    </a:lnTo>
                    <a:lnTo>
                      <a:pt x="246" y="66"/>
                    </a:lnTo>
                    <a:lnTo>
                      <a:pt x="252" y="66"/>
                    </a:lnTo>
                    <a:lnTo>
                      <a:pt x="252" y="72"/>
                    </a:lnTo>
                    <a:lnTo>
                      <a:pt x="252" y="66"/>
                    </a:lnTo>
                    <a:lnTo>
                      <a:pt x="258" y="66"/>
                    </a:lnTo>
                    <a:lnTo>
                      <a:pt x="258" y="72"/>
                    </a:lnTo>
                    <a:lnTo>
                      <a:pt x="258" y="78"/>
                    </a:lnTo>
                    <a:lnTo>
                      <a:pt x="264" y="78"/>
                    </a:lnTo>
                    <a:lnTo>
                      <a:pt x="264" y="84"/>
                    </a:lnTo>
                    <a:lnTo>
                      <a:pt x="258" y="84"/>
                    </a:lnTo>
                    <a:lnTo>
                      <a:pt x="264" y="84"/>
                    </a:lnTo>
                    <a:lnTo>
                      <a:pt x="264" y="90"/>
                    </a:lnTo>
                    <a:lnTo>
                      <a:pt x="270" y="90"/>
                    </a:lnTo>
                    <a:lnTo>
                      <a:pt x="276" y="90"/>
                    </a:lnTo>
                    <a:lnTo>
                      <a:pt x="276" y="96"/>
                    </a:lnTo>
                    <a:lnTo>
                      <a:pt x="282" y="96"/>
                    </a:lnTo>
                    <a:lnTo>
                      <a:pt x="282" y="102"/>
                    </a:lnTo>
                    <a:lnTo>
                      <a:pt x="288" y="102"/>
                    </a:lnTo>
                    <a:lnTo>
                      <a:pt x="288" y="108"/>
                    </a:lnTo>
                    <a:lnTo>
                      <a:pt x="294" y="108"/>
                    </a:lnTo>
                    <a:lnTo>
                      <a:pt x="294" y="114"/>
                    </a:lnTo>
                    <a:lnTo>
                      <a:pt x="300" y="114"/>
                    </a:lnTo>
                    <a:lnTo>
                      <a:pt x="300" y="120"/>
                    </a:lnTo>
                    <a:lnTo>
                      <a:pt x="300" y="126"/>
                    </a:lnTo>
                    <a:lnTo>
                      <a:pt x="300" y="132"/>
                    </a:lnTo>
                    <a:lnTo>
                      <a:pt x="306" y="132"/>
                    </a:lnTo>
                    <a:lnTo>
                      <a:pt x="306" y="138"/>
                    </a:lnTo>
                    <a:lnTo>
                      <a:pt x="312" y="138"/>
                    </a:lnTo>
                    <a:lnTo>
                      <a:pt x="312" y="144"/>
                    </a:lnTo>
                    <a:lnTo>
                      <a:pt x="312" y="150"/>
                    </a:lnTo>
                    <a:lnTo>
                      <a:pt x="312" y="156"/>
                    </a:lnTo>
                    <a:lnTo>
                      <a:pt x="312" y="162"/>
                    </a:lnTo>
                    <a:lnTo>
                      <a:pt x="312" y="168"/>
                    </a:lnTo>
                    <a:lnTo>
                      <a:pt x="306" y="168"/>
                    </a:lnTo>
                    <a:lnTo>
                      <a:pt x="306" y="174"/>
                    </a:lnTo>
                    <a:lnTo>
                      <a:pt x="312" y="180"/>
                    </a:lnTo>
                    <a:lnTo>
                      <a:pt x="318" y="186"/>
                    </a:lnTo>
                    <a:lnTo>
                      <a:pt x="318" y="192"/>
                    </a:lnTo>
                    <a:lnTo>
                      <a:pt x="324" y="192"/>
                    </a:lnTo>
                    <a:lnTo>
                      <a:pt x="324" y="186"/>
                    </a:lnTo>
                    <a:lnTo>
                      <a:pt x="324" y="192"/>
                    </a:lnTo>
                    <a:lnTo>
                      <a:pt x="330" y="192"/>
                    </a:lnTo>
                    <a:lnTo>
                      <a:pt x="336" y="192"/>
                    </a:lnTo>
                    <a:lnTo>
                      <a:pt x="336" y="198"/>
                    </a:lnTo>
                    <a:lnTo>
                      <a:pt x="336" y="204"/>
                    </a:lnTo>
                    <a:lnTo>
                      <a:pt x="342" y="204"/>
                    </a:lnTo>
                    <a:lnTo>
                      <a:pt x="342" y="210"/>
                    </a:lnTo>
                    <a:lnTo>
                      <a:pt x="342" y="216"/>
                    </a:lnTo>
                    <a:lnTo>
                      <a:pt x="342" y="210"/>
                    </a:lnTo>
                    <a:lnTo>
                      <a:pt x="348" y="210"/>
                    </a:lnTo>
                    <a:lnTo>
                      <a:pt x="348" y="216"/>
                    </a:lnTo>
                    <a:lnTo>
                      <a:pt x="342" y="216"/>
                    </a:lnTo>
                    <a:lnTo>
                      <a:pt x="342" y="222"/>
                    </a:lnTo>
                    <a:lnTo>
                      <a:pt x="342" y="228"/>
                    </a:lnTo>
                    <a:lnTo>
                      <a:pt x="348" y="228"/>
                    </a:lnTo>
                    <a:lnTo>
                      <a:pt x="342" y="228"/>
                    </a:lnTo>
                    <a:lnTo>
                      <a:pt x="342" y="234"/>
                    </a:lnTo>
                    <a:lnTo>
                      <a:pt x="342" y="240"/>
                    </a:lnTo>
                    <a:lnTo>
                      <a:pt x="348" y="240"/>
                    </a:lnTo>
                    <a:lnTo>
                      <a:pt x="348" y="246"/>
                    </a:lnTo>
                    <a:lnTo>
                      <a:pt x="342" y="246"/>
                    </a:lnTo>
                    <a:lnTo>
                      <a:pt x="348" y="246"/>
                    </a:lnTo>
                    <a:lnTo>
                      <a:pt x="342" y="246"/>
                    </a:lnTo>
                    <a:lnTo>
                      <a:pt x="336" y="246"/>
                    </a:lnTo>
                    <a:lnTo>
                      <a:pt x="330" y="246"/>
                    </a:lnTo>
                    <a:lnTo>
                      <a:pt x="324" y="246"/>
                    </a:lnTo>
                    <a:lnTo>
                      <a:pt x="318" y="246"/>
                    </a:lnTo>
                    <a:lnTo>
                      <a:pt x="312" y="246"/>
                    </a:lnTo>
                    <a:lnTo>
                      <a:pt x="306" y="246"/>
                    </a:lnTo>
                    <a:lnTo>
                      <a:pt x="300" y="246"/>
                    </a:lnTo>
                    <a:lnTo>
                      <a:pt x="294" y="252"/>
                    </a:lnTo>
                    <a:lnTo>
                      <a:pt x="288" y="252"/>
                    </a:lnTo>
                    <a:lnTo>
                      <a:pt x="288" y="246"/>
                    </a:lnTo>
                    <a:lnTo>
                      <a:pt x="282" y="246"/>
                    </a:lnTo>
                    <a:lnTo>
                      <a:pt x="276" y="246"/>
                    </a:lnTo>
                    <a:lnTo>
                      <a:pt x="270" y="246"/>
                    </a:lnTo>
                    <a:lnTo>
                      <a:pt x="270" y="240"/>
                    </a:lnTo>
                    <a:lnTo>
                      <a:pt x="264" y="240"/>
                    </a:lnTo>
                    <a:lnTo>
                      <a:pt x="258" y="240"/>
                    </a:lnTo>
                    <a:lnTo>
                      <a:pt x="252" y="240"/>
                    </a:lnTo>
                    <a:lnTo>
                      <a:pt x="252" y="234"/>
                    </a:lnTo>
                    <a:lnTo>
                      <a:pt x="246" y="234"/>
                    </a:lnTo>
                    <a:lnTo>
                      <a:pt x="240" y="234"/>
                    </a:lnTo>
                    <a:lnTo>
                      <a:pt x="234" y="234"/>
                    </a:lnTo>
                    <a:lnTo>
                      <a:pt x="234" y="228"/>
                    </a:lnTo>
                    <a:lnTo>
                      <a:pt x="228" y="228"/>
                    </a:lnTo>
                    <a:lnTo>
                      <a:pt x="222" y="228"/>
                    </a:lnTo>
                    <a:lnTo>
                      <a:pt x="216" y="228"/>
                    </a:lnTo>
                    <a:close/>
                    <a:moveTo>
                      <a:pt x="48" y="162"/>
                    </a:moveTo>
                    <a:lnTo>
                      <a:pt x="54" y="162"/>
                    </a:lnTo>
                    <a:lnTo>
                      <a:pt x="54" y="168"/>
                    </a:lnTo>
                    <a:lnTo>
                      <a:pt x="48" y="168"/>
                    </a:lnTo>
                    <a:lnTo>
                      <a:pt x="48" y="162"/>
                    </a:lnTo>
                    <a:close/>
                    <a:moveTo>
                      <a:pt x="48" y="174"/>
                    </a:moveTo>
                    <a:lnTo>
                      <a:pt x="54" y="174"/>
                    </a:lnTo>
                    <a:lnTo>
                      <a:pt x="48" y="174"/>
                    </a:lnTo>
                    <a:close/>
                    <a:moveTo>
                      <a:pt x="48" y="156"/>
                    </a:moveTo>
                    <a:lnTo>
                      <a:pt x="48" y="162"/>
                    </a:lnTo>
                    <a:lnTo>
                      <a:pt x="49" y="162"/>
                    </a:lnTo>
                    <a:lnTo>
                      <a:pt x="48" y="15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15" name="Freeform 11"/>
              <p:cNvSpPr>
                <a:spLocks noEditPoints="1"/>
              </p:cNvSpPr>
              <p:nvPr>
                <p:custDataLst>
                  <p:tags r:id="rId11"/>
                </p:custDataLst>
              </p:nvPr>
            </p:nvSpPr>
            <p:spPr bwMode="gray">
              <a:xfrm>
                <a:off x="792468" y="276634"/>
                <a:ext cx="854547" cy="882914"/>
              </a:xfrm>
              <a:custGeom>
                <a:avLst/>
                <a:gdLst>
                  <a:gd name="T0" fmla="*/ 83466 w 678"/>
                  <a:gd name="T1" fmla="*/ 257790 h 750"/>
                  <a:gd name="T2" fmla="*/ 79584 w 678"/>
                  <a:gd name="T3" fmla="*/ 251975 h 750"/>
                  <a:gd name="T4" fmla="*/ 72791 w 678"/>
                  <a:gd name="T5" fmla="*/ 240345 h 750"/>
                  <a:gd name="T6" fmla="*/ 66967 w 678"/>
                  <a:gd name="T7" fmla="*/ 236469 h 750"/>
                  <a:gd name="T8" fmla="*/ 56291 w 678"/>
                  <a:gd name="T9" fmla="*/ 229685 h 750"/>
                  <a:gd name="T10" fmla="*/ 40762 w 678"/>
                  <a:gd name="T11" fmla="*/ 225808 h 750"/>
                  <a:gd name="T12" fmla="*/ 27175 w 678"/>
                  <a:gd name="T13" fmla="*/ 227747 h 750"/>
                  <a:gd name="T14" fmla="*/ 17470 w 678"/>
                  <a:gd name="T15" fmla="*/ 229685 h 750"/>
                  <a:gd name="T16" fmla="*/ 10676 w 678"/>
                  <a:gd name="T17" fmla="*/ 238407 h 750"/>
                  <a:gd name="T18" fmla="*/ 12617 w 678"/>
                  <a:gd name="T19" fmla="*/ 221931 h 750"/>
                  <a:gd name="T20" fmla="*/ 19411 w 678"/>
                  <a:gd name="T21" fmla="*/ 206426 h 750"/>
                  <a:gd name="T22" fmla="*/ 19411 w 678"/>
                  <a:gd name="T23" fmla="*/ 188012 h 750"/>
                  <a:gd name="T24" fmla="*/ 12617 w 678"/>
                  <a:gd name="T25" fmla="*/ 172506 h 750"/>
                  <a:gd name="T26" fmla="*/ 12617 w 678"/>
                  <a:gd name="T27" fmla="*/ 165722 h 750"/>
                  <a:gd name="T28" fmla="*/ 14558 w 678"/>
                  <a:gd name="T29" fmla="*/ 159907 h 750"/>
                  <a:gd name="T30" fmla="*/ 14558 w 678"/>
                  <a:gd name="T31" fmla="*/ 151185 h 750"/>
                  <a:gd name="T32" fmla="*/ 10676 w 678"/>
                  <a:gd name="T33" fmla="*/ 145370 h 750"/>
                  <a:gd name="T34" fmla="*/ 6794 w 678"/>
                  <a:gd name="T35" fmla="*/ 135679 h 750"/>
                  <a:gd name="T36" fmla="*/ 0 w 678"/>
                  <a:gd name="T37" fmla="*/ 138586 h 750"/>
                  <a:gd name="T38" fmla="*/ 8735 w 678"/>
                  <a:gd name="T39" fmla="*/ 127926 h 750"/>
                  <a:gd name="T40" fmla="*/ 46586 w 678"/>
                  <a:gd name="T41" fmla="*/ 127926 h 750"/>
                  <a:gd name="T42" fmla="*/ 67938 w 678"/>
                  <a:gd name="T43" fmla="*/ 127926 h 750"/>
                  <a:gd name="T44" fmla="*/ 79584 w 678"/>
                  <a:gd name="T45" fmla="*/ 117266 h 750"/>
                  <a:gd name="T46" fmla="*/ 76673 w 678"/>
                  <a:gd name="T47" fmla="*/ 95945 h 750"/>
                  <a:gd name="T48" fmla="*/ 100936 w 678"/>
                  <a:gd name="T49" fmla="*/ 83346 h 750"/>
                  <a:gd name="T50" fmla="*/ 111612 w 678"/>
                  <a:gd name="T51" fmla="*/ 27136 h 750"/>
                  <a:gd name="T52" fmla="*/ 134905 w 678"/>
                  <a:gd name="T53" fmla="*/ 27136 h 750"/>
                  <a:gd name="T54" fmla="*/ 158198 w 678"/>
                  <a:gd name="T55" fmla="*/ 27136 h 750"/>
                  <a:gd name="T56" fmla="*/ 173727 w 678"/>
                  <a:gd name="T57" fmla="*/ 1938 h 750"/>
                  <a:gd name="T58" fmla="*/ 192166 w 678"/>
                  <a:gd name="T59" fmla="*/ 14537 h 750"/>
                  <a:gd name="T60" fmla="*/ 211577 w 678"/>
                  <a:gd name="T61" fmla="*/ 30043 h 750"/>
                  <a:gd name="T62" fmla="*/ 230988 w 678"/>
                  <a:gd name="T63" fmla="*/ 42642 h 750"/>
                  <a:gd name="T64" fmla="*/ 234871 w 678"/>
                  <a:gd name="T65" fmla="*/ 49426 h 750"/>
                  <a:gd name="T66" fmla="*/ 215459 w 678"/>
                  <a:gd name="T67" fmla="*/ 49426 h 750"/>
                  <a:gd name="T68" fmla="*/ 209636 w 678"/>
                  <a:gd name="T69" fmla="*/ 70747 h 750"/>
                  <a:gd name="T70" fmla="*/ 211577 w 678"/>
                  <a:gd name="T71" fmla="*/ 90129 h 750"/>
                  <a:gd name="T72" fmla="*/ 214489 w 678"/>
                  <a:gd name="T73" fmla="*/ 106605 h 750"/>
                  <a:gd name="T74" fmla="*/ 215459 w 678"/>
                  <a:gd name="T75" fmla="*/ 124049 h 750"/>
                  <a:gd name="T76" fmla="*/ 218371 w 678"/>
                  <a:gd name="T77" fmla="*/ 142463 h 750"/>
                  <a:gd name="T78" fmla="*/ 220312 w 678"/>
                  <a:gd name="T79" fmla="*/ 163784 h 750"/>
                  <a:gd name="T80" fmla="*/ 222253 w 678"/>
                  <a:gd name="T81" fmla="*/ 181228 h 750"/>
                  <a:gd name="T82" fmla="*/ 225165 w 678"/>
                  <a:gd name="T83" fmla="*/ 199642 h 750"/>
                  <a:gd name="T84" fmla="*/ 227106 w 678"/>
                  <a:gd name="T85" fmla="*/ 219024 h 750"/>
                  <a:gd name="T86" fmla="*/ 229047 w 678"/>
                  <a:gd name="T87" fmla="*/ 247129 h 750"/>
                  <a:gd name="T88" fmla="*/ 211577 w 678"/>
                  <a:gd name="T89" fmla="*/ 249068 h 750"/>
                  <a:gd name="T90" fmla="*/ 190225 w 678"/>
                  <a:gd name="T91" fmla="*/ 249068 h 750"/>
                  <a:gd name="T92" fmla="*/ 168874 w 678"/>
                  <a:gd name="T93" fmla="*/ 249068 h 750"/>
                  <a:gd name="T94" fmla="*/ 154315 w 678"/>
                  <a:gd name="T95" fmla="*/ 247129 h 750"/>
                  <a:gd name="T96" fmla="*/ 143639 w 678"/>
                  <a:gd name="T97" fmla="*/ 251975 h 750"/>
                  <a:gd name="T98" fmla="*/ 128111 w 678"/>
                  <a:gd name="T99" fmla="*/ 251975 h 750"/>
                  <a:gd name="T100" fmla="*/ 117435 w 678"/>
                  <a:gd name="T101" fmla="*/ 253913 h 750"/>
                  <a:gd name="T102" fmla="*/ 104818 w 678"/>
                  <a:gd name="T103" fmla="*/ 249068 h 750"/>
                  <a:gd name="T104" fmla="*/ 104818 w 678"/>
                  <a:gd name="T105" fmla="*/ 262636 h 750"/>
                  <a:gd name="T106" fmla="*/ 10676 w 678"/>
                  <a:gd name="T107" fmla="*/ 163784 h 750"/>
                  <a:gd name="T108" fmla="*/ 14558 w 678"/>
                  <a:gd name="T109" fmla="*/ 161845 h 750"/>
                  <a:gd name="T110" fmla="*/ 10676 w 678"/>
                  <a:gd name="T111" fmla="*/ 163784 h 750"/>
                  <a:gd name="T112" fmla="*/ 10676 w 678"/>
                  <a:gd name="T113" fmla="*/ 145370 h 7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78" h="750">
                    <a:moveTo>
                      <a:pt x="264" y="744"/>
                    </a:moveTo>
                    <a:lnTo>
                      <a:pt x="258" y="744"/>
                    </a:lnTo>
                    <a:lnTo>
                      <a:pt x="258" y="738"/>
                    </a:lnTo>
                    <a:lnTo>
                      <a:pt x="252" y="738"/>
                    </a:lnTo>
                    <a:lnTo>
                      <a:pt x="252" y="732"/>
                    </a:lnTo>
                    <a:lnTo>
                      <a:pt x="246" y="732"/>
                    </a:lnTo>
                    <a:lnTo>
                      <a:pt x="246" y="726"/>
                    </a:lnTo>
                    <a:lnTo>
                      <a:pt x="240" y="726"/>
                    </a:lnTo>
                    <a:lnTo>
                      <a:pt x="234" y="726"/>
                    </a:lnTo>
                    <a:lnTo>
                      <a:pt x="234" y="720"/>
                    </a:lnTo>
                    <a:lnTo>
                      <a:pt x="228" y="720"/>
                    </a:lnTo>
                    <a:lnTo>
                      <a:pt x="234" y="720"/>
                    </a:lnTo>
                    <a:lnTo>
                      <a:pt x="234" y="714"/>
                    </a:lnTo>
                    <a:lnTo>
                      <a:pt x="228" y="714"/>
                    </a:lnTo>
                    <a:lnTo>
                      <a:pt x="228" y="708"/>
                    </a:lnTo>
                    <a:lnTo>
                      <a:pt x="228" y="702"/>
                    </a:lnTo>
                    <a:lnTo>
                      <a:pt x="222" y="702"/>
                    </a:lnTo>
                    <a:lnTo>
                      <a:pt x="222" y="708"/>
                    </a:lnTo>
                    <a:lnTo>
                      <a:pt x="222" y="702"/>
                    </a:lnTo>
                    <a:lnTo>
                      <a:pt x="216" y="702"/>
                    </a:lnTo>
                    <a:lnTo>
                      <a:pt x="222" y="702"/>
                    </a:lnTo>
                    <a:lnTo>
                      <a:pt x="216" y="696"/>
                    </a:lnTo>
                    <a:lnTo>
                      <a:pt x="210" y="696"/>
                    </a:lnTo>
                    <a:lnTo>
                      <a:pt x="210" y="690"/>
                    </a:lnTo>
                    <a:lnTo>
                      <a:pt x="210" y="684"/>
                    </a:lnTo>
                    <a:lnTo>
                      <a:pt x="204" y="684"/>
                    </a:lnTo>
                    <a:lnTo>
                      <a:pt x="204" y="678"/>
                    </a:lnTo>
                    <a:lnTo>
                      <a:pt x="204" y="672"/>
                    </a:lnTo>
                    <a:lnTo>
                      <a:pt x="198" y="672"/>
                    </a:lnTo>
                    <a:lnTo>
                      <a:pt x="198" y="666"/>
                    </a:lnTo>
                    <a:lnTo>
                      <a:pt x="198" y="672"/>
                    </a:lnTo>
                    <a:lnTo>
                      <a:pt x="198" y="666"/>
                    </a:lnTo>
                    <a:lnTo>
                      <a:pt x="192" y="666"/>
                    </a:lnTo>
                    <a:lnTo>
                      <a:pt x="186" y="666"/>
                    </a:lnTo>
                    <a:lnTo>
                      <a:pt x="186" y="672"/>
                    </a:lnTo>
                    <a:lnTo>
                      <a:pt x="186" y="666"/>
                    </a:lnTo>
                    <a:lnTo>
                      <a:pt x="180" y="666"/>
                    </a:lnTo>
                    <a:lnTo>
                      <a:pt x="174" y="666"/>
                    </a:lnTo>
                    <a:lnTo>
                      <a:pt x="174" y="660"/>
                    </a:lnTo>
                    <a:lnTo>
                      <a:pt x="168" y="660"/>
                    </a:lnTo>
                    <a:lnTo>
                      <a:pt x="174" y="660"/>
                    </a:lnTo>
                    <a:lnTo>
                      <a:pt x="174" y="654"/>
                    </a:lnTo>
                    <a:lnTo>
                      <a:pt x="168" y="654"/>
                    </a:lnTo>
                    <a:lnTo>
                      <a:pt x="162" y="648"/>
                    </a:lnTo>
                    <a:lnTo>
                      <a:pt x="156" y="648"/>
                    </a:lnTo>
                    <a:lnTo>
                      <a:pt x="156" y="642"/>
                    </a:lnTo>
                    <a:lnTo>
                      <a:pt x="150" y="642"/>
                    </a:lnTo>
                    <a:lnTo>
                      <a:pt x="150" y="636"/>
                    </a:lnTo>
                    <a:lnTo>
                      <a:pt x="144" y="636"/>
                    </a:lnTo>
                    <a:lnTo>
                      <a:pt x="138" y="636"/>
                    </a:lnTo>
                    <a:lnTo>
                      <a:pt x="132" y="636"/>
                    </a:lnTo>
                    <a:lnTo>
                      <a:pt x="126" y="636"/>
                    </a:lnTo>
                    <a:lnTo>
                      <a:pt x="120" y="636"/>
                    </a:lnTo>
                    <a:lnTo>
                      <a:pt x="114" y="636"/>
                    </a:lnTo>
                    <a:lnTo>
                      <a:pt x="108" y="636"/>
                    </a:lnTo>
                    <a:lnTo>
                      <a:pt x="108" y="642"/>
                    </a:lnTo>
                    <a:lnTo>
                      <a:pt x="102" y="642"/>
                    </a:lnTo>
                    <a:lnTo>
                      <a:pt x="96" y="642"/>
                    </a:lnTo>
                    <a:lnTo>
                      <a:pt x="90" y="642"/>
                    </a:lnTo>
                    <a:lnTo>
                      <a:pt x="84" y="642"/>
                    </a:lnTo>
                    <a:lnTo>
                      <a:pt x="84" y="648"/>
                    </a:lnTo>
                    <a:lnTo>
                      <a:pt x="84" y="642"/>
                    </a:lnTo>
                    <a:lnTo>
                      <a:pt x="78" y="642"/>
                    </a:lnTo>
                    <a:lnTo>
                      <a:pt x="78" y="648"/>
                    </a:lnTo>
                    <a:lnTo>
                      <a:pt x="72" y="648"/>
                    </a:lnTo>
                    <a:lnTo>
                      <a:pt x="66" y="648"/>
                    </a:lnTo>
                    <a:lnTo>
                      <a:pt x="66" y="642"/>
                    </a:lnTo>
                    <a:lnTo>
                      <a:pt x="60" y="648"/>
                    </a:lnTo>
                    <a:lnTo>
                      <a:pt x="54" y="648"/>
                    </a:lnTo>
                    <a:lnTo>
                      <a:pt x="54" y="642"/>
                    </a:lnTo>
                    <a:lnTo>
                      <a:pt x="48" y="642"/>
                    </a:lnTo>
                    <a:lnTo>
                      <a:pt x="48" y="648"/>
                    </a:lnTo>
                    <a:lnTo>
                      <a:pt x="42" y="642"/>
                    </a:lnTo>
                    <a:lnTo>
                      <a:pt x="42" y="648"/>
                    </a:lnTo>
                    <a:lnTo>
                      <a:pt x="42" y="654"/>
                    </a:lnTo>
                    <a:lnTo>
                      <a:pt x="36" y="654"/>
                    </a:lnTo>
                    <a:lnTo>
                      <a:pt x="36" y="660"/>
                    </a:lnTo>
                    <a:lnTo>
                      <a:pt x="30" y="666"/>
                    </a:lnTo>
                    <a:lnTo>
                      <a:pt x="36" y="666"/>
                    </a:lnTo>
                    <a:lnTo>
                      <a:pt x="36" y="672"/>
                    </a:lnTo>
                    <a:lnTo>
                      <a:pt x="30" y="672"/>
                    </a:lnTo>
                    <a:lnTo>
                      <a:pt x="30" y="666"/>
                    </a:lnTo>
                    <a:lnTo>
                      <a:pt x="30" y="660"/>
                    </a:lnTo>
                    <a:lnTo>
                      <a:pt x="30" y="654"/>
                    </a:lnTo>
                    <a:lnTo>
                      <a:pt x="30" y="648"/>
                    </a:lnTo>
                    <a:lnTo>
                      <a:pt x="30" y="642"/>
                    </a:lnTo>
                    <a:lnTo>
                      <a:pt x="36" y="642"/>
                    </a:lnTo>
                    <a:lnTo>
                      <a:pt x="36" y="636"/>
                    </a:lnTo>
                    <a:lnTo>
                      <a:pt x="36" y="630"/>
                    </a:lnTo>
                    <a:lnTo>
                      <a:pt x="36" y="624"/>
                    </a:lnTo>
                    <a:lnTo>
                      <a:pt x="42" y="624"/>
                    </a:lnTo>
                    <a:lnTo>
                      <a:pt x="42" y="618"/>
                    </a:lnTo>
                    <a:lnTo>
                      <a:pt x="42" y="612"/>
                    </a:lnTo>
                    <a:lnTo>
                      <a:pt x="48" y="612"/>
                    </a:lnTo>
                    <a:lnTo>
                      <a:pt x="48" y="606"/>
                    </a:lnTo>
                    <a:lnTo>
                      <a:pt x="48" y="600"/>
                    </a:lnTo>
                    <a:lnTo>
                      <a:pt x="54" y="594"/>
                    </a:lnTo>
                    <a:lnTo>
                      <a:pt x="54" y="588"/>
                    </a:lnTo>
                    <a:lnTo>
                      <a:pt x="54" y="582"/>
                    </a:lnTo>
                    <a:lnTo>
                      <a:pt x="54" y="576"/>
                    </a:lnTo>
                    <a:lnTo>
                      <a:pt x="54" y="570"/>
                    </a:lnTo>
                    <a:lnTo>
                      <a:pt x="54" y="564"/>
                    </a:lnTo>
                    <a:lnTo>
                      <a:pt x="54" y="558"/>
                    </a:lnTo>
                    <a:lnTo>
                      <a:pt x="54" y="552"/>
                    </a:lnTo>
                    <a:lnTo>
                      <a:pt x="54" y="546"/>
                    </a:lnTo>
                    <a:lnTo>
                      <a:pt x="54" y="540"/>
                    </a:lnTo>
                    <a:lnTo>
                      <a:pt x="54" y="534"/>
                    </a:lnTo>
                    <a:lnTo>
                      <a:pt x="54" y="528"/>
                    </a:lnTo>
                    <a:lnTo>
                      <a:pt x="54" y="522"/>
                    </a:lnTo>
                    <a:lnTo>
                      <a:pt x="48" y="522"/>
                    </a:lnTo>
                    <a:lnTo>
                      <a:pt x="48" y="516"/>
                    </a:lnTo>
                    <a:lnTo>
                      <a:pt x="48" y="510"/>
                    </a:lnTo>
                    <a:lnTo>
                      <a:pt x="48" y="504"/>
                    </a:lnTo>
                    <a:lnTo>
                      <a:pt x="48" y="498"/>
                    </a:lnTo>
                    <a:lnTo>
                      <a:pt x="42" y="498"/>
                    </a:lnTo>
                    <a:lnTo>
                      <a:pt x="42" y="492"/>
                    </a:lnTo>
                    <a:lnTo>
                      <a:pt x="36" y="486"/>
                    </a:lnTo>
                    <a:lnTo>
                      <a:pt x="30" y="486"/>
                    </a:lnTo>
                    <a:lnTo>
                      <a:pt x="30" y="480"/>
                    </a:lnTo>
                    <a:lnTo>
                      <a:pt x="30" y="474"/>
                    </a:lnTo>
                    <a:lnTo>
                      <a:pt x="30" y="480"/>
                    </a:lnTo>
                    <a:lnTo>
                      <a:pt x="36" y="480"/>
                    </a:lnTo>
                    <a:lnTo>
                      <a:pt x="36" y="474"/>
                    </a:lnTo>
                    <a:lnTo>
                      <a:pt x="42" y="474"/>
                    </a:lnTo>
                    <a:lnTo>
                      <a:pt x="42" y="468"/>
                    </a:lnTo>
                    <a:lnTo>
                      <a:pt x="36" y="468"/>
                    </a:lnTo>
                    <a:lnTo>
                      <a:pt x="36" y="474"/>
                    </a:lnTo>
                    <a:lnTo>
                      <a:pt x="36" y="468"/>
                    </a:lnTo>
                    <a:lnTo>
                      <a:pt x="36" y="474"/>
                    </a:lnTo>
                    <a:lnTo>
                      <a:pt x="30" y="474"/>
                    </a:lnTo>
                    <a:lnTo>
                      <a:pt x="36" y="468"/>
                    </a:lnTo>
                    <a:lnTo>
                      <a:pt x="36" y="462"/>
                    </a:lnTo>
                    <a:lnTo>
                      <a:pt x="42" y="462"/>
                    </a:lnTo>
                    <a:lnTo>
                      <a:pt x="42" y="456"/>
                    </a:lnTo>
                    <a:lnTo>
                      <a:pt x="42" y="450"/>
                    </a:lnTo>
                    <a:lnTo>
                      <a:pt x="42" y="444"/>
                    </a:lnTo>
                    <a:lnTo>
                      <a:pt x="42" y="450"/>
                    </a:lnTo>
                    <a:lnTo>
                      <a:pt x="42" y="444"/>
                    </a:lnTo>
                    <a:lnTo>
                      <a:pt x="48" y="444"/>
                    </a:lnTo>
                    <a:lnTo>
                      <a:pt x="42" y="438"/>
                    </a:lnTo>
                    <a:lnTo>
                      <a:pt x="42" y="432"/>
                    </a:lnTo>
                    <a:lnTo>
                      <a:pt x="48" y="432"/>
                    </a:lnTo>
                    <a:lnTo>
                      <a:pt x="48" y="426"/>
                    </a:lnTo>
                    <a:lnTo>
                      <a:pt x="42" y="426"/>
                    </a:lnTo>
                    <a:lnTo>
                      <a:pt x="42" y="420"/>
                    </a:lnTo>
                    <a:lnTo>
                      <a:pt x="36" y="420"/>
                    </a:lnTo>
                    <a:lnTo>
                      <a:pt x="36" y="414"/>
                    </a:lnTo>
                    <a:lnTo>
                      <a:pt x="36" y="408"/>
                    </a:lnTo>
                    <a:lnTo>
                      <a:pt x="36" y="402"/>
                    </a:lnTo>
                    <a:lnTo>
                      <a:pt x="30" y="402"/>
                    </a:lnTo>
                    <a:lnTo>
                      <a:pt x="30" y="396"/>
                    </a:lnTo>
                    <a:lnTo>
                      <a:pt x="30" y="402"/>
                    </a:lnTo>
                    <a:lnTo>
                      <a:pt x="30" y="408"/>
                    </a:lnTo>
                    <a:lnTo>
                      <a:pt x="24" y="408"/>
                    </a:lnTo>
                    <a:lnTo>
                      <a:pt x="24" y="402"/>
                    </a:lnTo>
                    <a:lnTo>
                      <a:pt x="18" y="402"/>
                    </a:lnTo>
                    <a:lnTo>
                      <a:pt x="18" y="396"/>
                    </a:lnTo>
                    <a:lnTo>
                      <a:pt x="18" y="390"/>
                    </a:lnTo>
                    <a:lnTo>
                      <a:pt x="12" y="384"/>
                    </a:lnTo>
                    <a:lnTo>
                      <a:pt x="12" y="378"/>
                    </a:lnTo>
                    <a:lnTo>
                      <a:pt x="12" y="384"/>
                    </a:lnTo>
                    <a:lnTo>
                      <a:pt x="18" y="384"/>
                    </a:lnTo>
                    <a:lnTo>
                      <a:pt x="18" y="378"/>
                    </a:lnTo>
                    <a:lnTo>
                      <a:pt x="12" y="378"/>
                    </a:lnTo>
                    <a:lnTo>
                      <a:pt x="12" y="372"/>
                    </a:lnTo>
                    <a:lnTo>
                      <a:pt x="12" y="366"/>
                    </a:lnTo>
                    <a:lnTo>
                      <a:pt x="6" y="366"/>
                    </a:lnTo>
                    <a:lnTo>
                      <a:pt x="6" y="372"/>
                    </a:lnTo>
                    <a:lnTo>
                      <a:pt x="0" y="378"/>
                    </a:lnTo>
                    <a:lnTo>
                      <a:pt x="0" y="384"/>
                    </a:lnTo>
                    <a:lnTo>
                      <a:pt x="0" y="390"/>
                    </a:lnTo>
                    <a:lnTo>
                      <a:pt x="0" y="396"/>
                    </a:lnTo>
                    <a:lnTo>
                      <a:pt x="0" y="390"/>
                    </a:lnTo>
                    <a:lnTo>
                      <a:pt x="0" y="384"/>
                    </a:lnTo>
                    <a:lnTo>
                      <a:pt x="0" y="378"/>
                    </a:lnTo>
                    <a:lnTo>
                      <a:pt x="0" y="372"/>
                    </a:lnTo>
                    <a:lnTo>
                      <a:pt x="6" y="372"/>
                    </a:lnTo>
                    <a:lnTo>
                      <a:pt x="6" y="366"/>
                    </a:lnTo>
                    <a:lnTo>
                      <a:pt x="6" y="360"/>
                    </a:lnTo>
                    <a:lnTo>
                      <a:pt x="24" y="360"/>
                    </a:lnTo>
                    <a:lnTo>
                      <a:pt x="42" y="360"/>
                    </a:lnTo>
                    <a:lnTo>
                      <a:pt x="54" y="360"/>
                    </a:lnTo>
                    <a:lnTo>
                      <a:pt x="72" y="360"/>
                    </a:lnTo>
                    <a:lnTo>
                      <a:pt x="84" y="360"/>
                    </a:lnTo>
                    <a:lnTo>
                      <a:pt x="102" y="360"/>
                    </a:lnTo>
                    <a:lnTo>
                      <a:pt x="114" y="360"/>
                    </a:lnTo>
                    <a:lnTo>
                      <a:pt x="120" y="360"/>
                    </a:lnTo>
                    <a:lnTo>
                      <a:pt x="126" y="360"/>
                    </a:lnTo>
                    <a:lnTo>
                      <a:pt x="132" y="360"/>
                    </a:lnTo>
                    <a:lnTo>
                      <a:pt x="138" y="360"/>
                    </a:lnTo>
                    <a:lnTo>
                      <a:pt x="144" y="360"/>
                    </a:lnTo>
                    <a:lnTo>
                      <a:pt x="150" y="360"/>
                    </a:lnTo>
                    <a:lnTo>
                      <a:pt x="156" y="360"/>
                    </a:lnTo>
                    <a:lnTo>
                      <a:pt x="162" y="360"/>
                    </a:lnTo>
                    <a:lnTo>
                      <a:pt x="168" y="360"/>
                    </a:lnTo>
                    <a:lnTo>
                      <a:pt x="174" y="360"/>
                    </a:lnTo>
                    <a:lnTo>
                      <a:pt x="186" y="360"/>
                    </a:lnTo>
                    <a:lnTo>
                      <a:pt x="192" y="360"/>
                    </a:lnTo>
                    <a:lnTo>
                      <a:pt x="198" y="360"/>
                    </a:lnTo>
                    <a:lnTo>
                      <a:pt x="204" y="360"/>
                    </a:lnTo>
                    <a:lnTo>
                      <a:pt x="216" y="360"/>
                    </a:lnTo>
                    <a:lnTo>
                      <a:pt x="222" y="360"/>
                    </a:lnTo>
                    <a:lnTo>
                      <a:pt x="222" y="354"/>
                    </a:lnTo>
                    <a:lnTo>
                      <a:pt x="222" y="348"/>
                    </a:lnTo>
                    <a:lnTo>
                      <a:pt x="222" y="342"/>
                    </a:lnTo>
                    <a:lnTo>
                      <a:pt x="222" y="336"/>
                    </a:lnTo>
                    <a:lnTo>
                      <a:pt x="222" y="330"/>
                    </a:lnTo>
                    <a:lnTo>
                      <a:pt x="222" y="324"/>
                    </a:lnTo>
                    <a:lnTo>
                      <a:pt x="222" y="318"/>
                    </a:lnTo>
                    <a:lnTo>
                      <a:pt x="222" y="312"/>
                    </a:lnTo>
                    <a:lnTo>
                      <a:pt x="222" y="306"/>
                    </a:lnTo>
                    <a:lnTo>
                      <a:pt x="216" y="300"/>
                    </a:lnTo>
                    <a:lnTo>
                      <a:pt x="216" y="288"/>
                    </a:lnTo>
                    <a:lnTo>
                      <a:pt x="216" y="282"/>
                    </a:lnTo>
                    <a:lnTo>
                      <a:pt x="216" y="276"/>
                    </a:lnTo>
                    <a:lnTo>
                      <a:pt x="216" y="270"/>
                    </a:lnTo>
                    <a:lnTo>
                      <a:pt x="222" y="264"/>
                    </a:lnTo>
                    <a:lnTo>
                      <a:pt x="222" y="258"/>
                    </a:lnTo>
                    <a:lnTo>
                      <a:pt x="222" y="252"/>
                    </a:lnTo>
                    <a:lnTo>
                      <a:pt x="228" y="246"/>
                    </a:lnTo>
                    <a:lnTo>
                      <a:pt x="234" y="240"/>
                    </a:lnTo>
                    <a:lnTo>
                      <a:pt x="240" y="240"/>
                    </a:lnTo>
                    <a:lnTo>
                      <a:pt x="246" y="234"/>
                    </a:lnTo>
                    <a:lnTo>
                      <a:pt x="252" y="234"/>
                    </a:lnTo>
                    <a:lnTo>
                      <a:pt x="282" y="234"/>
                    </a:lnTo>
                    <a:lnTo>
                      <a:pt x="282" y="174"/>
                    </a:lnTo>
                    <a:lnTo>
                      <a:pt x="282" y="150"/>
                    </a:lnTo>
                    <a:lnTo>
                      <a:pt x="282" y="138"/>
                    </a:lnTo>
                    <a:lnTo>
                      <a:pt x="282" y="84"/>
                    </a:lnTo>
                    <a:lnTo>
                      <a:pt x="282" y="78"/>
                    </a:lnTo>
                    <a:lnTo>
                      <a:pt x="288" y="78"/>
                    </a:lnTo>
                    <a:lnTo>
                      <a:pt x="294" y="78"/>
                    </a:lnTo>
                    <a:lnTo>
                      <a:pt x="306" y="78"/>
                    </a:lnTo>
                    <a:lnTo>
                      <a:pt x="312" y="78"/>
                    </a:lnTo>
                    <a:lnTo>
                      <a:pt x="318" y="78"/>
                    </a:lnTo>
                    <a:lnTo>
                      <a:pt x="330" y="78"/>
                    </a:lnTo>
                    <a:lnTo>
                      <a:pt x="336" y="78"/>
                    </a:lnTo>
                    <a:lnTo>
                      <a:pt x="342" y="78"/>
                    </a:lnTo>
                    <a:lnTo>
                      <a:pt x="354" y="78"/>
                    </a:lnTo>
                    <a:lnTo>
                      <a:pt x="360" y="78"/>
                    </a:lnTo>
                    <a:lnTo>
                      <a:pt x="366" y="78"/>
                    </a:lnTo>
                    <a:lnTo>
                      <a:pt x="372" y="78"/>
                    </a:lnTo>
                    <a:lnTo>
                      <a:pt x="378" y="78"/>
                    </a:lnTo>
                    <a:lnTo>
                      <a:pt x="384" y="78"/>
                    </a:lnTo>
                    <a:lnTo>
                      <a:pt x="390" y="78"/>
                    </a:lnTo>
                    <a:lnTo>
                      <a:pt x="396" y="78"/>
                    </a:lnTo>
                    <a:lnTo>
                      <a:pt x="408" y="78"/>
                    </a:lnTo>
                    <a:lnTo>
                      <a:pt x="414" y="78"/>
                    </a:lnTo>
                    <a:lnTo>
                      <a:pt x="420" y="78"/>
                    </a:lnTo>
                    <a:lnTo>
                      <a:pt x="432" y="78"/>
                    </a:lnTo>
                    <a:lnTo>
                      <a:pt x="438" y="78"/>
                    </a:lnTo>
                    <a:lnTo>
                      <a:pt x="444" y="78"/>
                    </a:lnTo>
                    <a:lnTo>
                      <a:pt x="450" y="78"/>
                    </a:lnTo>
                    <a:lnTo>
                      <a:pt x="462" y="78"/>
                    </a:lnTo>
                    <a:lnTo>
                      <a:pt x="468" y="78"/>
                    </a:lnTo>
                    <a:lnTo>
                      <a:pt x="468" y="24"/>
                    </a:lnTo>
                    <a:lnTo>
                      <a:pt x="468" y="12"/>
                    </a:lnTo>
                    <a:lnTo>
                      <a:pt x="468" y="0"/>
                    </a:lnTo>
                    <a:lnTo>
                      <a:pt x="474" y="0"/>
                    </a:lnTo>
                    <a:lnTo>
                      <a:pt x="480" y="6"/>
                    </a:lnTo>
                    <a:lnTo>
                      <a:pt x="486" y="6"/>
                    </a:lnTo>
                    <a:lnTo>
                      <a:pt x="486" y="12"/>
                    </a:lnTo>
                    <a:lnTo>
                      <a:pt x="492" y="12"/>
                    </a:lnTo>
                    <a:lnTo>
                      <a:pt x="498" y="18"/>
                    </a:lnTo>
                    <a:lnTo>
                      <a:pt x="504" y="24"/>
                    </a:lnTo>
                    <a:lnTo>
                      <a:pt x="510" y="24"/>
                    </a:lnTo>
                    <a:lnTo>
                      <a:pt x="516" y="30"/>
                    </a:lnTo>
                    <a:lnTo>
                      <a:pt x="528" y="36"/>
                    </a:lnTo>
                    <a:lnTo>
                      <a:pt x="534" y="42"/>
                    </a:lnTo>
                    <a:lnTo>
                      <a:pt x="540" y="42"/>
                    </a:lnTo>
                    <a:lnTo>
                      <a:pt x="546" y="48"/>
                    </a:lnTo>
                    <a:lnTo>
                      <a:pt x="552" y="54"/>
                    </a:lnTo>
                    <a:lnTo>
                      <a:pt x="558" y="54"/>
                    </a:lnTo>
                    <a:lnTo>
                      <a:pt x="564" y="60"/>
                    </a:lnTo>
                    <a:lnTo>
                      <a:pt x="576" y="66"/>
                    </a:lnTo>
                    <a:lnTo>
                      <a:pt x="582" y="72"/>
                    </a:lnTo>
                    <a:lnTo>
                      <a:pt x="588" y="78"/>
                    </a:lnTo>
                    <a:lnTo>
                      <a:pt x="594" y="78"/>
                    </a:lnTo>
                    <a:lnTo>
                      <a:pt x="594" y="84"/>
                    </a:lnTo>
                    <a:lnTo>
                      <a:pt x="606" y="90"/>
                    </a:lnTo>
                    <a:lnTo>
                      <a:pt x="612" y="90"/>
                    </a:lnTo>
                    <a:lnTo>
                      <a:pt x="618" y="96"/>
                    </a:lnTo>
                    <a:lnTo>
                      <a:pt x="624" y="102"/>
                    </a:lnTo>
                    <a:lnTo>
                      <a:pt x="630" y="102"/>
                    </a:lnTo>
                    <a:lnTo>
                      <a:pt x="636" y="108"/>
                    </a:lnTo>
                    <a:lnTo>
                      <a:pt x="642" y="114"/>
                    </a:lnTo>
                    <a:lnTo>
                      <a:pt x="648" y="114"/>
                    </a:lnTo>
                    <a:lnTo>
                      <a:pt x="648" y="120"/>
                    </a:lnTo>
                    <a:lnTo>
                      <a:pt x="654" y="120"/>
                    </a:lnTo>
                    <a:lnTo>
                      <a:pt x="660" y="126"/>
                    </a:lnTo>
                    <a:lnTo>
                      <a:pt x="666" y="132"/>
                    </a:lnTo>
                    <a:lnTo>
                      <a:pt x="672" y="132"/>
                    </a:lnTo>
                    <a:lnTo>
                      <a:pt x="672" y="138"/>
                    </a:lnTo>
                    <a:lnTo>
                      <a:pt x="678" y="138"/>
                    </a:lnTo>
                    <a:lnTo>
                      <a:pt x="672" y="138"/>
                    </a:lnTo>
                    <a:lnTo>
                      <a:pt x="666" y="138"/>
                    </a:lnTo>
                    <a:lnTo>
                      <a:pt x="660" y="138"/>
                    </a:lnTo>
                    <a:lnTo>
                      <a:pt x="654" y="138"/>
                    </a:lnTo>
                    <a:lnTo>
                      <a:pt x="648" y="138"/>
                    </a:lnTo>
                    <a:lnTo>
                      <a:pt x="642" y="138"/>
                    </a:lnTo>
                    <a:lnTo>
                      <a:pt x="636" y="138"/>
                    </a:lnTo>
                    <a:lnTo>
                      <a:pt x="630" y="138"/>
                    </a:lnTo>
                    <a:lnTo>
                      <a:pt x="624" y="138"/>
                    </a:lnTo>
                    <a:lnTo>
                      <a:pt x="618" y="138"/>
                    </a:lnTo>
                    <a:lnTo>
                      <a:pt x="612" y="138"/>
                    </a:lnTo>
                    <a:lnTo>
                      <a:pt x="606" y="138"/>
                    </a:lnTo>
                    <a:lnTo>
                      <a:pt x="600" y="138"/>
                    </a:lnTo>
                    <a:lnTo>
                      <a:pt x="594" y="138"/>
                    </a:lnTo>
                    <a:lnTo>
                      <a:pt x="588" y="138"/>
                    </a:lnTo>
                    <a:lnTo>
                      <a:pt x="582" y="138"/>
                    </a:lnTo>
                    <a:lnTo>
                      <a:pt x="582" y="144"/>
                    </a:lnTo>
                    <a:lnTo>
                      <a:pt x="588" y="174"/>
                    </a:lnTo>
                    <a:lnTo>
                      <a:pt x="588" y="180"/>
                    </a:lnTo>
                    <a:lnTo>
                      <a:pt x="588" y="192"/>
                    </a:lnTo>
                    <a:lnTo>
                      <a:pt x="588" y="198"/>
                    </a:lnTo>
                    <a:lnTo>
                      <a:pt x="588" y="204"/>
                    </a:lnTo>
                    <a:lnTo>
                      <a:pt x="588" y="210"/>
                    </a:lnTo>
                    <a:lnTo>
                      <a:pt x="588" y="216"/>
                    </a:lnTo>
                    <a:lnTo>
                      <a:pt x="594" y="222"/>
                    </a:lnTo>
                    <a:lnTo>
                      <a:pt x="594" y="228"/>
                    </a:lnTo>
                    <a:lnTo>
                      <a:pt x="594" y="234"/>
                    </a:lnTo>
                    <a:lnTo>
                      <a:pt x="594" y="240"/>
                    </a:lnTo>
                    <a:lnTo>
                      <a:pt x="594" y="246"/>
                    </a:lnTo>
                    <a:lnTo>
                      <a:pt x="594" y="252"/>
                    </a:lnTo>
                    <a:lnTo>
                      <a:pt x="594" y="258"/>
                    </a:lnTo>
                    <a:lnTo>
                      <a:pt x="594" y="264"/>
                    </a:lnTo>
                    <a:lnTo>
                      <a:pt x="594" y="270"/>
                    </a:lnTo>
                    <a:lnTo>
                      <a:pt x="594" y="276"/>
                    </a:lnTo>
                    <a:lnTo>
                      <a:pt x="600" y="276"/>
                    </a:lnTo>
                    <a:lnTo>
                      <a:pt x="600" y="282"/>
                    </a:lnTo>
                    <a:lnTo>
                      <a:pt x="600" y="288"/>
                    </a:lnTo>
                    <a:lnTo>
                      <a:pt x="600" y="294"/>
                    </a:lnTo>
                    <a:lnTo>
                      <a:pt x="600" y="300"/>
                    </a:lnTo>
                    <a:lnTo>
                      <a:pt x="600" y="306"/>
                    </a:lnTo>
                    <a:lnTo>
                      <a:pt x="600" y="312"/>
                    </a:lnTo>
                    <a:lnTo>
                      <a:pt x="600" y="318"/>
                    </a:lnTo>
                    <a:lnTo>
                      <a:pt x="600" y="324"/>
                    </a:lnTo>
                    <a:lnTo>
                      <a:pt x="600" y="330"/>
                    </a:lnTo>
                    <a:lnTo>
                      <a:pt x="606" y="330"/>
                    </a:lnTo>
                    <a:lnTo>
                      <a:pt x="606" y="336"/>
                    </a:lnTo>
                    <a:lnTo>
                      <a:pt x="606" y="342"/>
                    </a:lnTo>
                    <a:lnTo>
                      <a:pt x="606" y="348"/>
                    </a:lnTo>
                    <a:lnTo>
                      <a:pt x="606" y="354"/>
                    </a:lnTo>
                    <a:lnTo>
                      <a:pt x="606" y="360"/>
                    </a:lnTo>
                    <a:lnTo>
                      <a:pt x="606" y="366"/>
                    </a:lnTo>
                    <a:lnTo>
                      <a:pt x="606" y="372"/>
                    </a:lnTo>
                    <a:lnTo>
                      <a:pt x="606" y="378"/>
                    </a:lnTo>
                    <a:lnTo>
                      <a:pt x="606" y="384"/>
                    </a:lnTo>
                    <a:lnTo>
                      <a:pt x="612" y="390"/>
                    </a:lnTo>
                    <a:lnTo>
                      <a:pt x="612" y="396"/>
                    </a:lnTo>
                    <a:lnTo>
                      <a:pt x="612" y="402"/>
                    </a:lnTo>
                    <a:lnTo>
                      <a:pt x="612" y="408"/>
                    </a:lnTo>
                    <a:lnTo>
                      <a:pt x="612" y="420"/>
                    </a:lnTo>
                    <a:lnTo>
                      <a:pt x="612" y="432"/>
                    </a:lnTo>
                    <a:lnTo>
                      <a:pt x="612" y="438"/>
                    </a:lnTo>
                    <a:lnTo>
                      <a:pt x="612" y="444"/>
                    </a:lnTo>
                    <a:lnTo>
                      <a:pt x="618" y="444"/>
                    </a:lnTo>
                    <a:lnTo>
                      <a:pt x="618" y="450"/>
                    </a:lnTo>
                    <a:lnTo>
                      <a:pt x="618" y="456"/>
                    </a:lnTo>
                    <a:lnTo>
                      <a:pt x="618" y="462"/>
                    </a:lnTo>
                    <a:lnTo>
                      <a:pt x="618" y="468"/>
                    </a:lnTo>
                    <a:lnTo>
                      <a:pt x="618" y="474"/>
                    </a:lnTo>
                    <a:lnTo>
                      <a:pt x="618" y="480"/>
                    </a:lnTo>
                    <a:lnTo>
                      <a:pt x="618" y="486"/>
                    </a:lnTo>
                    <a:lnTo>
                      <a:pt x="618" y="492"/>
                    </a:lnTo>
                    <a:lnTo>
                      <a:pt x="618" y="498"/>
                    </a:lnTo>
                    <a:lnTo>
                      <a:pt x="624" y="498"/>
                    </a:lnTo>
                    <a:lnTo>
                      <a:pt x="624" y="504"/>
                    </a:lnTo>
                    <a:lnTo>
                      <a:pt x="624" y="510"/>
                    </a:lnTo>
                    <a:lnTo>
                      <a:pt x="624" y="516"/>
                    </a:lnTo>
                    <a:lnTo>
                      <a:pt x="624" y="522"/>
                    </a:lnTo>
                    <a:lnTo>
                      <a:pt x="624" y="528"/>
                    </a:lnTo>
                    <a:lnTo>
                      <a:pt x="624" y="534"/>
                    </a:lnTo>
                    <a:lnTo>
                      <a:pt x="624" y="540"/>
                    </a:lnTo>
                    <a:lnTo>
                      <a:pt x="624" y="546"/>
                    </a:lnTo>
                    <a:lnTo>
                      <a:pt x="624" y="552"/>
                    </a:lnTo>
                    <a:lnTo>
                      <a:pt x="630" y="558"/>
                    </a:lnTo>
                    <a:lnTo>
                      <a:pt x="630" y="564"/>
                    </a:lnTo>
                    <a:lnTo>
                      <a:pt x="630" y="570"/>
                    </a:lnTo>
                    <a:lnTo>
                      <a:pt x="630" y="576"/>
                    </a:lnTo>
                    <a:lnTo>
                      <a:pt x="630" y="582"/>
                    </a:lnTo>
                    <a:lnTo>
                      <a:pt x="630" y="588"/>
                    </a:lnTo>
                    <a:lnTo>
                      <a:pt x="630" y="594"/>
                    </a:lnTo>
                    <a:lnTo>
                      <a:pt x="630" y="600"/>
                    </a:lnTo>
                    <a:lnTo>
                      <a:pt x="630" y="606"/>
                    </a:lnTo>
                    <a:lnTo>
                      <a:pt x="630" y="612"/>
                    </a:lnTo>
                    <a:lnTo>
                      <a:pt x="636" y="618"/>
                    </a:lnTo>
                    <a:lnTo>
                      <a:pt x="636" y="624"/>
                    </a:lnTo>
                    <a:lnTo>
                      <a:pt x="636" y="648"/>
                    </a:lnTo>
                    <a:lnTo>
                      <a:pt x="654" y="654"/>
                    </a:lnTo>
                    <a:lnTo>
                      <a:pt x="648" y="672"/>
                    </a:lnTo>
                    <a:lnTo>
                      <a:pt x="648" y="678"/>
                    </a:lnTo>
                    <a:lnTo>
                      <a:pt x="648" y="684"/>
                    </a:lnTo>
                    <a:lnTo>
                      <a:pt x="648" y="690"/>
                    </a:lnTo>
                    <a:lnTo>
                      <a:pt x="642" y="690"/>
                    </a:lnTo>
                    <a:lnTo>
                      <a:pt x="642" y="696"/>
                    </a:lnTo>
                    <a:lnTo>
                      <a:pt x="642" y="702"/>
                    </a:lnTo>
                    <a:lnTo>
                      <a:pt x="636" y="702"/>
                    </a:lnTo>
                    <a:lnTo>
                      <a:pt x="630" y="702"/>
                    </a:lnTo>
                    <a:lnTo>
                      <a:pt x="624" y="702"/>
                    </a:lnTo>
                    <a:lnTo>
                      <a:pt x="618" y="702"/>
                    </a:lnTo>
                    <a:lnTo>
                      <a:pt x="612" y="702"/>
                    </a:lnTo>
                    <a:lnTo>
                      <a:pt x="606" y="702"/>
                    </a:lnTo>
                    <a:lnTo>
                      <a:pt x="600" y="702"/>
                    </a:lnTo>
                    <a:lnTo>
                      <a:pt x="594" y="702"/>
                    </a:lnTo>
                    <a:lnTo>
                      <a:pt x="588" y="702"/>
                    </a:lnTo>
                    <a:lnTo>
                      <a:pt x="582" y="702"/>
                    </a:lnTo>
                    <a:lnTo>
                      <a:pt x="576" y="702"/>
                    </a:lnTo>
                    <a:lnTo>
                      <a:pt x="570" y="702"/>
                    </a:lnTo>
                    <a:lnTo>
                      <a:pt x="564" y="702"/>
                    </a:lnTo>
                    <a:lnTo>
                      <a:pt x="552" y="702"/>
                    </a:lnTo>
                    <a:lnTo>
                      <a:pt x="546" y="702"/>
                    </a:lnTo>
                    <a:lnTo>
                      <a:pt x="540" y="702"/>
                    </a:lnTo>
                    <a:lnTo>
                      <a:pt x="534" y="702"/>
                    </a:lnTo>
                    <a:lnTo>
                      <a:pt x="522" y="702"/>
                    </a:lnTo>
                    <a:lnTo>
                      <a:pt x="516" y="702"/>
                    </a:lnTo>
                    <a:lnTo>
                      <a:pt x="510" y="702"/>
                    </a:lnTo>
                    <a:lnTo>
                      <a:pt x="504" y="702"/>
                    </a:lnTo>
                    <a:lnTo>
                      <a:pt x="498" y="702"/>
                    </a:lnTo>
                    <a:lnTo>
                      <a:pt x="492" y="702"/>
                    </a:lnTo>
                    <a:lnTo>
                      <a:pt x="486" y="702"/>
                    </a:lnTo>
                    <a:lnTo>
                      <a:pt x="480" y="702"/>
                    </a:lnTo>
                    <a:lnTo>
                      <a:pt x="474" y="702"/>
                    </a:lnTo>
                    <a:lnTo>
                      <a:pt x="468" y="702"/>
                    </a:lnTo>
                    <a:lnTo>
                      <a:pt x="462" y="702"/>
                    </a:lnTo>
                    <a:lnTo>
                      <a:pt x="456" y="702"/>
                    </a:lnTo>
                    <a:lnTo>
                      <a:pt x="450" y="702"/>
                    </a:lnTo>
                    <a:lnTo>
                      <a:pt x="444" y="702"/>
                    </a:lnTo>
                    <a:lnTo>
                      <a:pt x="438" y="702"/>
                    </a:lnTo>
                    <a:lnTo>
                      <a:pt x="432" y="702"/>
                    </a:lnTo>
                    <a:lnTo>
                      <a:pt x="426" y="702"/>
                    </a:lnTo>
                    <a:lnTo>
                      <a:pt x="432" y="696"/>
                    </a:lnTo>
                    <a:lnTo>
                      <a:pt x="426" y="690"/>
                    </a:lnTo>
                    <a:lnTo>
                      <a:pt x="426" y="696"/>
                    </a:lnTo>
                    <a:lnTo>
                      <a:pt x="420" y="696"/>
                    </a:lnTo>
                    <a:lnTo>
                      <a:pt x="426" y="702"/>
                    </a:lnTo>
                    <a:lnTo>
                      <a:pt x="426" y="708"/>
                    </a:lnTo>
                    <a:lnTo>
                      <a:pt x="420" y="708"/>
                    </a:lnTo>
                    <a:lnTo>
                      <a:pt x="414" y="708"/>
                    </a:lnTo>
                    <a:lnTo>
                      <a:pt x="408" y="708"/>
                    </a:lnTo>
                    <a:lnTo>
                      <a:pt x="402" y="708"/>
                    </a:lnTo>
                    <a:lnTo>
                      <a:pt x="402" y="714"/>
                    </a:lnTo>
                    <a:lnTo>
                      <a:pt x="396" y="714"/>
                    </a:lnTo>
                    <a:lnTo>
                      <a:pt x="390" y="714"/>
                    </a:lnTo>
                    <a:lnTo>
                      <a:pt x="384" y="714"/>
                    </a:lnTo>
                    <a:lnTo>
                      <a:pt x="384" y="708"/>
                    </a:lnTo>
                    <a:lnTo>
                      <a:pt x="378" y="708"/>
                    </a:lnTo>
                    <a:lnTo>
                      <a:pt x="372" y="708"/>
                    </a:lnTo>
                    <a:lnTo>
                      <a:pt x="366" y="708"/>
                    </a:lnTo>
                    <a:lnTo>
                      <a:pt x="360" y="708"/>
                    </a:lnTo>
                    <a:lnTo>
                      <a:pt x="354" y="708"/>
                    </a:lnTo>
                    <a:lnTo>
                      <a:pt x="354" y="714"/>
                    </a:lnTo>
                    <a:lnTo>
                      <a:pt x="348" y="714"/>
                    </a:lnTo>
                    <a:lnTo>
                      <a:pt x="348" y="720"/>
                    </a:lnTo>
                    <a:lnTo>
                      <a:pt x="342" y="720"/>
                    </a:lnTo>
                    <a:lnTo>
                      <a:pt x="342" y="726"/>
                    </a:lnTo>
                    <a:lnTo>
                      <a:pt x="342" y="720"/>
                    </a:lnTo>
                    <a:lnTo>
                      <a:pt x="336" y="720"/>
                    </a:lnTo>
                    <a:lnTo>
                      <a:pt x="330" y="714"/>
                    </a:lnTo>
                    <a:lnTo>
                      <a:pt x="324" y="714"/>
                    </a:lnTo>
                    <a:lnTo>
                      <a:pt x="324" y="708"/>
                    </a:lnTo>
                    <a:lnTo>
                      <a:pt x="318" y="708"/>
                    </a:lnTo>
                    <a:lnTo>
                      <a:pt x="318" y="702"/>
                    </a:lnTo>
                    <a:lnTo>
                      <a:pt x="312" y="696"/>
                    </a:lnTo>
                    <a:lnTo>
                      <a:pt x="306" y="696"/>
                    </a:lnTo>
                    <a:lnTo>
                      <a:pt x="306" y="702"/>
                    </a:lnTo>
                    <a:lnTo>
                      <a:pt x="300" y="702"/>
                    </a:lnTo>
                    <a:lnTo>
                      <a:pt x="294" y="702"/>
                    </a:lnTo>
                    <a:lnTo>
                      <a:pt x="294" y="708"/>
                    </a:lnTo>
                    <a:lnTo>
                      <a:pt x="294" y="714"/>
                    </a:lnTo>
                    <a:lnTo>
                      <a:pt x="294" y="720"/>
                    </a:lnTo>
                    <a:lnTo>
                      <a:pt x="288" y="720"/>
                    </a:lnTo>
                    <a:lnTo>
                      <a:pt x="288" y="726"/>
                    </a:lnTo>
                    <a:lnTo>
                      <a:pt x="288" y="732"/>
                    </a:lnTo>
                    <a:lnTo>
                      <a:pt x="294" y="732"/>
                    </a:lnTo>
                    <a:lnTo>
                      <a:pt x="288" y="738"/>
                    </a:lnTo>
                    <a:lnTo>
                      <a:pt x="294" y="738"/>
                    </a:lnTo>
                    <a:lnTo>
                      <a:pt x="288" y="738"/>
                    </a:lnTo>
                    <a:lnTo>
                      <a:pt x="288" y="744"/>
                    </a:lnTo>
                    <a:lnTo>
                      <a:pt x="282" y="744"/>
                    </a:lnTo>
                    <a:lnTo>
                      <a:pt x="276" y="744"/>
                    </a:lnTo>
                    <a:lnTo>
                      <a:pt x="276" y="750"/>
                    </a:lnTo>
                    <a:lnTo>
                      <a:pt x="276" y="744"/>
                    </a:lnTo>
                    <a:lnTo>
                      <a:pt x="270" y="744"/>
                    </a:lnTo>
                    <a:lnTo>
                      <a:pt x="264" y="744"/>
                    </a:lnTo>
                    <a:close/>
                    <a:moveTo>
                      <a:pt x="30" y="462"/>
                    </a:moveTo>
                    <a:lnTo>
                      <a:pt x="36" y="456"/>
                    </a:lnTo>
                    <a:lnTo>
                      <a:pt x="36" y="450"/>
                    </a:lnTo>
                    <a:lnTo>
                      <a:pt x="36" y="456"/>
                    </a:lnTo>
                    <a:lnTo>
                      <a:pt x="36" y="462"/>
                    </a:lnTo>
                    <a:lnTo>
                      <a:pt x="30" y="462"/>
                    </a:lnTo>
                    <a:lnTo>
                      <a:pt x="36" y="462"/>
                    </a:lnTo>
                    <a:lnTo>
                      <a:pt x="30" y="462"/>
                    </a:lnTo>
                    <a:close/>
                    <a:moveTo>
                      <a:pt x="36" y="456"/>
                    </a:moveTo>
                    <a:lnTo>
                      <a:pt x="42" y="456"/>
                    </a:lnTo>
                    <a:lnTo>
                      <a:pt x="42" y="468"/>
                    </a:lnTo>
                    <a:lnTo>
                      <a:pt x="36" y="468"/>
                    </a:lnTo>
                    <a:lnTo>
                      <a:pt x="36" y="456"/>
                    </a:lnTo>
                    <a:close/>
                    <a:moveTo>
                      <a:pt x="30" y="402"/>
                    </a:moveTo>
                    <a:lnTo>
                      <a:pt x="30" y="408"/>
                    </a:lnTo>
                    <a:lnTo>
                      <a:pt x="31" y="408"/>
                    </a:lnTo>
                    <a:lnTo>
                      <a:pt x="30" y="402"/>
                    </a:lnTo>
                    <a:close/>
                    <a:moveTo>
                      <a:pt x="30" y="456"/>
                    </a:moveTo>
                    <a:lnTo>
                      <a:pt x="30" y="462"/>
                    </a:lnTo>
                    <a:lnTo>
                      <a:pt x="31" y="462"/>
                    </a:lnTo>
                    <a:lnTo>
                      <a:pt x="30" y="456"/>
                    </a:lnTo>
                    <a:close/>
                    <a:moveTo>
                      <a:pt x="36" y="456"/>
                    </a:moveTo>
                    <a:lnTo>
                      <a:pt x="42" y="456"/>
                    </a:lnTo>
                    <a:lnTo>
                      <a:pt x="42" y="462"/>
                    </a:lnTo>
                    <a:lnTo>
                      <a:pt x="36" y="462"/>
                    </a:lnTo>
                    <a:lnTo>
                      <a:pt x="36" y="456"/>
                    </a:lnTo>
                    <a:close/>
                    <a:moveTo>
                      <a:pt x="30" y="402"/>
                    </a:moveTo>
                    <a:lnTo>
                      <a:pt x="30" y="408"/>
                    </a:lnTo>
                    <a:lnTo>
                      <a:pt x="31" y="408"/>
                    </a:lnTo>
                    <a:lnTo>
                      <a:pt x="30" y="40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16" name="Freeform 12"/>
              <p:cNvSpPr>
                <a:spLocks/>
              </p:cNvSpPr>
              <p:nvPr>
                <p:custDataLst>
                  <p:tags r:id="rId12"/>
                </p:custDataLst>
              </p:nvPr>
            </p:nvSpPr>
            <p:spPr bwMode="gray">
              <a:xfrm>
                <a:off x="1126224" y="439356"/>
                <a:ext cx="1156056" cy="1024542"/>
              </a:xfrm>
              <a:custGeom>
                <a:avLst/>
                <a:gdLst>
                  <a:gd name="T0" fmla="*/ 228652 w 918"/>
                  <a:gd name="T1" fmla="*/ 209550 h 870"/>
                  <a:gd name="T2" fmla="*/ 204430 w 918"/>
                  <a:gd name="T3" fmla="*/ 222162 h 870"/>
                  <a:gd name="T4" fmla="*/ 189897 w 918"/>
                  <a:gd name="T5" fmla="*/ 228953 h 870"/>
                  <a:gd name="T6" fmla="*/ 179240 w 918"/>
                  <a:gd name="T7" fmla="*/ 239624 h 870"/>
                  <a:gd name="T8" fmla="*/ 165675 w 918"/>
                  <a:gd name="T9" fmla="*/ 245446 h 870"/>
                  <a:gd name="T10" fmla="*/ 157925 w 918"/>
                  <a:gd name="T11" fmla="*/ 252236 h 870"/>
                  <a:gd name="T12" fmla="*/ 155987 w 918"/>
                  <a:gd name="T13" fmla="*/ 266788 h 870"/>
                  <a:gd name="T14" fmla="*/ 140485 w 918"/>
                  <a:gd name="T15" fmla="*/ 273580 h 870"/>
                  <a:gd name="T16" fmla="*/ 140485 w 918"/>
                  <a:gd name="T17" fmla="*/ 282311 h 870"/>
                  <a:gd name="T18" fmla="*/ 134672 w 918"/>
                  <a:gd name="T19" fmla="*/ 296863 h 870"/>
                  <a:gd name="T20" fmla="*/ 125952 w 918"/>
                  <a:gd name="T21" fmla="*/ 309474 h 870"/>
                  <a:gd name="T22" fmla="*/ 120139 w 918"/>
                  <a:gd name="T23" fmla="*/ 298803 h 870"/>
                  <a:gd name="T24" fmla="*/ 110451 w 918"/>
                  <a:gd name="T25" fmla="*/ 305594 h 870"/>
                  <a:gd name="T26" fmla="*/ 95917 w 918"/>
                  <a:gd name="T27" fmla="*/ 303654 h 870"/>
                  <a:gd name="T28" fmla="*/ 81384 w 918"/>
                  <a:gd name="T29" fmla="*/ 305594 h 870"/>
                  <a:gd name="T30" fmla="*/ 72665 w 918"/>
                  <a:gd name="T31" fmla="*/ 292982 h 870"/>
                  <a:gd name="T32" fmla="*/ 70727 w 918"/>
                  <a:gd name="T33" fmla="*/ 282311 h 870"/>
                  <a:gd name="T34" fmla="*/ 67821 w 918"/>
                  <a:gd name="T35" fmla="*/ 268729 h 870"/>
                  <a:gd name="T36" fmla="*/ 60069 w 918"/>
                  <a:gd name="T37" fmla="*/ 264848 h 870"/>
                  <a:gd name="T38" fmla="*/ 44568 w 918"/>
                  <a:gd name="T39" fmla="*/ 268729 h 870"/>
                  <a:gd name="T40" fmla="*/ 31972 w 918"/>
                  <a:gd name="T41" fmla="*/ 273580 h 870"/>
                  <a:gd name="T42" fmla="*/ 19377 w 918"/>
                  <a:gd name="T43" fmla="*/ 273580 h 870"/>
                  <a:gd name="T44" fmla="*/ 19377 w 918"/>
                  <a:gd name="T45" fmla="*/ 264848 h 870"/>
                  <a:gd name="T46" fmla="*/ 17439 w 918"/>
                  <a:gd name="T47" fmla="*/ 254177 h 870"/>
                  <a:gd name="T48" fmla="*/ 6782 w 918"/>
                  <a:gd name="T49" fmla="*/ 241565 h 870"/>
                  <a:gd name="T50" fmla="*/ 1938 w 918"/>
                  <a:gd name="T51" fmla="*/ 222162 h 870"/>
                  <a:gd name="T52" fmla="*/ 10657 w 918"/>
                  <a:gd name="T53" fmla="*/ 213431 h 870"/>
                  <a:gd name="T54" fmla="*/ 14533 w 918"/>
                  <a:gd name="T55" fmla="*/ 198879 h 870"/>
                  <a:gd name="T56" fmla="*/ 30035 w 918"/>
                  <a:gd name="T57" fmla="*/ 204700 h 870"/>
                  <a:gd name="T58" fmla="*/ 49412 w 918"/>
                  <a:gd name="T59" fmla="*/ 202759 h 870"/>
                  <a:gd name="T60" fmla="*/ 62007 w 918"/>
                  <a:gd name="T61" fmla="*/ 200819 h 870"/>
                  <a:gd name="T62" fmla="*/ 87198 w 918"/>
                  <a:gd name="T63" fmla="*/ 200819 h 870"/>
                  <a:gd name="T64" fmla="*/ 117233 w 918"/>
                  <a:gd name="T65" fmla="*/ 200819 h 870"/>
                  <a:gd name="T66" fmla="*/ 136610 w 918"/>
                  <a:gd name="T67" fmla="*/ 194998 h 870"/>
                  <a:gd name="T68" fmla="*/ 129828 w 918"/>
                  <a:gd name="T69" fmla="*/ 158133 h 870"/>
                  <a:gd name="T70" fmla="*/ 127890 w 918"/>
                  <a:gd name="T71" fmla="*/ 131939 h 870"/>
                  <a:gd name="T72" fmla="*/ 125952 w 918"/>
                  <a:gd name="T73" fmla="*/ 108655 h 870"/>
                  <a:gd name="T74" fmla="*/ 121108 w 918"/>
                  <a:gd name="T75" fmla="*/ 81491 h 870"/>
                  <a:gd name="T76" fmla="*/ 120139 w 918"/>
                  <a:gd name="T77" fmla="*/ 57238 h 870"/>
                  <a:gd name="T78" fmla="*/ 117233 w 918"/>
                  <a:gd name="T79" fmla="*/ 33955 h 870"/>
                  <a:gd name="T80" fmla="*/ 115295 w 918"/>
                  <a:gd name="T81" fmla="*/ 0 h 870"/>
                  <a:gd name="T82" fmla="*/ 140485 w 918"/>
                  <a:gd name="T83" fmla="*/ 0 h 870"/>
                  <a:gd name="T84" fmla="*/ 164707 w 918"/>
                  <a:gd name="T85" fmla="*/ 12612 h 870"/>
                  <a:gd name="T86" fmla="*/ 184084 w 918"/>
                  <a:gd name="T87" fmla="*/ 26194 h 870"/>
                  <a:gd name="T88" fmla="*/ 200555 w 918"/>
                  <a:gd name="T89" fmla="*/ 36865 h 870"/>
                  <a:gd name="T90" fmla="*/ 217995 w 918"/>
                  <a:gd name="T91" fmla="*/ 49477 h 870"/>
                  <a:gd name="T92" fmla="*/ 234465 w 918"/>
                  <a:gd name="T93" fmla="*/ 62089 h 870"/>
                  <a:gd name="T94" fmla="*/ 251904 w 918"/>
                  <a:gd name="T95" fmla="*/ 74701 h 870"/>
                  <a:gd name="T96" fmla="*/ 266437 w 918"/>
                  <a:gd name="T97" fmla="*/ 91193 h 870"/>
                  <a:gd name="T98" fmla="*/ 279033 w 918"/>
                  <a:gd name="T99" fmla="*/ 100895 h 870"/>
                  <a:gd name="T100" fmla="*/ 298410 w 918"/>
                  <a:gd name="T101" fmla="*/ 106715 h 870"/>
                  <a:gd name="T102" fmla="*/ 307130 w 918"/>
                  <a:gd name="T103" fmla="*/ 124178 h 870"/>
                  <a:gd name="T104" fmla="*/ 322631 w 918"/>
                  <a:gd name="T105" fmla="*/ 128058 h 870"/>
                  <a:gd name="T106" fmla="*/ 326507 w 918"/>
                  <a:gd name="T107" fmla="*/ 145521 h 870"/>
                  <a:gd name="T108" fmla="*/ 326507 w 918"/>
                  <a:gd name="T109" fmla="*/ 170745 h 870"/>
                  <a:gd name="T110" fmla="*/ 319725 w 918"/>
                  <a:gd name="T111" fmla="*/ 194998 h 870"/>
                  <a:gd name="T112" fmla="*/ 305192 w 918"/>
                  <a:gd name="T113" fmla="*/ 204700 h 870"/>
                  <a:gd name="T114" fmla="*/ 279033 w 918"/>
                  <a:gd name="T115" fmla="*/ 204700 h 870"/>
                  <a:gd name="T116" fmla="*/ 259656 w 918"/>
                  <a:gd name="T117" fmla="*/ 211490 h 8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18" h="870">
                    <a:moveTo>
                      <a:pt x="696" y="594"/>
                    </a:moveTo>
                    <a:lnTo>
                      <a:pt x="690" y="594"/>
                    </a:lnTo>
                    <a:lnTo>
                      <a:pt x="684" y="594"/>
                    </a:lnTo>
                    <a:lnTo>
                      <a:pt x="678" y="594"/>
                    </a:lnTo>
                    <a:lnTo>
                      <a:pt x="672" y="594"/>
                    </a:lnTo>
                    <a:lnTo>
                      <a:pt x="672" y="588"/>
                    </a:lnTo>
                    <a:lnTo>
                      <a:pt x="666" y="594"/>
                    </a:lnTo>
                    <a:lnTo>
                      <a:pt x="660" y="594"/>
                    </a:lnTo>
                    <a:lnTo>
                      <a:pt x="660" y="588"/>
                    </a:lnTo>
                    <a:lnTo>
                      <a:pt x="654" y="588"/>
                    </a:lnTo>
                    <a:lnTo>
                      <a:pt x="648" y="588"/>
                    </a:lnTo>
                    <a:lnTo>
                      <a:pt x="642" y="588"/>
                    </a:lnTo>
                    <a:lnTo>
                      <a:pt x="642" y="594"/>
                    </a:lnTo>
                    <a:lnTo>
                      <a:pt x="636" y="594"/>
                    </a:lnTo>
                    <a:lnTo>
                      <a:pt x="636" y="600"/>
                    </a:lnTo>
                    <a:lnTo>
                      <a:pt x="630" y="600"/>
                    </a:lnTo>
                    <a:lnTo>
                      <a:pt x="630" y="606"/>
                    </a:lnTo>
                    <a:lnTo>
                      <a:pt x="624" y="606"/>
                    </a:lnTo>
                    <a:lnTo>
                      <a:pt x="618" y="606"/>
                    </a:lnTo>
                    <a:lnTo>
                      <a:pt x="612" y="612"/>
                    </a:lnTo>
                    <a:lnTo>
                      <a:pt x="594" y="618"/>
                    </a:lnTo>
                    <a:lnTo>
                      <a:pt x="594" y="624"/>
                    </a:lnTo>
                    <a:lnTo>
                      <a:pt x="588" y="624"/>
                    </a:lnTo>
                    <a:lnTo>
                      <a:pt x="576" y="624"/>
                    </a:lnTo>
                    <a:lnTo>
                      <a:pt x="576" y="630"/>
                    </a:lnTo>
                    <a:lnTo>
                      <a:pt x="576" y="636"/>
                    </a:lnTo>
                    <a:lnTo>
                      <a:pt x="570" y="636"/>
                    </a:lnTo>
                    <a:lnTo>
                      <a:pt x="570" y="642"/>
                    </a:lnTo>
                    <a:lnTo>
                      <a:pt x="564" y="642"/>
                    </a:lnTo>
                    <a:lnTo>
                      <a:pt x="558" y="642"/>
                    </a:lnTo>
                    <a:lnTo>
                      <a:pt x="558" y="636"/>
                    </a:lnTo>
                    <a:lnTo>
                      <a:pt x="552" y="636"/>
                    </a:lnTo>
                    <a:lnTo>
                      <a:pt x="546" y="636"/>
                    </a:lnTo>
                    <a:lnTo>
                      <a:pt x="540" y="636"/>
                    </a:lnTo>
                    <a:lnTo>
                      <a:pt x="540" y="642"/>
                    </a:lnTo>
                    <a:lnTo>
                      <a:pt x="534" y="642"/>
                    </a:lnTo>
                    <a:lnTo>
                      <a:pt x="534" y="648"/>
                    </a:lnTo>
                    <a:lnTo>
                      <a:pt x="528" y="648"/>
                    </a:lnTo>
                    <a:lnTo>
                      <a:pt x="528" y="654"/>
                    </a:lnTo>
                    <a:lnTo>
                      <a:pt x="522" y="654"/>
                    </a:lnTo>
                    <a:lnTo>
                      <a:pt x="522" y="660"/>
                    </a:lnTo>
                    <a:lnTo>
                      <a:pt x="522" y="666"/>
                    </a:lnTo>
                    <a:lnTo>
                      <a:pt x="522" y="672"/>
                    </a:lnTo>
                    <a:lnTo>
                      <a:pt x="516" y="672"/>
                    </a:lnTo>
                    <a:lnTo>
                      <a:pt x="510" y="672"/>
                    </a:lnTo>
                    <a:lnTo>
                      <a:pt x="504" y="672"/>
                    </a:lnTo>
                    <a:lnTo>
                      <a:pt x="504" y="666"/>
                    </a:lnTo>
                    <a:lnTo>
                      <a:pt x="504" y="672"/>
                    </a:lnTo>
                    <a:lnTo>
                      <a:pt x="504" y="678"/>
                    </a:lnTo>
                    <a:lnTo>
                      <a:pt x="504" y="684"/>
                    </a:lnTo>
                    <a:lnTo>
                      <a:pt x="504" y="690"/>
                    </a:lnTo>
                    <a:lnTo>
                      <a:pt x="504" y="696"/>
                    </a:lnTo>
                    <a:lnTo>
                      <a:pt x="498" y="696"/>
                    </a:lnTo>
                    <a:lnTo>
                      <a:pt x="492" y="696"/>
                    </a:lnTo>
                    <a:lnTo>
                      <a:pt x="492" y="702"/>
                    </a:lnTo>
                    <a:lnTo>
                      <a:pt x="486" y="702"/>
                    </a:lnTo>
                    <a:lnTo>
                      <a:pt x="486" y="696"/>
                    </a:lnTo>
                    <a:lnTo>
                      <a:pt x="480" y="696"/>
                    </a:lnTo>
                    <a:lnTo>
                      <a:pt x="474" y="690"/>
                    </a:lnTo>
                    <a:lnTo>
                      <a:pt x="468" y="690"/>
                    </a:lnTo>
                    <a:lnTo>
                      <a:pt x="462" y="690"/>
                    </a:lnTo>
                    <a:lnTo>
                      <a:pt x="462" y="684"/>
                    </a:lnTo>
                    <a:lnTo>
                      <a:pt x="468" y="684"/>
                    </a:lnTo>
                    <a:lnTo>
                      <a:pt x="462" y="684"/>
                    </a:lnTo>
                    <a:lnTo>
                      <a:pt x="462" y="678"/>
                    </a:lnTo>
                    <a:lnTo>
                      <a:pt x="462" y="684"/>
                    </a:lnTo>
                    <a:lnTo>
                      <a:pt x="456" y="684"/>
                    </a:lnTo>
                    <a:lnTo>
                      <a:pt x="456" y="690"/>
                    </a:lnTo>
                    <a:lnTo>
                      <a:pt x="450" y="696"/>
                    </a:lnTo>
                    <a:lnTo>
                      <a:pt x="450" y="702"/>
                    </a:lnTo>
                    <a:lnTo>
                      <a:pt x="444" y="702"/>
                    </a:lnTo>
                    <a:lnTo>
                      <a:pt x="444" y="708"/>
                    </a:lnTo>
                    <a:lnTo>
                      <a:pt x="450" y="708"/>
                    </a:lnTo>
                    <a:lnTo>
                      <a:pt x="450" y="714"/>
                    </a:lnTo>
                    <a:lnTo>
                      <a:pt x="450" y="720"/>
                    </a:lnTo>
                    <a:lnTo>
                      <a:pt x="450" y="726"/>
                    </a:lnTo>
                    <a:lnTo>
                      <a:pt x="444" y="726"/>
                    </a:lnTo>
                    <a:lnTo>
                      <a:pt x="438" y="726"/>
                    </a:lnTo>
                    <a:lnTo>
                      <a:pt x="432" y="726"/>
                    </a:lnTo>
                    <a:lnTo>
                      <a:pt x="432" y="732"/>
                    </a:lnTo>
                    <a:lnTo>
                      <a:pt x="438" y="732"/>
                    </a:lnTo>
                    <a:lnTo>
                      <a:pt x="438" y="738"/>
                    </a:lnTo>
                    <a:lnTo>
                      <a:pt x="438" y="744"/>
                    </a:lnTo>
                    <a:lnTo>
                      <a:pt x="438" y="750"/>
                    </a:lnTo>
                    <a:lnTo>
                      <a:pt x="432" y="750"/>
                    </a:lnTo>
                    <a:lnTo>
                      <a:pt x="432" y="756"/>
                    </a:lnTo>
                    <a:lnTo>
                      <a:pt x="426" y="756"/>
                    </a:lnTo>
                    <a:lnTo>
                      <a:pt x="432" y="756"/>
                    </a:lnTo>
                    <a:lnTo>
                      <a:pt x="432" y="762"/>
                    </a:lnTo>
                    <a:lnTo>
                      <a:pt x="426" y="762"/>
                    </a:lnTo>
                    <a:lnTo>
                      <a:pt x="420" y="762"/>
                    </a:lnTo>
                    <a:lnTo>
                      <a:pt x="420" y="768"/>
                    </a:lnTo>
                    <a:lnTo>
                      <a:pt x="414" y="768"/>
                    </a:lnTo>
                    <a:lnTo>
                      <a:pt x="408" y="768"/>
                    </a:lnTo>
                    <a:lnTo>
                      <a:pt x="402" y="768"/>
                    </a:lnTo>
                    <a:lnTo>
                      <a:pt x="396" y="768"/>
                    </a:lnTo>
                    <a:lnTo>
                      <a:pt x="396" y="774"/>
                    </a:lnTo>
                    <a:lnTo>
                      <a:pt x="390" y="774"/>
                    </a:lnTo>
                    <a:lnTo>
                      <a:pt x="384" y="774"/>
                    </a:lnTo>
                    <a:lnTo>
                      <a:pt x="384" y="780"/>
                    </a:lnTo>
                    <a:lnTo>
                      <a:pt x="384" y="774"/>
                    </a:lnTo>
                    <a:lnTo>
                      <a:pt x="384" y="780"/>
                    </a:lnTo>
                    <a:lnTo>
                      <a:pt x="390" y="780"/>
                    </a:lnTo>
                    <a:lnTo>
                      <a:pt x="390" y="786"/>
                    </a:lnTo>
                    <a:lnTo>
                      <a:pt x="390" y="792"/>
                    </a:lnTo>
                    <a:lnTo>
                      <a:pt x="390" y="786"/>
                    </a:lnTo>
                    <a:lnTo>
                      <a:pt x="390" y="792"/>
                    </a:lnTo>
                    <a:lnTo>
                      <a:pt x="396" y="792"/>
                    </a:lnTo>
                    <a:lnTo>
                      <a:pt x="396" y="798"/>
                    </a:lnTo>
                    <a:lnTo>
                      <a:pt x="396" y="804"/>
                    </a:lnTo>
                    <a:lnTo>
                      <a:pt x="390" y="804"/>
                    </a:lnTo>
                    <a:lnTo>
                      <a:pt x="390" y="810"/>
                    </a:lnTo>
                    <a:lnTo>
                      <a:pt x="390" y="816"/>
                    </a:lnTo>
                    <a:lnTo>
                      <a:pt x="384" y="816"/>
                    </a:lnTo>
                    <a:lnTo>
                      <a:pt x="378" y="816"/>
                    </a:lnTo>
                    <a:lnTo>
                      <a:pt x="378" y="822"/>
                    </a:lnTo>
                    <a:lnTo>
                      <a:pt x="378" y="828"/>
                    </a:lnTo>
                    <a:lnTo>
                      <a:pt x="384" y="828"/>
                    </a:lnTo>
                    <a:lnTo>
                      <a:pt x="384" y="834"/>
                    </a:lnTo>
                    <a:lnTo>
                      <a:pt x="378" y="834"/>
                    </a:lnTo>
                    <a:lnTo>
                      <a:pt x="378" y="840"/>
                    </a:lnTo>
                    <a:lnTo>
                      <a:pt x="378" y="846"/>
                    </a:lnTo>
                    <a:lnTo>
                      <a:pt x="378" y="852"/>
                    </a:lnTo>
                    <a:lnTo>
                      <a:pt x="378" y="858"/>
                    </a:lnTo>
                    <a:lnTo>
                      <a:pt x="378" y="852"/>
                    </a:lnTo>
                    <a:lnTo>
                      <a:pt x="372" y="852"/>
                    </a:lnTo>
                    <a:lnTo>
                      <a:pt x="366" y="852"/>
                    </a:lnTo>
                    <a:lnTo>
                      <a:pt x="366" y="858"/>
                    </a:lnTo>
                    <a:lnTo>
                      <a:pt x="360" y="858"/>
                    </a:lnTo>
                    <a:lnTo>
                      <a:pt x="354" y="858"/>
                    </a:lnTo>
                    <a:lnTo>
                      <a:pt x="354" y="864"/>
                    </a:lnTo>
                    <a:lnTo>
                      <a:pt x="354" y="870"/>
                    </a:lnTo>
                    <a:lnTo>
                      <a:pt x="348" y="870"/>
                    </a:lnTo>
                    <a:lnTo>
                      <a:pt x="342" y="870"/>
                    </a:lnTo>
                    <a:lnTo>
                      <a:pt x="342" y="864"/>
                    </a:lnTo>
                    <a:lnTo>
                      <a:pt x="336" y="864"/>
                    </a:lnTo>
                    <a:lnTo>
                      <a:pt x="342" y="864"/>
                    </a:lnTo>
                    <a:lnTo>
                      <a:pt x="342" y="858"/>
                    </a:lnTo>
                    <a:lnTo>
                      <a:pt x="342" y="852"/>
                    </a:lnTo>
                    <a:lnTo>
                      <a:pt x="336" y="852"/>
                    </a:lnTo>
                    <a:lnTo>
                      <a:pt x="336" y="846"/>
                    </a:lnTo>
                    <a:lnTo>
                      <a:pt x="342" y="846"/>
                    </a:lnTo>
                    <a:lnTo>
                      <a:pt x="336" y="846"/>
                    </a:lnTo>
                    <a:lnTo>
                      <a:pt x="336" y="840"/>
                    </a:lnTo>
                    <a:lnTo>
                      <a:pt x="330" y="840"/>
                    </a:lnTo>
                    <a:lnTo>
                      <a:pt x="324" y="840"/>
                    </a:lnTo>
                    <a:lnTo>
                      <a:pt x="330" y="846"/>
                    </a:lnTo>
                    <a:lnTo>
                      <a:pt x="324" y="846"/>
                    </a:lnTo>
                    <a:lnTo>
                      <a:pt x="318" y="846"/>
                    </a:lnTo>
                    <a:lnTo>
                      <a:pt x="318" y="840"/>
                    </a:lnTo>
                    <a:lnTo>
                      <a:pt x="312" y="840"/>
                    </a:lnTo>
                    <a:lnTo>
                      <a:pt x="312" y="846"/>
                    </a:lnTo>
                    <a:lnTo>
                      <a:pt x="312" y="852"/>
                    </a:lnTo>
                    <a:lnTo>
                      <a:pt x="318" y="852"/>
                    </a:lnTo>
                    <a:lnTo>
                      <a:pt x="318" y="858"/>
                    </a:lnTo>
                    <a:lnTo>
                      <a:pt x="312" y="858"/>
                    </a:lnTo>
                    <a:lnTo>
                      <a:pt x="306" y="858"/>
                    </a:lnTo>
                    <a:lnTo>
                      <a:pt x="300" y="858"/>
                    </a:lnTo>
                    <a:lnTo>
                      <a:pt x="294" y="858"/>
                    </a:lnTo>
                    <a:lnTo>
                      <a:pt x="294" y="864"/>
                    </a:lnTo>
                    <a:lnTo>
                      <a:pt x="294" y="870"/>
                    </a:lnTo>
                    <a:lnTo>
                      <a:pt x="288" y="870"/>
                    </a:lnTo>
                    <a:lnTo>
                      <a:pt x="288" y="864"/>
                    </a:lnTo>
                    <a:lnTo>
                      <a:pt x="282" y="864"/>
                    </a:lnTo>
                    <a:lnTo>
                      <a:pt x="276" y="864"/>
                    </a:lnTo>
                    <a:lnTo>
                      <a:pt x="276" y="858"/>
                    </a:lnTo>
                    <a:lnTo>
                      <a:pt x="270" y="858"/>
                    </a:lnTo>
                    <a:lnTo>
                      <a:pt x="270" y="852"/>
                    </a:lnTo>
                    <a:lnTo>
                      <a:pt x="264" y="852"/>
                    </a:lnTo>
                    <a:lnTo>
                      <a:pt x="258" y="852"/>
                    </a:lnTo>
                    <a:lnTo>
                      <a:pt x="258" y="858"/>
                    </a:lnTo>
                    <a:lnTo>
                      <a:pt x="252" y="858"/>
                    </a:lnTo>
                    <a:lnTo>
                      <a:pt x="252" y="864"/>
                    </a:lnTo>
                    <a:lnTo>
                      <a:pt x="246" y="864"/>
                    </a:lnTo>
                    <a:lnTo>
                      <a:pt x="246" y="870"/>
                    </a:lnTo>
                    <a:lnTo>
                      <a:pt x="240" y="870"/>
                    </a:lnTo>
                    <a:lnTo>
                      <a:pt x="240" y="864"/>
                    </a:lnTo>
                    <a:lnTo>
                      <a:pt x="240" y="858"/>
                    </a:lnTo>
                    <a:lnTo>
                      <a:pt x="234" y="858"/>
                    </a:lnTo>
                    <a:lnTo>
                      <a:pt x="228" y="858"/>
                    </a:lnTo>
                    <a:lnTo>
                      <a:pt x="228" y="852"/>
                    </a:lnTo>
                    <a:lnTo>
                      <a:pt x="222" y="852"/>
                    </a:lnTo>
                    <a:lnTo>
                      <a:pt x="222" y="846"/>
                    </a:lnTo>
                    <a:lnTo>
                      <a:pt x="222" y="840"/>
                    </a:lnTo>
                    <a:lnTo>
                      <a:pt x="222" y="834"/>
                    </a:lnTo>
                    <a:lnTo>
                      <a:pt x="222" y="828"/>
                    </a:lnTo>
                    <a:lnTo>
                      <a:pt x="222" y="822"/>
                    </a:lnTo>
                    <a:lnTo>
                      <a:pt x="216" y="822"/>
                    </a:lnTo>
                    <a:lnTo>
                      <a:pt x="210" y="822"/>
                    </a:lnTo>
                    <a:lnTo>
                      <a:pt x="210" y="828"/>
                    </a:lnTo>
                    <a:lnTo>
                      <a:pt x="204" y="828"/>
                    </a:lnTo>
                    <a:lnTo>
                      <a:pt x="204" y="822"/>
                    </a:lnTo>
                    <a:lnTo>
                      <a:pt x="204" y="816"/>
                    </a:lnTo>
                    <a:lnTo>
                      <a:pt x="210" y="816"/>
                    </a:lnTo>
                    <a:lnTo>
                      <a:pt x="210" y="810"/>
                    </a:lnTo>
                    <a:lnTo>
                      <a:pt x="210" y="804"/>
                    </a:lnTo>
                    <a:lnTo>
                      <a:pt x="216" y="804"/>
                    </a:lnTo>
                    <a:lnTo>
                      <a:pt x="216" y="810"/>
                    </a:lnTo>
                    <a:lnTo>
                      <a:pt x="216" y="804"/>
                    </a:lnTo>
                    <a:lnTo>
                      <a:pt x="210" y="804"/>
                    </a:lnTo>
                    <a:lnTo>
                      <a:pt x="210" y="798"/>
                    </a:lnTo>
                    <a:lnTo>
                      <a:pt x="204" y="798"/>
                    </a:lnTo>
                    <a:lnTo>
                      <a:pt x="204" y="792"/>
                    </a:lnTo>
                    <a:lnTo>
                      <a:pt x="198" y="792"/>
                    </a:lnTo>
                    <a:lnTo>
                      <a:pt x="198" y="786"/>
                    </a:lnTo>
                    <a:lnTo>
                      <a:pt x="204" y="786"/>
                    </a:lnTo>
                    <a:lnTo>
                      <a:pt x="198" y="786"/>
                    </a:lnTo>
                    <a:lnTo>
                      <a:pt x="192" y="786"/>
                    </a:lnTo>
                    <a:lnTo>
                      <a:pt x="192" y="780"/>
                    </a:lnTo>
                    <a:lnTo>
                      <a:pt x="192" y="774"/>
                    </a:lnTo>
                    <a:lnTo>
                      <a:pt x="192" y="768"/>
                    </a:lnTo>
                    <a:lnTo>
                      <a:pt x="192" y="762"/>
                    </a:lnTo>
                    <a:lnTo>
                      <a:pt x="192" y="768"/>
                    </a:lnTo>
                    <a:lnTo>
                      <a:pt x="192" y="762"/>
                    </a:lnTo>
                    <a:lnTo>
                      <a:pt x="186" y="762"/>
                    </a:lnTo>
                    <a:lnTo>
                      <a:pt x="192" y="756"/>
                    </a:lnTo>
                    <a:lnTo>
                      <a:pt x="186" y="756"/>
                    </a:lnTo>
                    <a:lnTo>
                      <a:pt x="186" y="750"/>
                    </a:lnTo>
                    <a:lnTo>
                      <a:pt x="186" y="744"/>
                    </a:lnTo>
                    <a:lnTo>
                      <a:pt x="180" y="744"/>
                    </a:lnTo>
                    <a:lnTo>
                      <a:pt x="180" y="738"/>
                    </a:lnTo>
                    <a:lnTo>
                      <a:pt x="174" y="738"/>
                    </a:lnTo>
                    <a:lnTo>
                      <a:pt x="168" y="738"/>
                    </a:lnTo>
                    <a:lnTo>
                      <a:pt x="162" y="738"/>
                    </a:lnTo>
                    <a:lnTo>
                      <a:pt x="162" y="744"/>
                    </a:lnTo>
                    <a:lnTo>
                      <a:pt x="162" y="738"/>
                    </a:lnTo>
                    <a:lnTo>
                      <a:pt x="162" y="744"/>
                    </a:lnTo>
                    <a:lnTo>
                      <a:pt x="168" y="744"/>
                    </a:lnTo>
                    <a:lnTo>
                      <a:pt x="168" y="750"/>
                    </a:lnTo>
                    <a:lnTo>
                      <a:pt x="162" y="750"/>
                    </a:lnTo>
                    <a:lnTo>
                      <a:pt x="156" y="750"/>
                    </a:lnTo>
                    <a:lnTo>
                      <a:pt x="156" y="756"/>
                    </a:lnTo>
                    <a:lnTo>
                      <a:pt x="150" y="756"/>
                    </a:lnTo>
                    <a:lnTo>
                      <a:pt x="144" y="756"/>
                    </a:lnTo>
                    <a:lnTo>
                      <a:pt x="144" y="762"/>
                    </a:lnTo>
                    <a:lnTo>
                      <a:pt x="144" y="768"/>
                    </a:lnTo>
                    <a:lnTo>
                      <a:pt x="138" y="762"/>
                    </a:lnTo>
                    <a:lnTo>
                      <a:pt x="132" y="762"/>
                    </a:lnTo>
                    <a:lnTo>
                      <a:pt x="126" y="762"/>
                    </a:lnTo>
                    <a:lnTo>
                      <a:pt x="126" y="756"/>
                    </a:lnTo>
                    <a:lnTo>
                      <a:pt x="120" y="756"/>
                    </a:lnTo>
                    <a:lnTo>
                      <a:pt x="114" y="756"/>
                    </a:lnTo>
                    <a:lnTo>
                      <a:pt x="108" y="756"/>
                    </a:lnTo>
                    <a:lnTo>
                      <a:pt x="102" y="756"/>
                    </a:lnTo>
                    <a:lnTo>
                      <a:pt x="102" y="762"/>
                    </a:lnTo>
                    <a:lnTo>
                      <a:pt x="96" y="762"/>
                    </a:lnTo>
                    <a:lnTo>
                      <a:pt x="102" y="762"/>
                    </a:lnTo>
                    <a:lnTo>
                      <a:pt x="96" y="762"/>
                    </a:lnTo>
                    <a:lnTo>
                      <a:pt x="96" y="768"/>
                    </a:lnTo>
                    <a:lnTo>
                      <a:pt x="96" y="762"/>
                    </a:lnTo>
                    <a:lnTo>
                      <a:pt x="96" y="768"/>
                    </a:lnTo>
                    <a:lnTo>
                      <a:pt x="90" y="768"/>
                    </a:lnTo>
                    <a:lnTo>
                      <a:pt x="90" y="774"/>
                    </a:lnTo>
                    <a:lnTo>
                      <a:pt x="84" y="774"/>
                    </a:lnTo>
                    <a:lnTo>
                      <a:pt x="84" y="768"/>
                    </a:lnTo>
                    <a:lnTo>
                      <a:pt x="84" y="762"/>
                    </a:lnTo>
                    <a:lnTo>
                      <a:pt x="78" y="762"/>
                    </a:lnTo>
                    <a:lnTo>
                      <a:pt x="78" y="756"/>
                    </a:lnTo>
                    <a:lnTo>
                      <a:pt x="72" y="756"/>
                    </a:lnTo>
                    <a:lnTo>
                      <a:pt x="66" y="756"/>
                    </a:lnTo>
                    <a:lnTo>
                      <a:pt x="66" y="762"/>
                    </a:lnTo>
                    <a:lnTo>
                      <a:pt x="60" y="762"/>
                    </a:lnTo>
                    <a:lnTo>
                      <a:pt x="60" y="768"/>
                    </a:lnTo>
                    <a:lnTo>
                      <a:pt x="54" y="768"/>
                    </a:lnTo>
                    <a:lnTo>
                      <a:pt x="54" y="762"/>
                    </a:lnTo>
                    <a:lnTo>
                      <a:pt x="48" y="762"/>
                    </a:lnTo>
                    <a:lnTo>
                      <a:pt x="48" y="756"/>
                    </a:lnTo>
                    <a:lnTo>
                      <a:pt x="42" y="756"/>
                    </a:lnTo>
                    <a:lnTo>
                      <a:pt x="48" y="756"/>
                    </a:lnTo>
                    <a:lnTo>
                      <a:pt x="48" y="750"/>
                    </a:lnTo>
                    <a:lnTo>
                      <a:pt x="48" y="744"/>
                    </a:lnTo>
                    <a:lnTo>
                      <a:pt x="54" y="744"/>
                    </a:lnTo>
                    <a:lnTo>
                      <a:pt x="48" y="744"/>
                    </a:lnTo>
                    <a:lnTo>
                      <a:pt x="54" y="744"/>
                    </a:lnTo>
                    <a:lnTo>
                      <a:pt x="48" y="744"/>
                    </a:lnTo>
                    <a:lnTo>
                      <a:pt x="54" y="744"/>
                    </a:lnTo>
                    <a:lnTo>
                      <a:pt x="54" y="738"/>
                    </a:lnTo>
                    <a:lnTo>
                      <a:pt x="48" y="738"/>
                    </a:lnTo>
                    <a:lnTo>
                      <a:pt x="48" y="732"/>
                    </a:lnTo>
                    <a:lnTo>
                      <a:pt x="48" y="726"/>
                    </a:lnTo>
                    <a:lnTo>
                      <a:pt x="54" y="726"/>
                    </a:lnTo>
                    <a:lnTo>
                      <a:pt x="48" y="726"/>
                    </a:lnTo>
                    <a:lnTo>
                      <a:pt x="48" y="720"/>
                    </a:lnTo>
                    <a:lnTo>
                      <a:pt x="48" y="714"/>
                    </a:lnTo>
                    <a:lnTo>
                      <a:pt x="54" y="714"/>
                    </a:lnTo>
                    <a:lnTo>
                      <a:pt x="54" y="708"/>
                    </a:lnTo>
                    <a:lnTo>
                      <a:pt x="48" y="708"/>
                    </a:lnTo>
                    <a:lnTo>
                      <a:pt x="48" y="714"/>
                    </a:lnTo>
                    <a:lnTo>
                      <a:pt x="48" y="708"/>
                    </a:lnTo>
                    <a:lnTo>
                      <a:pt x="48" y="702"/>
                    </a:lnTo>
                    <a:lnTo>
                      <a:pt x="42" y="702"/>
                    </a:lnTo>
                    <a:lnTo>
                      <a:pt x="42" y="696"/>
                    </a:lnTo>
                    <a:lnTo>
                      <a:pt x="42" y="690"/>
                    </a:lnTo>
                    <a:lnTo>
                      <a:pt x="36" y="690"/>
                    </a:lnTo>
                    <a:lnTo>
                      <a:pt x="30" y="690"/>
                    </a:lnTo>
                    <a:lnTo>
                      <a:pt x="30" y="684"/>
                    </a:lnTo>
                    <a:lnTo>
                      <a:pt x="30" y="690"/>
                    </a:lnTo>
                    <a:lnTo>
                      <a:pt x="24" y="690"/>
                    </a:lnTo>
                    <a:lnTo>
                      <a:pt x="24" y="684"/>
                    </a:lnTo>
                    <a:lnTo>
                      <a:pt x="18" y="678"/>
                    </a:lnTo>
                    <a:lnTo>
                      <a:pt x="12" y="672"/>
                    </a:lnTo>
                    <a:lnTo>
                      <a:pt x="12" y="666"/>
                    </a:lnTo>
                    <a:lnTo>
                      <a:pt x="18" y="666"/>
                    </a:lnTo>
                    <a:lnTo>
                      <a:pt x="18" y="660"/>
                    </a:lnTo>
                    <a:lnTo>
                      <a:pt x="18" y="654"/>
                    </a:lnTo>
                    <a:lnTo>
                      <a:pt x="18" y="648"/>
                    </a:lnTo>
                    <a:lnTo>
                      <a:pt x="18" y="642"/>
                    </a:lnTo>
                    <a:lnTo>
                      <a:pt x="18" y="636"/>
                    </a:lnTo>
                    <a:lnTo>
                      <a:pt x="12" y="636"/>
                    </a:lnTo>
                    <a:lnTo>
                      <a:pt x="12" y="630"/>
                    </a:lnTo>
                    <a:lnTo>
                      <a:pt x="6" y="630"/>
                    </a:lnTo>
                    <a:lnTo>
                      <a:pt x="6" y="624"/>
                    </a:lnTo>
                    <a:lnTo>
                      <a:pt x="6" y="618"/>
                    </a:lnTo>
                    <a:lnTo>
                      <a:pt x="6" y="612"/>
                    </a:lnTo>
                    <a:lnTo>
                      <a:pt x="0" y="612"/>
                    </a:lnTo>
                    <a:lnTo>
                      <a:pt x="0" y="606"/>
                    </a:lnTo>
                    <a:lnTo>
                      <a:pt x="6" y="606"/>
                    </a:lnTo>
                    <a:lnTo>
                      <a:pt x="12" y="606"/>
                    </a:lnTo>
                    <a:lnTo>
                      <a:pt x="12" y="612"/>
                    </a:lnTo>
                    <a:lnTo>
                      <a:pt x="12" y="606"/>
                    </a:lnTo>
                    <a:lnTo>
                      <a:pt x="18" y="606"/>
                    </a:lnTo>
                    <a:lnTo>
                      <a:pt x="24" y="606"/>
                    </a:lnTo>
                    <a:lnTo>
                      <a:pt x="24" y="600"/>
                    </a:lnTo>
                    <a:lnTo>
                      <a:pt x="30" y="600"/>
                    </a:lnTo>
                    <a:lnTo>
                      <a:pt x="24" y="600"/>
                    </a:lnTo>
                    <a:lnTo>
                      <a:pt x="30" y="594"/>
                    </a:lnTo>
                    <a:lnTo>
                      <a:pt x="24" y="594"/>
                    </a:lnTo>
                    <a:lnTo>
                      <a:pt x="24" y="588"/>
                    </a:lnTo>
                    <a:lnTo>
                      <a:pt x="24" y="582"/>
                    </a:lnTo>
                    <a:lnTo>
                      <a:pt x="30" y="582"/>
                    </a:lnTo>
                    <a:lnTo>
                      <a:pt x="30" y="576"/>
                    </a:lnTo>
                    <a:lnTo>
                      <a:pt x="30" y="570"/>
                    </a:lnTo>
                    <a:lnTo>
                      <a:pt x="30" y="564"/>
                    </a:lnTo>
                    <a:lnTo>
                      <a:pt x="36" y="564"/>
                    </a:lnTo>
                    <a:lnTo>
                      <a:pt x="42" y="564"/>
                    </a:lnTo>
                    <a:lnTo>
                      <a:pt x="42" y="558"/>
                    </a:lnTo>
                    <a:lnTo>
                      <a:pt x="48" y="558"/>
                    </a:lnTo>
                    <a:lnTo>
                      <a:pt x="54" y="564"/>
                    </a:lnTo>
                    <a:lnTo>
                      <a:pt x="54" y="570"/>
                    </a:lnTo>
                    <a:lnTo>
                      <a:pt x="60" y="570"/>
                    </a:lnTo>
                    <a:lnTo>
                      <a:pt x="60" y="576"/>
                    </a:lnTo>
                    <a:lnTo>
                      <a:pt x="66" y="576"/>
                    </a:lnTo>
                    <a:lnTo>
                      <a:pt x="72" y="582"/>
                    </a:lnTo>
                    <a:lnTo>
                      <a:pt x="78" y="582"/>
                    </a:lnTo>
                    <a:lnTo>
                      <a:pt x="78" y="588"/>
                    </a:lnTo>
                    <a:lnTo>
                      <a:pt x="78" y="582"/>
                    </a:lnTo>
                    <a:lnTo>
                      <a:pt x="84" y="582"/>
                    </a:lnTo>
                    <a:lnTo>
                      <a:pt x="84" y="576"/>
                    </a:lnTo>
                    <a:lnTo>
                      <a:pt x="90" y="576"/>
                    </a:lnTo>
                    <a:lnTo>
                      <a:pt x="90" y="570"/>
                    </a:lnTo>
                    <a:lnTo>
                      <a:pt x="96" y="570"/>
                    </a:lnTo>
                    <a:lnTo>
                      <a:pt x="102" y="570"/>
                    </a:lnTo>
                    <a:lnTo>
                      <a:pt x="108" y="570"/>
                    </a:lnTo>
                    <a:lnTo>
                      <a:pt x="114" y="570"/>
                    </a:lnTo>
                    <a:lnTo>
                      <a:pt x="120" y="570"/>
                    </a:lnTo>
                    <a:lnTo>
                      <a:pt x="120" y="576"/>
                    </a:lnTo>
                    <a:lnTo>
                      <a:pt x="126" y="576"/>
                    </a:lnTo>
                    <a:lnTo>
                      <a:pt x="132" y="576"/>
                    </a:lnTo>
                    <a:lnTo>
                      <a:pt x="138" y="576"/>
                    </a:lnTo>
                    <a:lnTo>
                      <a:pt x="138" y="570"/>
                    </a:lnTo>
                    <a:lnTo>
                      <a:pt x="144" y="570"/>
                    </a:lnTo>
                    <a:lnTo>
                      <a:pt x="150" y="570"/>
                    </a:lnTo>
                    <a:lnTo>
                      <a:pt x="156" y="570"/>
                    </a:lnTo>
                    <a:lnTo>
                      <a:pt x="162" y="570"/>
                    </a:lnTo>
                    <a:lnTo>
                      <a:pt x="162" y="564"/>
                    </a:lnTo>
                    <a:lnTo>
                      <a:pt x="156" y="558"/>
                    </a:lnTo>
                    <a:lnTo>
                      <a:pt x="162" y="558"/>
                    </a:lnTo>
                    <a:lnTo>
                      <a:pt x="162" y="552"/>
                    </a:lnTo>
                    <a:lnTo>
                      <a:pt x="168" y="558"/>
                    </a:lnTo>
                    <a:lnTo>
                      <a:pt x="162" y="564"/>
                    </a:lnTo>
                    <a:lnTo>
                      <a:pt x="168" y="564"/>
                    </a:lnTo>
                    <a:lnTo>
                      <a:pt x="174" y="564"/>
                    </a:lnTo>
                    <a:lnTo>
                      <a:pt x="180" y="564"/>
                    </a:lnTo>
                    <a:lnTo>
                      <a:pt x="186" y="564"/>
                    </a:lnTo>
                    <a:lnTo>
                      <a:pt x="192" y="564"/>
                    </a:lnTo>
                    <a:lnTo>
                      <a:pt x="198" y="564"/>
                    </a:lnTo>
                    <a:lnTo>
                      <a:pt x="204" y="564"/>
                    </a:lnTo>
                    <a:lnTo>
                      <a:pt x="210" y="564"/>
                    </a:lnTo>
                    <a:lnTo>
                      <a:pt x="216" y="564"/>
                    </a:lnTo>
                    <a:lnTo>
                      <a:pt x="222" y="564"/>
                    </a:lnTo>
                    <a:lnTo>
                      <a:pt x="228" y="564"/>
                    </a:lnTo>
                    <a:lnTo>
                      <a:pt x="234" y="564"/>
                    </a:lnTo>
                    <a:lnTo>
                      <a:pt x="240" y="564"/>
                    </a:lnTo>
                    <a:lnTo>
                      <a:pt x="246" y="564"/>
                    </a:lnTo>
                    <a:lnTo>
                      <a:pt x="252" y="564"/>
                    </a:lnTo>
                    <a:lnTo>
                      <a:pt x="258" y="564"/>
                    </a:lnTo>
                    <a:lnTo>
                      <a:pt x="270" y="564"/>
                    </a:lnTo>
                    <a:lnTo>
                      <a:pt x="276" y="564"/>
                    </a:lnTo>
                    <a:lnTo>
                      <a:pt x="282" y="564"/>
                    </a:lnTo>
                    <a:lnTo>
                      <a:pt x="288" y="564"/>
                    </a:lnTo>
                    <a:lnTo>
                      <a:pt x="300" y="564"/>
                    </a:lnTo>
                    <a:lnTo>
                      <a:pt x="306" y="564"/>
                    </a:lnTo>
                    <a:lnTo>
                      <a:pt x="312" y="564"/>
                    </a:lnTo>
                    <a:lnTo>
                      <a:pt x="318" y="564"/>
                    </a:lnTo>
                    <a:lnTo>
                      <a:pt x="324" y="564"/>
                    </a:lnTo>
                    <a:lnTo>
                      <a:pt x="330" y="564"/>
                    </a:lnTo>
                    <a:lnTo>
                      <a:pt x="336" y="564"/>
                    </a:lnTo>
                    <a:lnTo>
                      <a:pt x="342" y="564"/>
                    </a:lnTo>
                    <a:lnTo>
                      <a:pt x="348" y="564"/>
                    </a:lnTo>
                    <a:lnTo>
                      <a:pt x="354" y="564"/>
                    </a:lnTo>
                    <a:lnTo>
                      <a:pt x="360" y="564"/>
                    </a:lnTo>
                    <a:lnTo>
                      <a:pt x="366" y="564"/>
                    </a:lnTo>
                    <a:lnTo>
                      <a:pt x="372" y="564"/>
                    </a:lnTo>
                    <a:lnTo>
                      <a:pt x="378" y="564"/>
                    </a:lnTo>
                    <a:lnTo>
                      <a:pt x="378" y="558"/>
                    </a:lnTo>
                    <a:lnTo>
                      <a:pt x="378" y="552"/>
                    </a:lnTo>
                    <a:lnTo>
                      <a:pt x="384" y="552"/>
                    </a:lnTo>
                    <a:lnTo>
                      <a:pt x="384" y="546"/>
                    </a:lnTo>
                    <a:lnTo>
                      <a:pt x="384" y="540"/>
                    </a:lnTo>
                    <a:lnTo>
                      <a:pt x="384" y="534"/>
                    </a:lnTo>
                    <a:lnTo>
                      <a:pt x="390" y="516"/>
                    </a:lnTo>
                    <a:lnTo>
                      <a:pt x="372" y="510"/>
                    </a:lnTo>
                    <a:lnTo>
                      <a:pt x="372" y="486"/>
                    </a:lnTo>
                    <a:lnTo>
                      <a:pt x="372" y="480"/>
                    </a:lnTo>
                    <a:lnTo>
                      <a:pt x="366" y="474"/>
                    </a:lnTo>
                    <a:lnTo>
                      <a:pt x="366" y="468"/>
                    </a:lnTo>
                    <a:lnTo>
                      <a:pt x="366" y="462"/>
                    </a:lnTo>
                    <a:lnTo>
                      <a:pt x="366" y="456"/>
                    </a:lnTo>
                    <a:lnTo>
                      <a:pt x="366" y="450"/>
                    </a:lnTo>
                    <a:lnTo>
                      <a:pt x="366" y="444"/>
                    </a:lnTo>
                    <a:lnTo>
                      <a:pt x="366" y="438"/>
                    </a:lnTo>
                    <a:lnTo>
                      <a:pt x="366" y="432"/>
                    </a:lnTo>
                    <a:lnTo>
                      <a:pt x="366" y="426"/>
                    </a:lnTo>
                    <a:lnTo>
                      <a:pt x="366" y="420"/>
                    </a:lnTo>
                    <a:lnTo>
                      <a:pt x="360" y="414"/>
                    </a:lnTo>
                    <a:lnTo>
                      <a:pt x="360" y="408"/>
                    </a:lnTo>
                    <a:lnTo>
                      <a:pt x="360" y="402"/>
                    </a:lnTo>
                    <a:lnTo>
                      <a:pt x="360" y="396"/>
                    </a:lnTo>
                    <a:lnTo>
                      <a:pt x="360" y="390"/>
                    </a:lnTo>
                    <a:lnTo>
                      <a:pt x="360" y="384"/>
                    </a:lnTo>
                    <a:lnTo>
                      <a:pt x="360" y="378"/>
                    </a:lnTo>
                    <a:lnTo>
                      <a:pt x="360" y="372"/>
                    </a:lnTo>
                    <a:lnTo>
                      <a:pt x="360" y="366"/>
                    </a:lnTo>
                    <a:lnTo>
                      <a:pt x="360" y="360"/>
                    </a:lnTo>
                    <a:lnTo>
                      <a:pt x="354" y="360"/>
                    </a:lnTo>
                    <a:lnTo>
                      <a:pt x="354" y="354"/>
                    </a:lnTo>
                    <a:lnTo>
                      <a:pt x="354" y="348"/>
                    </a:lnTo>
                    <a:lnTo>
                      <a:pt x="354" y="342"/>
                    </a:lnTo>
                    <a:lnTo>
                      <a:pt x="354" y="336"/>
                    </a:lnTo>
                    <a:lnTo>
                      <a:pt x="354" y="330"/>
                    </a:lnTo>
                    <a:lnTo>
                      <a:pt x="354" y="324"/>
                    </a:lnTo>
                    <a:lnTo>
                      <a:pt x="354" y="318"/>
                    </a:lnTo>
                    <a:lnTo>
                      <a:pt x="354" y="312"/>
                    </a:lnTo>
                    <a:lnTo>
                      <a:pt x="354" y="306"/>
                    </a:lnTo>
                    <a:lnTo>
                      <a:pt x="348" y="306"/>
                    </a:lnTo>
                    <a:lnTo>
                      <a:pt x="348" y="300"/>
                    </a:lnTo>
                    <a:lnTo>
                      <a:pt x="348" y="294"/>
                    </a:lnTo>
                    <a:lnTo>
                      <a:pt x="348" y="282"/>
                    </a:lnTo>
                    <a:lnTo>
                      <a:pt x="348" y="270"/>
                    </a:lnTo>
                    <a:lnTo>
                      <a:pt x="348" y="264"/>
                    </a:lnTo>
                    <a:lnTo>
                      <a:pt x="348" y="258"/>
                    </a:lnTo>
                    <a:lnTo>
                      <a:pt x="348" y="252"/>
                    </a:lnTo>
                    <a:lnTo>
                      <a:pt x="342" y="246"/>
                    </a:lnTo>
                    <a:lnTo>
                      <a:pt x="342" y="240"/>
                    </a:lnTo>
                    <a:lnTo>
                      <a:pt x="342" y="234"/>
                    </a:lnTo>
                    <a:lnTo>
                      <a:pt x="342" y="228"/>
                    </a:lnTo>
                    <a:lnTo>
                      <a:pt x="342" y="222"/>
                    </a:lnTo>
                    <a:lnTo>
                      <a:pt x="342" y="216"/>
                    </a:lnTo>
                    <a:lnTo>
                      <a:pt x="342" y="210"/>
                    </a:lnTo>
                    <a:lnTo>
                      <a:pt x="342" y="204"/>
                    </a:lnTo>
                    <a:lnTo>
                      <a:pt x="342" y="198"/>
                    </a:lnTo>
                    <a:lnTo>
                      <a:pt x="342" y="192"/>
                    </a:lnTo>
                    <a:lnTo>
                      <a:pt x="336" y="192"/>
                    </a:lnTo>
                    <a:lnTo>
                      <a:pt x="336" y="186"/>
                    </a:lnTo>
                    <a:lnTo>
                      <a:pt x="336" y="180"/>
                    </a:lnTo>
                    <a:lnTo>
                      <a:pt x="336" y="174"/>
                    </a:lnTo>
                    <a:lnTo>
                      <a:pt x="336" y="168"/>
                    </a:lnTo>
                    <a:lnTo>
                      <a:pt x="336" y="162"/>
                    </a:lnTo>
                    <a:lnTo>
                      <a:pt x="336" y="156"/>
                    </a:lnTo>
                    <a:lnTo>
                      <a:pt x="336" y="150"/>
                    </a:lnTo>
                    <a:lnTo>
                      <a:pt x="336" y="144"/>
                    </a:lnTo>
                    <a:lnTo>
                      <a:pt x="336" y="138"/>
                    </a:lnTo>
                    <a:lnTo>
                      <a:pt x="330" y="138"/>
                    </a:lnTo>
                    <a:lnTo>
                      <a:pt x="330" y="132"/>
                    </a:lnTo>
                    <a:lnTo>
                      <a:pt x="330" y="126"/>
                    </a:lnTo>
                    <a:lnTo>
                      <a:pt x="330" y="120"/>
                    </a:lnTo>
                    <a:lnTo>
                      <a:pt x="330" y="114"/>
                    </a:lnTo>
                    <a:lnTo>
                      <a:pt x="330" y="108"/>
                    </a:lnTo>
                    <a:lnTo>
                      <a:pt x="330" y="102"/>
                    </a:lnTo>
                    <a:lnTo>
                      <a:pt x="330" y="96"/>
                    </a:lnTo>
                    <a:lnTo>
                      <a:pt x="330" y="90"/>
                    </a:lnTo>
                    <a:lnTo>
                      <a:pt x="330" y="84"/>
                    </a:lnTo>
                    <a:lnTo>
                      <a:pt x="324" y="78"/>
                    </a:lnTo>
                    <a:lnTo>
                      <a:pt x="324" y="72"/>
                    </a:lnTo>
                    <a:lnTo>
                      <a:pt x="324" y="66"/>
                    </a:lnTo>
                    <a:lnTo>
                      <a:pt x="324" y="60"/>
                    </a:lnTo>
                    <a:lnTo>
                      <a:pt x="324" y="54"/>
                    </a:lnTo>
                    <a:lnTo>
                      <a:pt x="324" y="42"/>
                    </a:lnTo>
                    <a:lnTo>
                      <a:pt x="324" y="36"/>
                    </a:lnTo>
                    <a:lnTo>
                      <a:pt x="318" y="6"/>
                    </a:lnTo>
                    <a:lnTo>
                      <a:pt x="318" y="0"/>
                    </a:lnTo>
                    <a:lnTo>
                      <a:pt x="324" y="0"/>
                    </a:lnTo>
                    <a:lnTo>
                      <a:pt x="330" y="0"/>
                    </a:lnTo>
                    <a:lnTo>
                      <a:pt x="336" y="0"/>
                    </a:lnTo>
                    <a:lnTo>
                      <a:pt x="342" y="0"/>
                    </a:lnTo>
                    <a:lnTo>
                      <a:pt x="348" y="0"/>
                    </a:lnTo>
                    <a:lnTo>
                      <a:pt x="354" y="0"/>
                    </a:lnTo>
                    <a:lnTo>
                      <a:pt x="360" y="0"/>
                    </a:lnTo>
                    <a:lnTo>
                      <a:pt x="366" y="0"/>
                    </a:lnTo>
                    <a:lnTo>
                      <a:pt x="372" y="0"/>
                    </a:lnTo>
                    <a:lnTo>
                      <a:pt x="378" y="0"/>
                    </a:lnTo>
                    <a:lnTo>
                      <a:pt x="384" y="0"/>
                    </a:lnTo>
                    <a:lnTo>
                      <a:pt x="390" y="0"/>
                    </a:lnTo>
                    <a:lnTo>
                      <a:pt x="396" y="0"/>
                    </a:lnTo>
                    <a:lnTo>
                      <a:pt x="402" y="0"/>
                    </a:lnTo>
                    <a:lnTo>
                      <a:pt x="408" y="0"/>
                    </a:lnTo>
                    <a:lnTo>
                      <a:pt x="414" y="0"/>
                    </a:lnTo>
                    <a:lnTo>
                      <a:pt x="420" y="6"/>
                    </a:lnTo>
                    <a:lnTo>
                      <a:pt x="426" y="6"/>
                    </a:lnTo>
                    <a:lnTo>
                      <a:pt x="426" y="12"/>
                    </a:lnTo>
                    <a:lnTo>
                      <a:pt x="432" y="12"/>
                    </a:lnTo>
                    <a:lnTo>
                      <a:pt x="438" y="18"/>
                    </a:lnTo>
                    <a:lnTo>
                      <a:pt x="444" y="24"/>
                    </a:lnTo>
                    <a:lnTo>
                      <a:pt x="450" y="24"/>
                    </a:lnTo>
                    <a:lnTo>
                      <a:pt x="456" y="30"/>
                    </a:lnTo>
                    <a:lnTo>
                      <a:pt x="462" y="36"/>
                    </a:lnTo>
                    <a:lnTo>
                      <a:pt x="468" y="36"/>
                    </a:lnTo>
                    <a:lnTo>
                      <a:pt x="474" y="42"/>
                    </a:lnTo>
                    <a:lnTo>
                      <a:pt x="480" y="42"/>
                    </a:lnTo>
                    <a:lnTo>
                      <a:pt x="480" y="48"/>
                    </a:lnTo>
                    <a:lnTo>
                      <a:pt x="486" y="48"/>
                    </a:lnTo>
                    <a:lnTo>
                      <a:pt x="486" y="54"/>
                    </a:lnTo>
                    <a:lnTo>
                      <a:pt x="492" y="54"/>
                    </a:lnTo>
                    <a:lnTo>
                      <a:pt x="498" y="60"/>
                    </a:lnTo>
                    <a:lnTo>
                      <a:pt x="504" y="60"/>
                    </a:lnTo>
                    <a:lnTo>
                      <a:pt x="504" y="66"/>
                    </a:lnTo>
                    <a:lnTo>
                      <a:pt x="510" y="66"/>
                    </a:lnTo>
                    <a:lnTo>
                      <a:pt x="516" y="72"/>
                    </a:lnTo>
                    <a:lnTo>
                      <a:pt x="522" y="72"/>
                    </a:lnTo>
                    <a:lnTo>
                      <a:pt x="522" y="78"/>
                    </a:lnTo>
                    <a:lnTo>
                      <a:pt x="528" y="78"/>
                    </a:lnTo>
                    <a:lnTo>
                      <a:pt x="534" y="84"/>
                    </a:lnTo>
                    <a:lnTo>
                      <a:pt x="540" y="84"/>
                    </a:lnTo>
                    <a:lnTo>
                      <a:pt x="540" y="90"/>
                    </a:lnTo>
                    <a:lnTo>
                      <a:pt x="546" y="90"/>
                    </a:lnTo>
                    <a:lnTo>
                      <a:pt x="546" y="96"/>
                    </a:lnTo>
                    <a:lnTo>
                      <a:pt x="552" y="96"/>
                    </a:lnTo>
                    <a:lnTo>
                      <a:pt x="558" y="96"/>
                    </a:lnTo>
                    <a:lnTo>
                      <a:pt x="558" y="102"/>
                    </a:lnTo>
                    <a:lnTo>
                      <a:pt x="564" y="102"/>
                    </a:lnTo>
                    <a:lnTo>
                      <a:pt x="564" y="108"/>
                    </a:lnTo>
                    <a:lnTo>
                      <a:pt x="570" y="108"/>
                    </a:lnTo>
                    <a:lnTo>
                      <a:pt x="576" y="114"/>
                    </a:lnTo>
                    <a:lnTo>
                      <a:pt x="582" y="114"/>
                    </a:lnTo>
                    <a:lnTo>
                      <a:pt x="582" y="120"/>
                    </a:lnTo>
                    <a:lnTo>
                      <a:pt x="588" y="120"/>
                    </a:lnTo>
                    <a:lnTo>
                      <a:pt x="588" y="126"/>
                    </a:lnTo>
                    <a:lnTo>
                      <a:pt x="594" y="126"/>
                    </a:lnTo>
                    <a:lnTo>
                      <a:pt x="600" y="132"/>
                    </a:lnTo>
                    <a:lnTo>
                      <a:pt x="606" y="132"/>
                    </a:lnTo>
                    <a:lnTo>
                      <a:pt x="606" y="138"/>
                    </a:lnTo>
                    <a:lnTo>
                      <a:pt x="612" y="138"/>
                    </a:lnTo>
                    <a:lnTo>
                      <a:pt x="618" y="144"/>
                    </a:lnTo>
                    <a:lnTo>
                      <a:pt x="624" y="144"/>
                    </a:lnTo>
                    <a:lnTo>
                      <a:pt x="624" y="150"/>
                    </a:lnTo>
                    <a:lnTo>
                      <a:pt x="630" y="150"/>
                    </a:lnTo>
                    <a:lnTo>
                      <a:pt x="636" y="156"/>
                    </a:lnTo>
                    <a:lnTo>
                      <a:pt x="642" y="156"/>
                    </a:lnTo>
                    <a:lnTo>
                      <a:pt x="642" y="162"/>
                    </a:lnTo>
                    <a:lnTo>
                      <a:pt x="648" y="162"/>
                    </a:lnTo>
                    <a:lnTo>
                      <a:pt x="648" y="168"/>
                    </a:lnTo>
                    <a:lnTo>
                      <a:pt x="654" y="168"/>
                    </a:lnTo>
                    <a:lnTo>
                      <a:pt x="660" y="168"/>
                    </a:lnTo>
                    <a:lnTo>
                      <a:pt x="660" y="174"/>
                    </a:lnTo>
                    <a:lnTo>
                      <a:pt x="666" y="174"/>
                    </a:lnTo>
                    <a:lnTo>
                      <a:pt x="666" y="180"/>
                    </a:lnTo>
                    <a:lnTo>
                      <a:pt x="672" y="180"/>
                    </a:lnTo>
                    <a:lnTo>
                      <a:pt x="678" y="180"/>
                    </a:lnTo>
                    <a:lnTo>
                      <a:pt x="678" y="186"/>
                    </a:lnTo>
                    <a:lnTo>
                      <a:pt x="684" y="186"/>
                    </a:lnTo>
                    <a:lnTo>
                      <a:pt x="684" y="192"/>
                    </a:lnTo>
                    <a:lnTo>
                      <a:pt x="690" y="198"/>
                    </a:lnTo>
                    <a:lnTo>
                      <a:pt x="696" y="198"/>
                    </a:lnTo>
                    <a:lnTo>
                      <a:pt x="696" y="204"/>
                    </a:lnTo>
                    <a:lnTo>
                      <a:pt x="702" y="204"/>
                    </a:lnTo>
                    <a:lnTo>
                      <a:pt x="708" y="210"/>
                    </a:lnTo>
                    <a:lnTo>
                      <a:pt x="714" y="210"/>
                    </a:lnTo>
                    <a:lnTo>
                      <a:pt x="714" y="216"/>
                    </a:lnTo>
                    <a:lnTo>
                      <a:pt x="720" y="216"/>
                    </a:lnTo>
                    <a:lnTo>
                      <a:pt x="726" y="222"/>
                    </a:lnTo>
                    <a:lnTo>
                      <a:pt x="732" y="222"/>
                    </a:lnTo>
                    <a:lnTo>
                      <a:pt x="738" y="228"/>
                    </a:lnTo>
                    <a:lnTo>
                      <a:pt x="744" y="234"/>
                    </a:lnTo>
                    <a:lnTo>
                      <a:pt x="750" y="234"/>
                    </a:lnTo>
                    <a:lnTo>
                      <a:pt x="750" y="240"/>
                    </a:lnTo>
                    <a:lnTo>
                      <a:pt x="750" y="246"/>
                    </a:lnTo>
                    <a:lnTo>
                      <a:pt x="750" y="252"/>
                    </a:lnTo>
                    <a:lnTo>
                      <a:pt x="750" y="258"/>
                    </a:lnTo>
                    <a:lnTo>
                      <a:pt x="756" y="258"/>
                    </a:lnTo>
                    <a:lnTo>
                      <a:pt x="762" y="258"/>
                    </a:lnTo>
                    <a:lnTo>
                      <a:pt x="762" y="264"/>
                    </a:lnTo>
                    <a:lnTo>
                      <a:pt x="768" y="264"/>
                    </a:lnTo>
                    <a:lnTo>
                      <a:pt x="774" y="264"/>
                    </a:lnTo>
                    <a:lnTo>
                      <a:pt x="774" y="270"/>
                    </a:lnTo>
                    <a:lnTo>
                      <a:pt x="774" y="276"/>
                    </a:lnTo>
                    <a:lnTo>
                      <a:pt x="780" y="276"/>
                    </a:lnTo>
                    <a:lnTo>
                      <a:pt x="780" y="282"/>
                    </a:lnTo>
                    <a:lnTo>
                      <a:pt x="786" y="282"/>
                    </a:lnTo>
                    <a:lnTo>
                      <a:pt x="786" y="288"/>
                    </a:lnTo>
                    <a:lnTo>
                      <a:pt x="786" y="282"/>
                    </a:lnTo>
                    <a:lnTo>
                      <a:pt x="786" y="288"/>
                    </a:lnTo>
                    <a:lnTo>
                      <a:pt x="792" y="288"/>
                    </a:lnTo>
                    <a:lnTo>
                      <a:pt x="798" y="288"/>
                    </a:lnTo>
                    <a:lnTo>
                      <a:pt x="804" y="288"/>
                    </a:lnTo>
                    <a:lnTo>
                      <a:pt x="810" y="288"/>
                    </a:lnTo>
                    <a:lnTo>
                      <a:pt x="816" y="288"/>
                    </a:lnTo>
                    <a:lnTo>
                      <a:pt x="816" y="294"/>
                    </a:lnTo>
                    <a:lnTo>
                      <a:pt x="816" y="300"/>
                    </a:lnTo>
                    <a:lnTo>
                      <a:pt x="822" y="300"/>
                    </a:lnTo>
                    <a:lnTo>
                      <a:pt x="828" y="300"/>
                    </a:lnTo>
                    <a:lnTo>
                      <a:pt x="834" y="300"/>
                    </a:lnTo>
                    <a:lnTo>
                      <a:pt x="840" y="300"/>
                    </a:lnTo>
                    <a:lnTo>
                      <a:pt x="840" y="306"/>
                    </a:lnTo>
                    <a:lnTo>
                      <a:pt x="846" y="306"/>
                    </a:lnTo>
                    <a:lnTo>
                      <a:pt x="852" y="306"/>
                    </a:lnTo>
                    <a:lnTo>
                      <a:pt x="858" y="306"/>
                    </a:lnTo>
                    <a:lnTo>
                      <a:pt x="858" y="312"/>
                    </a:lnTo>
                    <a:lnTo>
                      <a:pt x="864" y="312"/>
                    </a:lnTo>
                    <a:lnTo>
                      <a:pt x="864" y="318"/>
                    </a:lnTo>
                    <a:lnTo>
                      <a:pt x="864" y="324"/>
                    </a:lnTo>
                    <a:lnTo>
                      <a:pt x="864" y="330"/>
                    </a:lnTo>
                    <a:lnTo>
                      <a:pt x="864" y="336"/>
                    </a:lnTo>
                    <a:lnTo>
                      <a:pt x="864" y="342"/>
                    </a:lnTo>
                    <a:lnTo>
                      <a:pt x="864" y="348"/>
                    </a:lnTo>
                    <a:lnTo>
                      <a:pt x="858" y="348"/>
                    </a:lnTo>
                    <a:lnTo>
                      <a:pt x="858" y="354"/>
                    </a:lnTo>
                    <a:lnTo>
                      <a:pt x="864" y="360"/>
                    </a:lnTo>
                    <a:lnTo>
                      <a:pt x="870" y="360"/>
                    </a:lnTo>
                    <a:lnTo>
                      <a:pt x="870" y="366"/>
                    </a:lnTo>
                    <a:lnTo>
                      <a:pt x="876" y="366"/>
                    </a:lnTo>
                    <a:lnTo>
                      <a:pt x="876" y="360"/>
                    </a:lnTo>
                    <a:lnTo>
                      <a:pt x="882" y="360"/>
                    </a:lnTo>
                    <a:lnTo>
                      <a:pt x="888" y="360"/>
                    </a:lnTo>
                    <a:lnTo>
                      <a:pt x="894" y="360"/>
                    </a:lnTo>
                    <a:lnTo>
                      <a:pt x="900" y="360"/>
                    </a:lnTo>
                    <a:lnTo>
                      <a:pt x="906" y="360"/>
                    </a:lnTo>
                    <a:lnTo>
                      <a:pt x="906" y="354"/>
                    </a:lnTo>
                    <a:lnTo>
                      <a:pt x="912" y="354"/>
                    </a:lnTo>
                    <a:lnTo>
                      <a:pt x="918" y="354"/>
                    </a:lnTo>
                    <a:lnTo>
                      <a:pt x="918" y="360"/>
                    </a:lnTo>
                    <a:lnTo>
                      <a:pt x="918" y="366"/>
                    </a:lnTo>
                    <a:lnTo>
                      <a:pt x="918" y="372"/>
                    </a:lnTo>
                    <a:lnTo>
                      <a:pt x="918" y="378"/>
                    </a:lnTo>
                    <a:lnTo>
                      <a:pt x="918" y="384"/>
                    </a:lnTo>
                    <a:lnTo>
                      <a:pt x="918" y="390"/>
                    </a:lnTo>
                    <a:lnTo>
                      <a:pt x="918" y="396"/>
                    </a:lnTo>
                    <a:lnTo>
                      <a:pt x="918" y="402"/>
                    </a:lnTo>
                    <a:lnTo>
                      <a:pt x="918" y="408"/>
                    </a:lnTo>
                    <a:lnTo>
                      <a:pt x="918" y="414"/>
                    </a:lnTo>
                    <a:lnTo>
                      <a:pt x="918" y="420"/>
                    </a:lnTo>
                    <a:lnTo>
                      <a:pt x="918" y="426"/>
                    </a:lnTo>
                    <a:lnTo>
                      <a:pt x="918" y="432"/>
                    </a:lnTo>
                    <a:lnTo>
                      <a:pt x="918" y="438"/>
                    </a:lnTo>
                    <a:lnTo>
                      <a:pt x="918" y="444"/>
                    </a:lnTo>
                    <a:lnTo>
                      <a:pt x="918" y="450"/>
                    </a:lnTo>
                    <a:lnTo>
                      <a:pt x="918" y="456"/>
                    </a:lnTo>
                    <a:lnTo>
                      <a:pt x="918" y="462"/>
                    </a:lnTo>
                    <a:lnTo>
                      <a:pt x="918" y="468"/>
                    </a:lnTo>
                    <a:lnTo>
                      <a:pt x="918" y="474"/>
                    </a:lnTo>
                    <a:lnTo>
                      <a:pt x="918" y="480"/>
                    </a:lnTo>
                    <a:lnTo>
                      <a:pt x="912" y="480"/>
                    </a:lnTo>
                    <a:lnTo>
                      <a:pt x="912" y="486"/>
                    </a:lnTo>
                    <a:lnTo>
                      <a:pt x="912" y="492"/>
                    </a:lnTo>
                    <a:lnTo>
                      <a:pt x="912" y="498"/>
                    </a:lnTo>
                    <a:lnTo>
                      <a:pt x="912" y="504"/>
                    </a:lnTo>
                    <a:lnTo>
                      <a:pt x="912" y="510"/>
                    </a:lnTo>
                    <a:lnTo>
                      <a:pt x="912" y="516"/>
                    </a:lnTo>
                    <a:lnTo>
                      <a:pt x="912" y="522"/>
                    </a:lnTo>
                    <a:lnTo>
                      <a:pt x="906" y="528"/>
                    </a:lnTo>
                    <a:lnTo>
                      <a:pt x="906" y="534"/>
                    </a:lnTo>
                    <a:lnTo>
                      <a:pt x="906" y="540"/>
                    </a:lnTo>
                    <a:lnTo>
                      <a:pt x="900" y="546"/>
                    </a:lnTo>
                    <a:lnTo>
                      <a:pt x="900" y="552"/>
                    </a:lnTo>
                    <a:lnTo>
                      <a:pt x="900" y="558"/>
                    </a:lnTo>
                    <a:lnTo>
                      <a:pt x="894" y="558"/>
                    </a:lnTo>
                    <a:lnTo>
                      <a:pt x="888" y="558"/>
                    </a:lnTo>
                    <a:lnTo>
                      <a:pt x="888" y="564"/>
                    </a:lnTo>
                    <a:lnTo>
                      <a:pt x="882" y="564"/>
                    </a:lnTo>
                    <a:lnTo>
                      <a:pt x="882" y="570"/>
                    </a:lnTo>
                    <a:lnTo>
                      <a:pt x="882" y="576"/>
                    </a:lnTo>
                    <a:lnTo>
                      <a:pt x="876" y="576"/>
                    </a:lnTo>
                    <a:lnTo>
                      <a:pt x="870" y="576"/>
                    </a:lnTo>
                    <a:lnTo>
                      <a:pt x="864" y="576"/>
                    </a:lnTo>
                    <a:lnTo>
                      <a:pt x="858" y="576"/>
                    </a:lnTo>
                    <a:lnTo>
                      <a:pt x="852" y="576"/>
                    </a:lnTo>
                    <a:lnTo>
                      <a:pt x="846" y="576"/>
                    </a:lnTo>
                    <a:lnTo>
                      <a:pt x="840" y="576"/>
                    </a:lnTo>
                    <a:lnTo>
                      <a:pt x="834" y="576"/>
                    </a:lnTo>
                    <a:lnTo>
                      <a:pt x="828" y="576"/>
                    </a:lnTo>
                    <a:lnTo>
                      <a:pt x="822" y="576"/>
                    </a:lnTo>
                    <a:lnTo>
                      <a:pt x="816" y="576"/>
                    </a:lnTo>
                    <a:lnTo>
                      <a:pt x="810" y="576"/>
                    </a:lnTo>
                    <a:lnTo>
                      <a:pt x="804" y="576"/>
                    </a:lnTo>
                    <a:lnTo>
                      <a:pt x="798" y="576"/>
                    </a:lnTo>
                    <a:lnTo>
                      <a:pt x="792" y="576"/>
                    </a:lnTo>
                    <a:lnTo>
                      <a:pt x="786" y="576"/>
                    </a:lnTo>
                    <a:lnTo>
                      <a:pt x="780" y="576"/>
                    </a:lnTo>
                    <a:lnTo>
                      <a:pt x="774" y="576"/>
                    </a:lnTo>
                    <a:lnTo>
                      <a:pt x="768" y="576"/>
                    </a:lnTo>
                    <a:lnTo>
                      <a:pt x="762" y="576"/>
                    </a:lnTo>
                    <a:lnTo>
                      <a:pt x="762" y="582"/>
                    </a:lnTo>
                    <a:lnTo>
                      <a:pt x="756" y="582"/>
                    </a:lnTo>
                    <a:lnTo>
                      <a:pt x="750" y="582"/>
                    </a:lnTo>
                    <a:lnTo>
                      <a:pt x="750" y="588"/>
                    </a:lnTo>
                    <a:lnTo>
                      <a:pt x="744" y="588"/>
                    </a:lnTo>
                    <a:lnTo>
                      <a:pt x="744" y="594"/>
                    </a:lnTo>
                    <a:lnTo>
                      <a:pt x="738" y="594"/>
                    </a:lnTo>
                    <a:lnTo>
                      <a:pt x="732" y="594"/>
                    </a:lnTo>
                    <a:lnTo>
                      <a:pt x="726" y="594"/>
                    </a:lnTo>
                    <a:lnTo>
                      <a:pt x="726" y="600"/>
                    </a:lnTo>
                    <a:lnTo>
                      <a:pt x="720" y="600"/>
                    </a:lnTo>
                    <a:lnTo>
                      <a:pt x="720" y="594"/>
                    </a:lnTo>
                    <a:lnTo>
                      <a:pt x="714" y="594"/>
                    </a:lnTo>
                    <a:lnTo>
                      <a:pt x="708" y="594"/>
                    </a:lnTo>
                    <a:lnTo>
                      <a:pt x="702" y="594"/>
                    </a:lnTo>
                    <a:lnTo>
                      <a:pt x="696" y="59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18" name="Freeform 13"/>
              <p:cNvSpPr>
                <a:spLocks/>
              </p:cNvSpPr>
              <p:nvPr>
                <p:custDataLst>
                  <p:tags r:id="rId13"/>
                </p:custDataLst>
              </p:nvPr>
            </p:nvSpPr>
            <p:spPr bwMode="gray">
              <a:xfrm>
                <a:off x="1601868" y="1130922"/>
                <a:ext cx="551424" cy="382696"/>
              </a:xfrm>
              <a:custGeom>
                <a:avLst/>
                <a:gdLst>
                  <a:gd name="T0" fmla="*/ 119010 w 438"/>
                  <a:gd name="T1" fmla="*/ 86927 h 324"/>
                  <a:gd name="T2" fmla="*/ 108366 w 438"/>
                  <a:gd name="T3" fmla="*/ 83020 h 324"/>
                  <a:gd name="T4" fmla="*/ 101594 w 438"/>
                  <a:gd name="T5" fmla="*/ 83996 h 324"/>
                  <a:gd name="T6" fmla="*/ 95788 w 438"/>
                  <a:gd name="T7" fmla="*/ 86927 h 324"/>
                  <a:gd name="T8" fmla="*/ 89015 w 438"/>
                  <a:gd name="T9" fmla="*/ 83996 h 324"/>
                  <a:gd name="T10" fmla="*/ 76437 w 438"/>
                  <a:gd name="T11" fmla="*/ 83996 h 324"/>
                  <a:gd name="T12" fmla="*/ 63859 w 438"/>
                  <a:gd name="T13" fmla="*/ 83996 h 324"/>
                  <a:gd name="T14" fmla="*/ 53216 w 438"/>
                  <a:gd name="T15" fmla="*/ 86927 h 324"/>
                  <a:gd name="T16" fmla="*/ 53216 w 438"/>
                  <a:gd name="T17" fmla="*/ 97670 h 324"/>
                  <a:gd name="T18" fmla="*/ 53216 w 438"/>
                  <a:gd name="T19" fmla="*/ 106460 h 324"/>
                  <a:gd name="T20" fmla="*/ 53216 w 438"/>
                  <a:gd name="T21" fmla="*/ 113297 h 324"/>
                  <a:gd name="T22" fmla="*/ 51280 w 438"/>
                  <a:gd name="T23" fmla="*/ 113297 h 324"/>
                  <a:gd name="T24" fmla="*/ 44508 w 438"/>
                  <a:gd name="T25" fmla="*/ 106460 h 324"/>
                  <a:gd name="T26" fmla="*/ 36767 w 438"/>
                  <a:gd name="T27" fmla="*/ 106460 h 324"/>
                  <a:gd name="T28" fmla="*/ 27091 w 438"/>
                  <a:gd name="T29" fmla="*/ 110368 h 324"/>
                  <a:gd name="T30" fmla="*/ 23222 w 438"/>
                  <a:gd name="T31" fmla="*/ 113297 h 324"/>
                  <a:gd name="T32" fmla="*/ 17416 w 438"/>
                  <a:gd name="T33" fmla="*/ 110368 h 324"/>
                  <a:gd name="T34" fmla="*/ 14513 w 438"/>
                  <a:gd name="T35" fmla="*/ 108414 h 324"/>
                  <a:gd name="T36" fmla="*/ 10643 w 438"/>
                  <a:gd name="T37" fmla="*/ 103531 h 324"/>
                  <a:gd name="T38" fmla="*/ 8708 w 438"/>
                  <a:gd name="T39" fmla="*/ 101577 h 324"/>
                  <a:gd name="T40" fmla="*/ 1935 w 438"/>
                  <a:gd name="T41" fmla="*/ 99624 h 324"/>
                  <a:gd name="T42" fmla="*/ 0 w 438"/>
                  <a:gd name="T43" fmla="*/ 88880 h 324"/>
                  <a:gd name="T44" fmla="*/ 1935 w 438"/>
                  <a:gd name="T45" fmla="*/ 83020 h 324"/>
                  <a:gd name="T46" fmla="*/ 6773 w 438"/>
                  <a:gd name="T47" fmla="*/ 73253 h 324"/>
                  <a:gd name="T48" fmla="*/ 1935 w 438"/>
                  <a:gd name="T49" fmla="*/ 69346 h 324"/>
                  <a:gd name="T50" fmla="*/ 6773 w 438"/>
                  <a:gd name="T51" fmla="*/ 64463 h 324"/>
                  <a:gd name="T52" fmla="*/ 17416 w 438"/>
                  <a:gd name="T53" fmla="*/ 62509 h 324"/>
                  <a:gd name="T54" fmla="*/ 21286 w 438"/>
                  <a:gd name="T55" fmla="*/ 58602 h 324"/>
                  <a:gd name="T56" fmla="*/ 21286 w 438"/>
                  <a:gd name="T57" fmla="*/ 49812 h 324"/>
                  <a:gd name="T58" fmla="*/ 23222 w 438"/>
                  <a:gd name="T59" fmla="*/ 42975 h 324"/>
                  <a:gd name="T60" fmla="*/ 29994 w 438"/>
                  <a:gd name="T61" fmla="*/ 34185 h 324"/>
                  <a:gd name="T62" fmla="*/ 31929 w 438"/>
                  <a:gd name="T63" fmla="*/ 37115 h 324"/>
                  <a:gd name="T64" fmla="*/ 40638 w 438"/>
                  <a:gd name="T65" fmla="*/ 39068 h 324"/>
                  <a:gd name="T66" fmla="*/ 44508 w 438"/>
                  <a:gd name="T67" fmla="*/ 30278 h 324"/>
                  <a:gd name="T68" fmla="*/ 51280 w 438"/>
                  <a:gd name="T69" fmla="*/ 28324 h 324"/>
                  <a:gd name="T70" fmla="*/ 55151 w 438"/>
                  <a:gd name="T71" fmla="*/ 19534 h 324"/>
                  <a:gd name="T72" fmla="*/ 63859 w 438"/>
                  <a:gd name="T73" fmla="*/ 19534 h 324"/>
                  <a:gd name="T74" fmla="*/ 70632 w 438"/>
                  <a:gd name="T75" fmla="*/ 12697 h 324"/>
                  <a:gd name="T76" fmla="*/ 87080 w 438"/>
                  <a:gd name="T77" fmla="*/ 6837 h 324"/>
                  <a:gd name="T78" fmla="*/ 93853 w 438"/>
                  <a:gd name="T79" fmla="*/ 0 h 324"/>
                  <a:gd name="T80" fmla="*/ 104497 w 438"/>
                  <a:gd name="T81" fmla="*/ 0 h 324"/>
                  <a:gd name="T82" fmla="*/ 112237 w 438"/>
                  <a:gd name="T83" fmla="*/ 3906 h 324"/>
                  <a:gd name="T84" fmla="*/ 115139 w 438"/>
                  <a:gd name="T85" fmla="*/ 15627 h 324"/>
                  <a:gd name="T86" fmla="*/ 117075 w 438"/>
                  <a:gd name="T87" fmla="*/ 21487 h 324"/>
                  <a:gd name="T88" fmla="*/ 119010 w 438"/>
                  <a:gd name="T89" fmla="*/ 28324 h 324"/>
                  <a:gd name="T90" fmla="*/ 127717 w 438"/>
                  <a:gd name="T91" fmla="*/ 32231 h 324"/>
                  <a:gd name="T92" fmla="*/ 131588 w 438"/>
                  <a:gd name="T93" fmla="*/ 37115 h 324"/>
                  <a:gd name="T94" fmla="*/ 127717 w 438"/>
                  <a:gd name="T95" fmla="*/ 39068 h 324"/>
                  <a:gd name="T96" fmla="*/ 134491 w 438"/>
                  <a:gd name="T97" fmla="*/ 47859 h 324"/>
                  <a:gd name="T98" fmla="*/ 142231 w 438"/>
                  <a:gd name="T99" fmla="*/ 52742 h 324"/>
                  <a:gd name="T100" fmla="*/ 152875 w 438"/>
                  <a:gd name="T101" fmla="*/ 52742 h 324"/>
                  <a:gd name="T102" fmla="*/ 150939 w 438"/>
                  <a:gd name="T103" fmla="*/ 58602 h 324"/>
                  <a:gd name="T104" fmla="*/ 152875 w 438"/>
                  <a:gd name="T105" fmla="*/ 69346 h 324"/>
                  <a:gd name="T106" fmla="*/ 144166 w 438"/>
                  <a:gd name="T107" fmla="*/ 76183 h 324"/>
                  <a:gd name="T108" fmla="*/ 135459 w 438"/>
                  <a:gd name="T109" fmla="*/ 76183 h 324"/>
                  <a:gd name="T110" fmla="*/ 134491 w 438"/>
                  <a:gd name="T111" fmla="*/ 78136 h 324"/>
                  <a:gd name="T112" fmla="*/ 129653 w 438"/>
                  <a:gd name="T113" fmla="*/ 83020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38" h="324">
                    <a:moveTo>
                      <a:pt x="360" y="234"/>
                    </a:moveTo>
                    <a:lnTo>
                      <a:pt x="354" y="234"/>
                    </a:lnTo>
                    <a:lnTo>
                      <a:pt x="348" y="234"/>
                    </a:lnTo>
                    <a:lnTo>
                      <a:pt x="342" y="234"/>
                    </a:lnTo>
                    <a:lnTo>
                      <a:pt x="342" y="240"/>
                    </a:lnTo>
                    <a:lnTo>
                      <a:pt x="336" y="240"/>
                    </a:lnTo>
                    <a:lnTo>
                      <a:pt x="336" y="234"/>
                    </a:lnTo>
                    <a:lnTo>
                      <a:pt x="330" y="234"/>
                    </a:lnTo>
                    <a:lnTo>
                      <a:pt x="324" y="234"/>
                    </a:lnTo>
                    <a:lnTo>
                      <a:pt x="318" y="234"/>
                    </a:lnTo>
                    <a:lnTo>
                      <a:pt x="312" y="228"/>
                    </a:lnTo>
                    <a:lnTo>
                      <a:pt x="306" y="228"/>
                    </a:lnTo>
                    <a:lnTo>
                      <a:pt x="300" y="228"/>
                    </a:lnTo>
                    <a:lnTo>
                      <a:pt x="294" y="228"/>
                    </a:lnTo>
                    <a:lnTo>
                      <a:pt x="288" y="228"/>
                    </a:lnTo>
                    <a:lnTo>
                      <a:pt x="294" y="228"/>
                    </a:lnTo>
                    <a:lnTo>
                      <a:pt x="288" y="228"/>
                    </a:lnTo>
                    <a:lnTo>
                      <a:pt x="288" y="234"/>
                    </a:lnTo>
                    <a:lnTo>
                      <a:pt x="288" y="228"/>
                    </a:lnTo>
                    <a:lnTo>
                      <a:pt x="282" y="228"/>
                    </a:lnTo>
                    <a:lnTo>
                      <a:pt x="282" y="234"/>
                    </a:lnTo>
                    <a:lnTo>
                      <a:pt x="276" y="234"/>
                    </a:lnTo>
                    <a:lnTo>
                      <a:pt x="276" y="240"/>
                    </a:lnTo>
                    <a:lnTo>
                      <a:pt x="270" y="240"/>
                    </a:lnTo>
                    <a:lnTo>
                      <a:pt x="270" y="234"/>
                    </a:lnTo>
                    <a:lnTo>
                      <a:pt x="264" y="234"/>
                    </a:lnTo>
                    <a:lnTo>
                      <a:pt x="258" y="234"/>
                    </a:lnTo>
                    <a:lnTo>
                      <a:pt x="258" y="240"/>
                    </a:lnTo>
                    <a:lnTo>
                      <a:pt x="258" y="234"/>
                    </a:lnTo>
                    <a:lnTo>
                      <a:pt x="252" y="234"/>
                    </a:lnTo>
                    <a:lnTo>
                      <a:pt x="246" y="234"/>
                    </a:lnTo>
                    <a:lnTo>
                      <a:pt x="240" y="234"/>
                    </a:lnTo>
                    <a:lnTo>
                      <a:pt x="234" y="234"/>
                    </a:lnTo>
                    <a:lnTo>
                      <a:pt x="228" y="234"/>
                    </a:lnTo>
                    <a:lnTo>
                      <a:pt x="222" y="234"/>
                    </a:lnTo>
                    <a:lnTo>
                      <a:pt x="216" y="234"/>
                    </a:lnTo>
                    <a:lnTo>
                      <a:pt x="210" y="234"/>
                    </a:lnTo>
                    <a:lnTo>
                      <a:pt x="204" y="234"/>
                    </a:lnTo>
                    <a:lnTo>
                      <a:pt x="198" y="234"/>
                    </a:lnTo>
                    <a:lnTo>
                      <a:pt x="192" y="234"/>
                    </a:lnTo>
                    <a:lnTo>
                      <a:pt x="186" y="234"/>
                    </a:lnTo>
                    <a:lnTo>
                      <a:pt x="180" y="234"/>
                    </a:lnTo>
                    <a:lnTo>
                      <a:pt x="174" y="234"/>
                    </a:lnTo>
                    <a:lnTo>
                      <a:pt x="168" y="234"/>
                    </a:lnTo>
                    <a:lnTo>
                      <a:pt x="162" y="234"/>
                    </a:lnTo>
                    <a:lnTo>
                      <a:pt x="156" y="234"/>
                    </a:lnTo>
                    <a:lnTo>
                      <a:pt x="150" y="234"/>
                    </a:lnTo>
                    <a:lnTo>
                      <a:pt x="150" y="240"/>
                    </a:lnTo>
                    <a:lnTo>
                      <a:pt x="144" y="240"/>
                    </a:lnTo>
                    <a:lnTo>
                      <a:pt x="144" y="246"/>
                    </a:lnTo>
                    <a:lnTo>
                      <a:pt x="144" y="252"/>
                    </a:lnTo>
                    <a:lnTo>
                      <a:pt x="144" y="258"/>
                    </a:lnTo>
                    <a:lnTo>
                      <a:pt x="144" y="264"/>
                    </a:lnTo>
                    <a:lnTo>
                      <a:pt x="150" y="270"/>
                    </a:lnTo>
                    <a:lnTo>
                      <a:pt x="150" y="276"/>
                    </a:lnTo>
                    <a:lnTo>
                      <a:pt x="150" y="282"/>
                    </a:lnTo>
                    <a:lnTo>
                      <a:pt x="150" y="288"/>
                    </a:lnTo>
                    <a:lnTo>
                      <a:pt x="150" y="294"/>
                    </a:lnTo>
                    <a:lnTo>
                      <a:pt x="156" y="294"/>
                    </a:lnTo>
                    <a:lnTo>
                      <a:pt x="150" y="294"/>
                    </a:lnTo>
                    <a:lnTo>
                      <a:pt x="150" y="300"/>
                    </a:lnTo>
                    <a:lnTo>
                      <a:pt x="156" y="300"/>
                    </a:lnTo>
                    <a:lnTo>
                      <a:pt x="150" y="306"/>
                    </a:lnTo>
                    <a:lnTo>
                      <a:pt x="150" y="312"/>
                    </a:lnTo>
                    <a:lnTo>
                      <a:pt x="156" y="312"/>
                    </a:lnTo>
                    <a:lnTo>
                      <a:pt x="150" y="312"/>
                    </a:lnTo>
                    <a:lnTo>
                      <a:pt x="150" y="318"/>
                    </a:lnTo>
                    <a:lnTo>
                      <a:pt x="156" y="318"/>
                    </a:lnTo>
                    <a:lnTo>
                      <a:pt x="156" y="324"/>
                    </a:lnTo>
                    <a:lnTo>
                      <a:pt x="150" y="324"/>
                    </a:lnTo>
                    <a:lnTo>
                      <a:pt x="144" y="318"/>
                    </a:lnTo>
                    <a:lnTo>
                      <a:pt x="144" y="312"/>
                    </a:lnTo>
                    <a:lnTo>
                      <a:pt x="138" y="312"/>
                    </a:lnTo>
                    <a:lnTo>
                      <a:pt x="138" y="306"/>
                    </a:lnTo>
                    <a:lnTo>
                      <a:pt x="132" y="306"/>
                    </a:lnTo>
                    <a:lnTo>
                      <a:pt x="132" y="300"/>
                    </a:lnTo>
                    <a:lnTo>
                      <a:pt x="126" y="300"/>
                    </a:lnTo>
                    <a:lnTo>
                      <a:pt x="126" y="294"/>
                    </a:lnTo>
                    <a:lnTo>
                      <a:pt x="126" y="300"/>
                    </a:lnTo>
                    <a:lnTo>
                      <a:pt x="120" y="300"/>
                    </a:lnTo>
                    <a:lnTo>
                      <a:pt x="120" y="294"/>
                    </a:lnTo>
                    <a:lnTo>
                      <a:pt x="114" y="294"/>
                    </a:lnTo>
                    <a:lnTo>
                      <a:pt x="108" y="294"/>
                    </a:lnTo>
                    <a:lnTo>
                      <a:pt x="102" y="294"/>
                    </a:lnTo>
                    <a:lnTo>
                      <a:pt x="96" y="294"/>
                    </a:lnTo>
                    <a:lnTo>
                      <a:pt x="96" y="300"/>
                    </a:lnTo>
                    <a:lnTo>
                      <a:pt x="90" y="300"/>
                    </a:lnTo>
                    <a:lnTo>
                      <a:pt x="84" y="300"/>
                    </a:lnTo>
                    <a:lnTo>
                      <a:pt x="84" y="306"/>
                    </a:lnTo>
                    <a:lnTo>
                      <a:pt x="78" y="306"/>
                    </a:lnTo>
                    <a:lnTo>
                      <a:pt x="78" y="300"/>
                    </a:lnTo>
                    <a:lnTo>
                      <a:pt x="72" y="306"/>
                    </a:lnTo>
                    <a:lnTo>
                      <a:pt x="66" y="306"/>
                    </a:lnTo>
                    <a:lnTo>
                      <a:pt x="66" y="312"/>
                    </a:lnTo>
                    <a:lnTo>
                      <a:pt x="60" y="312"/>
                    </a:lnTo>
                    <a:lnTo>
                      <a:pt x="66" y="312"/>
                    </a:lnTo>
                    <a:lnTo>
                      <a:pt x="60" y="312"/>
                    </a:lnTo>
                    <a:lnTo>
                      <a:pt x="54" y="312"/>
                    </a:lnTo>
                    <a:lnTo>
                      <a:pt x="54" y="306"/>
                    </a:lnTo>
                    <a:lnTo>
                      <a:pt x="54" y="312"/>
                    </a:lnTo>
                    <a:lnTo>
                      <a:pt x="48" y="312"/>
                    </a:lnTo>
                    <a:lnTo>
                      <a:pt x="48" y="306"/>
                    </a:lnTo>
                    <a:lnTo>
                      <a:pt x="48" y="312"/>
                    </a:lnTo>
                    <a:lnTo>
                      <a:pt x="42" y="312"/>
                    </a:lnTo>
                    <a:lnTo>
                      <a:pt x="42" y="306"/>
                    </a:lnTo>
                    <a:lnTo>
                      <a:pt x="36" y="306"/>
                    </a:lnTo>
                    <a:lnTo>
                      <a:pt x="42" y="306"/>
                    </a:lnTo>
                    <a:lnTo>
                      <a:pt x="42" y="300"/>
                    </a:lnTo>
                    <a:lnTo>
                      <a:pt x="36" y="300"/>
                    </a:lnTo>
                    <a:lnTo>
                      <a:pt x="30" y="300"/>
                    </a:lnTo>
                    <a:lnTo>
                      <a:pt x="30" y="294"/>
                    </a:lnTo>
                    <a:lnTo>
                      <a:pt x="30" y="288"/>
                    </a:lnTo>
                    <a:lnTo>
                      <a:pt x="24" y="288"/>
                    </a:lnTo>
                    <a:lnTo>
                      <a:pt x="30" y="288"/>
                    </a:lnTo>
                    <a:lnTo>
                      <a:pt x="24" y="288"/>
                    </a:lnTo>
                    <a:lnTo>
                      <a:pt x="24" y="282"/>
                    </a:lnTo>
                    <a:lnTo>
                      <a:pt x="24" y="288"/>
                    </a:lnTo>
                    <a:lnTo>
                      <a:pt x="24" y="282"/>
                    </a:lnTo>
                    <a:lnTo>
                      <a:pt x="24" y="288"/>
                    </a:lnTo>
                    <a:lnTo>
                      <a:pt x="24" y="282"/>
                    </a:lnTo>
                    <a:lnTo>
                      <a:pt x="18" y="282"/>
                    </a:lnTo>
                    <a:lnTo>
                      <a:pt x="24" y="282"/>
                    </a:lnTo>
                    <a:lnTo>
                      <a:pt x="18" y="282"/>
                    </a:lnTo>
                    <a:lnTo>
                      <a:pt x="18" y="276"/>
                    </a:lnTo>
                    <a:lnTo>
                      <a:pt x="12" y="276"/>
                    </a:lnTo>
                    <a:lnTo>
                      <a:pt x="6" y="276"/>
                    </a:lnTo>
                    <a:lnTo>
                      <a:pt x="6" y="270"/>
                    </a:lnTo>
                    <a:lnTo>
                      <a:pt x="0" y="270"/>
                    </a:lnTo>
                    <a:lnTo>
                      <a:pt x="0" y="264"/>
                    </a:lnTo>
                    <a:lnTo>
                      <a:pt x="0" y="258"/>
                    </a:lnTo>
                    <a:lnTo>
                      <a:pt x="0" y="252"/>
                    </a:lnTo>
                    <a:lnTo>
                      <a:pt x="0" y="246"/>
                    </a:lnTo>
                    <a:lnTo>
                      <a:pt x="6" y="246"/>
                    </a:lnTo>
                    <a:lnTo>
                      <a:pt x="6" y="240"/>
                    </a:lnTo>
                    <a:lnTo>
                      <a:pt x="0" y="240"/>
                    </a:lnTo>
                    <a:lnTo>
                      <a:pt x="0" y="234"/>
                    </a:lnTo>
                    <a:lnTo>
                      <a:pt x="0" y="228"/>
                    </a:lnTo>
                    <a:lnTo>
                      <a:pt x="6" y="228"/>
                    </a:lnTo>
                    <a:lnTo>
                      <a:pt x="12" y="228"/>
                    </a:lnTo>
                    <a:lnTo>
                      <a:pt x="12" y="222"/>
                    </a:lnTo>
                    <a:lnTo>
                      <a:pt x="12" y="216"/>
                    </a:lnTo>
                    <a:lnTo>
                      <a:pt x="18" y="216"/>
                    </a:lnTo>
                    <a:lnTo>
                      <a:pt x="18" y="210"/>
                    </a:lnTo>
                    <a:lnTo>
                      <a:pt x="18" y="204"/>
                    </a:lnTo>
                    <a:lnTo>
                      <a:pt x="12" y="204"/>
                    </a:lnTo>
                    <a:lnTo>
                      <a:pt x="12" y="198"/>
                    </a:lnTo>
                    <a:lnTo>
                      <a:pt x="12" y="204"/>
                    </a:lnTo>
                    <a:lnTo>
                      <a:pt x="12" y="198"/>
                    </a:lnTo>
                    <a:lnTo>
                      <a:pt x="12" y="192"/>
                    </a:lnTo>
                    <a:lnTo>
                      <a:pt x="6" y="192"/>
                    </a:lnTo>
                    <a:lnTo>
                      <a:pt x="6" y="186"/>
                    </a:lnTo>
                    <a:lnTo>
                      <a:pt x="6" y="192"/>
                    </a:lnTo>
                    <a:lnTo>
                      <a:pt x="6" y="186"/>
                    </a:lnTo>
                    <a:lnTo>
                      <a:pt x="12" y="186"/>
                    </a:lnTo>
                    <a:lnTo>
                      <a:pt x="18" y="186"/>
                    </a:lnTo>
                    <a:lnTo>
                      <a:pt x="18" y="180"/>
                    </a:lnTo>
                    <a:lnTo>
                      <a:pt x="24" y="180"/>
                    </a:lnTo>
                    <a:lnTo>
                      <a:pt x="30" y="180"/>
                    </a:lnTo>
                    <a:lnTo>
                      <a:pt x="36" y="180"/>
                    </a:lnTo>
                    <a:lnTo>
                      <a:pt x="42" y="180"/>
                    </a:lnTo>
                    <a:lnTo>
                      <a:pt x="42" y="174"/>
                    </a:lnTo>
                    <a:lnTo>
                      <a:pt x="48" y="174"/>
                    </a:lnTo>
                    <a:lnTo>
                      <a:pt x="54" y="174"/>
                    </a:lnTo>
                    <a:lnTo>
                      <a:pt x="54" y="168"/>
                    </a:lnTo>
                    <a:lnTo>
                      <a:pt x="48" y="168"/>
                    </a:lnTo>
                    <a:lnTo>
                      <a:pt x="54" y="168"/>
                    </a:lnTo>
                    <a:lnTo>
                      <a:pt x="54" y="162"/>
                    </a:lnTo>
                    <a:lnTo>
                      <a:pt x="60" y="162"/>
                    </a:lnTo>
                    <a:lnTo>
                      <a:pt x="60" y="156"/>
                    </a:lnTo>
                    <a:lnTo>
                      <a:pt x="60" y="150"/>
                    </a:lnTo>
                    <a:lnTo>
                      <a:pt x="60" y="144"/>
                    </a:lnTo>
                    <a:lnTo>
                      <a:pt x="54" y="144"/>
                    </a:lnTo>
                    <a:lnTo>
                      <a:pt x="54" y="138"/>
                    </a:lnTo>
                    <a:lnTo>
                      <a:pt x="60" y="138"/>
                    </a:lnTo>
                    <a:lnTo>
                      <a:pt x="66" y="138"/>
                    </a:lnTo>
                    <a:lnTo>
                      <a:pt x="72" y="138"/>
                    </a:lnTo>
                    <a:lnTo>
                      <a:pt x="72" y="132"/>
                    </a:lnTo>
                    <a:lnTo>
                      <a:pt x="72" y="126"/>
                    </a:lnTo>
                    <a:lnTo>
                      <a:pt x="72" y="120"/>
                    </a:lnTo>
                    <a:lnTo>
                      <a:pt x="66" y="120"/>
                    </a:lnTo>
                    <a:lnTo>
                      <a:pt x="66" y="114"/>
                    </a:lnTo>
                    <a:lnTo>
                      <a:pt x="72" y="114"/>
                    </a:lnTo>
                    <a:lnTo>
                      <a:pt x="72" y="108"/>
                    </a:lnTo>
                    <a:lnTo>
                      <a:pt x="78" y="102"/>
                    </a:lnTo>
                    <a:lnTo>
                      <a:pt x="78" y="96"/>
                    </a:lnTo>
                    <a:lnTo>
                      <a:pt x="84" y="96"/>
                    </a:lnTo>
                    <a:lnTo>
                      <a:pt x="84" y="90"/>
                    </a:lnTo>
                    <a:lnTo>
                      <a:pt x="84" y="96"/>
                    </a:lnTo>
                    <a:lnTo>
                      <a:pt x="90" y="96"/>
                    </a:lnTo>
                    <a:lnTo>
                      <a:pt x="84" y="96"/>
                    </a:lnTo>
                    <a:lnTo>
                      <a:pt x="84" y="102"/>
                    </a:lnTo>
                    <a:lnTo>
                      <a:pt x="90" y="102"/>
                    </a:lnTo>
                    <a:lnTo>
                      <a:pt x="96" y="102"/>
                    </a:lnTo>
                    <a:lnTo>
                      <a:pt x="102" y="108"/>
                    </a:lnTo>
                    <a:lnTo>
                      <a:pt x="108" y="108"/>
                    </a:lnTo>
                    <a:lnTo>
                      <a:pt x="108" y="114"/>
                    </a:lnTo>
                    <a:lnTo>
                      <a:pt x="114" y="114"/>
                    </a:lnTo>
                    <a:lnTo>
                      <a:pt x="114" y="108"/>
                    </a:lnTo>
                    <a:lnTo>
                      <a:pt x="120" y="108"/>
                    </a:lnTo>
                    <a:lnTo>
                      <a:pt x="126" y="108"/>
                    </a:lnTo>
                    <a:lnTo>
                      <a:pt x="126" y="102"/>
                    </a:lnTo>
                    <a:lnTo>
                      <a:pt x="126" y="96"/>
                    </a:lnTo>
                    <a:lnTo>
                      <a:pt x="126" y="90"/>
                    </a:lnTo>
                    <a:lnTo>
                      <a:pt x="126" y="84"/>
                    </a:lnTo>
                    <a:lnTo>
                      <a:pt x="126" y="78"/>
                    </a:lnTo>
                    <a:lnTo>
                      <a:pt x="126" y="84"/>
                    </a:lnTo>
                    <a:lnTo>
                      <a:pt x="132" y="84"/>
                    </a:lnTo>
                    <a:lnTo>
                      <a:pt x="138" y="84"/>
                    </a:lnTo>
                    <a:lnTo>
                      <a:pt x="144" y="84"/>
                    </a:lnTo>
                    <a:lnTo>
                      <a:pt x="144" y="78"/>
                    </a:lnTo>
                    <a:lnTo>
                      <a:pt x="144" y="72"/>
                    </a:lnTo>
                    <a:lnTo>
                      <a:pt x="144" y="66"/>
                    </a:lnTo>
                    <a:lnTo>
                      <a:pt x="150" y="66"/>
                    </a:lnTo>
                    <a:lnTo>
                      <a:pt x="150" y="60"/>
                    </a:lnTo>
                    <a:lnTo>
                      <a:pt x="156" y="60"/>
                    </a:lnTo>
                    <a:lnTo>
                      <a:pt x="156" y="54"/>
                    </a:lnTo>
                    <a:lnTo>
                      <a:pt x="162" y="54"/>
                    </a:lnTo>
                    <a:lnTo>
                      <a:pt x="162" y="48"/>
                    </a:lnTo>
                    <a:lnTo>
                      <a:pt x="168" y="48"/>
                    </a:lnTo>
                    <a:lnTo>
                      <a:pt x="174" y="48"/>
                    </a:lnTo>
                    <a:lnTo>
                      <a:pt x="180" y="48"/>
                    </a:lnTo>
                    <a:lnTo>
                      <a:pt x="180" y="54"/>
                    </a:lnTo>
                    <a:lnTo>
                      <a:pt x="186" y="54"/>
                    </a:lnTo>
                    <a:lnTo>
                      <a:pt x="192" y="54"/>
                    </a:lnTo>
                    <a:lnTo>
                      <a:pt x="192" y="48"/>
                    </a:lnTo>
                    <a:lnTo>
                      <a:pt x="198" y="48"/>
                    </a:lnTo>
                    <a:lnTo>
                      <a:pt x="198" y="42"/>
                    </a:lnTo>
                    <a:lnTo>
                      <a:pt x="198" y="36"/>
                    </a:lnTo>
                    <a:lnTo>
                      <a:pt x="210" y="36"/>
                    </a:lnTo>
                    <a:lnTo>
                      <a:pt x="216" y="36"/>
                    </a:lnTo>
                    <a:lnTo>
                      <a:pt x="216" y="30"/>
                    </a:lnTo>
                    <a:lnTo>
                      <a:pt x="234" y="24"/>
                    </a:lnTo>
                    <a:lnTo>
                      <a:pt x="240" y="18"/>
                    </a:lnTo>
                    <a:lnTo>
                      <a:pt x="246" y="18"/>
                    </a:lnTo>
                    <a:lnTo>
                      <a:pt x="252" y="18"/>
                    </a:lnTo>
                    <a:lnTo>
                      <a:pt x="252" y="12"/>
                    </a:lnTo>
                    <a:lnTo>
                      <a:pt x="258" y="12"/>
                    </a:lnTo>
                    <a:lnTo>
                      <a:pt x="258" y="6"/>
                    </a:lnTo>
                    <a:lnTo>
                      <a:pt x="264" y="6"/>
                    </a:lnTo>
                    <a:lnTo>
                      <a:pt x="264" y="0"/>
                    </a:lnTo>
                    <a:lnTo>
                      <a:pt x="270" y="0"/>
                    </a:lnTo>
                    <a:lnTo>
                      <a:pt x="276" y="0"/>
                    </a:lnTo>
                    <a:lnTo>
                      <a:pt x="282" y="0"/>
                    </a:lnTo>
                    <a:lnTo>
                      <a:pt x="282" y="6"/>
                    </a:lnTo>
                    <a:lnTo>
                      <a:pt x="288" y="6"/>
                    </a:lnTo>
                    <a:lnTo>
                      <a:pt x="294" y="0"/>
                    </a:lnTo>
                    <a:lnTo>
                      <a:pt x="294" y="6"/>
                    </a:lnTo>
                    <a:lnTo>
                      <a:pt x="300" y="6"/>
                    </a:lnTo>
                    <a:lnTo>
                      <a:pt x="306" y="6"/>
                    </a:lnTo>
                    <a:lnTo>
                      <a:pt x="312" y="6"/>
                    </a:lnTo>
                    <a:lnTo>
                      <a:pt x="318" y="6"/>
                    </a:lnTo>
                    <a:lnTo>
                      <a:pt x="318" y="12"/>
                    </a:lnTo>
                    <a:lnTo>
                      <a:pt x="318" y="18"/>
                    </a:lnTo>
                    <a:lnTo>
                      <a:pt x="318" y="24"/>
                    </a:lnTo>
                    <a:lnTo>
                      <a:pt x="318" y="30"/>
                    </a:lnTo>
                    <a:lnTo>
                      <a:pt x="318" y="36"/>
                    </a:lnTo>
                    <a:lnTo>
                      <a:pt x="318" y="42"/>
                    </a:lnTo>
                    <a:lnTo>
                      <a:pt x="324" y="42"/>
                    </a:lnTo>
                    <a:lnTo>
                      <a:pt x="324" y="48"/>
                    </a:lnTo>
                    <a:lnTo>
                      <a:pt x="330" y="48"/>
                    </a:lnTo>
                    <a:lnTo>
                      <a:pt x="330" y="54"/>
                    </a:lnTo>
                    <a:lnTo>
                      <a:pt x="324" y="54"/>
                    </a:lnTo>
                    <a:lnTo>
                      <a:pt x="324" y="60"/>
                    </a:lnTo>
                    <a:lnTo>
                      <a:pt x="330" y="60"/>
                    </a:lnTo>
                    <a:lnTo>
                      <a:pt x="330" y="66"/>
                    </a:lnTo>
                    <a:lnTo>
                      <a:pt x="336" y="66"/>
                    </a:lnTo>
                    <a:lnTo>
                      <a:pt x="330" y="66"/>
                    </a:lnTo>
                    <a:lnTo>
                      <a:pt x="330" y="72"/>
                    </a:lnTo>
                    <a:lnTo>
                      <a:pt x="336" y="72"/>
                    </a:lnTo>
                    <a:lnTo>
                      <a:pt x="336" y="78"/>
                    </a:lnTo>
                    <a:lnTo>
                      <a:pt x="342" y="78"/>
                    </a:lnTo>
                    <a:lnTo>
                      <a:pt x="342" y="84"/>
                    </a:lnTo>
                    <a:lnTo>
                      <a:pt x="348" y="84"/>
                    </a:lnTo>
                    <a:lnTo>
                      <a:pt x="354" y="84"/>
                    </a:lnTo>
                    <a:lnTo>
                      <a:pt x="360" y="84"/>
                    </a:lnTo>
                    <a:lnTo>
                      <a:pt x="360" y="90"/>
                    </a:lnTo>
                    <a:lnTo>
                      <a:pt x="366" y="90"/>
                    </a:lnTo>
                    <a:lnTo>
                      <a:pt x="366" y="96"/>
                    </a:lnTo>
                    <a:lnTo>
                      <a:pt x="372" y="96"/>
                    </a:lnTo>
                    <a:lnTo>
                      <a:pt x="372" y="102"/>
                    </a:lnTo>
                    <a:lnTo>
                      <a:pt x="372" y="96"/>
                    </a:lnTo>
                    <a:lnTo>
                      <a:pt x="372" y="102"/>
                    </a:lnTo>
                    <a:lnTo>
                      <a:pt x="378" y="96"/>
                    </a:lnTo>
                    <a:lnTo>
                      <a:pt x="378" y="102"/>
                    </a:lnTo>
                    <a:lnTo>
                      <a:pt x="372" y="102"/>
                    </a:lnTo>
                    <a:lnTo>
                      <a:pt x="366" y="102"/>
                    </a:lnTo>
                    <a:lnTo>
                      <a:pt x="360" y="102"/>
                    </a:lnTo>
                    <a:lnTo>
                      <a:pt x="360" y="108"/>
                    </a:lnTo>
                    <a:lnTo>
                      <a:pt x="360" y="114"/>
                    </a:lnTo>
                    <a:lnTo>
                      <a:pt x="360" y="120"/>
                    </a:lnTo>
                    <a:lnTo>
                      <a:pt x="366" y="120"/>
                    </a:lnTo>
                    <a:lnTo>
                      <a:pt x="372" y="126"/>
                    </a:lnTo>
                    <a:lnTo>
                      <a:pt x="378" y="126"/>
                    </a:lnTo>
                    <a:lnTo>
                      <a:pt x="378" y="132"/>
                    </a:lnTo>
                    <a:lnTo>
                      <a:pt x="384" y="132"/>
                    </a:lnTo>
                    <a:lnTo>
                      <a:pt x="384" y="138"/>
                    </a:lnTo>
                    <a:lnTo>
                      <a:pt x="390" y="138"/>
                    </a:lnTo>
                    <a:lnTo>
                      <a:pt x="390" y="144"/>
                    </a:lnTo>
                    <a:lnTo>
                      <a:pt x="396" y="144"/>
                    </a:lnTo>
                    <a:lnTo>
                      <a:pt x="402" y="144"/>
                    </a:lnTo>
                    <a:lnTo>
                      <a:pt x="408" y="144"/>
                    </a:lnTo>
                    <a:lnTo>
                      <a:pt x="414" y="138"/>
                    </a:lnTo>
                    <a:lnTo>
                      <a:pt x="420" y="138"/>
                    </a:lnTo>
                    <a:lnTo>
                      <a:pt x="426" y="138"/>
                    </a:lnTo>
                    <a:lnTo>
                      <a:pt x="426" y="144"/>
                    </a:lnTo>
                    <a:lnTo>
                      <a:pt x="432" y="144"/>
                    </a:lnTo>
                    <a:lnTo>
                      <a:pt x="432" y="150"/>
                    </a:lnTo>
                    <a:lnTo>
                      <a:pt x="432" y="156"/>
                    </a:lnTo>
                    <a:lnTo>
                      <a:pt x="426" y="156"/>
                    </a:lnTo>
                    <a:lnTo>
                      <a:pt x="420" y="156"/>
                    </a:lnTo>
                    <a:lnTo>
                      <a:pt x="420" y="162"/>
                    </a:lnTo>
                    <a:lnTo>
                      <a:pt x="426" y="162"/>
                    </a:lnTo>
                    <a:lnTo>
                      <a:pt x="426" y="168"/>
                    </a:lnTo>
                    <a:lnTo>
                      <a:pt x="432" y="174"/>
                    </a:lnTo>
                    <a:lnTo>
                      <a:pt x="438" y="180"/>
                    </a:lnTo>
                    <a:lnTo>
                      <a:pt x="438" y="186"/>
                    </a:lnTo>
                    <a:lnTo>
                      <a:pt x="438" y="192"/>
                    </a:lnTo>
                    <a:lnTo>
                      <a:pt x="432" y="192"/>
                    </a:lnTo>
                    <a:lnTo>
                      <a:pt x="432" y="198"/>
                    </a:lnTo>
                    <a:lnTo>
                      <a:pt x="432" y="204"/>
                    </a:lnTo>
                    <a:lnTo>
                      <a:pt x="426" y="204"/>
                    </a:lnTo>
                    <a:lnTo>
                      <a:pt x="420" y="210"/>
                    </a:lnTo>
                    <a:lnTo>
                      <a:pt x="414" y="210"/>
                    </a:lnTo>
                    <a:lnTo>
                      <a:pt x="408" y="210"/>
                    </a:lnTo>
                    <a:lnTo>
                      <a:pt x="402" y="210"/>
                    </a:lnTo>
                    <a:lnTo>
                      <a:pt x="396" y="210"/>
                    </a:lnTo>
                    <a:lnTo>
                      <a:pt x="396" y="216"/>
                    </a:lnTo>
                    <a:lnTo>
                      <a:pt x="396" y="210"/>
                    </a:lnTo>
                    <a:lnTo>
                      <a:pt x="390" y="210"/>
                    </a:lnTo>
                    <a:lnTo>
                      <a:pt x="384" y="210"/>
                    </a:lnTo>
                    <a:lnTo>
                      <a:pt x="384" y="216"/>
                    </a:lnTo>
                    <a:lnTo>
                      <a:pt x="378" y="216"/>
                    </a:lnTo>
                    <a:lnTo>
                      <a:pt x="384" y="216"/>
                    </a:lnTo>
                    <a:lnTo>
                      <a:pt x="378" y="216"/>
                    </a:lnTo>
                    <a:lnTo>
                      <a:pt x="378" y="222"/>
                    </a:lnTo>
                    <a:lnTo>
                      <a:pt x="378" y="216"/>
                    </a:lnTo>
                    <a:lnTo>
                      <a:pt x="378" y="222"/>
                    </a:lnTo>
                    <a:lnTo>
                      <a:pt x="372" y="222"/>
                    </a:lnTo>
                    <a:lnTo>
                      <a:pt x="372" y="228"/>
                    </a:lnTo>
                    <a:lnTo>
                      <a:pt x="366" y="228"/>
                    </a:lnTo>
                    <a:lnTo>
                      <a:pt x="366" y="234"/>
                    </a:lnTo>
                    <a:lnTo>
                      <a:pt x="366" y="228"/>
                    </a:lnTo>
                    <a:lnTo>
                      <a:pt x="360" y="228"/>
                    </a:lnTo>
                    <a:lnTo>
                      <a:pt x="360" y="23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30" name="Freeform 14"/>
              <p:cNvSpPr>
                <a:spLocks/>
              </p:cNvSpPr>
              <p:nvPr>
                <p:custDataLst>
                  <p:tags r:id="rId14"/>
                </p:custDataLst>
              </p:nvPr>
            </p:nvSpPr>
            <p:spPr bwMode="gray">
              <a:xfrm>
                <a:off x="1759878" y="1402124"/>
                <a:ext cx="309571" cy="423378"/>
              </a:xfrm>
              <a:custGeom>
                <a:avLst/>
                <a:gdLst>
                  <a:gd name="T0" fmla="*/ 6778 w 246"/>
                  <a:gd name="T1" fmla="*/ 121066 h 360"/>
                  <a:gd name="T2" fmla="*/ 8714 w 246"/>
                  <a:gd name="T3" fmla="*/ 121066 h 360"/>
                  <a:gd name="T4" fmla="*/ 10651 w 246"/>
                  <a:gd name="T5" fmla="*/ 117192 h 360"/>
                  <a:gd name="T6" fmla="*/ 10651 w 246"/>
                  <a:gd name="T7" fmla="*/ 115254 h 360"/>
                  <a:gd name="T8" fmla="*/ 6778 w 246"/>
                  <a:gd name="T9" fmla="*/ 108475 h 360"/>
                  <a:gd name="T10" fmla="*/ 3873 w 246"/>
                  <a:gd name="T11" fmla="*/ 104601 h 360"/>
                  <a:gd name="T12" fmla="*/ 1936 w 246"/>
                  <a:gd name="T13" fmla="*/ 95884 h 360"/>
                  <a:gd name="T14" fmla="*/ 0 w 246"/>
                  <a:gd name="T15" fmla="*/ 87168 h 360"/>
                  <a:gd name="T16" fmla="*/ 3873 w 246"/>
                  <a:gd name="T17" fmla="*/ 78451 h 360"/>
                  <a:gd name="T18" fmla="*/ 6778 w 246"/>
                  <a:gd name="T19" fmla="*/ 72639 h 360"/>
                  <a:gd name="T20" fmla="*/ 8714 w 246"/>
                  <a:gd name="T21" fmla="*/ 63923 h 360"/>
                  <a:gd name="T22" fmla="*/ 14523 w 246"/>
                  <a:gd name="T23" fmla="*/ 60049 h 360"/>
                  <a:gd name="T24" fmla="*/ 12587 w 246"/>
                  <a:gd name="T25" fmla="*/ 51332 h 360"/>
                  <a:gd name="T26" fmla="*/ 10651 w 246"/>
                  <a:gd name="T27" fmla="*/ 42615 h 360"/>
                  <a:gd name="T28" fmla="*/ 10651 w 246"/>
                  <a:gd name="T29" fmla="*/ 36804 h 360"/>
                  <a:gd name="T30" fmla="*/ 10651 w 246"/>
                  <a:gd name="T31" fmla="*/ 30024 h 360"/>
                  <a:gd name="T32" fmla="*/ 8714 w 246"/>
                  <a:gd name="T33" fmla="*/ 23245 h 360"/>
                  <a:gd name="T34" fmla="*/ 8714 w 246"/>
                  <a:gd name="T35" fmla="*/ 17434 h 360"/>
                  <a:gd name="T36" fmla="*/ 6778 w 246"/>
                  <a:gd name="T37" fmla="*/ 6780 h 360"/>
                  <a:gd name="T38" fmla="*/ 12587 w 246"/>
                  <a:gd name="T39" fmla="*/ 1937 h 360"/>
                  <a:gd name="T40" fmla="*/ 23237 w 246"/>
                  <a:gd name="T41" fmla="*/ 1937 h 360"/>
                  <a:gd name="T42" fmla="*/ 33887 w 246"/>
                  <a:gd name="T43" fmla="*/ 1937 h 360"/>
                  <a:gd name="T44" fmla="*/ 44538 w 246"/>
                  <a:gd name="T45" fmla="*/ 1937 h 360"/>
                  <a:gd name="T46" fmla="*/ 51316 w 246"/>
                  <a:gd name="T47" fmla="*/ 1937 h 360"/>
                  <a:gd name="T48" fmla="*/ 55188 w 246"/>
                  <a:gd name="T49" fmla="*/ 0 h 360"/>
                  <a:gd name="T50" fmla="*/ 57125 w 246"/>
                  <a:gd name="T51" fmla="*/ 0 h 360"/>
                  <a:gd name="T52" fmla="*/ 63902 w 246"/>
                  <a:gd name="T53" fmla="*/ 3874 h 360"/>
                  <a:gd name="T54" fmla="*/ 63902 w 246"/>
                  <a:gd name="T55" fmla="*/ 10654 h 360"/>
                  <a:gd name="T56" fmla="*/ 70679 w 246"/>
                  <a:gd name="T57" fmla="*/ 14528 h 360"/>
                  <a:gd name="T58" fmla="*/ 70679 w 246"/>
                  <a:gd name="T59" fmla="*/ 17434 h 360"/>
                  <a:gd name="T60" fmla="*/ 70679 w 246"/>
                  <a:gd name="T61" fmla="*/ 23245 h 360"/>
                  <a:gd name="T62" fmla="*/ 70679 w 246"/>
                  <a:gd name="T63" fmla="*/ 30024 h 360"/>
                  <a:gd name="T64" fmla="*/ 70679 w 246"/>
                  <a:gd name="T65" fmla="*/ 31961 h 360"/>
                  <a:gd name="T66" fmla="*/ 72616 w 246"/>
                  <a:gd name="T67" fmla="*/ 31961 h 360"/>
                  <a:gd name="T68" fmla="*/ 74552 w 246"/>
                  <a:gd name="T69" fmla="*/ 36804 h 360"/>
                  <a:gd name="T70" fmla="*/ 74552 w 246"/>
                  <a:gd name="T71" fmla="*/ 42615 h 360"/>
                  <a:gd name="T72" fmla="*/ 72616 w 246"/>
                  <a:gd name="T73" fmla="*/ 51332 h 360"/>
                  <a:gd name="T74" fmla="*/ 78425 w 246"/>
                  <a:gd name="T75" fmla="*/ 55206 h 360"/>
                  <a:gd name="T76" fmla="*/ 76489 w 246"/>
                  <a:gd name="T77" fmla="*/ 63923 h 360"/>
                  <a:gd name="T78" fmla="*/ 74552 w 246"/>
                  <a:gd name="T79" fmla="*/ 72639 h 360"/>
                  <a:gd name="T80" fmla="*/ 76489 w 246"/>
                  <a:gd name="T81" fmla="*/ 81357 h 360"/>
                  <a:gd name="T82" fmla="*/ 76489 w 246"/>
                  <a:gd name="T83" fmla="*/ 87168 h 360"/>
                  <a:gd name="T84" fmla="*/ 78425 w 246"/>
                  <a:gd name="T85" fmla="*/ 91042 h 360"/>
                  <a:gd name="T86" fmla="*/ 83266 w 246"/>
                  <a:gd name="T87" fmla="*/ 97821 h 360"/>
                  <a:gd name="T88" fmla="*/ 83266 w 246"/>
                  <a:gd name="T89" fmla="*/ 104601 h 360"/>
                  <a:gd name="T90" fmla="*/ 74552 w 246"/>
                  <a:gd name="T91" fmla="*/ 106538 h 360"/>
                  <a:gd name="T92" fmla="*/ 65839 w 246"/>
                  <a:gd name="T93" fmla="*/ 108475 h 360"/>
                  <a:gd name="T94" fmla="*/ 60030 w 246"/>
                  <a:gd name="T95" fmla="*/ 113318 h 360"/>
                  <a:gd name="T96" fmla="*/ 51316 w 246"/>
                  <a:gd name="T97" fmla="*/ 115254 h 360"/>
                  <a:gd name="T98" fmla="*/ 44538 w 246"/>
                  <a:gd name="T99" fmla="*/ 119128 h 360"/>
                  <a:gd name="T100" fmla="*/ 36792 w 246"/>
                  <a:gd name="T101" fmla="*/ 121066 h 360"/>
                  <a:gd name="T102" fmla="*/ 30014 w 246"/>
                  <a:gd name="T103" fmla="*/ 125908 h 360"/>
                  <a:gd name="T104" fmla="*/ 21301 w 246"/>
                  <a:gd name="T105" fmla="*/ 127846 h 360"/>
                  <a:gd name="T106" fmla="*/ 19364 w 246"/>
                  <a:gd name="T107" fmla="*/ 123972 h 360"/>
                  <a:gd name="T108" fmla="*/ 8714 w 246"/>
                  <a:gd name="T109" fmla="*/ 121066 h 3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6" h="360">
                    <a:moveTo>
                      <a:pt x="6" y="342"/>
                    </a:moveTo>
                    <a:lnTo>
                      <a:pt x="6" y="336"/>
                    </a:lnTo>
                    <a:lnTo>
                      <a:pt x="12" y="336"/>
                    </a:lnTo>
                    <a:lnTo>
                      <a:pt x="12" y="342"/>
                    </a:lnTo>
                    <a:lnTo>
                      <a:pt x="18" y="342"/>
                    </a:lnTo>
                    <a:lnTo>
                      <a:pt x="18" y="336"/>
                    </a:lnTo>
                    <a:lnTo>
                      <a:pt x="24" y="336"/>
                    </a:lnTo>
                    <a:lnTo>
                      <a:pt x="24" y="342"/>
                    </a:lnTo>
                    <a:lnTo>
                      <a:pt x="24" y="336"/>
                    </a:lnTo>
                    <a:lnTo>
                      <a:pt x="24" y="342"/>
                    </a:lnTo>
                    <a:lnTo>
                      <a:pt x="24" y="336"/>
                    </a:lnTo>
                    <a:lnTo>
                      <a:pt x="30" y="336"/>
                    </a:lnTo>
                    <a:lnTo>
                      <a:pt x="24" y="336"/>
                    </a:lnTo>
                    <a:lnTo>
                      <a:pt x="24" y="330"/>
                    </a:lnTo>
                    <a:lnTo>
                      <a:pt x="30" y="330"/>
                    </a:lnTo>
                    <a:lnTo>
                      <a:pt x="24" y="330"/>
                    </a:lnTo>
                    <a:lnTo>
                      <a:pt x="30" y="330"/>
                    </a:lnTo>
                    <a:lnTo>
                      <a:pt x="24" y="330"/>
                    </a:lnTo>
                    <a:lnTo>
                      <a:pt x="24" y="324"/>
                    </a:lnTo>
                    <a:lnTo>
                      <a:pt x="30" y="324"/>
                    </a:lnTo>
                    <a:lnTo>
                      <a:pt x="30" y="318"/>
                    </a:lnTo>
                    <a:lnTo>
                      <a:pt x="24" y="318"/>
                    </a:lnTo>
                    <a:lnTo>
                      <a:pt x="24" y="312"/>
                    </a:lnTo>
                    <a:lnTo>
                      <a:pt x="24" y="306"/>
                    </a:lnTo>
                    <a:lnTo>
                      <a:pt x="18" y="306"/>
                    </a:lnTo>
                    <a:lnTo>
                      <a:pt x="18" y="312"/>
                    </a:lnTo>
                    <a:lnTo>
                      <a:pt x="18" y="306"/>
                    </a:lnTo>
                    <a:lnTo>
                      <a:pt x="12" y="306"/>
                    </a:lnTo>
                    <a:lnTo>
                      <a:pt x="12" y="300"/>
                    </a:lnTo>
                    <a:lnTo>
                      <a:pt x="12" y="294"/>
                    </a:lnTo>
                    <a:lnTo>
                      <a:pt x="12" y="288"/>
                    </a:lnTo>
                    <a:lnTo>
                      <a:pt x="6" y="288"/>
                    </a:lnTo>
                    <a:lnTo>
                      <a:pt x="6" y="282"/>
                    </a:lnTo>
                    <a:lnTo>
                      <a:pt x="6" y="276"/>
                    </a:lnTo>
                    <a:lnTo>
                      <a:pt x="6" y="270"/>
                    </a:lnTo>
                    <a:lnTo>
                      <a:pt x="0" y="270"/>
                    </a:lnTo>
                    <a:lnTo>
                      <a:pt x="0" y="264"/>
                    </a:lnTo>
                    <a:lnTo>
                      <a:pt x="0" y="258"/>
                    </a:lnTo>
                    <a:lnTo>
                      <a:pt x="0" y="252"/>
                    </a:lnTo>
                    <a:lnTo>
                      <a:pt x="0" y="246"/>
                    </a:lnTo>
                    <a:lnTo>
                      <a:pt x="0" y="240"/>
                    </a:lnTo>
                    <a:lnTo>
                      <a:pt x="6" y="234"/>
                    </a:lnTo>
                    <a:lnTo>
                      <a:pt x="6" y="228"/>
                    </a:lnTo>
                    <a:lnTo>
                      <a:pt x="12" y="228"/>
                    </a:lnTo>
                    <a:lnTo>
                      <a:pt x="12" y="222"/>
                    </a:lnTo>
                    <a:lnTo>
                      <a:pt x="18" y="222"/>
                    </a:lnTo>
                    <a:lnTo>
                      <a:pt x="12" y="216"/>
                    </a:lnTo>
                    <a:lnTo>
                      <a:pt x="18" y="216"/>
                    </a:lnTo>
                    <a:lnTo>
                      <a:pt x="18" y="210"/>
                    </a:lnTo>
                    <a:lnTo>
                      <a:pt x="18" y="204"/>
                    </a:lnTo>
                    <a:lnTo>
                      <a:pt x="18" y="198"/>
                    </a:lnTo>
                    <a:lnTo>
                      <a:pt x="18" y="192"/>
                    </a:lnTo>
                    <a:lnTo>
                      <a:pt x="24" y="192"/>
                    </a:lnTo>
                    <a:lnTo>
                      <a:pt x="24" y="186"/>
                    </a:lnTo>
                    <a:lnTo>
                      <a:pt x="24" y="180"/>
                    </a:lnTo>
                    <a:lnTo>
                      <a:pt x="30" y="180"/>
                    </a:lnTo>
                    <a:lnTo>
                      <a:pt x="30" y="174"/>
                    </a:lnTo>
                    <a:lnTo>
                      <a:pt x="36" y="174"/>
                    </a:lnTo>
                    <a:lnTo>
                      <a:pt x="36" y="168"/>
                    </a:lnTo>
                    <a:lnTo>
                      <a:pt x="42" y="168"/>
                    </a:lnTo>
                    <a:lnTo>
                      <a:pt x="42" y="162"/>
                    </a:lnTo>
                    <a:lnTo>
                      <a:pt x="42" y="156"/>
                    </a:lnTo>
                    <a:lnTo>
                      <a:pt x="42" y="150"/>
                    </a:lnTo>
                    <a:lnTo>
                      <a:pt x="36" y="150"/>
                    </a:lnTo>
                    <a:lnTo>
                      <a:pt x="36" y="144"/>
                    </a:lnTo>
                    <a:lnTo>
                      <a:pt x="36" y="138"/>
                    </a:lnTo>
                    <a:lnTo>
                      <a:pt x="36" y="132"/>
                    </a:lnTo>
                    <a:lnTo>
                      <a:pt x="36" y="126"/>
                    </a:lnTo>
                    <a:lnTo>
                      <a:pt x="30" y="126"/>
                    </a:lnTo>
                    <a:lnTo>
                      <a:pt x="30" y="120"/>
                    </a:lnTo>
                    <a:lnTo>
                      <a:pt x="24" y="120"/>
                    </a:lnTo>
                    <a:lnTo>
                      <a:pt x="24" y="114"/>
                    </a:lnTo>
                    <a:lnTo>
                      <a:pt x="30" y="114"/>
                    </a:lnTo>
                    <a:lnTo>
                      <a:pt x="30" y="108"/>
                    </a:lnTo>
                    <a:lnTo>
                      <a:pt x="30" y="102"/>
                    </a:lnTo>
                    <a:lnTo>
                      <a:pt x="30" y="96"/>
                    </a:lnTo>
                    <a:lnTo>
                      <a:pt x="30" y="90"/>
                    </a:lnTo>
                    <a:lnTo>
                      <a:pt x="24" y="90"/>
                    </a:lnTo>
                    <a:lnTo>
                      <a:pt x="24" y="84"/>
                    </a:lnTo>
                    <a:lnTo>
                      <a:pt x="30" y="84"/>
                    </a:lnTo>
                    <a:lnTo>
                      <a:pt x="24" y="84"/>
                    </a:lnTo>
                    <a:lnTo>
                      <a:pt x="24" y="78"/>
                    </a:lnTo>
                    <a:lnTo>
                      <a:pt x="30" y="72"/>
                    </a:lnTo>
                    <a:lnTo>
                      <a:pt x="24" y="72"/>
                    </a:lnTo>
                    <a:lnTo>
                      <a:pt x="24" y="66"/>
                    </a:lnTo>
                    <a:lnTo>
                      <a:pt x="30" y="66"/>
                    </a:lnTo>
                    <a:lnTo>
                      <a:pt x="24" y="66"/>
                    </a:lnTo>
                    <a:lnTo>
                      <a:pt x="24" y="60"/>
                    </a:lnTo>
                    <a:lnTo>
                      <a:pt x="24" y="54"/>
                    </a:lnTo>
                    <a:lnTo>
                      <a:pt x="24" y="48"/>
                    </a:lnTo>
                    <a:lnTo>
                      <a:pt x="24" y="42"/>
                    </a:lnTo>
                    <a:lnTo>
                      <a:pt x="18" y="36"/>
                    </a:lnTo>
                    <a:lnTo>
                      <a:pt x="18" y="30"/>
                    </a:lnTo>
                    <a:lnTo>
                      <a:pt x="18" y="24"/>
                    </a:lnTo>
                    <a:lnTo>
                      <a:pt x="18" y="18"/>
                    </a:lnTo>
                    <a:lnTo>
                      <a:pt x="18" y="12"/>
                    </a:lnTo>
                    <a:lnTo>
                      <a:pt x="24" y="12"/>
                    </a:lnTo>
                    <a:lnTo>
                      <a:pt x="24" y="6"/>
                    </a:lnTo>
                    <a:lnTo>
                      <a:pt x="30" y="6"/>
                    </a:lnTo>
                    <a:lnTo>
                      <a:pt x="36" y="6"/>
                    </a:lnTo>
                    <a:lnTo>
                      <a:pt x="42" y="6"/>
                    </a:lnTo>
                    <a:lnTo>
                      <a:pt x="48" y="6"/>
                    </a:lnTo>
                    <a:lnTo>
                      <a:pt x="54" y="6"/>
                    </a:lnTo>
                    <a:lnTo>
                      <a:pt x="60" y="6"/>
                    </a:lnTo>
                    <a:lnTo>
                      <a:pt x="66" y="6"/>
                    </a:lnTo>
                    <a:lnTo>
                      <a:pt x="72" y="6"/>
                    </a:lnTo>
                    <a:lnTo>
                      <a:pt x="78" y="6"/>
                    </a:lnTo>
                    <a:lnTo>
                      <a:pt x="84" y="6"/>
                    </a:lnTo>
                    <a:lnTo>
                      <a:pt x="90" y="6"/>
                    </a:lnTo>
                    <a:lnTo>
                      <a:pt x="96" y="6"/>
                    </a:lnTo>
                    <a:lnTo>
                      <a:pt x="102" y="6"/>
                    </a:lnTo>
                    <a:lnTo>
                      <a:pt x="108" y="6"/>
                    </a:lnTo>
                    <a:lnTo>
                      <a:pt x="114" y="6"/>
                    </a:lnTo>
                    <a:lnTo>
                      <a:pt x="120" y="6"/>
                    </a:lnTo>
                    <a:lnTo>
                      <a:pt x="126" y="6"/>
                    </a:lnTo>
                    <a:lnTo>
                      <a:pt x="132" y="6"/>
                    </a:lnTo>
                    <a:lnTo>
                      <a:pt x="132" y="12"/>
                    </a:lnTo>
                    <a:lnTo>
                      <a:pt x="132" y="6"/>
                    </a:lnTo>
                    <a:lnTo>
                      <a:pt x="138" y="6"/>
                    </a:lnTo>
                    <a:lnTo>
                      <a:pt x="144" y="6"/>
                    </a:lnTo>
                    <a:lnTo>
                      <a:pt x="144" y="12"/>
                    </a:lnTo>
                    <a:lnTo>
                      <a:pt x="150" y="12"/>
                    </a:lnTo>
                    <a:lnTo>
                      <a:pt x="150" y="6"/>
                    </a:lnTo>
                    <a:lnTo>
                      <a:pt x="156" y="6"/>
                    </a:lnTo>
                    <a:lnTo>
                      <a:pt x="156" y="0"/>
                    </a:lnTo>
                    <a:lnTo>
                      <a:pt x="162" y="0"/>
                    </a:lnTo>
                    <a:lnTo>
                      <a:pt x="162" y="6"/>
                    </a:lnTo>
                    <a:lnTo>
                      <a:pt x="162" y="0"/>
                    </a:lnTo>
                    <a:lnTo>
                      <a:pt x="168" y="0"/>
                    </a:lnTo>
                    <a:lnTo>
                      <a:pt x="162" y="0"/>
                    </a:lnTo>
                    <a:lnTo>
                      <a:pt x="168" y="0"/>
                    </a:lnTo>
                    <a:lnTo>
                      <a:pt x="174" y="0"/>
                    </a:lnTo>
                    <a:lnTo>
                      <a:pt x="180" y="0"/>
                    </a:lnTo>
                    <a:lnTo>
                      <a:pt x="180" y="6"/>
                    </a:lnTo>
                    <a:lnTo>
                      <a:pt x="180" y="12"/>
                    </a:lnTo>
                    <a:lnTo>
                      <a:pt x="180" y="18"/>
                    </a:lnTo>
                    <a:lnTo>
                      <a:pt x="174" y="18"/>
                    </a:lnTo>
                    <a:lnTo>
                      <a:pt x="174" y="24"/>
                    </a:lnTo>
                    <a:lnTo>
                      <a:pt x="174" y="30"/>
                    </a:lnTo>
                    <a:lnTo>
                      <a:pt x="180" y="30"/>
                    </a:lnTo>
                    <a:lnTo>
                      <a:pt x="186" y="30"/>
                    </a:lnTo>
                    <a:lnTo>
                      <a:pt x="186" y="36"/>
                    </a:lnTo>
                    <a:lnTo>
                      <a:pt x="192" y="36"/>
                    </a:lnTo>
                    <a:lnTo>
                      <a:pt x="192" y="42"/>
                    </a:lnTo>
                    <a:lnTo>
                      <a:pt x="198" y="42"/>
                    </a:lnTo>
                    <a:lnTo>
                      <a:pt x="198" y="48"/>
                    </a:lnTo>
                    <a:lnTo>
                      <a:pt x="198" y="42"/>
                    </a:lnTo>
                    <a:lnTo>
                      <a:pt x="198" y="48"/>
                    </a:lnTo>
                    <a:lnTo>
                      <a:pt x="204" y="48"/>
                    </a:lnTo>
                    <a:lnTo>
                      <a:pt x="198" y="48"/>
                    </a:lnTo>
                    <a:lnTo>
                      <a:pt x="198" y="54"/>
                    </a:lnTo>
                    <a:lnTo>
                      <a:pt x="198" y="60"/>
                    </a:lnTo>
                    <a:lnTo>
                      <a:pt x="204" y="60"/>
                    </a:lnTo>
                    <a:lnTo>
                      <a:pt x="198" y="60"/>
                    </a:lnTo>
                    <a:lnTo>
                      <a:pt x="198" y="66"/>
                    </a:lnTo>
                    <a:lnTo>
                      <a:pt x="204" y="66"/>
                    </a:lnTo>
                    <a:lnTo>
                      <a:pt x="198" y="66"/>
                    </a:lnTo>
                    <a:lnTo>
                      <a:pt x="198" y="72"/>
                    </a:lnTo>
                    <a:lnTo>
                      <a:pt x="198" y="78"/>
                    </a:lnTo>
                    <a:lnTo>
                      <a:pt x="198" y="84"/>
                    </a:lnTo>
                    <a:lnTo>
                      <a:pt x="204" y="84"/>
                    </a:lnTo>
                    <a:lnTo>
                      <a:pt x="204" y="90"/>
                    </a:lnTo>
                    <a:lnTo>
                      <a:pt x="198" y="90"/>
                    </a:lnTo>
                    <a:lnTo>
                      <a:pt x="192" y="90"/>
                    </a:lnTo>
                    <a:lnTo>
                      <a:pt x="198" y="90"/>
                    </a:lnTo>
                    <a:lnTo>
                      <a:pt x="198" y="96"/>
                    </a:lnTo>
                    <a:lnTo>
                      <a:pt x="192" y="96"/>
                    </a:lnTo>
                    <a:lnTo>
                      <a:pt x="198" y="96"/>
                    </a:lnTo>
                    <a:lnTo>
                      <a:pt x="198" y="90"/>
                    </a:lnTo>
                    <a:lnTo>
                      <a:pt x="204" y="90"/>
                    </a:lnTo>
                    <a:lnTo>
                      <a:pt x="204" y="96"/>
                    </a:lnTo>
                    <a:lnTo>
                      <a:pt x="204" y="90"/>
                    </a:lnTo>
                    <a:lnTo>
                      <a:pt x="204" y="96"/>
                    </a:lnTo>
                    <a:lnTo>
                      <a:pt x="210" y="96"/>
                    </a:lnTo>
                    <a:lnTo>
                      <a:pt x="210" y="102"/>
                    </a:lnTo>
                    <a:lnTo>
                      <a:pt x="210" y="108"/>
                    </a:lnTo>
                    <a:lnTo>
                      <a:pt x="210" y="114"/>
                    </a:lnTo>
                    <a:lnTo>
                      <a:pt x="204" y="114"/>
                    </a:lnTo>
                    <a:lnTo>
                      <a:pt x="204" y="120"/>
                    </a:lnTo>
                    <a:lnTo>
                      <a:pt x="210" y="120"/>
                    </a:lnTo>
                    <a:lnTo>
                      <a:pt x="210" y="126"/>
                    </a:lnTo>
                    <a:lnTo>
                      <a:pt x="210" y="132"/>
                    </a:lnTo>
                    <a:lnTo>
                      <a:pt x="204" y="132"/>
                    </a:lnTo>
                    <a:lnTo>
                      <a:pt x="204" y="138"/>
                    </a:lnTo>
                    <a:lnTo>
                      <a:pt x="204" y="144"/>
                    </a:lnTo>
                    <a:lnTo>
                      <a:pt x="210" y="144"/>
                    </a:lnTo>
                    <a:lnTo>
                      <a:pt x="210" y="150"/>
                    </a:lnTo>
                    <a:lnTo>
                      <a:pt x="216" y="150"/>
                    </a:lnTo>
                    <a:lnTo>
                      <a:pt x="216" y="156"/>
                    </a:lnTo>
                    <a:lnTo>
                      <a:pt x="222" y="156"/>
                    </a:lnTo>
                    <a:lnTo>
                      <a:pt x="222" y="162"/>
                    </a:lnTo>
                    <a:lnTo>
                      <a:pt x="216" y="162"/>
                    </a:lnTo>
                    <a:lnTo>
                      <a:pt x="216" y="168"/>
                    </a:lnTo>
                    <a:lnTo>
                      <a:pt x="216" y="174"/>
                    </a:lnTo>
                    <a:lnTo>
                      <a:pt x="216" y="180"/>
                    </a:lnTo>
                    <a:lnTo>
                      <a:pt x="216" y="186"/>
                    </a:lnTo>
                    <a:lnTo>
                      <a:pt x="216" y="192"/>
                    </a:lnTo>
                    <a:lnTo>
                      <a:pt x="210" y="192"/>
                    </a:lnTo>
                    <a:lnTo>
                      <a:pt x="210" y="198"/>
                    </a:lnTo>
                    <a:lnTo>
                      <a:pt x="210" y="204"/>
                    </a:lnTo>
                    <a:lnTo>
                      <a:pt x="210" y="210"/>
                    </a:lnTo>
                    <a:lnTo>
                      <a:pt x="216" y="210"/>
                    </a:lnTo>
                    <a:lnTo>
                      <a:pt x="216" y="216"/>
                    </a:lnTo>
                    <a:lnTo>
                      <a:pt x="216" y="222"/>
                    </a:lnTo>
                    <a:lnTo>
                      <a:pt x="216" y="228"/>
                    </a:lnTo>
                    <a:lnTo>
                      <a:pt x="216" y="234"/>
                    </a:lnTo>
                    <a:lnTo>
                      <a:pt x="210" y="234"/>
                    </a:lnTo>
                    <a:lnTo>
                      <a:pt x="210" y="240"/>
                    </a:lnTo>
                    <a:lnTo>
                      <a:pt x="210" y="246"/>
                    </a:lnTo>
                    <a:lnTo>
                      <a:pt x="216" y="246"/>
                    </a:lnTo>
                    <a:lnTo>
                      <a:pt x="210" y="246"/>
                    </a:lnTo>
                    <a:lnTo>
                      <a:pt x="216" y="246"/>
                    </a:lnTo>
                    <a:lnTo>
                      <a:pt x="216" y="252"/>
                    </a:lnTo>
                    <a:lnTo>
                      <a:pt x="216" y="258"/>
                    </a:lnTo>
                    <a:lnTo>
                      <a:pt x="222" y="258"/>
                    </a:lnTo>
                    <a:lnTo>
                      <a:pt x="222" y="264"/>
                    </a:lnTo>
                    <a:lnTo>
                      <a:pt x="228" y="264"/>
                    </a:lnTo>
                    <a:lnTo>
                      <a:pt x="228" y="270"/>
                    </a:lnTo>
                    <a:lnTo>
                      <a:pt x="234" y="270"/>
                    </a:lnTo>
                    <a:lnTo>
                      <a:pt x="234" y="276"/>
                    </a:lnTo>
                    <a:lnTo>
                      <a:pt x="240" y="276"/>
                    </a:lnTo>
                    <a:lnTo>
                      <a:pt x="240" y="282"/>
                    </a:lnTo>
                    <a:lnTo>
                      <a:pt x="246" y="282"/>
                    </a:lnTo>
                    <a:lnTo>
                      <a:pt x="240" y="288"/>
                    </a:lnTo>
                    <a:lnTo>
                      <a:pt x="234" y="294"/>
                    </a:lnTo>
                    <a:lnTo>
                      <a:pt x="234" y="300"/>
                    </a:lnTo>
                    <a:lnTo>
                      <a:pt x="228" y="300"/>
                    </a:lnTo>
                    <a:lnTo>
                      <a:pt x="222" y="300"/>
                    </a:lnTo>
                    <a:lnTo>
                      <a:pt x="216" y="300"/>
                    </a:lnTo>
                    <a:lnTo>
                      <a:pt x="210" y="300"/>
                    </a:lnTo>
                    <a:lnTo>
                      <a:pt x="204" y="300"/>
                    </a:lnTo>
                    <a:lnTo>
                      <a:pt x="198" y="300"/>
                    </a:lnTo>
                    <a:lnTo>
                      <a:pt x="192" y="300"/>
                    </a:lnTo>
                    <a:lnTo>
                      <a:pt x="192" y="306"/>
                    </a:lnTo>
                    <a:lnTo>
                      <a:pt x="186" y="306"/>
                    </a:lnTo>
                    <a:lnTo>
                      <a:pt x="180" y="306"/>
                    </a:lnTo>
                    <a:lnTo>
                      <a:pt x="180" y="312"/>
                    </a:lnTo>
                    <a:lnTo>
                      <a:pt x="174" y="312"/>
                    </a:lnTo>
                    <a:lnTo>
                      <a:pt x="168" y="312"/>
                    </a:lnTo>
                    <a:lnTo>
                      <a:pt x="168" y="318"/>
                    </a:lnTo>
                    <a:lnTo>
                      <a:pt x="162" y="318"/>
                    </a:lnTo>
                    <a:lnTo>
                      <a:pt x="156" y="318"/>
                    </a:lnTo>
                    <a:lnTo>
                      <a:pt x="156" y="324"/>
                    </a:lnTo>
                    <a:lnTo>
                      <a:pt x="150" y="324"/>
                    </a:lnTo>
                    <a:lnTo>
                      <a:pt x="144" y="324"/>
                    </a:lnTo>
                    <a:lnTo>
                      <a:pt x="144" y="330"/>
                    </a:lnTo>
                    <a:lnTo>
                      <a:pt x="138" y="330"/>
                    </a:lnTo>
                    <a:lnTo>
                      <a:pt x="132" y="330"/>
                    </a:lnTo>
                    <a:lnTo>
                      <a:pt x="132" y="336"/>
                    </a:lnTo>
                    <a:lnTo>
                      <a:pt x="126" y="336"/>
                    </a:lnTo>
                    <a:lnTo>
                      <a:pt x="120" y="336"/>
                    </a:lnTo>
                    <a:lnTo>
                      <a:pt x="114" y="336"/>
                    </a:lnTo>
                    <a:lnTo>
                      <a:pt x="114" y="342"/>
                    </a:lnTo>
                    <a:lnTo>
                      <a:pt x="108" y="342"/>
                    </a:lnTo>
                    <a:lnTo>
                      <a:pt x="102" y="342"/>
                    </a:lnTo>
                    <a:lnTo>
                      <a:pt x="96" y="342"/>
                    </a:lnTo>
                    <a:lnTo>
                      <a:pt x="90" y="342"/>
                    </a:lnTo>
                    <a:lnTo>
                      <a:pt x="90" y="348"/>
                    </a:lnTo>
                    <a:lnTo>
                      <a:pt x="84" y="348"/>
                    </a:lnTo>
                    <a:lnTo>
                      <a:pt x="84" y="354"/>
                    </a:lnTo>
                    <a:lnTo>
                      <a:pt x="78" y="354"/>
                    </a:lnTo>
                    <a:lnTo>
                      <a:pt x="72" y="354"/>
                    </a:lnTo>
                    <a:lnTo>
                      <a:pt x="72" y="360"/>
                    </a:lnTo>
                    <a:lnTo>
                      <a:pt x="66" y="360"/>
                    </a:lnTo>
                    <a:lnTo>
                      <a:pt x="60" y="360"/>
                    </a:lnTo>
                    <a:lnTo>
                      <a:pt x="66" y="360"/>
                    </a:lnTo>
                    <a:lnTo>
                      <a:pt x="60" y="360"/>
                    </a:lnTo>
                    <a:lnTo>
                      <a:pt x="60" y="354"/>
                    </a:lnTo>
                    <a:lnTo>
                      <a:pt x="54" y="354"/>
                    </a:lnTo>
                    <a:lnTo>
                      <a:pt x="54" y="348"/>
                    </a:lnTo>
                    <a:lnTo>
                      <a:pt x="48" y="348"/>
                    </a:lnTo>
                    <a:lnTo>
                      <a:pt x="42" y="348"/>
                    </a:lnTo>
                    <a:lnTo>
                      <a:pt x="36" y="348"/>
                    </a:lnTo>
                    <a:lnTo>
                      <a:pt x="30" y="342"/>
                    </a:lnTo>
                    <a:lnTo>
                      <a:pt x="24" y="342"/>
                    </a:lnTo>
                    <a:lnTo>
                      <a:pt x="18" y="342"/>
                    </a:lnTo>
                    <a:lnTo>
                      <a:pt x="12" y="342"/>
                    </a:lnTo>
                    <a:lnTo>
                      <a:pt x="6" y="34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42" name="Freeform 15"/>
              <p:cNvSpPr>
                <a:spLocks noEditPoints="1"/>
              </p:cNvSpPr>
              <p:nvPr>
                <p:custDataLst>
                  <p:tags r:id="rId15"/>
                </p:custDataLst>
              </p:nvPr>
            </p:nvSpPr>
            <p:spPr bwMode="gray">
              <a:xfrm>
                <a:off x="1380975" y="1429244"/>
                <a:ext cx="433723" cy="417351"/>
              </a:xfrm>
              <a:custGeom>
                <a:avLst/>
                <a:gdLst>
                  <a:gd name="T0" fmla="*/ 99935 w 342"/>
                  <a:gd name="T1" fmla="*/ 111985 h 354"/>
                  <a:gd name="T2" fmla="*/ 87198 w 342"/>
                  <a:gd name="T3" fmla="*/ 111985 h 354"/>
                  <a:gd name="T4" fmla="*/ 71523 w 342"/>
                  <a:gd name="T5" fmla="*/ 111985 h 354"/>
                  <a:gd name="T6" fmla="*/ 58785 w 342"/>
                  <a:gd name="T7" fmla="*/ 113933 h 354"/>
                  <a:gd name="T8" fmla="*/ 49968 w 342"/>
                  <a:gd name="T9" fmla="*/ 113933 h 354"/>
                  <a:gd name="T10" fmla="*/ 43109 w 342"/>
                  <a:gd name="T11" fmla="*/ 117828 h 354"/>
                  <a:gd name="T12" fmla="*/ 34291 w 342"/>
                  <a:gd name="T13" fmla="*/ 120750 h 354"/>
                  <a:gd name="T14" fmla="*/ 23514 w 342"/>
                  <a:gd name="T15" fmla="*/ 127566 h 354"/>
                  <a:gd name="T16" fmla="*/ 21555 w 342"/>
                  <a:gd name="T17" fmla="*/ 113933 h 354"/>
                  <a:gd name="T18" fmla="*/ 23514 w 342"/>
                  <a:gd name="T19" fmla="*/ 108090 h 354"/>
                  <a:gd name="T20" fmla="*/ 23514 w 342"/>
                  <a:gd name="T21" fmla="*/ 103222 h 354"/>
                  <a:gd name="T22" fmla="*/ 21555 w 342"/>
                  <a:gd name="T23" fmla="*/ 99326 h 354"/>
                  <a:gd name="T24" fmla="*/ 17635 w 342"/>
                  <a:gd name="T25" fmla="*/ 92510 h 354"/>
                  <a:gd name="T26" fmla="*/ 12737 w 342"/>
                  <a:gd name="T27" fmla="*/ 90563 h 354"/>
                  <a:gd name="T28" fmla="*/ 8818 w 342"/>
                  <a:gd name="T29" fmla="*/ 87641 h 354"/>
                  <a:gd name="T30" fmla="*/ 0 w 342"/>
                  <a:gd name="T31" fmla="*/ 83746 h 354"/>
                  <a:gd name="T32" fmla="*/ 6858 w 342"/>
                  <a:gd name="T33" fmla="*/ 79850 h 354"/>
                  <a:gd name="T34" fmla="*/ 3919 w 342"/>
                  <a:gd name="T35" fmla="*/ 69139 h 354"/>
                  <a:gd name="T36" fmla="*/ 8818 w 342"/>
                  <a:gd name="T37" fmla="*/ 62323 h 354"/>
                  <a:gd name="T38" fmla="*/ 12737 w 342"/>
                  <a:gd name="T39" fmla="*/ 51610 h 354"/>
                  <a:gd name="T40" fmla="*/ 12737 w 342"/>
                  <a:gd name="T41" fmla="*/ 45768 h 354"/>
                  <a:gd name="T42" fmla="*/ 17635 w 342"/>
                  <a:gd name="T43" fmla="*/ 47716 h 354"/>
                  <a:gd name="T44" fmla="*/ 12737 w 342"/>
                  <a:gd name="T45" fmla="*/ 38951 h 354"/>
                  <a:gd name="T46" fmla="*/ 15676 w 342"/>
                  <a:gd name="T47" fmla="*/ 32135 h 354"/>
                  <a:gd name="T48" fmla="*/ 8818 w 342"/>
                  <a:gd name="T49" fmla="*/ 23371 h 354"/>
                  <a:gd name="T50" fmla="*/ 10777 w 342"/>
                  <a:gd name="T51" fmla="*/ 19476 h 354"/>
                  <a:gd name="T52" fmla="*/ 8818 w 342"/>
                  <a:gd name="T53" fmla="*/ 15581 h 354"/>
                  <a:gd name="T54" fmla="*/ 17635 w 342"/>
                  <a:gd name="T55" fmla="*/ 8764 h 354"/>
                  <a:gd name="T56" fmla="*/ 26453 w 342"/>
                  <a:gd name="T57" fmla="*/ 6816 h 354"/>
                  <a:gd name="T58" fmla="*/ 32332 w 342"/>
                  <a:gd name="T59" fmla="*/ 6816 h 354"/>
                  <a:gd name="T60" fmla="*/ 39190 w 342"/>
                  <a:gd name="T61" fmla="*/ 1948 h 354"/>
                  <a:gd name="T62" fmla="*/ 46049 w 342"/>
                  <a:gd name="T63" fmla="*/ 0 h 354"/>
                  <a:gd name="T64" fmla="*/ 49968 w 342"/>
                  <a:gd name="T65" fmla="*/ 6816 h 354"/>
                  <a:gd name="T66" fmla="*/ 53887 w 342"/>
                  <a:gd name="T67" fmla="*/ 8764 h 354"/>
                  <a:gd name="T68" fmla="*/ 62705 w 342"/>
                  <a:gd name="T69" fmla="*/ 6816 h 354"/>
                  <a:gd name="T70" fmla="*/ 69562 w 342"/>
                  <a:gd name="T71" fmla="*/ 10711 h 354"/>
                  <a:gd name="T72" fmla="*/ 73482 w 342"/>
                  <a:gd name="T73" fmla="*/ 12659 h 354"/>
                  <a:gd name="T74" fmla="*/ 78380 w 342"/>
                  <a:gd name="T75" fmla="*/ 19476 h 354"/>
                  <a:gd name="T76" fmla="*/ 83279 w 342"/>
                  <a:gd name="T77" fmla="*/ 21424 h 354"/>
                  <a:gd name="T78" fmla="*/ 87198 w 342"/>
                  <a:gd name="T79" fmla="*/ 19476 h 354"/>
                  <a:gd name="T80" fmla="*/ 97976 w 342"/>
                  <a:gd name="T81" fmla="*/ 17528 h 354"/>
                  <a:gd name="T82" fmla="*/ 108753 w 342"/>
                  <a:gd name="T83" fmla="*/ 17528 h 354"/>
                  <a:gd name="T84" fmla="*/ 114632 w 342"/>
                  <a:gd name="T85" fmla="*/ 21424 h 354"/>
                  <a:gd name="T86" fmla="*/ 119530 w 342"/>
                  <a:gd name="T87" fmla="*/ 30188 h 354"/>
                  <a:gd name="T88" fmla="*/ 121490 w 342"/>
                  <a:gd name="T89" fmla="*/ 38951 h 354"/>
                  <a:gd name="T90" fmla="*/ 124429 w 342"/>
                  <a:gd name="T91" fmla="*/ 51610 h 354"/>
                  <a:gd name="T92" fmla="*/ 117570 w 342"/>
                  <a:gd name="T93" fmla="*/ 60375 h 354"/>
                  <a:gd name="T94" fmla="*/ 114632 w 342"/>
                  <a:gd name="T95" fmla="*/ 71086 h 354"/>
                  <a:gd name="T96" fmla="*/ 108753 w 342"/>
                  <a:gd name="T97" fmla="*/ 81798 h 354"/>
                  <a:gd name="T98" fmla="*/ 110712 w 342"/>
                  <a:gd name="T99" fmla="*/ 94458 h 354"/>
                  <a:gd name="T100" fmla="*/ 114632 w 342"/>
                  <a:gd name="T101" fmla="*/ 101274 h 354"/>
                  <a:gd name="T102" fmla="*/ 117570 w 342"/>
                  <a:gd name="T103" fmla="*/ 110038 h 354"/>
                  <a:gd name="T104" fmla="*/ 117570 w 342"/>
                  <a:gd name="T105" fmla="*/ 111985 h 354"/>
                  <a:gd name="T106" fmla="*/ 113652 w 342"/>
                  <a:gd name="T107" fmla="*/ 113933 h 3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2" h="354">
                    <a:moveTo>
                      <a:pt x="306" y="318"/>
                    </a:moveTo>
                    <a:lnTo>
                      <a:pt x="306" y="312"/>
                    </a:lnTo>
                    <a:lnTo>
                      <a:pt x="300" y="312"/>
                    </a:lnTo>
                    <a:lnTo>
                      <a:pt x="294" y="312"/>
                    </a:lnTo>
                    <a:lnTo>
                      <a:pt x="288" y="312"/>
                    </a:lnTo>
                    <a:lnTo>
                      <a:pt x="282" y="312"/>
                    </a:lnTo>
                    <a:lnTo>
                      <a:pt x="276" y="312"/>
                    </a:lnTo>
                    <a:lnTo>
                      <a:pt x="270" y="312"/>
                    </a:lnTo>
                    <a:lnTo>
                      <a:pt x="264" y="306"/>
                    </a:lnTo>
                    <a:lnTo>
                      <a:pt x="258" y="306"/>
                    </a:lnTo>
                    <a:lnTo>
                      <a:pt x="252" y="306"/>
                    </a:lnTo>
                    <a:lnTo>
                      <a:pt x="246" y="306"/>
                    </a:lnTo>
                    <a:lnTo>
                      <a:pt x="246" y="312"/>
                    </a:lnTo>
                    <a:lnTo>
                      <a:pt x="240" y="312"/>
                    </a:lnTo>
                    <a:lnTo>
                      <a:pt x="234" y="312"/>
                    </a:lnTo>
                    <a:lnTo>
                      <a:pt x="228" y="312"/>
                    </a:lnTo>
                    <a:lnTo>
                      <a:pt x="222" y="312"/>
                    </a:lnTo>
                    <a:lnTo>
                      <a:pt x="216" y="312"/>
                    </a:lnTo>
                    <a:lnTo>
                      <a:pt x="210" y="312"/>
                    </a:lnTo>
                    <a:lnTo>
                      <a:pt x="204" y="312"/>
                    </a:lnTo>
                    <a:lnTo>
                      <a:pt x="198" y="312"/>
                    </a:lnTo>
                    <a:lnTo>
                      <a:pt x="192" y="312"/>
                    </a:lnTo>
                    <a:lnTo>
                      <a:pt x="186" y="312"/>
                    </a:lnTo>
                    <a:lnTo>
                      <a:pt x="180" y="312"/>
                    </a:lnTo>
                    <a:lnTo>
                      <a:pt x="180" y="318"/>
                    </a:lnTo>
                    <a:lnTo>
                      <a:pt x="174" y="318"/>
                    </a:lnTo>
                    <a:lnTo>
                      <a:pt x="168" y="318"/>
                    </a:lnTo>
                    <a:lnTo>
                      <a:pt x="162" y="318"/>
                    </a:lnTo>
                    <a:lnTo>
                      <a:pt x="156" y="318"/>
                    </a:lnTo>
                    <a:lnTo>
                      <a:pt x="150" y="318"/>
                    </a:lnTo>
                    <a:lnTo>
                      <a:pt x="150" y="324"/>
                    </a:lnTo>
                    <a:lnTo>
                      <a:pt x="144" y="324"/>
                    </a:lnTo>
                    <a:lnTo>
                      <a:pt x="144" y="318"/>
                    </a:lnTo>
                    <a:lnTo>
                      <a:pt x="138" y="324"/>
                    </a:lnTo>
                    <a:lnTo>
                      <a:pt x="138" y="318"/>
                    </a:lnTo>
                    <a:lnTo>
                      <a:pt x="138" y="324"/>
                    </a:lnTo>
                    <a:lnTo>
                      <a:pt x="144" y="324"/>
                    </a:lnTo>
                    <a:lnTo>
                      <a:pt x="138" y="324"/>
                    </a:lnTo>
                    <a:lnTo>
                      <a:pt x="138" y="330"/>
                    </a:lnTo>
                    <a:lnTo>
                      <a:pt x="132" y="330"/>
                    </a:lnTo>
                    <a:lnTo>
                      <a:pt x="126" y="330"/>
                    </a:lnTo>
                    <a:lnTo>
                      <a:pt x="120" y="330"/>
                    </a:lnTo>
                    <a:lnTo>
                      <a:pt x="120" y="336"/>
                    </a:lnTo>
                    <a:lnTo>
                      <a:pt x="120" y="330"/>
                    </a:lnTo>
                    <a:lnTo>
                      <a:pt x="120" y="336"/>
                    </a:lnTo>
                    <a:lnTo>
                      <a:pt x="114" y="336"/>
                    </a:lnTo>
                    <a:lnTo>
                      <a:pt x="108" y="336"/>
                    </a:lnTo>
                    <a:lnTo>
                      <a:pt x="102" y="336"/>
                    </a:lnTo>
                    <a:lnTo>
                      <a:pt x="96" y="336"/>
                    </a:lnTo>
                    <a:lnTo>
                      <a:pt x="96" y="342"/>
                    </a:lnTo>
                    <a:lnTo>
                      <a:pt x="90" y="342"/>
                    </a:lnTo>
                    <a:lnTo>
                      <a:pt x="90" y="348"/>
                    </a:lnTo>
                    <a:lnTo>
                      <a:pt x="84" y="348"/>
                    </a:lnTo>
                    <a:lnTo>
                      <a:pt x="78" y="348"/>
                    </a:lnTo>
                    <a:lnTo>
                      <a:pt x="72" y="354"/>
                    </a:lnTo>
                    <a:lnTo>
                      <a:pt x="66" y="354"/>
                    </a:lnTo>
                    <a:lnTo>
                      <a:pt x="60" y="354"/>
                    </a:lnTo>
                    <a:lnTo>
                      <a:pt x="60" y="348"/>
                    </a:lnTo>
                    <a:lnTo>
                      <a:pt x="60" y="342"/>
                    </a:lnTo>
                    <a:lnTo>
                      <a:pt x="60" y="336"/>
                    </a:lnTo>
                    <a:lnTo>
                      <a:pt x="60" y="330"/>
                    </a:lnTo>
                    <a:lnTo>
                      <a:pt x="60" y="324"/>
                    </a:lnTo>
                    <a:lnTo>
                      <a:pt x="60" y="318"/>
                    </a:lnTo>
                    <a:lnTo>
                      <a:pt x="60" y="312"/>
                    </a:lnTo>
                    <a:lnTo>
                      <a:pt x="60" y="318"/>
                    </a:lnTo>
                    <a:lnTo>
                      <a:pt x="66" y="312"/>
                    </a:lnTo>
                    <a:lnTo>
                      <a:pt x="66" y="306"/>
                    </a:lnTo>
                    <a:lnTo>
                      <a:pt x="72" y="306"/>
                    </a:lnTo>
                    <a:lnTo>
                      <a:pt x="72" y="300"/>
                    </a:lnTo>
                    <a:lnTo>
                      <a:pt x="66" y="300"/>
                    </a:lnTo>
                    <a:lnTo>
                      <a:pt x="66" y="294"/>
                    </a:lnTo>
                    <a:lnTo>
                      <a:pt x="66" y="300"/>
                    </a:lnTo>
                    <a:lnTo>
                      <a:pt x="66" y="294"/>
                    </a:lnTo>
                    <a:lnTo>
                      <a:pt x="72" y="294"/>
                    </a:lnTo>
                    <a:lnTo>
                      <a:pt x="66" y="294"/>
                    </a:lnTo>
                    <a:lnTo>
                      <a:pt x="72" y="294"/>
                    </a:lnTo>
                    <a:lnTo>
                      <a:pt x="66" y="288"/>
                    </a:lnTo>
                    <a:lnTo>
                      <a:pt x="72" y="288"/>
                    </a:lnTo>
                    <a:lnTo>
                      <a:pt x="66" y="288"/>
                    </a:lnTo>
                    <a:lnTo>
                      <a:pt x="66" y="282"/>
                    </a:lnTo>
                    <a:lnTo>
                      <a:pt x="66" y="276"/>
                    </a:lnTo>
                    <a:lnTo>
                      <a:pt x="66" y="270"/>
                    </a:lnTo>
                    <a:lnTo>
                      <a:pt x="66" y="276"/>
                    </a:lnTo>
                    <a:lnTo>
                      <a:pt x="60" y="276"/>
                    </a:lnTo>
                    <a:lnTo>
                      <a:pt x="60" y="270"/>
                    </a:lnTo>
                    <a:lnTo>
                      <a:pt x="60" y="276"/>
                    </a:lnTo>
                    <a:lnTo>
                      <a:pt x="60" y="270"/>
                    </a:lnTo>
                    <a:lnTo>
                      <a:pt x="54" y="270"/>
                    </a:lnTo>
                    <a:lnTo>
                      <a:pt x="48" y="270"/>
                    </a:lnTo>
                    <a:lnTo>
                      <a:pt x="48" y="264"/>
                    </a:lnTo>
                    <a:lnTo>
                      <a:pt x="48" y="258"/>
                    </a:lnTo>
                    <a:lnTo>
                      <a:pt x="42" y="258"/>
                    </a:lnTo>
                    <a:lnTo>
                      <a:pt x="42" y="252"/>
                    </a:lnTo>
                    <a:lnTo>
                      <a:pt x="48" y="252"/>
                    </a:lnTo>
                    <a:lnTo>
                      <a:pt x="42" y="252"/>
                    </a:lnTo>
                    <a:lnTo>
                      <a:pt x="42" y="246"/>
                    </a:lnTo>
                    <a:lnTo>
                      <a:pt x="42" y="252"/>
                    </a:lnTo>
                    <a:lnTo>
                      <a:pt x="36" y="252"/>
                    </a:lnTo>
                    <a:lnTo>
                      <a:pt x="36" y="246"/>
                    </a:lnTo>
                    <a:lnTo>
                      <a:pt x="36" y="252"/>
                    </a:lnTo>
                    <a:lnTo>
                      <a:pt x="36" y="246"/>
                    </a:lnTo>
                    <a:lnTo>
                      <a:pt x="30" y="246"/>
                    </a:lnTo>
                    <a:lnTo>
                      <a:pt x="30" y="252"/>
                    </a:lnTo>
                    <a:lnTo>
                      <a:pt x="24" y="252"/>
                    </a:lnTo>
                    <a:lnTo>
                      <a:pt x="24" y="246"/>
                    </a:lnTo>
                    <a:lnTo>
                      <a:pt x="18" y="246"/>
                    </a:lnTo>
                    <a:lnTo>
                      <a:pt x="12" y="246"/>
                    </a:lnTo>
                    <a:lnTo>
                      <a:pt x="12" y="240"/>
                    </a:lnTo>
                    <a:lnTo>
                      <a:pt x="6" y="240"/>
                    </a:lnTo>
                    <a:lnTo>
                      <a:pt x="6" y="234"/>
                    </a:lnTo>
                    <a:lnTo>
                      <a:pt x="0" y="240"/>
                    </a:lnTo>
                    <a:lnTo>
                      <a:pt x="0" y="234"/>
                    </a:lnTo>
                    <a:lnTo>
                      <a:pt x="6" y="234"/>
                    </a:lnTo>
                    <a:lnTo>
                      <a:pt x="6" y="228"/>
                    </a:lnTo>
                    <a:lnTo>
                      <a:pt x="6" y="234"/>
                    </a:lnTo>
                    <a:lnTo>
                      <a:pt x="6" y="228"/>
                    </a:lnTo>
                    <a:lnTo>
                      <a:pt x="12" y="228"/>
                    </a:lnTo>
                    <a:lnTo>
                      <a:pt x="12" y="222"/>
                    </a:lnTo>
                    <a:lnTo>
                      <a:pt x="18" y="222"/>
                    </a:lnTo>
                    <a:lnTo>
                      <a:pt x="18" y="216"/>
                    </a:lnTo>
                    <a:lnTo>
                      <a:pt x="18" y="210"/>
                    </a:lnTo>
                    <a:lnTo>
                      <a:pt x="18" y="204"/>
                    </a:lnTo>
                    <a:lnTo>
                      <a:pt x="18" y="198"/>
                    </a:lnTo>
                    <a:lnTo>
                      <a:pt x="12" y="198"/>
                    </a:lnTo>
                    <a:lnTo>
                      <a:pt x="18" y="192"/>
                    </a:lnTo>
                    <a:lnTo>
                      <a:pt x="12" y="192"/>
                    </a:lnTo>
                    <a:lnTo>
                      <a:pt x="12" y="186"/>
                    </a:lnTo>
                    <a:lnTo>
                      <a:pt x="12" y="180"/>
                    </a:lnTo>
                    <a:lnTo>
                      <a:pt x="6" y="180"/>
                    </a:lnTo>
                    <a:lnTo>
                      <a:pt x="12" y="174"/>
                    </a:lnTo>
                    <a:lnTo>
                      <a:pt x="18" y="174"/>
                    </a:lnTo>
                    <a:lnTo>
                      <a:pt x="24" y="180"/>
                    </a:lnTo>
                    <a:lnTo>
                      <a:pt x="24" y="174"/>
                    </a:lnTo>
                    <a:lnTo>
                      <a:pt x="30" y="174"/>
                    </a:lnTo>
                    <a:lnTo>
                      <a:pt x="30" y="168"/>
                    </a:lnTo>
                    <a:lnTo>
                      <a:pt x="30" y="162"/>
                    </a:lnTo>
                    <a:lnTo>
                      <a:pt x="30" y="156"/>
                    </a:lnTo>
                    <a:lnTo>
                      <a:pt x="30" y="150"/>
                    </a:lnTo>
                    <a:lnTo>
                      <a:pt x="36" y="150"/>
                    </a:lnTo>
                    <a:lnTo>
                      <a:pt x="36" y="144"/>
                    </a:lnTo>
                    <a:lnTo>
                      <a:pt x="30" y="144"/>
                    </a:lnTo>
                    <a:lnTo>
                      <a:pt x="24" y="144"/>
                    </a:lnTo>
                    <a:lnTo>
                      <a:pt x="24" y="138"/>
                    </a:lnTo>
                    <a:lnTo>
                      <a:pt x="24" y="132"/>
                    </a:lnTo>
                    <a:lnTo>
                      <a:pt x="24" y="126"/>
                    </a:lnTo>
                    <a:lnTo>
                      <a:pt x="30" y="126"/>
                    </a:lnTo>
                    <a:lnTo>
                      <a:pt x="36" y="126"/>
                    </a:lnTo>
                    <a:lnTo>
                      <a:pt x="42" y="126"/>
                    </a:lnTo>
                    <a:lnTo>
                      <a:pt x="42" y="132"/>
                    </a:lnTo>
                    <a:lnTo>
                      <a:pt x="42" y="126"/>
                    </a:lnTo>
                    <a:lnTo>
                      <a:pt x="42" y="132"/>
                    </a:lnTo>
                    <a:lnTo>
                      <a:pt x="42" y="126"/>
                    </a:lnTo>
                    <a:lnTo>
                      <a:pt x="48" y="126"/>
                    </a:lnTo>
                    <a:lnTo>
                      <a:pt x="48" y="132"/>
                    </a:lnTo>
                    <a:lnTo>
                      <a:pt x="54" y="132"/>
                    </a:lnTo>
                    <a:lnTo>
                      <a:pt x="54" y="126"/>
                    </a:lnTo>
                    <a:lnTo>
                      <a:pt x="54" y="120"/>
                    </a:lnTo>
                    <a:lnTo>
                      <a:pt x="48" y="114"/>
                    </a:lnTo>
                    <a:lnTo>
                      <a:pt x="48" y="108"/>
                    </a:lnTo>
                    <a:lnTo>
                      <a:pt x="42" y="108"/>
                    </a:lnTo>
                    <a:lnTo>
                      <a:pt x="36" y="108"/>
                    </a:lnTo>
                    <a:lnTo>
                      <a:pt x="36" y="102"/>
                    </a:lnTo>
                    <a:lnTo>
                      <a:pt x="42" y="96"/>
                    </a:lnTo>
                    <a:lnTo>
                      <a:pt x="42" y="90"/>
                    </a:lnTo>
                    <a:lnTo>
                      <a:pt x="48" y="90"/>
                    </a:lnTo>
                    <a:lnTo>
                      <a:pt x="42" y="90"/>
                    </a:lnTo>
                    <a:lnTo>
                      <a:pt x="42" y="84"/>
                    </a:lnTo>
                    <a:lnTo>
                      <a:pt x="42" y="90"/>
                    </a:lnTo>
                    <a:lnTo>
                      <a:pt x="42" y="84"/>
                    </a:lnTo>
                    <a:lnTo>
                      <a:pt x="42" y="78"/>
                    </a:lnTo>
                    <a:lnTo>
                      <a:pt x="42" y="72"/>
                    </a:lnTo>
                    <a:lnTo>
                      <a:pt x="36" y="72"/>
                    </a:lnTo>
                    <a:lnTo>
                      <a:pt x="30" y="72"/>
                    </a:lnTo>
                    <a:lnTo>
                      <a:pt x="30" y="66"/>
                    </a:lnTo>
                    <a:lnTo>
                      <a:pt x="24" y="66"/>
                    </a:lnTo>
                    <a:lnTo>
                      <a:pt x="30" y="66"/>
                    </a:lnTo>
                    <a:lnTo>
                      <a:pt x="24" y="66"/>
                    </a:lnTo>
                    <a:lnTo>
                      <a:pt x="24" y="60"/>
                    </a:lnTo>
                    <a:lnTo>
                      <a:pt x="30" y="60"/>
                    </a:lnTo>
                    <a:lnTo>
                      <a:pt x="24" y="60"/>
                    </a:lnTo>
                    <a:lnTo>
                      <a:pt x="30" y="60"/>
                    </a:lnTo>
                    <a:lnTo>
                      <a:pt x="30" y="54"/>
                    </a:lnTo>
                    <a:lnTo>
                      <a:pt x="30" y="48"/>
                    </a:lnTo>
                    <a:lnTo>
                      <a:pt x="30" y="42"/>
                    </a:lnTo>
                    <a:lnTo>
                      <a:pt x="24" y="42"/>
                    </a:lnTo>
                    <a:lnTo>
                      <a:pt x="24" y="48"/>
                    </a:lnTo>
                    <a:lnTo>
                      <a:pt x="24" y="42"/>
                    </a:lnTo>
                    <a:lnTo>
                      <a:pt x="30" y="42"/>
                    </a:lnTo>
                    <a:lnTo>
                      <a:pt x="24" y="42"/>
                    </a:lnTo>
                    <a:lnTo>
                      <a:pt x="30" y="42"/>
                    </a:lnTo>
                    <a:lnTo>
                      <a:pt x="30" y="36"/>
                    </a:lnTo>
                    <a:lnTo>
                      <a:pt x="36" y="36"/>
                    </a:lnTo>
                    <a:lnTo>
                      <a:pt x="36" y="30"/>
                    </a:lnTo>
                    <a:lnTo>
                      <a:pt x="42" y="30"/>
                    </a:lnTo>
                    <a:lnTo>
                      <a:pt x="42" y="24"/>
                    </a:lnTo>
                    <a:lnTo>
                      <a:pt x="48" y="24"/>
                    </a:lnTo>
                    <a:lnTo>
                      <a:pt x="48" y="18"/>
                    </a:lnTo>
                    <a:lnTo>
                      <a:pt x="54" y="18"/>
                    </a:lnTo>
                    <a:lnTo>
                      <a:pt x="54" y="12"/>
                    </a:lnTo>
                    <a:lnTo>
                      <a:pt x="60" y="12"/>
                    </a:lnTo>
                    <a:lnTo>
                      <a:pt x="66" y="12"/>
                    </a:lnTo>
                    <a:lnTo>
                      <a:pt x="66" y="18"/>
                    </a:lnTo>
                    <a:lnTo>
                      <a:pt x="72" y="18"/>
                    </a:lnTo>
                    <a:lnTo>
                      <a:pt x="72" y="24"/>
                    </a:lnTo>
                    <a:lnTo>
                      <a:pt x="78" y="24"/>
                    </a:lnTo>
                    <a:lnTo>
                      <a:pt x="84" y="24"/>
                    </a:lnTo>
                    <a:lnTo>
                      <a:pt x="84" y="30"/>
                    </a:lnTo>
                    <a:lnTo>
                      <a:pt x="90" y="30"/>
                    </a:lnTo>
                    <a:lnTo>
                      <a:pt x="90" y="24"/>
                    </a:lnTo>
                    <a:lnTo>
                      <a:pt x="90" y="18"/>
                    </a:lnTo>
                    <a:lnTo>
                      <a:pt x="96" y="18"/>
                    </a:lnTo>
                    <a:lnTo>
                      <a:pt x="102" y="18"/>
                    </a:lnTo>
                    <a:lnTo>
                      <a:pt x="108" y="18"/>
                    </a:lnTo>
                    <a:lnTo>
                      <a:pt x="114" y="18"/>
                    </a:lnTo>
                    <a:lnTo>
                      <a:pt x="114" y="12"/>
                    </a:lnTo>
                    <a:lnTo>
                      <a:pt x="108" y="12"/>
                    </a:lnTo>
                    <a:lnTo>
                      <a:pt x="108" y="6"/>
                    </a:lnTo>
                    <a:lnTo>
                      <a:pt x="108" y="0"/>
                    </a:lnTo>
                    <a:lnTo>
                      <a:pt x="114" y="0"/>
                    </a:lnTo>
                    <a:lnTo>
                      <a:pt x="114" y="6"/>
                    </a:lnTo>
                    <a:lnTo>
                      <a:pt x="120" y="6"/>
                    </a:lnTo>
                    <a:lnTo>
                      <a:pt x="126" y="6"/>
                    </a:lnTo>
                    <a:lnTo>
                      <a:pt x="120" y="0"/>
                    </a:lnTo>
                    <a:lnTo>
                      <a:pt x="126" y="0"/>
                    </a:lnTo>
                    <a:lnTo>
                      <a:pt x="132" y="0"/>
                    </a:lnTo>
                    <a:lnTo>
                      <a:pt x="132" y="6"/>
                    </a:lnTo>
                    <a:lnTo>
                      <a:pt x="138" y="6"/>
                    </a:lnTo>
                    <a:lnTo>
                      <a:pt x="132" y="6"/>
                    </a:lnTo>
                    <a:lnTo>
                      <a:pt x="132" y="12"/>
                    </a:lnTo>
                    <a:lnTo>
                      <a:pt x="138" y="12"/>
                    </a:lnTo>
                    <a:lnTo>
                      <a:pt x="138" y="18"/>
                    </a:lnTo>
                    <a:lnTo>
                      <a:pt x="138" y="24"/>
                    </a:lnTo>
                    <a:lnTo>
                      <a:pt x="132" y="24"/>
                    </a:lnTo>
                    <a:lnTo>
                      <a:pt x="138" y="24"/>
                    </a:lnTo>
                    <a:lnTo>
                      <a:pt x="138" y="30"/>
                    </a:lnTo>
                    <a:lnTo>
                      <a:pt x="144" y="30"/>
                    </a:lnTo>
                    <a:lnTo>
                      <a:pt x="150" y="30"/>
                    </a:lnTo>
                    <a:lnTo>
                      <a:pt x="150" y="24"/>
                    </a:lnTo>
                    <a:lnTo>
                      <a:pt x="150" y="18"/>
                    </a:lnTo>
                    <a:lnTo>
                      <a:pt x="156" y="18"/>
                    </a:lnTo>
                    <a:lnTo>
                      <a:pt x="162" y="18"/>
                    </a:lnTo>
                    <a:lnTo>
                      <a:pt x="162" y="12"/>
                    </a:lnTo>
                    <a:lnTo>
                      <a:pt x="168" y="12"/>
                    </a:lnTo>
                    <a:lnTo>
                      <a:pt x="174" y="12"/>
                    </a:lnTo>
                    <a:lnTo>
                      <a:pt x="174" y="18"/>
                    </a:lnTo>
                    <a:lnTo>
                      <a:pt x="180" y="18"/>
                    </a:lnTo>
                    <a:lnTo>
                      <a:pt x="180" y="24"/>
                    </a:lnTo>
                    <a:lnTo>
                      <a:pt x="186" y="24"/>
                    </a:lnTo>
                    <a:lnTo>
                      <a:pt x="192" y="24"/>
                    </a:lnTo>
                    <a:lnTo>
                      <a:pt x="192" y="30"/>
                    </a:lnTo>
                    <a:lnTo>
                      <a:pt x="198" y="30"/>
                    </a:lnTo>
                    <a:lnTo>
                      <a:pt x="192" y="30"/>
                    </a:lnTo>
                    <a:lnTo>
                      <a:pt x="198" y="30"/>
                    </a:lnTo>
                    <a:lnTo>
                      <a:pt x="198" y="36"/>
                    </a:lnTo>
                    <a:lnTo>
                      <a:pt x="198" y="30"/>
                    </a:lnTo>
                    <a:lnTo>
                      <a:pt x="198" y="36"/>
                    </a:lnTo>
                    <a:lnTo>
                      <a:pt x="198" y="30"/>
                    </a:lnTo>
                    <a:lnTo>
                      <a:pt x="198" y="36"/>
                    </a:lnTo>
                    <a:lnTo>
                      <a:pt x="204" y="36"/>
                    </a:lnTo>
                    <a:lnTo>
                      <a:pt x="198" y="36"/>
                    </a:lnTo>
                    <a:lnTo>
                      <a:pt x="204" y="36"/>
                    </a:lnTo>
                    <a:lnTo>
                      <a:pt x="204" y="42"/>
                    </a:lnTo>
                    <a:lnTo>
                      <a:pt x="204" y="48"/>
                    </a:lnTo>
                    <a:lnTo>
                      <a:pt x="210" y="48"/>
                    </a:lnTo>
                    <a:lnTo>
                      <a:pt x="216" y="48"/>
                    </a:lnTo>
                    <a:lnTo>
                      <a:pt x="216" y="54"/>
                    </a:lnTo>
                    <a:lnTo>
                      <a:pt x="210" y="54"/>
                    </a:lnTo>
                    <a:lnTo>
                      <a:pt x="216" y="54"/>
                    </a:lnTo>
                    <a:lnTo>
                      <a:pt x="216" y="60"/>
                    </a:lnTo>
                    <a:lnTo>
                      <a:pt x="222" y="60"/>
                    </a:lnTo>
                    <a:lnTo>
                      <a:pt x="222" y="54"/>
                    </a:lnTo>
                    <a:lnTo>
                      <a:pt x="222" y="60"/>
                    </a:lnTo>
                    <a:lnTo>
                      <a:pt x="228" y="60"/>
                    </a:lnTo>
                    <a:lnTo>
                      <a:pt x="228" y="54"/>
                    </a:lnTo>
                    <a:lnTo>
                      <a:pt x="228" y="60"/>
                    </a:lnTo>
                    <a:lnTo>
                      <a:pt x="234" y="60"/>
                    </a:lnTo>
                    <a:lnTo>
                      <a:pt x="240" y="60"/>
                    </a:lnTo>
                    <a:lnTo>
                      <a:pt x="234" y="60"/>
                    </a:lnTo>
                    <a:lnTo>
                      <a:pt x="240" y="60"/>
                    </a:lnTo>
                    <a:lnTo>
                      <a:pt x="240" y="54"/>
                    </a:lnTo>
                    <a:lnTo>
                      <a:pt x="246" y="54"/>
                    </a:lnTo>
                    <a:lnTo>
                      <a:pt x="252" y="48"/>
                    </a:lnTo>
                    <a:lnTo>
                      <a:pt x="252" y="54"/>
                    </a:lnTo>
                    <a:lnTo>
                      <a:pt x="258" y="54"/>
                    </a:lnTo>
                    <a:lnTo>
                      <a:pt x="258" y="48"/>
                    </a:lnTo>
                    <a:lnTo>
                      <a:pt x="264" y="48"/>
                    </a:lnTo>
                    <a:lnTo>
                      <a:pt x="270" y="48"/>
                    </a:lnTo>
                    <a:lnTo>
                      <a:pt x="270" y="42"/>
                    </a:lnTo>
                    <a:lnTo>
                      <a:pt x="276" y="42"/>
                    </a:lnTo>
                    <a:lnTo>
                      <a:pt x="282" y="42"/>
                    </a:lnTo>
                    <a:lnTo>
                      <a:pt x="288" y="42"/>
                    </a:lnTo>
                    <a:lnTo>
                      <a:pt x="294" y="42"/>
                    </a:lnTo>
                    <a:lnTo>
                      <a:pt x="294" y="48"/>
                    </a:lnTo>
                    <a:lnTo>
                      <a:pt x="300" y="48"/>
                    </a:lnTo>
                    <a:lnTo>
                      <a:pt x="300" y="42"/>
                    </a:lnTo>
                    <a:lnTo>
                      <a:pt x="300" y="48"/>
                    </a:lnTo>
                    <a:lnTo>
                      <a:pt x="306" y="48"/>
                    </a:lnTo>
                    <a:lnTo>
                      <a:pt x="306" y="54"/>
                    </a:lnTo>
                    <a:lnTo>
                      <a:pt x="312" y="54"/>
                    </a:lnTo>
                    <a:lnTo>
                      <a:pt x="312" y="60"/>
                    </a:lnTo>
                    <a:lnTo>
                      <a:pt x="318" y="60"/>
                    </a:lnTo>
                    <a:lnTo>
                      <a:pt x="318" y="66"/>
                    </a:lnTo>
                    <a:lnTo>
                      <a:pt x="324" y="72"/>
                    </a:lnTo>
                    <a:lnTo>
                      <a:pt x="330" y="72"/>
                    </a:lnTo>
                    <a:lnTo>
                      <a:pt x="330" y="66"/>
                    </a:lnTo>
                    <a:lnTo>
                      <a:pt x="330" y="72"/>
                    </a:lnTo>
                    <a:lnTo>
                      <a:pt x="330" y="78"/>
                    </a:lnTo>
                    <a:lnTo>
                      <a:pt x="330" y="84"/>
                    </a:lnTo>
                    <a:lnTo>
                      <a:pt x="330" y="90"/>
                    </a:lnTo>
                    <a:lnTo>
                      <a:pt x="324" y="90"/>
                    </a:lnTo>
                    <a:lnTo>
                      <a:pt x="324" y="96"/>
                    </a:lnTo>
                    <a:lnTo>
                      <a:pt x="330" y="96"/>
                    </a:lnTo>
                    <a:lnTo>
                      <a:pt x="330" y="102"/>
                    </a:lnTo>
                    <a:lnTo>
                      <a:pt x="336" y="102"/>
                    </a:lnTo>
                    <a:lnTo>
                      <a:pt x="336" y="108"/>
                    </a:lnTo>
                    <a:lnTo>
                      <a:pt x="336" y="114"/>
                    </a:lnTo>
                    <a:lnTo>
                      <a:pt x="336" y="120"/>
                    </a:lnTo>
                    <a:lnTo>
                      <a:pt x="336" y="126"/>
                    </a:lnTo>
                    <a:lnTo>
                      <a:pt x="342" y="126"/>
                    </a:lnTo>
                    <a:lnTo>
                      <a:pt x="342" y="132"/>
                    </a:lnTo>
                    <a:lnTo>
                      <a:pt x="342" y="138"/>
                    </a:lnTo>
                    <a:lnTo>
                      <a:pt x="342" y="144"/>
                    </a:lnTo>
                    <a:lnTo>
                      <a:pt x="336" y="144"/>
                    </a:lnTo>
                    <a:lnTo>
                      <a:pt x="336" y="150"/>
                    </a:lnTo>
                    <a:lnTo>
                      <a:pt x="330" y="150"/>
                    </a:lnTo>
                    <a:lnTo>
                      <a:pt x="330" y="156"/>
                    </a:lnTo>
                    <a:lnTo>
                      <a:pt x="324" y="156"/>
                    </a:lnTo>
                    <a:lnTo>
                      <a:pt x="324" y="162"/>
                    </a:lnTo>
                    <a:lnTo>
                      <a:pt x="324" y="168"/>
                    </a:lnTo>
                    <a:lnTo>
                      <a:pt x="318" y="168"/>
                    </a:lnTo>
                    <a:lnTo>
                      <a:pt x="318" y="174"/>
                    </a:lnTo>
                    <a:lnTo>
                      <a:pt x="318" y="180"/>
                    </a:lnTo>
                    <a:lnTo>
                      <a:pt x="318" y="186"/>
                    </a:lnTo>
                    <a:lnTo>
                      <a:pt x="318" y="192"/>
                    </a:lnTo>
                    <a:lnTo>
                      <a:pt x="312" y="192"/>
                    </a:lnTo>
                    <a:lnTo>
                      <a:pt x="318" y="198"/>
                    </a:lnTo>
                    <a:lnTo>
                      <a:pt x="312" y="198"/>
                    </a:lnTo>
                    <a:lnTo>
                      <a:pt x="312" y="204"/>
                    </a:lnTo>
                    <a:lnTo>
                      <a:pt x="306" y="204"/>
                    </a:lnTo>
                    <a:lnTo>
                      <a:pt x="306" y="210"/>
                    </a:lnTo>
                    <a:lnTo>
                      <a:pt x="300" y="216"/>
                    </a:lnTo>
                    <a:lnTo>
                      <a:pt x="300" y="222"/>
                    </a:lnTo>
                    <a:lnTo>
                      <a:pt x="300" y="228"/>
                    </a:lnTo>
                    <a:lnTo>
                      <a:pt x="300" y="234"/>
                    </a:lnTo>
                    <a:lnTo>
                      <a:pt x="300" y="240"/>
                    </a:lnTo>
                    <a:lnTo>
                      <a:pt x="300" y="246"/>
                    </a:lnTo>
                    <a:lnTo>
                      <a:pt x="306" y="246"/>
                    </a:lnTo>
                    <a:lnTo>
                      <a:pt x="306" y="252"/>
                    </a:lnTo>
                    <a:lnTo>
                      <a:pt x="306" y="258"/>
                    </a:lnTo>
                    <a:lnTo>
                      <a:pt x="306" y="264"/>
                    </a:lnTo>
                    <a:lnTo>
                      <a:pt x="312" y="264"/>
                    </a:lnTo>
                    <a:lnTo>
                      <a:pt x="312" y="270"/>
                    </a:lnTo>
                    <a:lnTo>
                      <a:pt x="312" y="276"/>
                    </a:lnTo>
                    <a:lnTo>
                      <a:pt x="312" y="282"/>
                    </a:lnTo>
                    <a:lnTo>
                      <a:pt x="318" y="282"/>
                    </a:lnTo>
                    <a:lnTo>
                      <a:pt x="318" y="288"/>
                    </a:lnTo>
                    <a:lnTo>
                      <a:pt x="318" y="282"/>
                    </a:lnTo>
                    <a:lnTo>
                      <a:pt x="324" y="282"/>
                    </a:lnTo>
                    <a:lnTo>
                      <a:pt x="324" y="288"/>
                    </a:lnTo>
                    <a:lnTo>
                      <a:pt x="324" y="294"/>
                    </a:lnTo>
                    <a:lnTo>
                      <a:pt x="330" y="294"/>
                    </a:lnTo>
                    <a:lnTo>
                      <a:pt x="330" y="300"/>
                    </a:lnTo>
                    <a:lnTo>
                      <a:pt x="324" y="300"/>
                    </a:lnTo>
                    <a:lnTo>
                      <a:pt x="324" y="306"/>
                    </a:lnTo>
                    <a:lnTo>
                      <a:pt x="330" y="306"/>
                    </a:lnTo>
                    <a:lnTo>
                      <a:pt x="324" y="306"/>
                    </a:lnTo>
                    <a:lnTo>
                      <a:pt x="330" y="306"/>
                    </a:lnTo>
                    <a:lnTo>
                      <a:pt x="324" y="306"/>
                    </a:lnTo>
                    <a:lnTo>
                      <a:pt x="324" y="312"/>
                    </a:lnTo>
                    <a:lnTo>
                      <a:pt x="330" y="312"/>
                    </a:lnTo>
                    <a:lnTo>
                      <a:pt x="324" y="312"/>
                    </a:lnTo>
                    <a:lnTo>
                      <a:pt x="324" y="318"/>
                    </a:lnTo>
                    <a:lnTo>
                      <a:pt x="324" y="312"/>
                    </a:lnTo>
                    <a:lnTo>
                      <a:pt x="324" y="318"/>
                    </a:lnTo>
                    <a:lnTo>
                      <a:pt x="324" y="312"/>
                    </a:lnTo>
                    <a:lnTo>
                      <a:pt x="318" y="312"/>
                    </a:lnTo>
                    <a:lnTo>
                      <a:pt x="318" y="318"/>
                    </a:lnTo>
                    <a:lnTo>
                      <a:pt x="312" y="318"/>
                    </a:lnTo>
                    <a:lnTo>
                      <a:pt x="312" y="312"/>
                    </a:lnTo>
                    <a:lnTo>
                      <a:pt x="306" y="312"/>
                    </a:lnTo>
                    <a:lnTo>
                      <a:pt x="306" y="318"/>
                    </a:lnTo>
                    <a:close/>
                    <a:moveTo>
                      <a:pt x="138" y="324"/>
                    </a:moveTo>
                    <a:lnTo>
                      <a:pt x="144" y="324"/>
                    </a:lnTo>
                    <a:lnTo>
                      <a:pt x="138" y="32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44" name="Freeform 16"/>
              <p:cNvSpPr>
                <a:spLocks/>
              </p:cNvSpPr>
              <p:nvPr>
                <p:custDataLst>
                  <p:tags r:id="rId16"/>
                </p:custDataLst>
              </p:nvPr>
            </p:nvSpPr>
            <p:spPr bwMode="gray">
              <a:xfrm>
                <a:off x="1177820" y="1570871"/>
                <a:ext cx="295061" cy="275723"/>
              </a:xfrm>
              <a:custGeom>
                <a:avLst/>
                <a:gdLst>
                  <a:gd name="T0" fmla="*/ 3888 w 234"/>
                  <a:gd name="T1" fmla="*/ 28201 h 234"/>
                  <a:gd name="T2" fmla="*/ 8748 w 234"/>
                  <a:gd name="T3" fmla="*/ 23339 h 234"/>
                  <a:gd name="T4" fmla="*/ 14580 w 234"/>
                  <a:gd name="T5" fmla="*/ 21394 h 234"/>
                  <a:gd name="T6" fmla="*/ 19439 w 234"/>
                  <a:gd name="T7" fmla="*/ 17504 h 234"/>
                  <a:gd name="T8" fmla="*/ 21384 w 234"/>
                  <a:gd name="T9" fmla="*/ 8752 h 234"/>
                  <a:gd name="T10" fmla="*/ 26244 w 234"/>
                  <a:gd name="T11" fmla="*/ 3890 h 234"/>
                  <a:gd name="T12" fmla="*/ 32076 w 234"/>
                  <a:gd name="T13" fmla="*/ 1945 h 234"/>
                  <a:gd name="T14" fmla="*/ 36936 w 234"/>
                  <a:gd name="T15" fmla="*/ 1945 h 234"/>
                  <a:gd name="T16" fmla="*/ 38880 w 234"/>
                  <a:gd name="T17" fmla="*/ 1945 h 234"/>
                  <a:gd name="T18" fmla="*/ 40824 w 234"/>
                  <a:gd name="T19" fmla="*/ 8752 h 234"/>
                  <a:gd name="T20" fmla="*/ 42767 w 234"/>
                  <a:gd name="T21" fmla="*/ 14587 h 234"/>
                  <a:gd name="T22" fmla="*/ 42767 w 234"/>
                  <a:gd name="T23" fmla="*/ 23339 h 234"/>
                  <a:gd name="T24" fmla="*/ 47628 w 234"/>
                  <a:gd name="T25" fmla="*/ 23339 h 234"/>
                  <a:gd name="T26" fmla="*/ 51515 w 234"/>
                  <a:gd name="T27" fmla="*/ 28201 h 234"/>
                  <a:gd name="T28" fmla="*/ 56376 w 234"/>
                  <a:gd name="T29" fmla="*/ 23339 h 234"/>
                  <a:gd name="T30" fmla="*/ 57347 w 234"/>
                  <a:gd name="T31" fmla="*/ 17504 h 234"/>
                  <a:gd name="T32" fmla="*/ 62207 w 234"/>
                  <a:gd name="T33" fmla="*/ 21394 h 234"/>
                  <a:gd name="T34" fmla="*/ 62207 w 234"/>
                  <a:gd name="T35" fmla="*/ 28201 h 234"/>
                  <a:gd name="T36" fmla="*/ 64152 w 234"/>
                  <a:gd name="T37" fmla="*/ 34036 h 234"/>
                  <a:gd name="T38" fmla="*/ 60263 w 234"/>
                  <a:gd name="T39" fmla="*/ 38898 h 234"/>
                  <a:gd name="T40" fmla="*/ 57347 w 234"/>
                  <a:gd name="T41" fmla="*/ 40843 h 234"/>
                  <a:gd name="T42" fmla="*/ 62207 w 234"/>
                  <a:gd name="T43" fmla="*/ 42788 h 234"/>
                  <a:gd name="T44" fmla="*/ 67067 w 234"/>
                  <a:gd name="T45" fmla="*/ 47650 h 234"/>
                  <a:gd name="T46" fmla="*/ 70956 w 234"/>
                  <a:gd name="T47" fmla="*/ 47650 h 234"/>
                  <a:gd name="T48" fmla="*/ 72899 w 234"/>
                  <a:gd name="T49" fmla="*/ 44732 h 234"/>
                  <a:gd name="T50" fmla="*/ 72899 w 234"/>
                  <a:gd name="T51" fmla="*/ 49595 h 234"/>
                  <a:gd name="T52" fmla="*/ 76787 w 234"/>
                  <a:gd name="T53" fmla="*/ 53484 h 234"/>
                  <a:gd name="T54" fmla="*/ 79703 w 234"/>
                  <a:gd name="T55" fmla="*/ 56402 h 234"/>
                  <a:gd name="T56" fmla="*/ 81647 w 234"/>
                  <a:gd name="T57" fmla="*/ 57374 h 234"/>
                  <a:gd name="T58" fmla="*/ 83591 w 234"/>
                  <a:gd name="T59" fmla="*/ 62236 h 234"/>
                  <a:gd name="T60" fmla="*/ 81647 w 234"/>
                  <a:gd name="T61" fmla="*/ 64181 h 234"/>
                  <a:gd name="T62" fmla="*/ 83591 w 234"/>
                  <a:gd name="T63" fmla="*/ 67098 h 234"/>
                  <a:gd name="T64" fmla="*/ 79703 w 234"/>
                  <a:gd name="T65" fmla="*/ 69043 h 234"/>
                  <a:gd name="T66" fmla="*/ 79703 w 234"/>
                  <a:gd name="T67" fmla="*/ 76822 h 234"/>
                  <a:gd name="T68" fmla="*/ 76787 w 234"/>
                  <a:gd name="T69" fmla="*/ 83629 h 234"/>
                  <a:gd name="T70" fmla="*/ 72899 w 234"/>
                  <a:gd name="T71" fmla="*/ 83629 h 234"/>
                  <a:gd name="T72" fmla="*/ 67067 w 234"/>
                  <a:gd name="T73" fmla="*/ 81684 h 234"/>
                  <a:gd name="T74" fmla="*/ 62207 w 234"/>
                  <a:gd name="T75" fmla="*/ 76822 h 234"/>
                  <a:gd name="T76" fmla="*/ 56376 w 234"/>
                  <a:gd name="T77" fmla="*/ 74878 h 234"/>
                  <a:gd name="T78" fmla="*/ 49571 w 234"/>
                  <a:gd name="T79" fmla="*/ 72933 h 234"/>
                  <a:gd name="T80" fmla="*/ 44711 w 234"/>
                  <a:gd name="T81" fmla="*/ 69043 h 234"/>
                  <a:gd name="T82" fmla="*/ 44711 w 234"/>
                  <a:gd name="T83" fmla="*/ 69043 h 234"/>
                  <a:gd name="T84" fmla="*/ 42767 w 234"/>
                  <a:gd name="T85" fmla="*/ 67098 h 234"/>
                  <a:gd name="T86" fmla="*/ 40824 w 234"/>
                  <a:gd name="T87" fmla="*/ 64181 h 234"/>
                  <a:gd name="T88" fmla="*/ 38880 w 234"/>
                  <a:gd name="T89" fmla="*/ 62236 h 234"/>
                  <a:gd name="T90" fmla="*/ 34020 w 234"/>
                  <a:gd name="T91" fmla="*/ 57374 h 234"/>
                  <a:gd name="T92" fmla="*/ 30132 w 234"/>
                  <a:gd name="T93" fmla="*/ 53484 h 234"/>
                  <a:gd name="T94" fmla="*/ 28187 w 234"/>
                  <a:gd name="T95" fmla="*/ 53484 h 234"/>
                  <a:gd name="T96" fmla="*/ 26244 w 234"/>
                  <a:gd name="T97" fmla="*/ 51540 h 234"/>
                  <a:gd name="T98" fmla="*/ 21384 w 234"/>
                  <a:gd name="T99" fmla="*/ 47650 h 234"/>
                  <a:gd name="T100" fmla="*/ 14580 w 234"/>
                  <a:gd name="T101" fmla="*/ 44732 h 234"/>
                  <a:gd name="T102" fmla="*/ 14580 w 234"/>
                  <a:gd name="T103" fmla="*/ 44732 h 234"/>
                  <a:gd name="T104" fmla="*/ 10692 w 234"/>
                  <a:gd name="T105" fmla="*/ 40843 h 234"/>
                  <a:gd name="T106" fmla="*/ 8748 w 234"/>
                  <a:gd name="T107" fmla="*/ 38898 h 234"/>
                  <a:gd name="T108" fmla="*/ 1944 w 234"/>
                  <a:gd name="T109" fmla="*/ 36953 h 234"/>
                  <a:gd name="T110" fmla="*/ 1944 w 234"/>
                  <a:gd name="T111" fmla="*/ 34036 h 2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4" h="234">
                    <a:moveTo>
                      <a:pt x="6" y="90"/>
                    </a:moveTo>
                    <a:lnTo>
                      <a:pt x="12" y="90"/>
                    </a:lnTo>
                    <a:lnTo>
                      <a:pt x="12" y="84"/>
                    </a:lnTo>
                    <a:lnTo>
                      <a:pt x="12" y="78"/>
                    </a:lnTo>
                    <a:lnTo>
                      <a:pt x="18" y="78"/>
                    </a:lnTo>
                    <a:lnTo>
                      <a:pt x="18" y="72"/>
                    </a:lnTo>
                    <a:lnTo>
                      <a:pt x="24" y="72"/>
                    </a:lnTo>
                    <a:lnTo>
                      <a:pt x="24" y="66"/>
                    </a:lnTo>
                    <a:lnTo>
                      <a:pt x="30" y="66"/>
                    </a:lnTo>
                    <a:lnTo>
                      <a:pt x="30" y="60"/>
                    </a:lnTo>
                    <a:lnTo>
                      <a:pt x="36" y="60"/>
                    </a:lnTo>
                    <a:lnTo>
                      <a:pt x="42" y="60"/>
                    </a:lnTo>
                    <a:lnTo>
                      <a:pt x="42" y="54"/>
                    </a:lnTo>
                    <a:lnTo>
                      <a:pt x="42" y="48"/>
                    </a:lnTo>
                    <a:lnTo>
                      <a:pt x="48" y="48"/>
                    </a:lnTo>
                    <a:lnTo>
                      <a:pt x="54" y="48"/>
                    </a:lnTo>
                    <a:lnTo>
                      <a:pt x="54" y="36"/>
                    </a:lnTo>
                    <a:lnTo>
                      <a:pt x="54" y="30"/>
                    </a:lnTo>
                    <a:lnTo>
                      <a:pt x="54" y="24"/>
                    </a:lnTo>
                    <a:lnTo>
                      <a:pt x="60" y="24"/>
                    </a:lnTo>
                    <a:lnTo>
                      <a:pt x="66" y="24"/>
                    </a:lnTo>
                    <a:lnTo>
                      <a:pt x="66" y="18"/>
                    </a:lnTo>
                    <a:lnTo>
                      <a:pt x="66" y="12"/>
                    </a:lnTo>
                    <a:lnTo>
                      <a:pt x="72" y="12"/>
                    </a:lnTo>
                    <a:lnTo>
                      <a:pt x="72" y="6"/>
                    </a:lnTo>
                    <a:lnTo>
                      <a:pt x="78" y="6"/>
                    </a:lnTo>
                    <a:lnTo>
                      <a:pt x="84" y="6"/>
                    </a:lnTo>
                    <a:lnTo>
                      <a:pt x="90" y="6"/>
                    </a:lnTo>
                    <a:lnTo>
                      <a:pt x="96" y="6"/>
                    </a:lnTo>
                    <a:lnTo>
                      <a:pt x="96" y="0"/>
                    </a:lnTo>
                    <a:lnTo>
                      <a:pt x="102" y="0"/>
                    </a:lnTo>
                    <a:lnTo>
                      <a:pt x="102" y="6"/>
                    </a:lnTo>
                    <a:lnTo>
                      <a:pt x="108" y="6"/>
                    </a:lnTo>
                    <a:lnTo>
                      <a:pt x="102" y="12"/>
                    </a:lnTo>
                    <a:lnTo>
                      <a:pt x="108" y="12"/>
                    </a:lnTo>
                    <a:lnTo>
                      <a:pt x="108" y="6"/>
                    </a:lnTo>
                    <a:lnTo>
                      <a:pt x="108" y="12"/>
                    </a:lnTo>
                    <a:lnTo>
                      <a:pt x="114" y="12"/>
                    </a:lnTo>
                    <a:lnTo>
                      <a:pt x="114" y="18"/>
                    </a:lnTo>
                    <a:lnTo>
                      <a:pt x="114" y="24"/>
                    </a:lnTo>
                    <a:lnTo>
                      <a:pt x="114" y="30"/>
                    </a:lnTo>
                    <a:lnTo>
                      <a:pt x="120" y="30"/>
                    </a:lnTo>
                    <a:lnTo>
                      <a:pt x="120" y="36"/>
                    </a:lnTo>
                    <a:lnTo>
                      <a:pt x="120" y="42"/>
                    </a:lnTo>
                    <a:lnTo>
                      <a:pt x="120" y="48"/>
                    </a:lnTo>
                    <a:lnTo>
                      <a:pt x="120" y="54"/>
                    </a:lnTo>
                    <a:lnTo>
                      <a:pt x="120" y="60"/>
                    </a:lnTo>
                    <a:lnTo>
                      <a:pt x="120" y="66"/>
                    </a:lnTo>
                    <a:lnTo>
                      <a:pt x="114" y="66"/>
                    </a:lnTo>
                    <a:lnTo>
                      <a:pt x="120" y="66"/>
                    </a:lnTo>
                    <a:lnTo>
                      <a:pt x="126" y="66"/>
                    </a:lnTo>
                    <a:lnTo>
                      <a:pt x="132" y="66"/>
                    </a:lnTo>
                    <a:lnTo>
                      <a:pt x="132" y="72"/>
                    </a:lnTo>
                    <a:lnTo>
                      <a:pt x="138" y="72"/>
                    </a:lnTo>
                    <a:lnTo>
                      <a:pt x="138" y="78"/>
                    </a:lnTo>
                    <a:lnTo>
                      <a:pt x="144" y="78"/>
                    </a:lnTo>
                    <a:lnTo>
                      <a:pt x="144" y="72"/>
                    </a:lnTo>
                    <a:lnTo>
                      <a:pt x="150" y="72"/>
                    </a:lnTo>
                    <a:lnTo>
                      <a:pt x="150" y="66"/>
                    </a:lnTo>
                    <a:lnTo>
                      <a:pt x="156" y="66"/>
                    </a:lnTo>
                    <a:lnTo>
                      <a:pt x="156" y="60"/>
                    </a:lnTo>
                    <a:lnTo>
                      <a:pt x="156" y="54"/>
                    </a:lnTo>
                    <a:lnTo>
                      <a:pt x="162" y="54"/>
                    </a:lnTo>
                    <a:lnTo>
                      <a:pt x="162" y="48"/>
                    </a:lnTo>
                    <a:lnTo>
                      <a:pt x="168" y="48"/>
                    </a:lnTo>
                    <a:lnTo>
                      <a:pt x="168" y="54"/>
                    </a:lnTo>
                    <a:lnTo>
                      <a:pt x="168" y="60"/>
                    </a:lnTo>
                    <a:lnTo>
                      <a:pt x="174" y="60"/>
                    </a:lnTo>
                    <a:lnTo>
                      <a:pt x="174" y="66"/>
                    </a:lnTo>
                    <a:lnTo>
                      <a:pt x="174" y="72"/>
                    </a:lnTo>
                    <a:lnTo>
                      <a:pt x="180" y="72"/>
                    </a:lnTo>
                    <a:lnTo>
                      <a:pt x="174" y="78"/>
                    </a:lnTo>
                    <a:lnTo>
                      <a:pt x="180" y="78"/>
                    </a:lnTo>
                    <a:lnTo>
                      <a:pt x="180" y="84"/>
                    </a:lnTo>
                    <a:lnTo>
                      <a:pt x="180" y="90"/>
                    </a:lnTo>
                    <a:lnTo>
                      <a:pt x="180" y="96"/>
                    </a:lnTo>
                    <a:lnTo>
                      <a:pt x="180" y="102"/>
                    </a:lnTo>
                    <a:lnTo>
                      <a:pt x="174" y="102"/>
                    </a:lnTo>
                    <a:lnTo>
                      <a:pt x="174" y="108"/>
                    </a:lnTo>
                    <a:lnTo>
                      <a:pt x="168" y="108"/>
                    </a:lnTo>
                    <a:lnTo>
                      <a:pt x="168" y="114"/>
                    </a:lnTo>
                    <a:lnTo>
                      <a:pt x="168" y="108"/>
                    </a:lnTo>
                    <a:lnTo>
                      <a:pt x="168" y="114"/>
                    </a:lnTo>
                    <a:lnTo>
                      <a:pt x="162" y="114"/>
                    </a:lnTo>
                    <a:lnTo>
                      <a:pt x="162" y="120"/>
                    </a:lnTo>
                    <a:lnTo>
                      <a:pt x="168" y="114"/>
                    </a:lnTo>
                    <a:lnTo>
                      <a:pt x="168" y="120"/>
                    </a:lnTo>
                    <a:lnTo>
                      <a:pt x="174" y="120"/>
                    </a:lnTo>
                    <a:lnTo>
                      <a:pt x="174" y="126"/>
                    </a:lnTo>
                    <a:lnTo>
                      <a:pt x="180" y="126"/>
                    </a:lnTo>
                    <a:lnTo>
                      <a:pt x="186" y="126"/>
                    </a:lnTo>
                    <a:lnTo>
                      <a:pt x="186" y="132"/>
                    </a:lnTo>
                    <a:lnTo>
                      <a:pt x="192" y="132"/>
                    </a:lnTo>
                    <a:lnTo>
                      <a:pt x="192" y="126"/>
                    </a:lnTo>
                    <a:lnTo>
                      <a:pt x="198" y="126"/>
                    </a:lnTo>
                    <a:lnTo>
                      <a:pt x="198" y="132"/>
                    </a:lnTo>
                    <a:lnTo>
                      <a:pt x="198" y="126"/>
                    </a:lnTo>
                    <a:lnTo>
                      <a:pt x="198" y="132"/>
                    </a:lnTo>
                    <a:lnTo>
                      <a:pt x="204" y="132"/>
                    </a:lnTo>
                    <a:lnTo>
                      <a:pt x="204" y="126"/>
                    </a:lnTo>
                    <a:lnTo>
                      <a:pt x="204" y="132"/>
                    </a:lnTo>
                    <a:lnTo>
                      <a:pt x="210" y="132"/>
                    </a:lnTo>
                    <a:lnTo>
                      <a:pt x="204" y="132"/>
                    </a:lnTo>
                    <a:lnTo>
                      <a:pt x="204" y="138"/>
                    </a:lnTo>
                    <a:lnTo>
                      <a:pt x="210" y="138"/>
                    </a:lnTo>
                    <a:lnTo>
                      <a:pt x="210" y="144"/>
                    </a:lnTo>
                    <a:lnTo>
                      <a:pt x="210" y="150"/>
                    </a:lnTo>
                    <a:lnTo>
                      <a:pt x="216" y="150"/>
                    </a:lnTo>
                    <a:lnTo>
                      <a:pt x="222" y="150"/>
                    </a:lnTo>
                    <a:lnTo>
                      <a:pt x="222" y="156"/>
                    </a:lnTo>
                    <a:lnTo>
                      <a:pt x="222" y="150"/>
                    </a:lnTo>
                    <a:lnTo>
                      <a:pt x="222" y="156"/>
                    </a:lnTo>
                    <a:lnTo>
                      <a:pt x="228" y="156"/>
                    </a:lnTo>
                    <a:lnTo>
                      <a:pt x="228" y="150"/>
                    </a:lnTo>
                    <a:lnTo>
                      <a:pt x="228" y="156"/>
                    </a:lnTo>
                    <a:lnTo>
                      <a:pt x="228" y="162"/>
                    </a:lnTo>
                    <a:lnTo>
                      <a:pt x="228" y="168"/>
                    </a:lnTo>
                    <a:lnTo>
                      <a:pt x="234" y="168"/>
                    </a:lnTo>
                    <a:lnTo>
                      <a:pt x="228" y="168"/>
                    </a:lnTo>
                    <a:lnTo>
                      <a:pt x="234" y="174"/>
                    </a:lnTo>
                    <a:lnTo>
                      <a:pt x="228" y="174"/>
                    </a:lnTo>
                    <a:lnTo>
                      <a:pt x="234" y="174"/>
                    </a:lnTo>
                    <a:lnTo>
                      <a:pt x="228" y="174"/>
                    </a:lnTo>
                    <a:lnTo>
                      <a:pt x="228" y="180"/>
                    </a:lnTo>
                    <a:lnTo>
                      <a:pt x="228" y="174"/>
                    </a:lnTo>
                    <a:lnTo>
                      <a:pt x="228" y="180"/>
                    </a:lnTo>
                    <a:lnTo>
                      <a:pt x="234" y="180"/>
                    </a:lnTo>
                    <a:lnTo>
                      <a:pt x="234" y="186"/>
                    </a:lnTo>
                    <a:lnTo>
                      <a:pt x="228" y="186"/>
                    </a:lnTo>
                    <a:lnTo>
                      <a:pt x="228" y="192"/>
                    </a:lnTo>
                    <a:lnTo>
                      <a:pt x="222" y="198"/>
                    </a:lnTo>
                    <a:lnTo>
                      <a:pt x="222" y="192"/>
                    </a:lnTo>
                    <a:lnTo>
                      <a:pt x="222" y="198"/>
                    </a:lnTo>
                    <a:lnTo>
                      <a:pt x="222" y="204"/>
                    </a:lnTo>
                    <a:lnTo>
                      <a:pt x="222" y="210"/>
                    </a:lnTo>
                    <a:lnTo>
                      <a:pt x="222" y="216"/>
                    </a:lnTo>
                    <a:lnTo>
                      <a:pt x="222" y="222"/>
                    </a:lnTo>
                    <a:lnTo>
                      <a:pt x="222" y="228"/>
                    </a:lnTo>
                    <a:lnTo>
                      <a:pt x="222" y="234"/>
                    </a:lnTo>
                    <a:lnTo>
                      <a:pt x="216" y="234"/>
                    </a:lnTo>
                    <a:lnTo>
                      <a:pt x="210" y="234"/>
                    </a:lnTo>
                    <a:lnTo>
                      <a:pt x="204" y="234"/>
                    </a:lnTo>
                    <a:lnTo>
                      <a:pt x="210" y="234"/>
                    </a:lnTo>
                    <a:lnTo>
                      <a:pt x="204" y="234"/>
                    </a:lnTo>
                    <a:lnTo>
                      <a:pt x="204" y="228"/>
                    </a:lnTo>
                    <a:lnTo>
                      <a:pt x="198" y="228"/>
                    </a:lnTo>
                    <a:lnTo>
                      <a:pt x="192" y="228"/>
                    </a:lnTo>
                    <a:lnTo>
                      <a:pt x="186" y="228"/>
                    </a:lnTo>
                    <a:lnTo>
                      <a:pt x="186" y="222"/>
                    </a:lnTo>
                    <a:lnTo>
                      <a:pt x="180" y="222"/>
                    </a:lnTo>
                    <a:lnTo>
                      <a:pt x="174" y="222"/>
                    </a:lnTo>
                    <a:lnTo>
                      <a:pt x="174" y="216"/>
                    </a:lnTo>
                    <a:lnTo>
                      <a:pt x="168" y="216"/>
                    </a:lnTo>
                    <a:lnTo>
                      <a:pt x="162" y="216"/>
                    </a:lnTo>
                    <a:lnTo>
                      <a:pt x="162" y="210"/>
                    </a:lnTo>
                    <a:lnTo>
                      <a:pt x="156" y="210"/>
                    </a:lnTo>
                    <a:lnTo>
                      <a:pt x="150" y="210"/>
                    </a:lnTo>
                    <a:lnTo>
                      <a:pt x="150" y="204"/>
                    </a:lnTo>
                    <a:lnTo>
                      <a:pt x="144" y="204"/>
                    </a:lnTo>
                    <a:lnTo>
                      <a:pt x="138" y="204"/>
                    </a:lnTo>
                    <a:lnTo>
                      <a:pt x="138" y="198"/>
                    </a:lnTo>
                    <a:lnTo>
                      <a:pt x="132" y="198"/>
                    </a:lnTo>
                    <a:lnTo>
                      <a:pt x="132" y="192"/>
                    </a:lnTo>
                    <a:lnTo>
                      <a:pt x="126" y="192"/>
                    </a:lnTo>
                    <a:lnTo>
                      <a:pt x="120" y="192"/>
                    </a:lnTo>
                    <a:lnTo>
                      <a:pt x="120" y="186"/>
                    </a:lnTo>
                    <a:lnTo>
                      <a:pt x="126" y="186"/>
                    </a:lnTo>
                    <a:lnTo>
                      <a:pt x="126" y="192"/>
                    </a:lnTo>
                    <a:lnTo>
                      <a:pt x="126" y="186"/>
                    </a:lnTo>
                    <a:lnTo>
                      <a:pt x="120" y="186"/>
                    </a:lnTo>
                    <a:lnTo>
                      <a:pt x="126" y="186"/>
                    </a:lnTo>
                    <a:lnTo>
                      <a:pt x="120" y="186"/>
                    </a:lnTo>
                    <a:lnTo>
                      <a:pt x="126" y="186"/>
                    </a:lnTo>
                    <a:lnTo>
                      <a:pt x="120" y="186"/>
                    </a:lnTo>
                    <a:lnTo>
                      <a:pt x="114" y="186"/>
                    </a:lnTo>
                    <a:lnTo>
                      <a:pt x="114" y="180"/>
                    </a:lnTo>
                    <a:lnTo>
                      <a:pt x="108" y="180"/>
                    </a:lnTo>
                    <a:lnTo>
                      <a:pt x="108" y="174"/>
                    </a:lnTo>
                    <a:lnTo>
                      <a:pt x="114" y="174"/>
                    </a:lnTo>
                    <a:lnTo>
                      <a:pt x="108" y="174"/>
                    </a:lnTo>
                    <a:lnTo>
                      <a:pt x="102" y="174"/>
                    </a:lnTo>
                    <a:lnTo>
                      <a:pt x="102" y="168"/>
                    </a:lnTo>
                    <a:lnTo>
                      <a:pt x="96" y="168"/>
                    </a:lnTo>
                    <a:lnTo>
                      <a:pt x="96" y="162"/>
                    </a:lnTo>
                    <a:lnTo>
                      <a:pt x="90" y="162"/>
                    </a:lnTo>
                    <a:lnTo>
                      <a:pt x="90" y="156"/>
                    </a:lnTo>
                    <a:lnTo>
                      <a:pt x="84" y="156"/>
                    </a:lnTo>
                    <a:lnTo>
                      <a:pt x="84" y="150"/>
                    </a:lnTo>
                    <a:lnTo>
                      <a:pt x="78" y="144"/>
                    </a:lnTo>
                    <a:lnTo>
                      <a:pt x="84" y="144"/>
                    </a:lnTo>
                    <a:lnTo>
                      <a:pt x="78" y="144"/>
                    </a:lnTo>
                    <a:lnTo>
                      <a:pt x="78" y="150"/>
                    </a:lnTo>
                    <a:lnTo>
                      <a:pt x="84" y="150"/>
                    </a:lnTo>
                    <a:lnTo>
                      <a:pt x="78" y="150"/>
                    </a:lnTo>
                    <a:lnTo>
                      <a:pt x="78" y="144"/>
                    </a:lnTo>
                    <a:lnTo>
                      <a:pt x="72" y="144"/>
                    </a:lnTo>
                    <a:lnTo>
                      <a:pt x="72" y="138"/>
                    </a:lnTo>
                    <a:lnTo>
                      <a:pt x="66" y="138"/>
                    </a:lnTo>
                    <a:lnTo>
                      <a:pt x="60" y="138"/>
                    </a:lnTo>
                    <a:lnTo>
                      <a:pt x="60" y="132"/>
                    </a:lnTo>
                    <a:lnTo>
                      <a:pt x="54" y="132"/>
                    </a:lnTo>
                    <a:lnTo>
                      <a:pt x="48" y="132"/>
                    </a:lnTo>
                    <a:lnTo>
                      <a:pt x="42" y="132"/>
                    </a:lnTo>
                    <a:lnTo>
                      <a:pt x="42" y="126"/>
                    </a:lnTo>
                    <a:lnTo>
                      <a:pt x="42" y="120"/>
                    </a:lnTo>
                    <a:lnTo>
                      <a:pt x="48" y="120"/>
                    </a:lnTo>
                    <a:lnTo>
                      <a:pt x="42" y="120"/>
                    </a:lnTo>
                    <a:lnTo>
                      <a:pt x="42" y="126"/>
                    </a:lnTo>
                    <a:lnTo>
                      <a:pt x="42" y="120"/>
                    </a:lnTo>
                    <a:lnTo>
                      <a:pt x="36" y="120"/>
                    </a:lnTo>
                    <a:lnTo>
                      <a:pt x="36" y="114"/>
                    </a:lnTo>
                    <a:lnTo>
                      <a:pt x="30" y="114"/>
                    </a:lnTo>
                    <a:lnTo>
                      <a:pt x="24" y="114"/>
                    </a:lnTo>
                    <a:lnTo>
                      <a:pt x="24" y="108"/>
                    </a:lnTo>
                    <a:lnTo>
                      <a:pt x="24" y="114"/>
                    </a:lnTo>
                    <a:lnTo>
                      <a:pt x="24" y="108"/>
                    </a:lnTo>
                    <a:lnTo>
                      <a:pt x="18" y="108"/>
                    </a:lnTo>
                    <a:lnTo>
                      <a:pt x="12" y="108"/>
                    </a:lnTo>
                    <a:lnTo>
                      <a:pt x="12" y="102"/>
                    </a:lnTo>
                    <a:lnTo>
                      <a:pt x="6" y="102"/>
                    </a:lnTo>
                    <a:lnTo>
                      <a:pt x="12" y="102"/>
                    </a:lnTo>
                    <a:lnTo>
                      <a:pt x="6" y="96"/>
                    </a:lnTo>
                    <a:lnTo>
                      <a:pt x="12" y="102"/>
                    </a:lnTo>
                    <a:lnTo>
                      <a:pt x="6" y="96"/>
                    </a:lnTo>
                    <a:lnTo>
                      <a:pt x="0" y="90"/>
                    </a:lnTo>
                    <a:lnTo>
                      <a:pt x="6" y="9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57" name="Freeform 17"/>
              <p:cNvSpPr>
                <a:spLocks noEditPoints="1"/>
              </p:cNvSpPr>
              <p:nvPr>
                <p:custDataLst>
                  <p:tags r:id="rId17"/>
                </p:custDataLst>
              </p:nvPr>
            </p:nvSpPr>
            <p:spPr bwMode="gray">
              <a:xfrm>
                <a:off x="927905" y="1295149"/>
                <a:ext cx="522401" cy="366123"/>
              </a:xfrm>
              <a:custGeom>
                <a:avLst/>
                <a:gdLst>
                  <a:gd name="T0" fmla="*/ 36928 w 414"/>
                  <a:gd name="T1" fmla="*/ 72506 h 312"/>
                  <a:gd name="T2" fmla="*/ 34013 w 414"/>
                  <a:gd name="T3" fmla="*/ 67672 h 312"/>
                  <a:gd name="T4" fmla="*/ 27210 w 414"/>
                  <a:gd name="T5" fmla="*/ 63805 h 312"/>
                  <a:gd name="T6" fmla="*/ 27210 w 414"/>
                  <a:gd name="T7" fmla="*/ 59938 h 312"/>
                  <a:gd name="T8" fmla="*/ 23323 w 414"/>
                  <a:gd name="T9" fmla="*/ 57038 h 312"/>
                  <a:gd name="T10" fmla="*/ 19436 w 414"/>
                  <a:gd name="T11" fmla="*/ 53171 h 312"/>
                  <a:gd name="T12" fmla="*/ 12633 w 414"/>
                  <a:gd name="T13" fmla="*/ 49304 h 312"/>
                  <a:gd name="T14" fmla="*/ 8746 w 414"/>
                  <a:gd name="T15" fmla="*/ 40604 h 312"/>
                  <a:gd name="T16" fmla="*/ 8746 w 414"/>
                  <a:gd name="T17" fmla="*/ 40604 h 312"/>
                  <a:gd name="T18" fmla="*/ 6802 w 414"/>
                  <a:gd name="T19" fmla="*/ 36737 h 312"/>
                  <a:gd name="T20" fmla="*/ 6802 w 414"/>
                  <a:gd name="T21" fmla="*/ 26102 h 312"/>
                  <a:gd name="T22" fmla="*/ 17492 w 414"/>
                  <a:gd name="T23" fmla="*/ 21269 h 312"/>
                  <a:gd name="T24" fmla="*/ 26239 w 414"/>
                  <a:gd name="T25" fmla="*/ 21269 h 312"/>
                  <a:gd name="T26" fmla="*/ 26239 w 414"/>
                  <a:gd name="T27" fmla="*/ 12567 h 312"/>
                  <a:gd name="T28" fmla="*/ 27210 w 414"/>
                  <a:gd name="T29" fmla="*/ 6767 h 312"/>
                  <a:gd name="T30" fmla="*/ 34013 w 414"/>
                  <a:gd name="T31" fmla="*/ 0 h 312"/>
                  <a:gd name="T32" fmla="*/ 47618 w 414"/>
                  <a:gd name="T33" fmla="*/ 3867 h 312"/>
                  <a:gd name="T34" fmla="*/ 60251 w 414"/>
                  <a:gd name="T35" fmla="*/ 6767 h 312"/>
                  <a:gd name="T36" fmla="*/ 72884 w 414"/>
                  <a:gd name="T37" fmla="*/ 6767 h 312"/>
                  <a:gd name="T38" fmla="*/ 76772 w 414"/>
                  <a:gd name="T39" fmla="*/ 14501 h 312"/>
                  <a:gd name="T40" fmla="*/ 86489 w 414"/>
                  <a:gd name="T41" fmla="*/ 14501 h 312"/>
                  <a:gd name="T42" fmla="*/ 92320 w 414"/>
                  <a:gd name="T43" fmla="*/ 12567 h 312"/>
                  <a:gd name="T44" fmla="*/ 101066 w 414"/>
                  <a:gd name="T45" fmla="*/ 12567 h 312"/>
                  <a:gd name="T46" fmla="*/ 111756 w 414"/>
                  <a:gd name="T47" fmla="*/ 8700 h 312"/>
                  <a:gd name="T48" fmla="*/ 115643 w 414"/>
                  <a:gd name="T49" fmla="*/ 3867 h 312"/>
                  <a:gd name="T50" fmla="*/ 122445 w 414"/>
                  <a:gd name="T51" fmla="*/ 12567 h 312"/>
                  <a:gd name="T52" fmla="*/ 126333 w 414"/>
                  <a:gd name="T53" fmla="*/ 21269 h 312"/>
                  <a:gd name="T54" fmla="*/ 133135 w 414"/>
                  <a:gd name="T55" fmla="*/ 27069 h 312"/>
                  <a:gd name="T56" fmla="*/ 128276 w 414"/>
                  <a:gd name="T57" fmla="*/ 36737 h 312"/>
                  <a:gd name="T58" fmla="*/ 135078 w 414"/>
                  <a:gd name="T59" fmla="*/ 42537 h 312"/>
                  <a:gd name="T60" fmla="*/ 141881 w 414"/>
                  <a:gd name="T61" fmla="*/ 53171 h 312"/>
                  <a:gd name="T62" fmla="*/ 138965 w 414"/>
                  <a:gd name="T63" fmla="*/ 56071 h 312"/>
                  <a:gd name="T64" fmla="*/ 138965 w 414"/>
                  <a:gd name="T65" fmla="*/ 63805 h 312"/>
                  <a:gd name="T66" fmla="*/ 143825 w 414"/>
                  <a:gd name="T67" fmla="*/ 72506 h 312"/>
                  <a:gd name="T68" fmla="*/ 143825 w 414"/>
                  <a:gd name="T69" fmla="*/ 78307 h 312"/>
                  <a:gd name="T70" fmla="*/ 143825 w 414"/>
                  <a:gd name="T71" fmla="*/ 85073 h 312"/>
                  <a:gd name="T72" fmla="*/ 137022 w 414"/>
                  <a:gd name="T73" fmla="*/ 87007 h 312"/>
                  <a:gd name="T74" fmla="*/ 138965 w 414"/>
                  <a:gd name="T75" fmla="*/ 97642 h 312"/>
                  <a:gd name="T76" fmla="*/ 131191 w 414"/>
                  <a:gd name="T77" fmla="*/ 101509 h 312"/>
                  <a:gd name="T78" fmla="*/ 124389 w 414"/>
                  <a:gd name="T79" fmla="*/ 108275 h 312"/>
                  <a:gd name="T80" fmla="*/ 113699 w 414"/>
                  <a:gd name="T81" fmla="*/ 106342 h 312"/>
                  <a:gd name="T82" fmla="*/ 113699 w 414"/>
                  <a:gd name="T83" fmla="*/ 93775 h 312"/>
                  <a:gd name="T84" fmla="*/ 106897 w 414"/>
                  <a:gd name="T85" fmla="*/ 87007 h 312"/>
                  <a:gd name="T86" fmla="*/ 98151 w 414"/>
                  <a:gd name="T87" fmla="*/ 85073 h 312"/>
                  <a:gd name="T88" fmla="*/ 87461 w 414"/>
                  <a:gd name="T89" fmla="*/ 87007 h 312"/>
                  <a:gd name="T90" fmla="*/ 92320 w 414"/>
                  <a:gd name="T91" fmla="*/ 81206 h 312"/>
                  <a:gd name="T92" fmla="*/ 87461 w 414"/>
                  <a:gd name="T93" fmla="*/ 72506 h 312"/>
                  <a:gd name="T94" fmla="*/ 86489 w 414"/>
                  <a:gd name="T95" fmla="*/ 63805 h 312"/>
                  <a:gd name="T96" fmla="*/ 74828 w 414"/>
                  <a:gd name="T97" fmla="*/ 56071 h 312"/>
                  <a:gd name="T98" fmla="*/ 57335 w 414"/>
                  <a:gd name="T99" fmla="*/ 57038 h 312"/>
                  <a:gd name="T100" fmla="*/ 49561 w 414"/>
                  <a:gd name="T101" fmla="*/ 61872 h 312"/>
                  <a:gd name="T102" fmla="*/ 42759 w 414"/>
                  <a:gd name="T103" fmla="*/ 70572 h 312"/>
                  <a:gd name="T104" fmla="*/ 0 w 414"/>
                  <a:gd name="T105" fmla="*/ 33836 h 312"/>
                  <a:gd name="T106" fmla="*/ 1943 w 414"/>
                  <a:gd name="T107" fmla="*/ 36737 h 312"/>
                  <a:gd name="T108" fmla="*/ 26239 w 414"/>
                  <a:gd name="T109" fmla="*/ 65739 h 312"/>
                  <a:gd name="T110" fmla="*/ 26239 w 414"/>
                  <a:gd name="T111" fmla="*/ 63805 h 312"/>
                  <a:gd name="T112" fmla="*/ 3887 w 414"/>
                  <a:gd name="T113" fmla="*/ 36737 h 312"/>
                  <a:gd name="T114" fmla="*/ 27210 w 414"/>
                  <a:gd name="T115" fmla="*/ 56071 h 312"/>
                  <a:gd name="T116" fmla="*/ 34013 w 414"/>
                  <a:gd name="T117" fmla="*/ 72506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4" h="312">
                    <a:moveTo>
                      <a:pt x="102" y="210"/>
                    </a:moveTo>
                    <a:lnTo>
                      <a:pt x="96" y="210"/>
                    </a:lnTo>
                    <a:lnTo>
                      <a:pt x="96" y="204"/>
                    </a:lnTo>
                    <a:lnTo>
                      <a:pt x="102" y="204"/>
                    </a:lnTo>
                    <a:lnTo>
                      <a:pt x="102" y="198"/>
                    </a:lnTo>
                    <a:lnTo>
                      <a:pt x="102" y="204"/>
                    </a:lnTo>
                    <a:lnTo>
                      <a:pt x="102" y="198"/>
                    </a:lnTo>
                    <a:lnTo>
                      <a:pt x="102" y="204"/>
                    </a:lnTo>
                    <a:lnTo>
                      <a:pt x="96" y="198"/>
                    </a:lnTo>
                    <a:lnTo>
                      <a:pt x="102" y="198"/>
                    </a:lnTo>
                    <a:lnTo>
                      <a:pt x="96" y="198"/>
                    </a:lnTo>
                    <a:lnTo>
                      <a:pt x="102" y="198"/>
                    </a:lnTo>
                    <a:lnTo>
                      <a:pt x="96" y="198"/>
                    </a:lnTo>
                    <a:lnTo>
                      <a:pt x="96" y="192"/>
                    </a:lnTo>
                    <a:lnTo>
                      <a:pt x="96" y="198"/>
                    </a:lnTo>
                    <a:lnTo>
                      <a:pt x="96" y="192"/>
                    </a:lnTo>
                    <a:lnTo>
                      <a:pt x="96" y="198"/>
                    </a:lnTo>
                    <a:lnTo>
                      <a:pt x="96" y="192"/>
                    </a:lnTo>
                    <a:lnTo>
                      <a:pt x="90" y="192"/>
                    </a:lnTo>
                    <a:lnTo>
                      <a:pt x="96" y="186"/>
                    </a:lnTo>
                    <a:lnTo>
                      <a:pt x="90" y="186"/>
                    </a:lnTo>
                    <a:lnTo>
                      <a:pt x="90" y="180"/>
                    </a:lnTo>
                    <a:lnTo>
                      <a:pt x="84" y="180"/>
                    </a:lnTo>
                    <a:lnTo>
                      <a:pt x="78" y="180"/>
                    </a:lnTo>
                    <a:lnTo>
                      <a:pt x="78" y="174"/>
                    </a:lnTo>
                    <a:lnTo>
                      <a:pt x="84" y="174"/>
                    </a:lnTo>
                    <a:lnTo>
                      <a:pt x="84" y="168"/>
                    </a:lnTo>
                    <a:lnTo>
                      <a:pt x="84" y="162"/>
                    </a:lnTo>
                    <a:lnTo>
                      <a:pt x="78" y="162"/>
                    </a:lnTo>
                    <a:lnTo>
                      <a:pt x="78" y="168"/>
                    </a:lnTo>
                    <a:lnTo>
                      <a:pt x="84" y="168"/>
                    </a:lnTo>
                    <a:lnTo>
                      <a:pt x="78" y="168"/>
                    </a:lnTo>
                    <a:lnTo>
                      <a:pt x="72" y="168"/>
                    </a:lnTo>
                    <a:lnTo>
                      <a:pt x="78" y="162"/>
                    </a:lnTo>
                    <a:lnTo>
                      <a:pt x="72" y="162"/>
                    </a:lnTo>
                    <a:lnTo>
                      <a:pt x="78" y="162"/>
                    </a:lnTo>
                    <a:lnTo>
                      <a:pt x="78" y="156"/>
                    </a:lnTo>
                    <a:lnTo>
                      <a:pt x="78" y="162"/>
                    </a:lnTo>
                    <a:lnTo>
                      <a:pt x="72" y="162"/>
                    </a:lnTo>
                    <a:lnTo>
                      <a:pt x="66" y="162"/>
                    </a:lnTo>
                    <a:lnTo>
                      <a:pt x="66" y="156"/>
                    </a:lnTo>
                    <a:lnTo>
                      <a:pt x="60" y="156"/>
                    </a:lnTo>
                    <a:lnTo>
                      <a:pt x="60" y="150"/>
                    </a:lnTo>
                    <a:lnTo>
                      <a:pt x="60" y="144"/>
                    </a:lnTo>
                    <a:lnTo>
                      <a:pt x="54" y="144"/>
                    </a:lnTo>
                    <a:lnTo>
                      <a:pt x="54" y="150"/>
                    </a:lnTo>
                    <a:lnTo>
                      <a:pt x="48" y="150"/>
                    </a:lnTo>
                    <a:lnTo>
                      <a:pt x="54" y="150"/>
                    </a:lnTo>
                    <a:lnTo>
                      <a:pt x="48" y="144"/>
                    </a:lnTo>
                    <a:lnTo>
                      <a:pt x="48" y="150"/>
                    </a:lnTo>
                    <a:lnTo>
                      <a:pt x="48" y="144"/>
                    </a:lnTo>
                    <a:lnTo>
                      <a:pt x="42" y="144"/>
                    </a:lnTo>
                    <a:lnTo>
                      <a:pt x="42" y="138"/>
                    </a:lnTo>
                    <a:lnTo>
                      <a:pt x="36" y="138"/>
                    </a:lnTo>
                    <a:lnTo>
                      <a:pt x="36" y="144"/>
                    </a:lnTo>
                    <a:lnTo>
                      <a:pt x="36" y="138"/>
                    </a:lnTo>
                    <a:lnTo>
                      <a:pt x="36" y="132"/>
                    </a:lnTo>
                    <a:lnTo>
                      <a:pt x="30" y="132"/>
                    </a:lnTo>
                    <a:lnTo>
                      <a:pt x="30" y="126"/>
                    </a:lnTo>
                    <a:lnTo>
                      <a:pt x="24" y="126"/>
                    </a:lnTo>
                    <a:lnTo>
                      <a:pt x="24" y="120"/>
                    </a:lnTo>
                    <a:lnTo>
                      <a:pt x="30" y="120"/>
                    </a:lnTo>
                    <a:lnTo>
                      <a:pt x="24" y="120"/>
                    </a:lnTo>
                    <a:lnTo>
                      <a:pt x="24" y="114"/>
                    </a:lnTo>
                    <a:lnTo>
                      <a:pt x="30" y="114"/>
                    </a:lnTo>
                    <a:lnTo>
                      <a:pt x="30" y="108"/>
                    </a:lnTo>
                    <a:lnTo>
                      <a:pt x="30" y="114"/>
                    </a:lnTo>
                    <a:lnTo>
                      <a:pt x="24" y="114"/>
                    </a:lnTo>
                    <a:lnTo>
                      <a:pt x="24" y="120"/>
                    </a:lnTo>
                    <a:lnTo>
                      <a:pt x="24" y="114"/>
                    </a:lnTo>
                    <a:lnTo>
                      <a:pt x="18" y="114"/>
                    </a:lnTo>
                    <a:lnTo>
                      <a:pt x="24" y="114"/>
                    </a:lnTo>
                    <a:lnTo>
                      <a:pt x="24" y="108"/>
                    </a:lnTo>
                    <a:lnTo>
                      <a:pt x="18" y="114"/>
                    </a:lnTo>
                    <a:lnTo>
                      <a:pt x="18" y="108"/>
                    </a:lnTo>
                    <a:lnTo>
                      <a:pt x="18" y="102"/>
                    </a:lnTo>
                    <a:lnTo>
                      <a:pt x="18" y="96"/>
                    </a:lnTo>
                    <a:lnTo>
                      <a:pt x="24" y="96"/>
                    </a:lnTo>
                    <a:lnTo>
                      <a:pt x="18" y="96"/>
                    </a:lnTo>
                    <a:lnTo>
                      <a:pt x="18" y="102"/>
                    </a:lnTo>
                    <a:lnTo>
                      <a:pt x="18" y="96"/>
                    </a:lnTo>
                    <a:lnTo>
                      <a:pt x="12" y="96"/>
                    </a:lnTo>
                    <a:lnTo>
                      <a:pt x="12" y="102"/>
                    </a:lnTo>
                    <a:lnTo>
                      <a:pt x="12" y="96"/>
                    </a:lnTo>
                    <a:lnTo>
                      <a:pt x="12" y="90"/>
                    </a:lnTo>
                    <a:lnTo>
                      <a:pt x="18" y="84"/>
                    </a:lnTo>
                    <a:lnTo>
                      <a:pt x="18" y="78"/>
                    </a:lnTo>
                    <a:lnTo>
                      <a:pt x="18" y="72"/>
                    </a:lnTo>
                    <a:lnTo>
                      <a:pt x="24" y="72"/>
                    </a:lnTo>
                    <a:lnTo>
                      <a:pt x="24" y="66"/>
                    </a:lnTo>
                    <a:lnTo>
                      <a:pt x="30" y="66"/>
                    </a:lnTo>
                    <a:lnTo>
                      <a:pt x="30" y="72"/>
                    </a:lnTo>
                    <a:lnTo>
                      <a:pt x="36" y="66"/>
                    </a:lnTo>
                    <a:lnTo>
                      <a:pt x="42" y="66"/>
                    </a:lnTo>
                    <a:lnTo>
                      <a:pt x="42" y="60"/>
                    </a:lnTo>
                    <a:lnTo>
                      <a:pt x="48" y="60"/>
                    </a:lnTo>
                    <a:lnTo>
                      <a:pt x="54" y="60"/>
                    </a:lnTo>
                    <a:lnTo>
                      <a:pt x="60" y="60"/>
                    </a:lnTo>
                    <a:lnTo>
                      <a:pt x="66" y="60"/>
                    </a:lnTo>
                    <a:lnTo>
                      <a:pt x="66" y="54"/>
                    </a:lnTo>
                    <a:lnTo>
                      <a:pt x="72" y="54"/>
                    </a:lnTo>
                    <a:lnTo>
                      <a:pt x="66" y="54"/>
                    </a:lnTo>
                    <a:lnTo>
                      <a:pt x="72" y="54"/>
                    </a:lnTo>
                    <a:lnTo>
                      <a:pt x="72" y="60"/>
                    </a:lnTo>
                    <a:lnTo>
                      <a:pt x="72" y="54"/>
                    </a:lnTo>
                    <a:lnTo>
                      <a:pt x="72" y="60"/>
                    </a:lnTo>
                    <a:lnTo>
                      <a:pt x="78" y="60"/>
                    </a:lnTo>
                    <a:lnTo>
                      <a:pt x="78" y="54"/>
                    </a:lnTo>
                    <a:lnTo>
                      <a:pt x="78" y="48"/>
                    </a:lnTo>
                    <a:lnTo>
                      <a:pt x="78" y="42"/>
                    </a:lnTo>
                    <a:lnTo>
                      <a:pt x="72" y="42"/>
                    </a:lnTo>
                    <a:lnTo>
                      <a:pt x="72" y="36"/>
                    </a:lnTo>
                    <a:lnTo>
                      <a:pt x="66" y="36"/>
                    </a:lnTo>
                    <a:lnTo>
                      <a:pt x="66" y="30"/>
                    </a:lnTo>
                    <a:lnTo>
                      <a:pt x="66" y="24"/>
                    </a:lnTo>
                    <a:lnTo>
                      <a:pt x="72" y="24"/>
                    </a:lnTo>
                    <a:lnTo>
                      <a:pt x="66" y="24"/>
                    </a:lnTo>
                    <a:lnTo>
                      <a:pt x="72" y="24"/>
                    </a:lnTo>
                    <a:lnTo>
                      <a:pt x="78" y="24"/>
                    </a:lnTo>
                    <a:lnTo>
                      <a:pt x="78" y="18"/>
                    </a:lnTo>
                    <a:lnTo>
                      <a:pt x="84" y="18"/>
                    </a:lnTo>
                    <a:lnTo>
                      <a:pt x="84" y="12"/>
                    </a:lnTo>
                    <a:lnTo>
                      <a:pt x="78" y="12"/>
                    </a:lnTo>
                    <a:lnTo>
                      <a:pt x="78" y="6"/>
                    </a:lnTo>
                    <a:lnTo>
                      <a:pt x="78" y="0"/>
                    </a:lnTo>
                    <a:lnTo>
                      <a:pt x="84" y="0"/>
                    </a:lnTo>
                    <a:lnTo>
                      <a:pt x="90" y="0"/>
                    </a:lnTo>
                    <a:lnTo>
                      <a:pt x="96" y="0"/>
                    </a:lnTo>
                    <a:lnTo>
                      <a:pt x="96" y="6"/>
                    </a:lnTo>
                    <a:lnTo>
                      <a:pt x="102" y="6"/>
                    </a:lnTo>
                    <a:lnTo>
                      <a:pt x="108" y="6"/>
                    </a:lnTo>
                    <a:lnTo>
                      <a:pt x="114" y="6"/>
                    </a:lnTo>
                    <a:lnTo>
                      <a:pt x="114" y="12"/>
                    </a:lnTo>
                    <a:lnTo>
                      <a:pt x="120" y="12"/>
                    </a:lnTo>
                    <a:lnTo>
                      <a:pt x="126" y="12"/>
                    </a:lnTo>
                    <a:lnTo>
                      <a:pt x="132" y="12"/>
                    </a:lnTo>
                    <a:lnTo>
                      <a:pt x="132" y="18"/>
                    </a:lnTo>
                    <a:lnTo>
                      <a:pt x="138" y="18"/>
                    </a:lnTo>
                    <a:lnTo>
                      <a:pt x="144" y="18"/>
                    </a:lnTo>
                    <a:lnTo>
                      <a:pt x="150" y="18"/>
                    </a:lnTo>
                    <a:lnTo>
                      <a:pt x="150" y="24"/>
                    </a:lnTo>
                    <a:lnTo>
                      <a:pt x="156" y="24"/>
                    </a:lnTo>
                    <a:lnTo>
                      <a:pt x="162" y="18"/>
                    </a:lnTo>
                    <a:lnTo>
                      <a:pt x="168" y="18"/>
                    </a:lnTo>
                    <a:lnTo>
                      <a:pt x="174" y="18"/>
                    </a:lnTo>
                    <a:lnTo>
                      <a:pt x="180" y="18"/>
                    </a:lnTo>
                    <a:lnTo>
                      <a:pt x="186" y="18"/>
                    </a:lnTo>
                    <a:lnTo>
                      <a:pt x="192" y="18"/>
                    </a:lnTo>
                    <a:lnTo>
                      <a:pt x="198" y="18"/>
                    </a:lnTo>
                    <a:lnTo>
                      <a:pt x="204" y="18"/>
                    </a:lnTo>
                    <a:lnTo>
                      <a:pt x="210" y="18"/>
                    </a:lnTo>
                    <a:lnTo>
                      <a:pt x="204" y="18"/>
                    </a:lnTo>
                    <a:lnTo>
                      <a:pt x="204" y="24"/>
                    </a:lnTo>
                    <a:lnTo>
                      <a:pt x="204" y="30"/>
                    </a:lnTo>
                    <a:lnTo>
                      <a:pt x="198" y="30"/>
                    </a:lnTo>
                    <a:lnTo>
                      <a:pt x="204" y="30"/>
                    </a:lnTo>
                    <a:lnTo>
                      <a:pt x="204" y="36"/>
                    </a:lnTo>
                    <a:lnTo>
                      <a:pt x="210" y="36"/>
                    </a:lnTo>
                    <a:lnTo>
                      <a:pt x="210" y="42"/>
                    </a:lnTo>
                    <a:lnTo>
                      <a:pt x="216" y="42"/>
                    </a:lnTo>
                    <a:lnTo>
                      <a:pt x="216" y="36"/>
                    </a:lnTo>
                    <a:lnTo>
                      <a:pt x="222" y="36"/>
                    </a:lnTo>
                    <a:lnTo>
                      <a:pt x="222" y="30"/>
                    </a:lnTo>
                    <a:lnTo>
                      <a:pt x="228" y="30"/>
                    </a:lnTo>
                    <a:lnTo>
                      <a:pt x="234" y="30"/>
                    </a:lnTo>
                    <a:lnTo>
                      <a:pt x="234" y="36"/>
                    </a:lnTo>
                    <a:lnTo>
                      <a:pt x="240" y="36"/>
                    </a:lnTo>
                    <a:lnTo>
                      <a:pt x="240" y="42"/>
                    </a:lnTo>
                    <a:lnTo>
                      <a:pt x="240" y="48"/>
                    </a:lnTo>
                    <a:lnTo>
                      <a:pt x="246" y="48"/>
                    </a:lnTo>
                    <a:lnTo>
                      <a:pt x="246" y="42"/>
                    </a:lnTo>
                    <a:lnTo>
                      <a:pt x="252" y="42"/>
                    </a:lnTo>
                    <a:lnTo>
                      <a:pt x="252" y="36"/>
                    </a:lnTo>
                    <a:lnTo>
                      <a:pt x="252" y="42"/>
                    </a:lnTo>
                    <a:lnTo>
                      <a:pt x="252" y="36"/>
                    </a:lnTo>
                    <a:lnTo>
                      <a:pt x="258" y="36"/>
                    </a:lnTo>
                    <a:lnTo>
                      <a:pt x="252" y="36"/>
                    </a:lnTo>
                    <a:lnTo>
                      <a:pt x="258" y="36"/>
                    </a:lnTo>
                    <a:lnTo>
                      <a:pt x="258" y="30"/>
                    </a:lnTo>
                    <a:lnTo>
                      <a:pt x="264" y="30"/>
                    </a:lnTo>
                    <a:lnTo>
                      <a:pt x="270" y="30"/>
                    </a:lnTo>
                    <a:lnTo>
                      <a:pt x="276" y="30"/>
                    </a:lnTo>
                    <a:lnTo>
                      <a:pt x="282" y="30"/>
                    </a:lnTo>
                    <a:lnTo>
                      <a:pt x="282" y="36"/>
                    </a:lnTo>
                    <a:lnTo>
                      <a:pt x="288" y="36"/>
                    </a:lnTo>
                    <a:lnTo>
                      <a:pt x="294" y="36"/>
                    </a:lnTo>
                    <a:lnTo>
                      <a:pt x="300" y="42"/>
                    </a:lnTo>
                    <a:lnTo>
                      <a:pt x="300" y="36"/>
                    </a:lnTo>
                    <a:lnTo>
                      <a:pt x="300" y="30"/>
                    </a:lnTo>
                    <a:lnTo>
                      <a:pt x="306" y="30"/>
                    </a:lnTo>
                    <a:lnTo>
                      <a:pt x="312" y="30"/>
                    </a:lnTo>
                    <a:lnTo>
                      <a:pt x="312" y="24"/>
                    </a:lnTo>
                    <a:lnTo>
                      <a:pt x="318" y="24"/>
                    </a:lnTo>
                    <a:lnTo>
                      <a:pt x="324" y="24"/>
                    </a:lnTo>
                    <a:lnTo>
                      <a:pt x="324" y="18"/>
                    </a:lnTo>
                    <a:lnTo>
                      <a:pt x="318" y="18"/>
                    </a:lnTo>
                    <a:lnTo>
                      <a:pt x="318" y="12"/>
                    </a:lnTo>
                    <a:lnTo>
                      <a:pt x="318" y="18"/>
                    </a:lnTo>
                    <a:lnTo>
                      <a:pt x="318" y="12"/>
                    </a:lnTo>
                    <a:lnTo>
                      <a:pt x="324" y="12"/>
                    </a:lnTo>
                    <a:lnTo>
                      <a:pt x="330" y="12"/>
                    </a:lnTo>
                    <a:lnTo>
                      <a:pt x="336" y="12"/>
                    </a:lnTo>
                    <a:lnTo>
                      <a:pt x="336" y="18"/>
                    </a:lnTo>
                    <a:lnTo>
                      <a:pt x="342" y="18"/>
                    </a:lnTo>
                    <a:lnTo>
                      <a:pt x="342" y="24"/>
                    </a:lnTo>
                    <a:lnTo>
                      <a:pt x="342" y="30"/>
                    </a:lnTo>
                    <a:lnTo>
                      <a:pt x="348" y="30"/>
                    </a:lnTo>
                    <a:lnTo>
                      <a:pt x="342" y="36"/>
                    </a:lnTo>
                    <a:lnTo>
                      <a:pt x="348" y="36"/>
                    </a:lnTo>
                    <a:lnTo>
                      <a:pt x="348" y="42"/>
                    </a:lnTo>
                    <a:lnTo>
                      <a:pt x="348" y="36"/>
                    </a:lnTo>
                    <a:lnTo>
                      <a:pt x="348" y="42"/>
                    </a:lnTo>
                    <a:lnTo>
                      <a:pt x="348" y="48"/>
                    </a:lnTo>
                    <a:lnTo>
                      <a:pt x="348" y="54"/>
                    </a:lnTo>
                    <a:lnTo>
                      <a:pt x="348" y="60"/>
                    </a:lnTo>
                    <a:lnTo>
                      <a:pt x="354" y="60"/>
                    </a:lnTo>
                    <a:lnTo>
                      <a:pt x="360" y="60"/>
                    </a:lnTo>
                    <a:lnTo>
                      <a:pt x="354" y="60"/>
                    </a:lnTo>
                    <a:lnTo>
                      <a:pt x="354" y="66"/>
                    </a:lnTo>
                    <a:lnTo>
                      <a:pt x="360" y="66"/>
                    </a:lnTo>
                    <a:lnTo>
                      <a:pt x="360" y="72"/>
                    </a:lnTo>
                    <a:lnTo>
                      <a:pt x="366" y="72"/>
                    </a:lnTo>
                    <a:lnTo>
                      <a:pt x="366" y="78"/>
                    </a:lnTo>
                    <a:lnTo>
                      <a:pt x="372" y="78"/>
                    </a:lnTo>
                    <a:lnTo>
                      <a:pt x="372" y="84"/>
                    </a:lnTo>
                    <a:lnTo>
                      <a:pt x="372" y="78"/>
                    </a:lnTo>
                    <a:lnTo>
                      <a:pt x="366" y="78"/>
                    </a:lnTo>
                    <a:lnTo>
                      <a:pt x="366" y="84"/>
                    </a:lnTo>
                    <a:lnTo>
                      <a:pt x="366" y="90"/>
                    </a:lnTo>
                    <a:lnTo>
                      <a:pt x="360" y="90"/>
                    </a:lnTo>
                    <a:lnTo>
                      <a:pt x="360" y="96"/>
                    </a:lnTo>
                    <a:lnTo>
                      <a:pt x="360" y="102"/>
                    </a:lnTo>
                    <a:lnTo>
                      <a:pt x="366" y="102"/>
                    </a:lnTo>
                    <a:lnTo>
                      <a:pt x="366" y="96"/>
                    </a:lnTo>
                    <a:lnTo>
                      <a:pt x="372" y="96"/>
                    </a:lnTo>
                    <a:lnTo>
                      <a:pt x="378" y="96"/>
                    </a:lnTo>
                    <a:lnTo>
                      <a:pt x="378" y="102"/>
                    </a:lnTo>
                    <a:lnTo>
                      <a:pt x="378" y="108"/>
                    </a:lnTo>
                    <a:lnTo>
                      <a:pt x="378" y="114"/>
                    </a:lnTo>
                    <a:lnTo>
                      <a:pt x="378" y="120"/>
                    </a:lnTo>
                    <a:lnTo>
                      <a:pt x="378" y="126"/>
                    </a:lnTo>
                    <a:lnTo>
                      <a:pt x="384" y="126"/>
                    </a:lnTo>
                    <a:lnTo>
                      <a:pt x="384" y="132"/>
                    </a:lnTo>
                    <a:lnTo>
                      <a:pt x="390" y="132"/>
                    </a:lnTo>
                    <a:lnTo>
                      <a:pt x="396" y="132"/>
                    </a:lnTo>
                    <a:lnTo>
                      <a:pt x="396" y="138"/>
                    </a:lnTo>
                    <a:lnTo>
                      <a:pt x="396" y="144"/>
                    </a:lnTo>
                    <a:lnTo>
                      <a:pt x="396" y="150"/>
                    </a:lnTo>
                    <a:lnTo>
                      <a:pt x="390" y="150"/>
                    </a:lnTo>
                    <a:lnTo>
                      <a:pt x="390" y="156"/>
                    </a:lnTo>
                    <a:lnTo>
                      <a:pt x="384" y="156"/>
                    </a:lnTo>
                    <a:lnTo>
                      <a:pt x="390" y="156"/>
                    </a:lnTo>
                    <a:lnTo>
                      <a:pt x="384" y="156"/>
                    </a:lnTo>
                    <a:lnTo>
                      <a:pt x="384" y="162"/>
                    </a:lnTo>
                    <a:lnTo>
                      <a:pt x="384" y="156"/>
                    </a:lnTo>
                    <a:lnTo>
                      <a:pt x="390" y="156"/>
                    </a:lnTo>
                    <a:lnTo>
                      <a:pt x="390" y="162"/>
                    </a:lnTo>
                    <a:lnTo>
                      <a:pt x="390" y="168"/>
                    </a:lnTo>
                    <a:lnTo>
                      <a:pt x="390" y="174"/>
                    </a:lnTo>
                    <a:lnTo>
                      <a:pt x="384" y="174"/>
                    </a:lnTo>
                    <a:lnTo>
                      <a:pt x="390" y="174"/>
                    </a:lnTo>
                    <a:lnTo>
                      <a:pt x="384" y="174"/>
                    </a:lnTo>
                    <a:lnTo>
                      <a:pt x="384" y="180"/>
                    </a:lnTo>
                    <a:lnTo>
                      <a:pt x="390" y="180"/>
                    </a:lnTo>
                    <a:lnTo>
                      <a:pt x="384" y="180"/>
                    </a:lnTo>
                    <a:lnTo>
                      <a:pt x="390" y="180"/>
                    </a:lnTo>
                    <a:lnTo>
                      <a:pt x="390" y="186"/>
                    </a:lnTo>
                    <a:lnTo>
                      <a:pt x="396" y="186"/>
                    </a:lnTo>
                    <a:lnTo>
                      <a:pt x="402" y="186"/>
                    </a:lnTo>
                    <a:lnTo>
                      <a:pt x="402" y="192"/>
                    </a:lnTo>
                    <a:lnTo>
                      <a:pt x="402" y="198"/>
                    </a:lnTo>
                    <a:lnTo>
                      <a:pt x="402" y="204"/>
                    </a:lnTo>
                    <a:lnTo>
                      <a:pt x="402" y="198"/>
                    </a:lnTo>
                    <a:lnTo>
                      <a:pt x="402" y="204"/>
                    </a:lnTo>
                    <a:lnTo>
                      <a:pt x="408" y="204"/>
                    </a:lnTo>
                    <a:lnTo>
                      <a:pt x="402" y="204"/>
                    </a:lnTo>
                    <a:lnTo>
                      <a:pt x="402" y="210"/>
                    </a:lnTo>
                    <a:lnTo>
                      <a:pt x="396" y="216"/>
                    </a:lnTo>
                    <a:lnTo>
                      <a:pt x="396" y="222"/>
                    </a:lnTo>
                    <a:lnTo>
                      <a:pt x="402" y="222"/>
                    </a:lnTo>
                    <a:lnTo>
                      <a:pt x="408" y="222"/>
                    </a:lnTo>
                    <a:lnTo>
                      <a:pt x="408" y="228"/>
                    </a:lnTo>
                    <a:lnTo>
                      <a:pt x="414" y="234"/>
                    </a:lnTo>
                    <a:lnTo>
                      <a:pt x="414" y="240"/>
                    </a:lnTo>
                    <a:lnTo>
                      <a:pt x="414" y="246"/>
                    </a:lnTo>
                    <a:lnTo>
                      <a:pt x="408" y="246"/>
                    </a:lnTo>
                    <a:lnTo>
                      <a:pt x="408" y="240"/>
                    </a:lnTo>
                    <a:lnTo>
                      <a:pt x="402" y="240"/>
                    </a:lnTo>
                    <a:lnTo>
                      <a:pt x="402" y="246"/>
                    </a:lnTo>
                    <a:lnTo>
                      <a:pt x="402" y="240"/>
                    </a:lnTo>
                    <a:lnTo>
                      <a:pt x="402" y="246"/>
                    </a:lnTo>
                    <a:lnTo>
                      <a:pt x="402" y="240"/>
                    </a:lnTo>
                    <a:lnTo>
                      <a:pt x="396" y="240"/>
                    </a:lnTo>
                    <a:lnTo>
                      <a:pt x="390" y="240"/>
                    </a:lnTo>
                    <a:lnTo>
                      <a:pt x="384" y="240"/>
                    </a:lnTo>
                    <a:lnTo>
                      <a:pt x="384" y="246"/>
                    </a:lnTo>
                    <a:lnTo>
                      <a:pt x="384" y="252"/>
                    </a:lnTo>
                    <a:lnTo>
                      <a:pt x="384" y="258"/>
                    </a:lnTo>
                    <a:lnTo>
                      <a:pt x="390" y="258"/>
                    </a:lnTo>
                    <a:lnTo>
                      <a:pt x="396" y="258"/>
                    </a:lnTo>
                    <a:lnTo>
                      <a:pt x="396" y="264"/>
                    </a:lnTo>
                    <a:lnTo>
                      <a:pt x="390" y="264"/>
                    </a:lnTo>
                    <a:lnTo>
                      <a:pt x="390" y="270"/>
                    </a:lnTo>
                    <a:lnTo>
                      <a:pt x="390" y="276"/>
                    </a:lnTo>
                    <a:lnTo>
                      <a:pt x="390" y="282"/>
                    </a:lnTo>
                    <a:lnTo>
                      <a:pt x="390" y="288"/>
                    </a:lnTo>
                    <a:lnTo>
                      <a:pt x="384" y="288"/>
                    </a:lnTo>
                    <a:lnTo>
                      <a:pt x="384" y="294"/>
                    </a:lnTo>
                    <a:lnTo>
                      <a:pt x="378" y="288"/>
                    </a:lnTo>
                    <a:lnTo>
                      <a:pt x="372" y="288"/>
                    </a:lnTo>
                    <a:lnTo>
                      <a:pt x="366" y="294"/>
                    </a:lnTo>
                    <a:lnTo>
                      <a:pt x="366" y="288"/>
                    </a:lnTo>
                    <a:lnTo>
                      <a:pt x="366" y="282"/>
                    </a:lnTo>
                    <a:lnTo>
                      <a:pt x="360" y="282"/>
                    </a:lnTo>
                    <a:lnTo>
                      <a:pt x="360" y="288"/>
                    </a:lnTo>
                    <a:lnTo>
                      <a:pt x="354" y="288"/>
                    </a:lnTo>
                    <a:lnTo>
                      <a:pt x="354" y="294"/>
                    </a:lnTo>
                    <a:lnTo>
                      <a:pt x="354" y="300"/>
                    </a:lnTo>
                    <a:lnTo>
                      <a:pt x="348" y="300"/>
                    </a:lnTo>
                    <a:lnTo>
                      <a:pt x="348" y="306"/>
                    </a:lnTo>
                    <a:lnTo>
                      <a:pt x="342" y="306"/>
                    </a:lnTo>
                    <a:lnTo>
                      <a:pt x="342" y="312"/>
                    </a:lnTo>
                    <a:lnTo>
                      <a:pt x="336" y="312"/>
                    </a:lnTo>
                    <a:lnTo>
                      <a:pt x="336" y="306"/>
                    </a:lnTo>
                    <a:lnTo>
                      <a:pt x="330" y="306"/>
                    </a:lnTo>
                    <a:lnTo>
                      <a:pt x="330" y="300"/>
                    </a:lnTo>
                    <a:lnTo>
                      <a:pt x="324" y="300"/>
                    </a:lnTo>
                    <a:lnTo>
                      <a:pt x="318" y="300"/>
                    </a:lnTo>
                    <a:lnTo>
                      <a:pt x="312" y="300"/>
                    </a:lnTo>
                    <a:lnTo>
                      <a:pt x="318" y="300"/>
                    </a:lnTo>
                    <a:lnTo>
                      <a:pt x="318" y="294"/>
                    </a:lnTo>
                    <a:lnTo>
                      <a:pt x="318" y="288"/>
                    </a:lnTo>
                    <a:lnTo>
                      <a:pt x="318" y="282"/>
                    </a:lnTo>
                    <a:lnTo>
                      <a:pt x="318" y="276"/>
                    </a:lnTo>
                    <a:lnTo>
                      <a:pt x="318" y="270"/>
                    </a:lnTo>
                    <a:lnTo>
                      <a:pt x="318" y="264"/>
                    </a:lnTo>
                    <a:lnTo>
                      <a:pt x="312" y="264"/>
                    </a:lnTo>
                    <a:lnTo>
                      <a:pt x="312" y="258"/>
                    </a:lnTo>
                    <a:lnTo>
                      <a:pt x="312" y="252"/>
                    </a:lnTo>
                    <a:lnTo>
                      <a:pt x="312" y="246"/>
                    </a:lnTo>
                    <a:lnTo>
                      <a:pt x="306" y="246"/>
                    </a:lnTo>
                    <a:lnTo>
                      <a:pt x="306" y="240"/>
                    </a:lnTo>
                    <a:lnTo>
                      <a:pt x="306" y="246"/>
                    </a:lnTo>
                    <a:lnTo>
                      <a:pt x="300" y="246"/>
                    </a:lnTo>
                    <a:lnTo>
                      <a:pt x="306" y="240"/>
                    </a:lnTo>
                    <a:lnTo>
                      <a:pt x="300" y="240"/>
                    </a:lnTo>
                    <a:lnTo>
                      <a:pt x="300" y="234"/>
                    </a:lnTo>
                    <a:lnTo>
                      <a:pt x="294" y="234"/>
                    </a:lnTo>
                    <a:lnTo>
                      <a:pt x="294" y="240"/>
                    </a:lnTo>
                    <a:lnTo>
                      <a:pt x="288" y="240"/>
                    </a:lnTo>
                    <a:lnTo>
                      <a:pt x="282" y="240"/>
                    </a:lnTo>
                    <a:lnTo>
                      <a:pt x="276" y="240"/>
                    </a:lnTo>
                    <a:lnTo>
                      <a:pt x="270" y="240"/>
                    </a:lnTo>
                    <a:lnTo>
                      <a:pt x="264" y="240"/>
                    </a:lnTo>
                    <a:lnTo>
                      <a:pt x="258" y="240"/>
                    </a:lnTo>
                    <a:lnTo>
                      <a:pt x="258" y="246"/>
                    </a:lnTo>
                    <a:lnTo>
                      <a:pt x="252" y="246"/>
                    </a:lnTo>
                    <a:lnTo>
                      <a:pt x="252" y="252"/>
                    </a:lnTo>
                    <a:lnTo>
                      <a:pt x="252" y="246"/>
                    </a:lnTo>
                    <a:lnTo>
                      <a:pt x="246" y="246"/>
                    </a:lnTo>
                    <a:lnTo>
                      <a:pt x="246" y="252"/>
                    </a:lnTo>
                    <a:lnTo>
                      <a:pt x="246" y="246"/>
                    </a:lnTo>
                    <a:lnTo>
                      <a:pt x="246" y="240"/>
                    </a:lnTo>
                    <a:lnTo>
                      <a:pt x="252" y="234"/>
                    </a:lnTo>
                    <a:lnTo>
                      <a:pt x="258" y="234"/>
                    </a:lnTo>
                    <a:lnTo>
                      <a:pt x="258" y="228"/>
                    </a:lnTo>
                    <a:lnTo>
                      <a:pt x="252" y="228"/>
                    </a:lnTo>
                    <a:lnTo>
                      <a:pt x="258" y="228"/>
                    </a:lnTo>
                    <a:lnTo>
                      <a:pt x="252" y="228"/>
                    </a:lnTo>
                    <a:lnTo>
                      <a:pt x="252" y="222"/>
                    </a:lnTo>
                    <a:lnTo>
                      <a:pt x="252" y="216"/>
                    </a:lnTo>
                    <a:lnTo>
                      <a:pt x="252" y="210"/>
                    </a:lnTo>
                    <a:lnTo>
                      <a:pt x="252" y="204"/>
                    </a:lnTo>
                    <a:lnTo>
                      <a:pt x="246" y="204"/>
                    </a:lnTo>
                    <a:lnTo>
                      <a:pt x="240" y="204"/>
                    </a:lnTo>
                    <a:lnTo>
                      <a:pt x="246" y="204"/>
                    </a:lnTo>
                    <a:lnTo>
                      <a:pt x="246" y="198"/>
                    </a:lnTo>
                    <a:lnTo>
                      <a:pt x="246" y="192"/>
                    </a:lnTo>
                    <a:lnTo>
                      <a:pt x="246" y="186"/>
                    </a:lnTo>
                    <a:lnTo>
                      <a:pt x="240" y="192"/>
                    </a:lnTo>
                    <a:lnTo>
                      <a:pt x="240" y="186"/>
                    </a:lnTo>
                    <a:lnTo>
                      <a:pt x="234" y="186"/>
                    </a:lnTo>
                    <a:lnTo>
                      <a:pt x="234" y="180"/>
                    </a:lnTo>
                    <a:lnTo>
                      <a:pt x="240" y="180"/>
                    </a:lnTo>
                    <a:lnTo>
                      <a:pt x="234" y="180"/>
                    </a:lnTo>
                    <a:lnTo>
                      <a:pt x="234" y="174"/>
                    </a:lnTo>
                    <a:lnTo>
                      <a:pt x="228" y="174"/>
                    </a:lnTo>
                    <a:lnTo>
                      <a:pt x="228" y="168"/>
                    </a:lnTo>
                    <a:lnTo>
                      <a:pt x="228" y="162"/>
                    </a:lnTo>
                    <a:lnTo>
                      <a:pt x="222" y="162"/>
                    </a:lnTo>
                    <a:lnTo>
                      <a:pt x="216" y="156"/>
                    </a:lnTo>
                    <a:lnTo>
                      <a:pt x="210" y="156"/>
                    </a:lnTo>
                    <a:lnTo>
                      <a:pt x="204" y="156"/>
                    </a:lnTo>
                    <a:lnTo>
                      <a:pt x="198" y="156"/>
                    </a:lnTo>
                    <a:lnTo>
                      <a:pt x="192" y="156"/>
                    </a:lnTo>
                    <a:lnTo>
                      <a:pt x="186" y="156"/>
                    </a:lnTo>
                    <a:lnTo>
                      <a:pt x="180" y="156"/>
                    </a:lnTo>
                    <a:lnTo>
                      <a:pt x="174" y="156"/>
                    </a:lnTo>
                    <a:lnTo>
                      <a:pt x="168" y="162"/>
                    </a:lnTo>
                    <a:lnTo>
                      <a:pt x="162" y="162"/>
                    </a:lnTo>
                    <a:lnTo>
                      <a:pt x="162" y="156"/>
                    </a:lnTo>
                    <a:lnTo>
                      <a:pt x="156" y="156"/>
                    </a:lnTo>
                    <a:lnTo>
                      <a:pt x="156" y="162"/>
                    </a:lnTo>
                    <a:lnTo>
                      <a:pt x="150" y="162"/>
                    </a:lnTo>
                    <a:lnTo>
                      <a:pt x="144" y="162"/>
                    </a:lnTo>
                    <a:lnTo>
                      <a:pt x="144" y="168"/>
                    </a:lnTo>
                    <a:lnTo>
                      <a:pt x="138" y="168"/>
                    </a:lnTo>
                    <a:lnTo>
                      <a:pt x="138" y="174"/>
                    </a:lnTo>
                    <a:lnTo>
                      <a:pt x="138" y="180"/>
                    </a:lnTo>
                    <a:lnTo>
                      <a:pt x="138" y="186"/>
                    </a:lnTo>
                    <a:lnTo>
                      <a:pt x="132" y="186"/>
                    </a:lnTo>
                    <a:lnTo>
                      <a:pt x="132" y="192"/>
                    </a:lnTo>
                    <a:lnTo>
                      <a:pt x="126" y="192"/>
                    </a:lnTo>
                    <a:lnTo>
                      <a:pt x="120" y="198"/>
                    </a:lnTo>
                    <a:lnTo>
                      <a:pt x="120" y="192"/>
                    </a:lnTo>
                    <a:lnTo>
                      <a:pt x="120" y="198"/>
                    </a:lnTo>
                    <a:lnTo>
                      <a:pt x="120" y="204"/>
                    </a:lnTo>
                    <a:lnTo>
                      <a:pt x="114" y="204"/>
                    </a:lnTo>
                    <a:lnTo>
                      <a:pt x="114" y="210"/>
                    </a:lnTo>
                    <a:lnTo>
                      <a:pt x="108" y="210"/>
                    </a:lnTo>
                    <a:lnTo>
                      <a:pt x="108" y="204"/>
                    </a:lnTo>
                    <a:lnTo>
                      <a:pt x="102" y="204"/>
                    </a:lnTo>
                    <a:lnTo>
                      <a:pt x="102" y="210"/>
                    </a:lnTo>
                    <a:close/>
                    <a:moveTo>
                      <a:pt x="0" y="96"/>
                    </a:moveTo>
                    <a:lnTo>
                      <a:pt x="12" y="96"/>
                    </a:lnTo>
                    <a:lnTo>
                      <a:pt x="12" y="108"/>
                    </a:lnTo>
                    <a:lnTo>
                      <a:pt x="0" y="108"/>
                    </a:lnTo>
                    <a:lnTo>
                      <a:pt x="0" y="96"/>
                    </a:lnTo>
                    <a:close/>
                    <a:moveTo>
                      <a:pt x="6" y="96"/>
                    </a:moveTo>
                    <a:lnTo>
                      <a:pt x="12" y="96"/>
                    </a:lnTo>
                    <a:lnTo>
                      <a:pt x="12" y="102"/>
                    </a:lnTo>
                    <a:lnTo>
                      <a:pt x="6" y="102"/>
                    </a:lnTo>
                    <a:lnTo>
                      <a:pt x="6" y="96"/>
                    </a:lnTo>
                    <a:close/>
                    <a:moveTo>
                      <a:pt x="6" y="102"/>
                    </a:moveTo>
                    <a:lnTo>
                      <a:pt x="12" y="102"/>
                    </a:lnTo>
                    <a:lnTo>
                      <a:pt x="12" y="108"/>
                    </a:lnTo>
                    <a:lnTo>
                      <a:pt x="6" y="108"/>
                    </a:lnTo>
                    <a:lnTo>
                      <a:pt x="6" y="102"/>
                    </a:lnTo>
                    <a:close/>
                    <a:moveTo>
                      <a:pt x="72" y="180"/>
                    </a:moveTo>
                    <a:lnTo>
                      <a:pt x="72" y="186"/>
                    </a:lnTo>
                    <a:lnTo>
                      <a:pt x="73" y="186"/>
                    </a:lnTo>
                    <a:lnTo>
                      <a:pt x="72" y="180"/>
                    </a:lnTo>
                    <a:close/>
                    <a:moveTo>
                      <a:pt x="72" y="162"/>
                    </a:moveTo>
                    <a:lnTo>
                      <a:pt x="78" y="162"/>
                    </a:lnTo>
                    <a:lnTo>
                      <a:pt x="78" y="168"/>
                    </a:lnTo>
                    <a:lnTo>
                      <a:pt x="72" y="168"/>
                    </a:lnTo>
                    <a:lnTo>
                      <a:pt x="72" y="162"/>
                    </a:lnTo>
                    <a:close/>
                    <a:moveTo>
                      <a:pt x="72" y="180"/>
                    </a:moveTo>
                    <a:lnTo>
                      <a:pt x="78" y="180"/>
                    </a:lnTo>
                    <a:lnTo>
                      <a:pt x="78" y="186"/>
                    </a:lnTo>
                    <a:lnTo>
                      <a:pt x="72" y="186"/>
                    </a:lnTo>
                    <a:lnTo>
                      <a:pt x="72" y="180"/>
                    </a:lnTo>
                    <a:close/>
                    <a:moveTo>
                      <a:pt x="12" y="102"/>
                    </a:moveTo>
                    <a:lnTo>
                      <a:pt x="12" y="108"/>
                    </a:lnTo>
                    <a:lnTo>
                      <a:pt x="13" y="108"/>
                    </a:lnTo>
                    <a:lnTo>
                      <a:pt x="12" y="102"/>
                    </a:lnTo>
                    <a:close/>
                    <a:moveTo>
                      <a:pt x="60" y="144"/>
                    </a:moveTo>
                    <a:lnTo>
                      <a:pt x="60" y="150"/>
                    </a:lnTo>
                    <a:lnTo>
                      <a:pt x="61" y="150"/>
                    </a:lnTo>
                    <a:lnTo>
                      <a:pt x="60" y="144"/>
                    </a:lnTo>
                    <a:close/>
                    <a:moveTo>
                      <a:pt x="78" y="156"/>
                    </a:moveTo>
                    <a:lnTo>
                      <a:pt x="78" y="162"/>
                    </a:lnTo>
                    <a:lnTo>
                      <a:pt x="79" y="162"/>
                    </a:lnTo>
                    <a:lnTo>
                      <a:pt x="78" y="156"/>
                    </a:lnTo>
                    <a:close/>
                    <a:moveTo>
                      <a:pt x="90" y="192"/>
                    </a:moveTo>
                    <a:lnTo>
                      <a:pt x="96" y="192"/>
                    </a:lnTo>
                    <a:lnTo>
                      <a:pt x="96" y="198"/>
                    </a:lnTo>
                    <a:lnTo>
                      <a:pt x="90" y="198"/>
                    </a:lnTo>
                    <a:lnTo>
                      <a:pt x="90" y="192"/>
                    </a:lnTo>
                    <a:close/>
                    <a:moveTo>
                      <a:pt x="96" y="204"/>
                    </a:moveTo>
                    <a:lnTo>
                      <a:pt x="102" y="204"/>
                    </a:lnTo>
                    <a:lnTo>
                      <a:pt x="96" y="20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60" name="Freeform 18"/>
              <p:cNvSpPr>
                <a:spLocks noEditPoints="1"/>
              </p:cNvSpPr>
              <p:nvPr>
                <p:custDataLst>
                  <p:tags r:id="rId18"/>
                </p:custDataLst>
              </p:nvPr>
            </p:nvSpPr>
            <p:spPr bwMode="gray">
              <a:xfrm>
                <a:off x="1056894" y="1478964"/>
                <a:ext cx="212830" cy="197375"/>
              </a:xfrm>
              <a:custGeom>
                <a:avLst/>
                <a:gdLst>
                  <a:gd name="T0" fmla="*/ 58622 w 168"/>
                  <a:gd name="T1" fmla="*/ 33619 h 168"/>
                  <a:gd name="T2" fmla="*/ 53737 w 168"/>
                  <a:gd name="T3" fmla="*/ 37462 h 168"/>
                  <a:gd name="T4" fmla="*/ 49829 w 168"/>
                  <a:gd name="T5" fmla="*/ 44186 h 168"/>
                  <a:gd name="T6" fmla="*/ 45921 w 168"/>
                  <a:gd name="T7" fmla="*/ 48028 h 168"/>
                  <a:gd name="T8" fmla="*/ 41036 w 168"/>
                  <a:gd name="T9" fmla="*/ 51871 h 168"/>
                  <a:gd name="T10" fmla="*/ 39081 w 168"/>
                  <a:gd name="T11" fmla="*/ 58594 h 168"/>
                  <a:gd name="T12" fmla="*/ 32243 w 168"/>
                  <a:gd name="T13" fmla="*/ 55712 h 168"/>
                  <a:gd name="T14" fmla="*/ 23449 w 168"/>
                  <a:gd name="T15" fmla="*/ 54753 h 168"/>
                  <a:gd name="T16" fmla="*/ 17587 w 168"/>
                  <a:gd name="T17" fmla="*/ 51871 h 168"/>
                  <a:gd name="T18" fmla="*/ 19541 w 168"/>
                  <a:gd name="T19" fmla="*/ 49949 h 168"/>
                  <a:gd name="T20" fmla="*/ 17587 w 168"/>
                  <a:gd name="T21" fmla="*/ 48028 h 168"/>
                  <a:gd name="T22" fmla="*/ 15633 w 168"/>
                  <a:gd name="T23" fmla="*/ 45147 h 168"/>
                  <a:gd name="T24" fmla="*/ 15633 w 168"/>
                  <a:gd name="T25" fmla="*/ 45147 h 168"/>
                  <a:gd name="T26" fmla="*/ 12702 w 168"/>
                  <a:gd name="T27" fmla="*/ 44186 h 168"/>
                  <a:gd name="T28" fmla="*/ 10748 w 168"/>
                  <a:gd name="T29" fmla="*/ 41304 h 168"/>
                  <a:gd name="T30" fmla="*/ 8794 w 168"/>
                  <a:gd name="T31" fmla="*/ 39383 h 168"/>
                  <a:gd name="T32" fmla="*/ 3908 w 168"/>
                  <a:gd name="T33" fmla="*/ 35541 h 168"/>
                  <a:gd name="T34" fmla="*/ 1954 w 168"/>
                  <a:gd name="T35" fmla="*/ 35541 h 168"/>
                  <a:gd name="T36" fmla="*/ 0 w 168"/>
                  <a:gd name="T37" fmla="*/ 29778 h 168"/>
                  <a:gd name="T38" fmla="*/ 1954 w 168"/>
                  <a:gd name="T39" fmla="*/ 29778 h 168"/>
                  <a:gd name="T40" fmla="*/ 3908 w 168"/>
                  <a:gd name="T41" fmla="*/ 26896 h 168"/>
                  <a:gd name="T42" fmla="*/ 0 w 168"/>
                  <a:gd name="T43" fmla="*/ 26896 h 168"/>
                  <a:gd name="T44" fmla="*/ 1954 w 168"/>
                  <a:gd name="T45" fmla="*/ 23054 h 168"/>
                  <a:gd name="T46" fmla="*/ 0 w 168"/>
                  <a:gd name="T47" fmla="*/ 21132 h 168"/>
                  <a:gd name="T48" fmla="*/ 1954 w 168"/>
                  <a:gd name="T49" fmla="*/ 18251 h 168"/>
                  <a:gd name="T50" fmla="*/ 6840 w 168"/>
                  <a:gd name="T51" fmla="*/ 14408 h 168"/>
                  <a:gd name="T52" fmla="*/ 10748 w 168"/>
                  <a:gd name="T53" fmla="*/ 12487 h 168"/>
                  <a:gd name="T54" fmla="*/ 12702 w 168"/>
                  <a:gd name="T55" fmla="*/ 6724 h 168"/>
                  <a:gd name="T56" fmla="*/ 17587 w 168"/>
                  <a:gd name="T57" fmla="*/ 1921 h 168"/>
                  <a:gd name="T58" fmla="*/ 21495 w 168"/>
                  <a:gd name="T59" fmla="*/ 1921 h 168"/>
                  <a:gd name="T60" fmla="*/ 30289 w 168"/>
                  <a:gd name="T61" fmla="*/ 0 h 168"/>
                  <a:gd name="T62" fmla="*/ 39081 w 168"/>
                  <a:gd name="T63" fmla="*/ 0 h 168"/>
                  <a:gd name="T64" fmla="*/ 45921 w 168"/>
                  <a:gd name="T65" fmla="*/ 3842 h 168"/>
                  <a:gd name="T66" fmla="*/ 49829 w 168"/>
                  <a:gd name="T67" fmla="*/ 7685 h 168"/>
                  <a:gd name="T68" fmla="*/ 49829 w 168"/>
                  <a:gd name="T69" fmla="*/ 12487 h 168"/>
                  <a:gd name="T70" fmla="*/ 51783 w 168"/>
                  <a:gd name="T71" fmla="*/ 16330 h 168"/>
                  <a:gd name="T72" fmla="*/ 53737 w 168"/>
                  <a:gd name="T73" fmla="*/ 18251 h 168"/>
                  <a:gd name="T74" fmla="*/ 56668 w 168"/>
                  <a:gd name="T75" fmla="*/ 24975 h 168"/>
                  <a:gd name="T76" fmla="*/ 53737 w 168"/>
                  <a:gd name="T77" fmla="*/ 26896 h 168"/>
                  <a:gd name="T78" fmla="*/ 51783 w 168"/>
                  <a:gd name="T79" fmla="*/ 30738 h 168"/>
                  <a:gd name="T80" fmla="*/ 56668 w 168"/>
                  <a:gd name="T81" fmla="*/ 30738 h 168"/>
                  <a:gd name="T82" fmla="*/ 6840 w 168"/>
                  <a:gd name="T83" fmla="*/ 45147 h 168"/>
                  <a:gd name="T84" fmla="*/ 15633 w 168"/>
                  <a:gd name="T85" fmla="*/ 45147 h 168"/>
                  <a:gd name="T86" fmla="*/ 15633 w 168"/>
                  <a:gd name="T87" fmla="*/ 49949 h 168"/>
                  <a:gd name="T88" fmla="*/ 8794 w 168"/>
                  <a:gd name="T89" fmla="*/ 48028 h 168"/>
                  <a:gd name="T90" fmla="*/ 1954 w 168"/>
                  <a:gd name="T91" fmla="*/ 21132 h 168"/>
                  <a:gd name="T92" fmla="*/ 3908 w 168"/>
                  <a:gd name="T93" fmla="*/ 45147 h 168"/>
                  <a:gd name="T94" fmla="*/ 0 w 168"/>
                  <a:gd name="T95" fmla="*/ 37462 h 168"/>
                  <a:gd name="T96" fmla="*/ 3908 w 168"/>
                  <a:gd name="T97" fmla="*/ 26896 h 168"/>
                  <a:gd name="T98" fmla="*/ 3908 w 168"/>
                  <a:gd name="T99" fmla="*/ 45147 h 168"/>
                  <a:gd name="T100" fmla="*/ 3908 w 168"/>
                  <a:gd name="T101" fmla="*/ 45147 h 1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8" h="168">
                    <a:moveTo>
                      <a:pt x="168" y="84"/>
                    </a:moveTo>
                    <a:lnTo>
                      <a:pt x="168" y="90"/>
                    </a:lnTo>
                    <a:lnTo>
                      <a:pt x="162" y="90"/>
                    </a:lnTo>
                    <a:lnTo>
                      <a:pt x="162" y="96"/>
                    </a:lnTo>
                    <a:lnTo>
                      <a:pt x="162" y="102"/>
                    </a:lnTo>
                    <a:lnTo>
                      <a:pt x="156" y="102"/>
                    </a:lnTo>
                    <a:lnTo>
                      <a:pt x="150" y="102"/>
                    </a:lnTo>
                    <a:lnTo>
                      <a:pt x="150" y="108"/>
                    </a:lnTo>
                    <a:lnTo>
                      <a:pt x="150" y="114"/>
                    </a:lnTo>
                    <a:lnTo>
                      <a:pt x="150" y="126"/>
                    </a:lnTo>
                    <a:lnTo>
                      <a:pt x="144" y="126"/>
                    </a:lnTo>
                    <a:lnTo>
                      <a:pt x="138" y="126"/>
                    </a:lnTo>
                    <a:lnTo>
                      <a:pt x="138" y="132"/>
                    </a:lnTo>
                    <a:lnTo>
                      <a:pt x="138" y="138"/>
                    </a:lnTo>
                    <a:lnTo>
                      <a:pt x="132" y="138"/>
                    </a:lnTo>
                    <a:lnTo>
                      <a:pt x="126" y="138"/>
                    </a:lnTo>
                    <a:lnTo>
                      <a:pt x="126" y="144"/>
                    </a:lnTo>
                    <a:lnTo>
                      <a:pt x="120" y="144"/>
                    </a:lnTo>
                    <a:lnTo>
                      <a:pt x="120" y="150"/>
                    </a:lnTo>
                    <a:lnTo>
                      <a:pt x="114" y="150"/>
                    </a:lnTo>
                    <a:lnTo>
                      <a:pt x="114" y="156"/>
                    </a:lnTo>
                    <a:lnTo>
                      <a:pt x="108" y="156"/>
                    </a:lnTo>
                    <a:lnTo>
                      <a:pt x="108" y="162"/>
                    </a:lnTo>
                    <a:lnTo>
                      <a:pt x="108" y="168"/>
                    </a:lnTo>
                    <a:lnTo>
                      <a:pt x="102" y="168"/>
                    </a:lnTo>
                    <a:lnTo>
                      <a:pt x="96" y="168"/>
                    </a:lnTo>
                    <a:lnTo>
                      <a:pt x="90" y="168"/>
                    </a:lnTo>
                    <a:lnTo>
                      <a:pt x="90" y="162"/>
                    </a:lnTo>
                    <a:lnTo>
                      <a:pt x="84" y="162"/>
                    </a:lnTo>
                    <a:lnTo>
                      <a:pt x="78" y="156"/>
                    </a:lnTo>
                    <a:lnTo>
                      <a:pt x="72" y="156"/>
                    </a:lnTo>
                    <a:lnTo>
                      <a:pt x="66" y="156"/>
                    </a:lnTo>
                    <a:lnTo>
                      <a:pt x="66" y="150"/>
                    </a:lnTo>
                    <a:lnTo>
                      <a:pt x="60" y="150"/>
                    </a:lnTo>
                    <a:lnTo>
                      <a:pt x="54" y="150"/>
                    </a:lnTo>
                    <a:lnTo>
                      <a:pt x="48" y="150"/>
                    </a:lnTo>
                    <a:lnTo>
                      <a:pt x="48" y="144"/>
                    </a:lnTo>
                    <a:lnTo>
                      <a:pt x="42" y="144"/>
                    </a:lnTo>
                    <a:lnTo>
                      <a:pt x="48" y="144"/>
                    </a:lnTo>
                    <a:lnTo>
                      <a:pt x="54" y="144"/>
                    </a:lnTo>
                    <a:lnTo>
                      <a:pt x="48" y="144"/>
                    </a:lnTo>
                    <a:lnTo>
                      <a:pt x="42" y="144"/>
                    </a:lnTo>
                    <a:lnTo>
                      <a:pt x="42" y="138"/>
                    </a:lnTo>
                    <a:lnTo>
                      <a:pt x="48" y="138"/>
                    </a:lnTo>
                    <a:lnTo>
                      <a:pt x="54" y="138"/>
                    </a:lnTo>
                    <a:lnTo>
                      <a:pt x="48" y="138"/>
                    </a:lnTo>
                    <a:lnTo>
                      <a:pt x="42" y="138"/>
                    </a:lnTo>
                    <a:lnTo>
                      <a:pt x="42" y="132"/>
                    </a:lnTo>
                    <a:lnTo>
                      <a:pt x="48" y="132"/>
                    </a:lnTo>
                    <a:lnTo>
                      <a:pt x="48" y="126"/>
                    </a:lnTo>
                    <a:lnTo>
                      <a:pt x="48" y="132"/>
                    </a:lnTo>
                    <a:lnTo>
                      <a:pt x="42" y="132"/>
                    </a:lnTo>
                    <a:lnTo>
                      <a:pt x="42" y="126"/>
                    </a:lnTo>
                    <a:lnTo>
                      <a:pt x="42" y="120"/>
                    </a:lnTo>
                    <a:lnTo>
                      <a:pt x="42" y="126"/>
                    </a:lnTo>
                    <a:lnTo>
                      <a:pt x="36" y="126"/>
                    </a:lnTo>
                    <a:lnTo>
                      <a:pt x="30" y="126"/>
                    </a:lnTo>
                    <a:lnTo>
                      <a:pt x="24" y="126"/>
                    </a:lnTo>
                    <a:lnTo>
                      <a:pt x="24" y="120"/>
                    </a:lnTo>
                    <a:lnTo>
                      <a:pt x="30" y="120"/>
                    </a:lnTo>
                    <a:lnTo>
                      <a:pt x="24" y="120"/>
                    </a:lnTo>
                    <a:lnTo>
                      <a:pt x="18" y="120"/>
                    </a:lnTo>
                    <a:lnTo>
                      <a:pt x="18" y="114"/>
                    </a:lnTo>
                    <a:lnTo>
                      <a:pt x="24" y="114"/>
                    </a:lnTo>
                    <a:lnTo>
                      <a:pt x="24" y="108"/>
                    </a:lnTo>
                    <a:lnTo>
                      <a:pt x="18" y="108"/>
                    </a:lnTo>
                    <a:lnTo>
                      <a:pt x="18" y="102"/>
                    </a:lnTo>
                    <a:lnTo>
                      <a:pt x="12" y="102"/>
                    </a:lnTo>
                    <a:lnTo>
                      <a:pt x="12" y="96"/>
                    </a:lnTo>
                    <a:lnTo>
                      <a:pt x="18" y="96"/>
                    </a:lnTo>
                    <a:lnTo>
                      <a:pt x="12" y="96"/>
                    </a:lnTo>
                    <a:lnTo>
                      <a:pt x="6" y="102"/>
                    </a:lnTo>
                    <a:lnTo>
                      <a:pt x="6" y="96"/>
                    </a:lnTo>
                    <a:lnTo>
                      <a:pt x="6" y="90"/>
                    </a:lnTo>
                    <a:lnTo>
                      <a:pt x="0" y="90"/>
                    </a:lnTo>
                    <a:lnTo>
                      <a:pt x="0" y="84"/>
                    </a:lnTo>
                    <a:lnTo>
                      <a:pt x="6" y="84"/>
                    </a:lnTo>
                    <a:lnTo>
                      <a:pt x="6" y="90"/>
                    </a:lnTo>
                    <a:lnTo>
                      <a:pt x="12" y="90"/>
                    </a:lnTo>
                    <a:lnTo>
                      <a:pt x="6" y="84"/>
                    </a:lnTo>
                    <a:lnTo>
                      <a:pt x="12" y="84"/>
                    </a:lnTo>
                    <a:lnTo>
                      <a:pt x="12" y="78"/>
                    </a:lnTo>
                    <a:lnTo>
                      <a:pt x="18" y="78"/>
                    </a:lnTo>
                    <a:lnTo>
                      <a:pt x="12" y="78"/>
                    </a:lnTo>
                    <a:lnTo>
                      <a:pt x="6" y="78"/>
                    </a:lnTo>
                    <a:lnTo>
                      <a:pt x="6" y="84"/>
                    </a:lnTo>
                    <a:lnTo>
                      <a:pt x="6" y="78"/>
                    </a:lnTo>
                    <a:lnTo>
                      <a:pt x="0" y="78"/>
                    </a:lnTo>
                    <a:lnTo>
                      <a:pt x="0" y="72"/>
                    </a:lnTo>
                    <a:lnTo>
                      <a:pt x="0" y="66"/>
                    </a:lnTo>
                    <a:lnTo>
                      <a:pt x="6" y="60"/>
                    </a:lnTo>
                    <a:lnTo>
                      <a:pt x="6" y="66"/>
                    </a:lnTo>
                    <a:lnTo>
                      <a:pt x="6" y="60"/>
                    </a:lnTo>
                    <a:lnTo>
                      <a:pt x="0" y="60"/>
                    </a:lnTo>
                    <a:lnTo>
                      <a:pt x="0" y="54"/>
                    </a:lnTo>
                    <a:lnTo>
                      <a:pt x="0" y="60"/>
                    </a:lnTo>
                    <a:lnTo>
                      <a:pt x="0" y="54"/>
                    </a:lnTo>
                    <a:lnTo>
                      <a:pt x="0" y="48"/>
                    </a:lnTo>
                    <a:lnTo>
                      <a:pt x="6" y="48"/>
                    </a:lnTo>
                    <a:lnTo>
                      <a:pt x="6" y="54"/>
                    </a:lnTo>
                    <a:lnTo>
                      <a:pt x="12" y="54"/>
                    </a:lnTo>
                    <a:lnTo>
                      <a:pt x="12" y="48"/>
                    </a:lnTo>
                    <a:lnTo>
                      <a:pt x="18" y="48"/>
                    </a:lnTo>
                    <a:lnTo>
                      <a:pt x="18" y="42"/>
                    </a:lnTo>
                    <a:lnTo>
                      <a:pt x="18" y="36"/>
                    </a:lnTo>
                    <a:lnTo>
                      <a:pt x="18" y="42"/>
                    </a:lnTo>
                    <a:lnTo>
                      <a:pt x="24" y="36"/>
                    </a:lnTo>
                    <a:lnTo>
                      <a:pt x="30" y="36"/>
                    </a:lnTo>
                    <a:lnTo>
                      <a:pt x="30" y="30"/>
                    </a:lnTo>
                    <a:lnTo>
                      <a:pt x="36" y="30"/>
                    </a:lnTo>
                    <a:lnTo>
                      <a:pt x="36" y="24"/>
                    </a:lnTo>
                    <a:lnTo>
                      <a:pt x="36" y="18"/>
                    </a:lnTo>
                    <a:lnTo>
                      <a:pt x="36" y="12"/>
                    </a:lnTo>
                    <a:lnTo>
                      <a:pt x="42" y="12"/>
                    </a:lnTo>
                    <a:lnTo>
                      <a:pt x="42" y="6"/>
                    </a:lnTo>
                    <a:lnTo>
                      <a:pt x="48" y="6"/>
                    </a:lnTo>
                    <a:lnTo>
                      <a:pt x="54" y="6"/>
                    </a:lnTo>
                    <a:lnTo>
                      <a:pt x="54" y="0"/>
                    </a:lnTo>
                    <a:lnTo>
                      <a:pt x="60" y="0"/>
                    </a:lnTo>
                    <a:lnTo>
                      <a:pt x="60" y="6"/>
                    </a:lnTo>
                    <a:lnTo>
                      <a:pt x="66" y="6"/>
                    </a:lnTo>
                    <a:lnTo>
                      <a:pt x="72" y="0"/>
                    </a:lnTo>
                    <a:lnTo>
                      <a:pt x="78" y="0"/>
                    </a:lnTo>
                    <a:lnTo>
                      <a:pt x="84" y="0"/>
                    </a:lnTo>
                    <a:lnTo>
                      <a:pt x="90" y="0"/>
                    </a:lnTo>
                    <a:lnTo>
                      <a:pt x="96" y="0"/>
                    </a:lnTo>
                    <a:lnTo>
                      <a:pt x="102" y="0"/>
                    </a:lnTo>
                    <a:lnTo>
                      <a:pt x="108" y="0"/>
                    </a:lnTo>
                    <a:lnTo>
                      <a:pt x="114" y="0"/>
                    </a:lnTo>
                    <a:lnTo>
                      <a:pt x="120" y="6"/>
                    </a:lnTo>
                    <a:lnTo>
                      <a:pt x="126" y="6"/>
                    </a:lnTo>
                    <a:lnTo>
                      <a:pt x="126" y="12"/>
                    </a:lnTo>
                    <a:lnTo>
                      <a:pt x="126" y="18"/>
                    </a:lnTo>
                    <a:lnTo>
                      <a:pt x="132" y="18"/>
                    </a:lnTo>
                    <a:lnTo>
                      <a:pt x="132" y="24"/>
                    </a:lnTo>
                    <a:lnTo>
                      <a:pt x="138" y="24"/>
                    </a:lnTo>
                    <a:lnTo>
                      <a:pt x="132" y="24"/>
                    </a:lnTo>
                    <a:lnTo>
                      <a:pt x="132" y="30"/>
                    </a:lnTo>
                    <a:lnTo>
                      <a:pt x="138" y="30"/>
                    </a:lnTo>
                    <a:lnTo>
                      <a:pt x="138" y="36"/>
                    </a:lnTo>
                    <a:lnTo>
                      <a:pt x="144" y="30"/>
                    </a:lnTo>
                    <a:lnTo>
                      <a:pt x="144" y="36"/>
                    </a:lnTo>
                    <a:lnTo>
                      <a:pt x="144" y="42"/>
                    </a:lnTo>
                    <a:lnTo>
                      <a:pt x="144" y="48"/>
                    </a:lnTo>
                    <a:lnTo>
                      <a:pt x="138" y="48"/>
                    </a:lnTo>
                    <a:lnTo>
                      <a:pt x="144" y="48"/>
                    </a:lnTo>
                    <a:lnTo>
                      <a:pt x="150" y="48"/>
                    </a:lnTo>
                    <a:lnTo>
                      <a:pt x="150" y="54"/>
                    </a:lnTo>
                    <a:lnTo>
                      <a:pt x="150" y="60"/>
                    </a:lnTo>
                    <a:lnTo>
                      <a:pt x="150" y="66"/>
                    </a:lnTo>
                    <a:lnTo>
                      <a:pt x="150" y="72"/>
                    </a:lnTo>
                    <a:lnTo>
                      <a:pt x="156" y="72"/>
                    </a:lnTo>
                    <a:lnTo>
                      <a:pt x="150" y="72"/>
                    </a:lnTo>
                    <a:lnTo>
                      <a:pt x="156" y="72"/>
                    </a:lnTo>
                    <a:lnTo>
                      <a:pt x="156" y="78"/>
                    </a:lnTo>
                    <a:lnTo>
                      <a:pt x="150" y="78"/>
                    </a:lnTo>
                    <a:lnTo>
                      <a:pt x="144" y="84"/>
                    </a:lnTo>
                    <a:lnTo>
                      <a:pt x="144" y="90"/>
                    </a:lnTo>
                    <a:lnTo>
                      <a:pt x="144" y="96"/>
                    </a:lnTo>
                    <a:lnTo>
                      <a:pt x="144" y="90"/>
                    </a:lnTo>
                    <a:lnTo>
                      <a:pt x="150" y="90"/>
                    </a:lnTo>
                    <a:lnTo>
                      <a:pt x="150" y="96"/>
                    </a:lnTo>
                    <a:lnTo>
                      <a:pt x="150" y="90"/>
                    </a:lnTo>
                    <a:lnTo>
                      <a:pt x="156" y="90"/>
                    </a:lnTo>
                    <a:lnTo>
                      <a:pt x="156" y="84"/>
                    </a:lnTo>
                    <a:lnTo>
                      <a:pt x="162" y="84"/>
                    </a:lnTo>
                    <a:lnTo>
                      <a:pt x="168" y="84"/>
                    </a:lnTo>
                    <a:close/>
                    <a:moveTo>
                      <a:pt x="18" y="132"/>
                    </a:moveTo>
                    <a:lnTo>
                      <a:pt x="24" y="132"/>
                    </a:lnTo>
                    <a:lnTo>
                      <a:pt x="30" y="132"/>
                    </a:lnTo>
                    <a:lnTo>
                      <a:pt x="36" y="132"/>
                    </a:lnTo>
                    <a:lnTo>
                      <a:pt x="42" y="132"/>
                    </a:lnTo>
                    <a:lnTo>
                      <a:pt x="42" y="138"/>
                    </a:lnTo>
                    <a:lnTo>
                      <a:pt x="42" y="144"/>
                    </a:lnTo>
                    <a:lnTo>
                      <a:pt x="36" y="144"/>
                    </a:lnTo>
                    <a:lnTo>
                      <a:pt x="42" y="144"/>
                    </a:lnTo>
                    <a:lnTo>
                      <a:pt x="36" y="144"/>
                    </a:lnTo>
                    <a:lnTo>
                      <a:pt x="36" y="138"/>
                    </a:lnTo>
                    <a:lnTo>
                      <a:pt x="30" y="138"/>
                    </a:lnTo>
                    <a:lnTo>
                      <a:pt x="24" y="138"/>
                    </a:lnTo>
                    <a:lnTo>
                      <a:pt x="18" y="138"/>
                    </a:lnTo>
                    <a:lnTo>
                      <a:pt x="18" y="132"/>
                    </a:lnTo>
                    <a:close/>
                    <a:moveTo>
                      <a:pt x="0" y="60"/>
                    </a:moveTo>
                    <a:lnTo>
                      <a:pt x="6" y="60"/>
                    </a:lnTo>
                    <a:lnTo>
                      <a:pt x="0" y="60"/>
                    </a:lnTo>
                    <a:close/>
                    <a:moveTo>
                      <a:pt x="12" y="132"/>
                    </a:moveTo>
                    <a:lnTo>
                      <a:pt x="18" y="132"/>
                    </a:lnTo>
                    <a:lnTo>
                      <a:pt x="12" y="132"/>
                    </a:lnTo>
                    <a:close/>
                    <a:moveTo>
                      <a:pt x="0" y="102"/>
                    </a:moveTo>
                    <a:lnTo>
                      <a:pt x="6" y="102"/>
                    </a:lnTo>
                    <a:lnTo>
                      <a:pt x="6" y="108"/>
                    </a:lnTo>
                    <a:lnTo>
                      <a:pt x="0" y="108"/>
                    </a:lnTo>
                    <a:lnTo>
                      <a:pt x="0" y="102"/>
                    </a:lnTo>
                    <a:close/>
                    <a:moveTo>
                      <a:pt x="12" y="78"/>
                    </a:moveTo>
                    <a:lnTo>
                      <a:pt x="18" y="78"/>
                    </a:lnTo>
                    <a:lnTo>
                      <a:pt x="12" y="78"/>
                    </a:lnTo>
                    <a:close/>
                    <a:moveTo>
                      <a:pt x="42" y="138"/>
                    </a:moveTo>
                    <a:lnTo>
                      <a:pt x="48" y="138"/>
                    </a:lnTo>
                    <a:lnTo>
                      <a:pt x="42" y="138"/>
                    </a:lnTo>
                    <a:close/>
                    <a:moveTo>
                      <a:pt x="12" y="132"/>
                    </a:moveTo>
                    <a:lnTo>
                      <a:pt x="18" y="132"/>
                    </a:lnTo>
                    <a:lnTo>
                      <a:pt x="12" y="132"/>
                    </a:lnTo>
                    <a:close/>
                    <a:moveTo>
                      <a:pt x="12" y="126"/>
                    </a:moveTo>
                    <a:lnTo>
                      <a:pt x="12" y="132"/>
                    </a:lnTo>
                    <a:lnTo>
                      <a:pt x="13" y="132"/>
                    </a:lnTo>
                    <a:lnTo>
                      <a:pt x="12" y="12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63" name="Freeform 19"/>
              <p:cNvSpPr>
                <a:spLocks noEditPoints="1"/>
              </p:cNvSpPr>
              <p:nvPr>
                <p:custDataLst>
                  <p:tags r:id="rId19"/>
                </p:custDataLst>
              </p:nvPr>
            </p:nvSpPr>
            <p:spPr bwMode="gray">
              <a:xfrm>
                <a:off x="2583789" y="1817967"/>
                <a:ext cx="16123" cy="21093"/>
              </a:xfrm>
              <a:custGeom>
                <a:avLst/>
                <a:gdLst>
                  <a:gd name="T0" fmla="*/ 3413 w 12"/>
                  <a:gd name="T1" fmla="*/ 0 h 18"/>
                  <a:gd name="T2" fmla="*/ 3413 w 12"/>
                  <a:gd name="T3" fmla="*/ 1948 h 18"/>
                  <a:gd name="T4" fmla="*/ 3413 w 12"/>
                  <a:gd name="T5" fmla="*/ 3896 h 18"/>
                  <a:gd name="T6" fmla="*/ 3413 w 12"/>
                  <a:gd name="T7" fmla="*/ 6818 h 18"/>
                  <a:gd name="T8" fmla="*/ 5689 w 12"/>
                  <a:gd name="T9" fmla="*/ 6818 h 18"/>
                  <a:gd name="T10" fmla="*/ 3413 w 12"/>
                  <a:gd name="T11" fmla="*/ 6818 h 18"/>
                  <a:gd name="T12" fmla="*/ 3413 w 12"/>
                  <a:gd name="T13" fmla="*/ 3896 h 18"/>
                  <a:gd name="T14" fmla="*/ 3413 w 12"/>
                  <a:gd name="T15" fmla="*/ 6818 h 18"/>
                  <a:gd name="T16" fmla="*/ 5689 w 12"/>
                  <a:gd name="T17" fmla="*/ 6818 h 18"/>
                  <a:gd name="T18" fmla="*/ 3413 w 12"/>
                  <a:gd name="T19" fmla="*/ 6818 h 18"/>
                  <a:gd name="T20" fmla="*/ 0 w 12"/>
                  <a:gd name="T21" fmla="*/ 6818 h 18"/>
                  <a:gd name="T22" fmla="*/ 3413 w 12"/>
                  <a:gd name="T23" fmla="*/ 6818 h 18"/>
                  <a:gd name="T24" fmla="*/ 0 w 12"/>
                  <a:gd name="T25" fmla="*/ 6818 h 18"/>
                  <a:gd name="T26" fmla="*/ 3413 w 12"/>
                  <a:gd name="T27" fmla="*/ 6818 h 18"/>
                  <a:gd name="T28" fmla="*/ 0 w 12"/>
                  <a:gd name="T29" fmla="*/ 6818 h 18"/>
                  <a:gd name="T30" fmla="*/ 0 w 12"/>
                  <a:gd name="T31" fmla="*/ 3896 h 18"/>
                  <a:gd name="T32" fmla="*/ 3413 w 12"/>
                  <a:gd name="T33" fmla="*/ 3896 h 18"/>
                  <a:gd name="T34" fmla="*/ 3413 w 12"/>
                  <a:gd name="T35" fmla="*/ 1948 h 18"/>
                  <a:gd name="T36" fmla="*/ 0 w 12"/>
                  <a:gd name="T37" fmla="*/ 1948 h 18"/>
                  <a:gd name="T38" fmla="*/ 3413 w 12"/>
                  <a:gd name="T39" fmla="*/ 1948 h 18"/>
                  <a:gd name="T40" fmla="*/ 0 w 12"/>
                  <a:gd name="T41" fmla="*/ 1948 h 18"/>
                  <a:gd name="T42" fmla="*/ 3413 w 12"/>
                  <a:gd name="T43" fmla="*/ 1948 h 18"/>
                  <a:gd name="T44" fmla="*/ 0 w 12"/>
                  <a:gd name="T45" fmla="*/ 1948 h 18"/>
                  <a:gd name="T46" fmla="*/ 0 w 12"/>
                  <a:gd name="T47" fmla="*/ 0 h 18"/>
                  <a:gd name="T48" fmla="*/ 3413 w 12"/>
                  <a:gd name="T49" fmla="*/ 0 h 18"/>
                  <a:gd name="T50" fmla="*/ 0 w 12"/>
                  <a:gd name="T51" fmla="*/ 1948 h 18"/>
                  <a:gd name="T52" fmla="*/ 3413 w 12"/>
                  <a:gd name="T53" fmla="*/ 1948 h 18"/>
                  <a:gd name="T54" fmla="*/ 3413 w 12"/>
                  <a:gd name="T55" fmla="*/ 3896 h 18"/>
                  <a:gd name="T56" fmla="*/ 0 w 12"/>
                  <a:gd name="T57" fmla="*/ 3896 h 18"/>
                  <a:gd name="T58" fmla="*/ 0 w 12"/>
                  <a:gd name="T59" fmla="*/ 1948 h 18"/>
                  <a:gd name="T60" fmla="*/ 0 w 12"/>
                  <a:gd name="T61" fmla="*/ 1948 h 18"/>
                  <a:gd name="T62" fmla="*/ 3413 w 12"/>
                  <a:gd name="T63" fmla="*/ 1948 h 18"/>
                  <a:gd name="T64" fmla="*/ 0 w 12"/>
                  <a:gd name="T65" fmla="*/ 1948 h 18"/>
                  <a:gd name="T66" fmla="*/ 0 w 12"/>
                  <a:gd name="T67" fmla="*/ 1948 h 18"/>
                  <a:gd name="T68" fmla="*/ 0 w 12"/>
                  <a:gd name="T69" fmla="*/ 3896 h 18"/>
                  <a:gd name="T70" fmla="*/ 1138 w 12"/>
                  <a:gd name="T71" fmla="*/ 3896 h 18"/>
                  <a:gd name="T72" fmla="*/ 0 w 12"/>
                  <a:gd name="T73" fmla="*/ 1948 h 18"/>
                  <a:gd name="T74" fmla="*/ 0 w 12"/>
                  <a:gd name="T75" fmla="*/ 0 h 18"/>
                  <a:gd name="T76" fmla="*/ 3413 w 12"/>
                  <a:gd name="T77" fmla="*/ 0 h 18"/>
                  <a:gd name="T78" fmla="*/ 3413 w 12"/>
                  <a:gd name="T79" fmla="*/ 1948 h 18"/>
                  <a:gd name="T80" fmla="*/ 0 w 12"/>
                  <a:gd name="T81" fmla="*/ 1948 h 18"/>
                  <a:gd name="T82" fmla="*/ 0 w 12"/>
                  <a:gd name="T83" fmla="*/ 0 h 18"/>
                  <a:gd name="T84" fmla="*/ 0 w 12"/>
                  <a:gd name="T85" fmla="*/ 0 h 18"/>
                  <a:gd name="T86" fmla="*/ 3413 w 12"/>
                  <a:gd name="T87" fmla="*/ 0 h 18"/>
                  <a:gd name="T88" fmla="*/ 0 w 12"/>
                  <a:gd name="T89" fmla="*/ 0 h 18"/>
                  <a:gd name="T90" fmla="*/ 0 w 12"/>
                  <a:gd name="T91" fmla="*/ 1948 h 18"/>
                  <a:gd name="T92" fmla="*/ 3413 w 12"/>
                  <a:gd name="T93" fmla="*/ 1948 h 18"/>
                  <a:gd name="T94" fmla="*/ 0 w 12"/>
                  <a:gd name="T95" fmla="*/ 1948 h 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 h="18">
                    <a:moveTo>
                      <a:pt x="6" y="0"/>
                    </a:moveTo>
                    <a:lnTo>
                      <a:pt x="6" y="6"/>
                    </a:lnTo>
                    <a:lnTo>
                      <a:pt x="6" y="12"/>
                    </a:lnTo>
                    <a:lnTo>
                      <a:pt x="6" y="18"/>
                    </a:lnTo>
                    <a:lnTo>
                      <a:pt x="12" y="18"/>
                    </a:lnTo>
                    <a:lnTo>
                      <a:pt x="6" y="18"/>
                    </a:lnTo>
                    <a:lnTo>
                      <a:pt x="6" y="12"/>
                    </a:lnTo>
                    <a:lnTo>
                      <a:pt x="6" y="18"/>
                    </a:lnTo>
                    <a:lnTo>
                      <a:pt x="12" y="18"/>
                    </a:lnTo>
                    <a:lnTo>
                      <a:pt x="6" y="18"/>
                    </a:lnTo>
                    <a:lnTo>
                      <a:pt x="0" y="18"/>
                    </a:lnTo>
                    <a:lnTo>
                      <a:pt x="6" y="18"/>
                    </a:lnTo>
                    <a:lnTo>
                      <a:pt x="0" y="18"/>
                    </a:lnTo>
                    <a:lnTo>
                      <a:pt x="6" y="18"/>
                    </a:lnTo>
                    <a:lnTo>
                      <a:pt x="0" y="18"/>
                    </a:lnTo>
                    <a:lnTo>
                      <a:pt x="0" y="12"/>
                    </a:lnTo>
                    <a:lnTo>
                      <a:pt x="6" y="12"/>
                    </a:lnTo>
                    <a:lnTo>
                      <a:pt x="6" y="6"/>
                    </a:lnTo>
                    <a:lnTo>
                      <a:pt x="0" y="6"/>
                    </a:lnTo>
                    <a:lnTo>
                      <a:pt x="6" y="6"/>
                    </a:lnTo>
                    <a:lnTo>
                      <a:pt x="0" y="6"/>
                    </a:lnTo>
                    <a:lnTo>
                      <a:pt x="6" y="6"/>
                    </a:lnTo>
                    <a:lnTo>
                      <a:pt x="0" y="6"/>
                    </a:lnTo>
                    <a:lnTo>
                      <a:pt x="0" y="0"/>
                    </a:lnTo>
                    <a:lnTo>
                      <a:pt x="6" y="0"/>
                    </a:lnTo>
                    <a:close/>
                    <a:moveTo>
                      <a:pt x="0" y="6"/>
                    </a:moveTo>
                    <a:lnTo>
                      <a:pt x="6" y="6"/>
                    </a:lnTo>
                    <a:lnTo>
                      <a:pt x="6" y="12"/>
                    </a:lnTo>
                    <a:lnTo>
                      <a:pt x="0" y="12"/>
                    </a:lnTo>
                    <a:lnTo>
                      <a:pt x="0" y="6"/>
                    </a:lnTo>
                    <a:close/>
                    <a:moveTo>
                      <a:pt x="0" y="6"/>
                    </a:moveTo>
                    <a:lnTo>
                      <a:pt x="6" y="6"/>
                    </a:lnTo>
                    <a:lnTo>
                      <a:pt x="0" y="6"/>
                    </a:lnTo>
                    <a:close/>
                    <a:moveTo>
                      <a:pt x="0" y="6"/>
                    </a:moveTo>
                    <a:lnTo>
                      <a:pt x="0" y="12"/>
                    </a:lnTo>
                    <a:lnTo>
                      <a:pt x="1" y="12"/>
                    </a:lnTo>
                    <a:lnTo>
                      <a:pt x="0" y="6"/>
                    </a:lnTo>
                    <a:close/>
                    <a:moveTo>
                      <a:pt x="0" y="0"/>
                    </a:moveTo>
                    <a:lnTo>
                      <a:pt x="6" y="0"/>
                    </a:lnTo>
                    <a:lnTo>
                      <a:pt x="6" y="6"/>
                    </a:lnTo>
                    <a:lnTo>
                      <a:pt x="0" y="6"/>
                    </a:lnTo>
                    <a:lnTo>
                      <a:pt x="0" y="0"/>
                    </a:lnTo>
                    <a:close/>
                    <a:moveTo>
                      <a:pt x="0" y="0"/>
                    </a:moveTo>
                    <a:lnTo>
                      <a:pt x="6" y="0"/>
                    </a:lnTo>
                    <a:lnTo>
                      <a:pt x="0" y="0"/>
                    </a:lnTo>
                    <a:close/>
                    <a:moveTo>
                      <a:pt x="0" y="6"/>
                    </a:moveTo>
                    <a:lnTo>
                      <a:pt x="6" y="6"/>
                    </a:lnTo>
                    <a:lnTo>
                      <a:pt x="0" y="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64" name="Freeform 20"/>
              <p:cNvSpPr>
                <a:spLocks noEditPoints="1"/>
              </p:cNvSpPr>
              <p:nvPr>
                <p:custDataLst>
                  <p:tags r:id="rId20"/>
                </p:custDataLst>
              </p:nvPr>
            </p:nvSpPr>
            <p:spPr bwMode="gray">
              <a:xfrm>
                <a:off x="2577340" y="1887274"/>
                <a:ext cx="204768" cy="192854"/>
              </a:xfrm>
              <a:custGeom>
                <a:avLst/>
                <a:gdLst>
                  <a:gd name="T0" fmla="*/ 23312 w 162"/>
                  <a:gd name="T1" fmla="*/ 55406 h 162"/>
                  <a:gd name="T2" fmla="*/ 21369 w 162"/>
                  <a:gd name="T3" fmla="*/ 53427 h 162"/>
                  <a:gd name="T4" fmla="*/ 19426 w 162"/>
                  <a:gd name="T5" fmla="*/ 55406 h 162"/>
                  <a:gd name="T6" fmla="*/ 19426 w 162"/>
                  <a:gd name="T7" fmla="*/ 50459 h 162"/>
                  <a:gd name="T8" fmla="*/ 21369 w 162"/>
                  <a:gd name="T9" fmla="*/ 49470 h 162"/>
                  <a:gd name="T10" fmla="*/ 23312 w 162"/>
                  <a:gd name="T11" fmla="*/ 46501 h 162"/>
                  <a:gd name="T12" fmla="*/ 23312 w 162"/>
                  <a:gd name="T13" fmla="*/ 46501 h 162"/>
                  <a:gd name="T14" fmla="*/ 23312 w 162"/>
                  <a:gd name="T15" fmla="*/ 42543 h 162"/>
                  <a:gd name="T16" fmla="*/ 26226 w 162"/>
                  <a:gd name="T17" fmla="*/ 39576 h 162"/>
                  <a:gd name="T18" fmla="*/ 27196 w 162"/>
                  <a:gd name="T19" fmla="*/ 37597 h 162"/>
                  <a:gd name="T20" fmla="*/ 27196 w 162"/>
                  <a:gd name="T21" fmla="*/ 33640 h 162"/>
                  <a:gd name="T22" fmla="*/ 27196 w 162"/>
                  <a:gd name="T23" fmla="*/ 28693 h 162"/>
                  <a:gd name="T24" fmla="*/ 30110 w 162"/>
                  <a:gd name="T25" fmla="*/ 30671 h 162"/>
                  <a:gd name="T26" fmla="*/ 30110 w 162"/>
                  <a:gd name="T27" fmla="*/ 30671 h 162"/>
                  <a:gd name="T28" fmla="*/ 32053 w 162"/>
                  <a:gd name="T29" fmla="*/ 33640 h 162"/>
                  <a:gd name="T30" fmla="*/ 36909 w 162"/>
                  <a:gd name="T31" fmla="*/ 33640 h 162"/>
                  <a:gd name="T32" fmla="*/ 40794 w 162"/>
                  <a:gd name="T33" fmla="*/ 33640 h 162"/>
                  <a:gd name="T34" fmla="*/ 44680 w 162"/>
                  <a:gd name="T35" fmla="*/ 33640 h 162"/>
                  <a:gd name="T36" fmla="*/ 48565 w 162"/>
                  <a:gd name="T37" fmla="*/ 33640 h 162"/>
                  <a:gd name="T38" fmla="*/ 53422 w 162"/>
                  <a:gd name="T39" fmla="*/ 33640 h 162"/>
                  <a:gd name="T40" fmla="*/ 57307 w 162"/>
                  <a:gd name="T41" fmla="*/ 33640 h 162"/>
                  <a:gd name="T42" fmla="*/ 57307 w 162"/>
                  <a:gd name="T43" fmla="*/ 37597 h 162"/>
                  <a:gd name="T44" fmla="*/ 57307 w 162"/>
                  <a:gd name="T45" fmla="*/ 42543 h 162"/>
                  <a:gd name="T46" fmla="*/ 57307 w 162"/>
                  <a:gd name="T47" fmla="*/ 46501 h 162"/>
                  <a:gd name="T48" fmla="*/ 57307 w 162"/>
                  <a:gd name="T49" fmla="*/ 50459 h 162"/>
                  <a:gd name="T50" fmla="*/ 57307 w 162"/>
                  <a:gd name="T51" fmla="*/ 55406 h 162"/>
                  <a:gd name="T52" fmla="*/ 55364 w 162"/>
                  <a:gd name="T53" fmla="*/ 57384 h 162"/>
                  <a:gd name="T54" fmla="*/ 51479 w 162"/>
                  <a:gd name="T55" fmla="*/ 57384 h 162"/>
                  <a:gd name="T56" fmla="*/ 46622 w 162"/>
                  <a:gd name="T57" fmla="*/ 57384 h 162"/>
                  <a:gd name="T58" fmla="*/ 42737 w 162"/>
                  <a:gd name="T59" fmla="*/ 57384 h 162"/>
                  <a:gd name="T60" fmla="*/ 37880 w 162"/>
                  <a:gd name="T61" fmla="*/ 57384 h 162"/>
                  <a:gd name="T62" fmla="*/ 33995 w 162"/>
                  <a:gd name="T63" fmla="*/ 57384 h 162"/>
                  <a:gd name="T64" fmla="*/ 30110 w 162"/>
                  <a:gd name="T65" fmla="*/ 57384 h 162"/>
                  <a:gd name="T66" fmla="*/ 27196 w 162"/>
                  <a:gd name="T67" fmla="*/ 55406 h 162"/>
                  <a:gd name="T68" fmla="*/ 3885 w 162"/>
                  <a:gd name="T69" fmla="*/ 1978 h 162"/>
                  <a:gd name="T70" fmla="*/ 8742 w 162"/>
                  <a:gd name="T71" fmla="*/ 0 h 162"/>
                  <a:gd name="T72" fmla="*/ 10684 w 162"/>
                  <a:gd name="T73" fmla="*/ 1978 h 162"/>
                  <a:gd name="T74" fmla="*/ 8742 w 162"/>
                  <a:gd name="T75" fmla="*/ 3958 h 162"/>
                  <a:gd name="T76" fmla="*/ 6799 w 162"/>
                  <a:gd name="T77" fmla="*/ 6925 h 162"/>
                  <a:gd name="T78" fmla="*/ 6799 w 162"/>
                  <a:gd name="T79" fmla="*/ 10883 h 162"/>
                  <a:gd name="T80" fmla="*/ 1943 w 162"/>
                  <a:gd name="T81" fmla="*/ 10883 h 162"/>
                  <a:gd name="T82" fmla="*/ 0 w 162"/>
                  <a:gd name="T83" fmla="*/ 6925 h 162"/>
                  <a:gd name="T84" fmla="*/ 3885 w 162"/>
                  <a:gd name="T85" fmla="*/ 6925 h 162"/>
                  <a:gd name="T86" fmla="*/ 3885 w 162"/>
                  <a:gd name="T87" fmla="*/ 1978 h 162"/>
                  <a:gd name="T88" fmla="*/ 19426 w 162"/>
                  <a:gd name="T89" fmla="*/ 57384 h 162"/>
                  <a:gd name="T90" fmla="*/ 17484 w 162"/>
                  <a:gd name="T91" fmla="*/ 60353 h 1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2" h="162">
                    <a:moveTo>
                      <a:pt x="72" y="150"/>
                    </a:moveTo>
                    <a:lnTo>
                      <a:pt x="66" y="150"/>
                    </a:lnTo>
                    <a:lnTo>
                      <a:pt x="66" y="144"/>
                    </a:lnTo>
                    <a:lnTo>
                      <a:pt x="60" y="144"/>
                    </a:lnTo>
                    <a:lnTo>
                      <a:pt x="60" y="150"/>
                    </a:lnTo>
                    <a:lnTo>
                      <a:pt x="54" y="150"/>
                    </a:lnTo>
                    <a:lnTo>
                      <a:pt x="54" y="144"/>
                    </a:lnTo>
                    <a:lnTo>
                      <a:pt x="54" y="138"/>
                    </a:lnTo>
                    <a:lnTo>
                      <a:pt x="60" y="138"/>
                    </a:lnTo>
                    <a:lnTo>
                      <a:pt x="60" y="132"/>
                    </a:lnTo>
                    <a:lnTo>
                      <a:pt x="60" y="126"/>
                    </a:lnTo>
                    <a:lnTo>
                      <a:pt x="66" y="126"/>
                    </a:lnTo>
                    <a:lnTo>
                      <a:pt x="66" y="132"/>
                    </a:lnTo>
                    <a:lnTo>
                      <a:pt x="66" y="126"/>
                    </a:lnTo>
                    <a:lnTo>
                      <a:pt x="66" y="120"/>
                    </a:lnTo>
                    <a:lnTo>
                      <a:pt x="66" y="114"/>
                    </a:lnTo>
                    <a:lnTo>
                      <a:pt x="72" y="114"/>
                    </a:lnTo>
                    <a:lnTo>
                      <a:pt x="72" y="108"/>
                    </a:lnTo>
                    <a:lnTo>
                      <a:pt x="78" y="108"/>
                    </a:lnTo>
                    <a:lnTo>
                      <a:pt x="78" y="102"/>
                    </a:lnTo>
                    <a:lnTo>
                      <a:pt x="78" y="96"/>
                    </a:lnTo>
                    <a:lnTo>
                      <a:pt x="78" y="90"/>
                    </a:lnTo>
                    <a:lnTo>
                      <a:pt x="78" y="84"/>
                    </a:lnTo>
                    <a:lnTo>
                      <a:pt x="78" y="78"/>
                    </a:lnTo>
                    <a:lnTo>
                      <a:pt x="78" y="84"/>
                    </a:lnTo>
                    <a:lnTo>
                      <a:pt x="84" y="84"/>
                    </a:lnTo>
                    <a:lnTo>
                      <a:pt x="84" y="90"/>
                    </a:lnTo>
                    <a:lnTo>
                      <a:pt x="84" y="84"/>
                    </a:lnTo>
                    <a:lnTo>
                      <a:pt x="84" y="90"/>
                    </a:lnTo>
                    <a:lnTo>
                      <a:pt x="90" y="90"/>
                    </a:lnTo>
                    <a:lnTo>
                      <a:pt x="96" y="90"/>
                    </a:lnTo>
                    <a:lnTo>
                      <a:pt x="102" y="90"/>
                    </a:lnTo>
                    <a:lnTo>
                      <a:pt x="108" y="90"/>
                    </a:lnTo>
                    <a:lnTo>
                      <a:pt x="114" y="90"/>
                    </a:lnTo>
                    <a:lnTo>
                      <a:pt x="120" y="90"/>
                    </a:lnTo>
                    <a:lnTo>
                      <a:pt x="126" y="90"/>
                    </a:lnTo>
                    <a:lnTo>
                      <a:pt x="132" y="90"/>
                    </a:lnTo>
                    <a:lnTo>
                      <a:pt x="138" y="90"/>
                    </a:lnTo>
                    <a:lnTo>
                      <a:pt x="144" y="90"/>
                    </a:lnTo>
                    <a:lnTo>
                      <a:pt x="150" y="90"/>
                    </a:lnTo>
                    <a:lnTo>
                      <a:pt x="156" y="90"/>
                    </a:lnTo>
                    <a:lnTo>
                      <a:pt x="162" y="90"/>
                    </a:lnTo>
                    <a:lnTo>
                      <a:pt x="162" y="96"/>
                    </a:lnTo>
                    <a:lnTo>
                      <a:pt x="162" y="102"/>
                    </a:lnTo>
                    <a:lnTo>
                      <a:pt x="162" y="108"/>
                    </a:lnTo>
                    <a:lnTo>
                      <a:pt x="162" y="114"/>
                    </a:lnTo>
                    <a:lnTo>
                      <a:pt x="162" y="120"/>
                    </a:lnTo>
                    <a:lnTo>
                      <a:pt x="162" y="126"/>
                    </a:lnTo>
                    <a:lnTo>
                      <a:pt x="162" y="132"/>
                    </a:lnTo>
                    <a:lnTo>
                      <a:pt x="162" y="138"/>
                    </a:lnTo>
                    <a:lnTo>
                      <a:pt x="162" y="144"/>
                    </a:lnTo>
                    <a:lnTo>
                      <a:pt x="162" y="150"/>
                    </a:lnTo>
                    <a:lnTo>
                      <a:pt x="162" y="156"/>
                    </a:lnTo>
                    <a:lnTo>
                      <a:pt x="156" y="156"/>
                    </a:lnTo>
                    <a:lnTo>
                      <a:pt x="150" y="156"/>
                    </a:lnTo>
                    <a:lnTo>
                      <a:pt x="144" y="156"/>
                    </a:lnTo>
                    <a:lnTo>
                      <a:pt x="138" y="156"/>
                    </a:lnTo>
                    <a:lnTo>
                      <a:pt x="132" y="156"/>
                    </a:lnTo>
                    <a:lnTo>
                      <a:pt x="126" y="156"/>
                    </a:lnTo>
                    <a:lnTo>
                      <a:pt x="120" y="156"/>
                    </a:lnTo>
                    <a:lnTo>
                      <a:pt x="114" y="156"/>
                    </a:lnTo>
                    <a:lnTo>
                      <a:pt x="108" y="156"/>
                    </a:lnTo>
                    <a:lnTo>
                      <a:pt x="102" y="156"/>
                    </a:lnTo>
                    <a:lnTo>
                      <a:pt x="96" y="156"/>
                    </a:lnTo>
                    <a:lnTo>
                      <a:pt x="90" y="156"/>
                    </a:lnTo>
                    <a:lnTo>
                      <a:pt x="84" y="156"/>
                    </a:lnTo>
                    <a:lnTo>
                      <a:pt x="78" y="156"/>
                    </a:lnTo>
                    <a:lnTo>
                      <a:pt x="78" y="150"/>
                    </a:lnTo>
                    <a:lnTo>
                      <a:pt x="72" y="150"/>
                    </a:lnTo>
                    <a:close/>
                    <a:moveTo>
                      <a:pt x="12" y="6"/>
                    </a:moveTo>
                    <a:lnTo>
                      <a:pt x="18" y="0"/>
                    </a:lnTo>
                    <a:lnTo>
                      <a:pt x="24" y="0"/>
                    </a:lnTo>
                    <a:lnTo>
                      <a:pt x="30" y="0"/>
                    </a:lnTo>
                    <a:lnTo>
                      <a:pt x="30" y="6"/>
                    </a:lnTo>
                    <a:lnTo>
                      <a:pt x="30" y="12"/>
                    </a:lnTo>
                    <a:lnTo>
                      <a:pt x="24" y="12"/>
                    </a:lnTo>
                    <a:lnTo>
                      <a:pt x="24" y="18"/>
                    </a:lnTo>
                    <a:lnTo>
                      <a:pt x="18" y="18"/>
                    </a:lnTo>
                    <a:lnTo>
                      <a:pt x="18" y="24"/>
                    </a:lnTo>
                    <a:lnTo>
                      <a:pt x="18" y="30"/>
                    </a:lnTo>
                    <a:lnTo>
                      <a:pt x="12" y="30"/>
                    </a:lnTo>
                    <a:lnTo>
                      <a:pt x="6" y="30"/>
                    </a:lnTo>
                    <a:lnTo>
                      <a:pt x="0" y="24"/>
                    </a:lnTo>
                    <a:lnTo>
                      <a:pt x="0" y="18"/>
                    </a:lnTo>
                    <a:lnTo>
                      <a:pt x="6" y="18"/>
                    </a:lnTo>
                    <a:lnTo>
                      <a:pt x="12" y="18"/>
                    </a:lnTo>
                    <a:lnTo>
                      <a:pt x="12" y="12"/>
                    </a:lnTo>
                    <a:lnTo>
                      <a:pt x="12" y="6"/>
                    </a:lnTo>
                    <a:close/>
                    <a:moveTo>
                      <a:pt x="48" y="156"/>
                    </a:moveTo>
                    <a:lnTo>
                      <a:pt x="54" y="156"/>
                    </a:lnTo>
                    <a:lnTo>
                      <a:pt x="54" y="162"/>
                    </a:lnTo>
                    <a:lnTo>
                      <a:pt x="48" y="162"/>
                    </a:lnTo>
                    <a:lnTo>
                      <a:pt x="48" y="15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65" name="Freeform 21"/>
              <p:cNvSpPr>
                <a:spLocks noEditPoints="1"/>
              </p:cNvSpPr>
              <p:nvPr>
                <p:custDataLst>
                  <p:tags r:id="rId21"/>
                </p:custDataLst>
              </p:nvPr>
            </p:nvSpPr>
            <p:spPr bwMode="gray">
              <a:xfrm>
                <a:off x="2440290" y="2024383"/>
                <a:ext cx="69331" cy="111494"/>
              </a:xfrm>
              <a:custGeom>
                <a:avLst/>
                <a:gdLst>
                  <a:gd name="T0" fmla="*/ 1993 w 54"/>
                  <a:gd name="T1" fmla="*/ 26719 h 96"/>
                  <a:gd name="T2" fmla="*/ 1993 w 54"/>
                  <a:gd name="T3" fmla="*/ 25765 h 96"/>
                  <a:gd name="T4" fmla="*/ 3987 w 54"/>
                  <a:gd name="T5" fmla="*/ 25765 h 96"/>
                  <a:gd name="T6" fmla="*/ 3987 w 54"/>
                  <a:gd name="T7" fmla="*/ 26719 h 96"/>
                  <a:gd name="T8" fmla="*/ 6976 w 54"/>
                  <a:gd name="T9" fmla="*/ 26719 h 96"/>
                  <a:gd name="T10" fmla="*/ 6976 w 54"/>
                  <a:gd name="T11" fmla="*/ 29582 h 96"/>
                  <a:gd name="T12" fmla="*/ 3987 w 54"/>
                  <a:gd name="T13" fmla="*/ 29582 h 96"/>
                  <a:gd name="T14" fmla="*/ 3987 w 54"/>
                  <a:gd name="T15" fmla="*/ 31491 h 96"/>
                  <a:gd name="T16" fmla="*/ 1993 w 54"/>
                  <a:gd name="T17" fmla="*/ 31491 h 96"/>
                  <a:gd name="T18" fmla="*/ 1993 w 54"/>
                  <a:gd name="T19" fmla="*/ 33399 h 96"/>
                  <a:gd name="T20" fmla="*/ 1993 w 54"/>
                  <a:gd name="T21" fmla="*/ 31491 h 96"/>
                  <a:gd name="T22" fmla="*/ 1993 w 54"/>
                  <a:gd name="T23" fmla="*/ 33399 h 96"/>
                  <a:gd name="T24" fmla="*/ 1993 w 54"/>
                  <a:gd name="T25" fmla="*/ 31491 h 96"/>
                  <a:gd name="T26" fmla="*/ 0 w 54"/>
                  <a:gd name="T27" fmla="*/ 31491 h 96"/>
                  <a:gd name="T28" fmla="*/ 0 w 54"/>
                  <a:gd name="T29" fmla="*/ 29582 h 96"/>
                  <a:gd name="T30" fmla="*/ 0 w 54"/>
                  <a:gd name="T31" fmla="*/ 26719 h 96"/>
                  <a:gd name="T32" fmla="*/ 1993 w 54"/>
                  <a:gd name="T33" fmla="*/ 26719 h 96"/>
                  <a:gd name="T34" fmla="*/ 17940 w 54"/>
                  <a:gd name="T35" fmla="*/ 0 h 96"/>
                  <a:gd name="T36" fmla="*/ 19934 w 54"/>
                  <a:gd name="T37" fmla="*/ 0 h 96"/>
                  <a:gd name="T38" fmla="*/ 19934 w 54"/>
                  <a:gd name="T39" fmla="*/ 3817 h 96"/>
                  <a:gd name="T40" fmla="*/ 17940 w 54"/>
                  <a:gd name="T41" fmla="*/ 3817 h 96"/>
                  <a:gd name="T42" fmla="*/ 17940 w 54"/>
                  <a:gd name="T43" fmla="*/ 0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4" h="96">
                    <a:moveTo>
                      <a:pt x="6" y="78"/>
                    </a:moveTo>
                    <a:lnTo>
                      <a:pt x="6" y="72"/>
                    </a:lnTo>
                    <a:lnTo>
                      <a:pt x="12" y="72"/>
                    </a:lnTo>
                    <a:lnTo>
                      <a:pt x="12" y="78"/>
                    </a:lnTo>
                    <a:lnTo>
                      <a:pt x="18" y="78"/>
                    </a:lnTo>
                    <a:lnTo>
                      <a:pt x="18" y="84"/>
                    </a:lnTo>
                    <a:lnTo>
                      <a:pt x="12" y="84"/>
                    </a:lnTo>
                    <a:lnTo>
                      <a:pt x="12" y="90"/>
                    </a:lnTo>
                    <a:lnTo>
                      <a:pt x="6" y="90"/>
                    </a:lnTo>
                    <a:lnTo>
                      <a:pt x="6" y="96"/>
                    </a:lnTo>
                    <a:lnTo>
                      <a:pt x="6" y="90"/>
                    </a:lnTo>
                    <a:lnTo>
                      <a:pt x="6" y="96"/>
                    </a:lnTo>
                    <a:lnTo>
                      <a:pt x="6" y="90"/>
                    </a:lnTo>
                    <a:lnTo>
                      <a:pt x="0" y="90"/>
                    </a:lnTo>
                    <a:lnTo>
                      <a:pt x="0" y="84"/>
                    </a:lnTo>
                    <a:lnTo>
                      <a:pt x="0" y="78"/>
                    </a:lnTo>
                    <a:lnTo>
                      <a:pt x="6" y="78"/>
                    </a:lnTo>
                    <a:close/>
                    <a:moveTo>
                      <a:pt x="48" y="0"/>
                    </a:moveTo>
                    <a:lnTo>
                      <a:pt x="54" y="0"/>
                    </a:lnTo>
                    <a:lnTo>
                      <a:pt x="54" y="12"/>
                    </a:lnTo>
                    <a:lnTo>
                      <a:pt x="48" y="12"/>
                    </a:lnTo>
                    <a:lnTo>
                      <a:pt x="48" y="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70" name="Freeform 22"/>
              <p:cNvSpPr>
                <a:spLocks noEditPoints="1"/>
              </p:cNvSpPr>
              <p:nvPr>
                <p:custDataLst>
                  <p:tags r:id="rId22"/>
                </p:custDataLst>
              </p:nvPr>
            </p:nvSpPr>
            <p:spPr bwMode="gray">
              <a:xfrm>
                <a:off x="2591852" y="1272548"/>
                <a:ext cx="528851" cy="756352"/>
              </a:xfrm>
              <a:custGeom>
                <a:avLst/>
                <a:gdLst>
                  <a:gd name="T0" fmla="*/ 146063 w 420"/>
                  <a:gd name="T1" fmla="*/ 226200 h 642"/>
                  <a:gd name="T2" fmla="*/ 135423 w 420"/>
                  <a:gd name="T3" fmla="*/ 222316 h 642"/>
                  <a:gd name="T4" fmla="*/ 127684 w 420"/>
                  <a:gd name="T5" fmla="*/ 220375 h 642"/>
                  <a:gd name="T6" fmla="*/ 120913 w 420"/>
                  <a:gd name="T7" fmla="*/ 220375 h 642"/>
                  <a:gd name="T8" fmla="*/ 105436 w 420"/>
                  <a:gd name="T9" fmla="*/ 218433 h 642"/>
                  <a:gd name="T10" fmla="*/ 93828 w 420"/>
                  <a:gd name="T11" fmla="*/ 215521 h 642"/>
                  <a:gd name="T12" fmla="*/ 78351 w 420"/>
                  <a:gd name="T13" fmla="*/ 215521 h 642"/>
                  <a:gd name="T14" fmla="*/ 61908 w 420"/>
                  <a:gd name="T15" fmla="*/ 214550 h 642"/>
                  <a:gd name="T16" fmla="*/ 53202 w 420"/>
                  <a:gd name="T17" fmla="*/ 215521 h 642"/>
                  <a:gd name="T18" fmla="*/ 35790 w 420"/>
                  <a:gd name="T19" fmla="*/ 218433 h 642"/>
                  <a:gd name="T20" fmla="*/ 23215 w 420"/>
                  <a:gd name="T21" fmla="*/ 215521 h 642"/>
                  <a:gd name="T22" fmla="*/ 27084 w 420"/>
                  <a:gd name="T23" fmla="*/ 200959 h 642"/>
                  <a:gd name="T24" fmla="*/ 19346 w 420"/>
                  <a:gd name="T25" fmla="*/ 190280 h 642"/>
                  <a:gd name="T26" fmla="*/ 19346 w 420"/>
                  <a:gd name="T27" fmla="*/ 184455 h 642"/>
                  <a:gd name="T28" fmla="*/ 17411 w 420"/>
                  <a:gd name="T29" fmla="*/ 181543 h 642"/>
                  <a:gd name="T30" fmla="*/ 8706 w 420"/>
                  <a:gd name="T31" fmla="*/ 179601 h 642"/>
                  <a:gd name="T32" fmla="*/ 3869 w 420"/>
                  <a:gd name="T33" fmla="*/ 172805 h 642"/>
                  <a:gd name="T34" fmla="*/ 0 w 420"/>
                  <a:gd name="T35" fmla="*/ 162126 h 642"/>
                  <a:gd name="T36" fmla="*/ 3869 w 420"/>
                  <a:gd name="T37" fmla="*/ 151447 h 642"/>
                  <a:gd name="T38" fmla="*/ 10640 w 420"/>
                  <a:gd name="T39" fmla="*/ 138826 h 642"/>
                  <a:gd name="T40" fmla="*/ 21281 w 420"/>
                  <a:gd name="T41" fmla="*/ 131060 h 642"/>
                  <a:gd name="T42" fmla="*/ 29986 w 420"/>
                  <a:gd name="T43" fmla="*/ 120381 h 642"/>
                  <a:gd name="T44" fmla="*/ 37725 w 420"/>
                  <a:gd name="T45" fmla="*/ 124265 h 642"/>
                  <a:gd name="T46" fmla="*/ 42561 w 420"/>
                  <a:gd name="T47" fmla="*/ 121352 h 642"/>
                  <a:gd name="T48" fmla="*/ 46431 w 420"/>
                  <a:gd name="T49" fmla="*/ 126206 h 642"/>
                  <a:gd name="T50" fmla="*/ 57071 w 420"/>
                  <a:gd name="T51" fmla="*/ 128148 h 642"/>
                  <a:gd name="T52" fmla="*/ 61908 w 420"/>
                  <a:gd name="T53" fmla="*/ 121352 h 642"/>
                  <a:gd name="T54" fmla="*/ 67712 w 420"/>
                  <a:gd name="T55" fmla="*/ 108731 h 642"/>
                  <a:gd name="T56" fmla="*/ 71581 w 420"/>
                  <a:gd name="T57" fmla="*/ 94169 h 642"/>
                  <a:gd name="T58" fmla="*/ 80287 w 420"/>
                  <a:gd name="T59" fmla="*/ 87373 h 642"/>
                  <a:gd name="T60" fmla="*/ 83188 w 420"/>
                  <a:gd name="T61" fmla="*/ 74753 h 642"/>
                  <a:gd name="T62" fmla="*/ 90926 w 420"/>
                  <a:gd name="T63" fmla="*/ 64074 h 642"/>
                  <a:gd name="T64" fmla="*/ 97698 w 420"/>
                  <a:gd name="T65" fmla="*/ 51453 h 642"/>
                  <a:gd name="T66" fmla="*/ 104469 w 420"/>
                  <a:gd name="T67" fmla="*/ 37862 h 642"/>
                  <a:gd name="T68" fmla="*/ 117044 w 420"/>
                  <a:gd name="T69" fmla="*/ 32037 h 642"/>
                  <a:gd name="T70" fmla="*/ 118978 w 420"/>
                  <a:gd name="T71" fmla="*/ 19416 h 642"/>
                  <a:gd name="T72" fmla="*/ 110273 w 420"/>
                  <a:gd name="T73" fmla="*/ 12620 h 642"/>
                  <a:gd name="T74" fmla="*/ 115109 w 420"/>
                  <a:gd name="T75" fmla="*/ 0 h 642"/>
                  <a:gd name="T76" fmla="*/ 120913 w 420"/>
                  <a:gd name="T77" fmla="*/ 8737 h 642"/>
                  <a:gd name="T78" fmla="*/ 122848 w 420"/>
                  <a:gd name="T79" fmla="*/ 17475 h 642"/>
                  <a:gd name="T80" fmla="*/ 127684 w 420"/>
                  <a:gd name="T81" fmla="*/ 30095 h 642"/>
                  <a:gd name="T82" fmla="*/ 124782 w 420"/>
                  <a:gd name="T83" fmla="*/ 37862 h 642"/>
                  <a:gd name="T84" fmla="*/ 131554 w 420"/>
                  <a:gd name="T85" fmla="*/ 51453 h 642"/>
                  <a:gd name="T86" fmla="*/ 138325 w 420"/>
                  <a:gd name="T87" fmla="*/ 62132 h 642"/>
                  <a:gd name="T88" fmla="*/ 118978 w 420"/>
                  <a:gd name="T89" fmla="*/ 62132 h 642"/>
                  <a:gd name="T90" fmla="*/ 105436 w 420"/>
                  <a:gd name="T91" fmla="*/ 67957 h 642"/>
                  <a:gd name="T92" fmla="*/ 117044 w 420"/>
                  <a:gd name="T93" fmla="*/ 79607 h 642"/>
                  <a:gd name="T94" fmla="*/ 124782 w 420"/>
                  <a:gd name="T95" fmla="*/ 85431 h 642"/>
                  <a:gd name="T96" fmla="*/ 133488 w 420"/>
                  <a:gd name="T97" fmla="*/ 98053 h 642"/>
                  <a:gd name="T98" fmla="*/ 133488 w 420"/>
                  <a:gd name="T99" fmla="*/ 113586 h 642"/>
                  <a:gd name="T100" fmla="*/ 124782 w 420"/>
                  <a:gd name="T101" fmla="*/ 126206 h 642"/>
                  <a:gd name="T102" fmla="*/ 118978 w 420"/>
                  <a:gd name="T103" fmla="*/ 136885 h 642"/>
                  <a:gd name="T104" fmla="*/ 118978 w 420"/>
                  <a:gd name="T105" fmla="*/ 147564 h 642"/>
                  <a:gd name="T106" fmla="*/ 118978 w 420"/>
                  <a:gd name="T107" fmla="*/ 158243 h 642"/>
                  <a:gd name="T108" fmla="*/ 122848 w 420"/>
                  <a:gd name="T109" fmla="*/ 170864 h 642"/>
                  <a:gd name="T110" fmla="*/ 127684 w 420"/>
                  <a:gd name="T111" fmla="*/ 184455 h 642"/>
                  <a:gd name="T112" fmla="*/ 138325 w 420"/>
                  <a:gd name="T113" fmla="*/ 196105 h 642"/>
                  <a:gd name="T114" fmla="*/ 146063 w 420"/>
                  <a:gd name="T115" fmla="*/ 207754 h 6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20" h="642">
                    <a:moveTo>
                      <a:pt x="420" y="606"/>
                    </a:moveTo>
                    <a:lnTo>
                      <a:pt x="420" y="612"/>
                    </a:lnTo>
                    <a:lnTo>
                      <a:pt x="414" y="612"/>
                    </a:lnTo>
                    <a:lnTo>
                      <a:pt x="414" y="618"/>
                    </a:lnTo>
                    <a:lnTo>
                      <a:pt x="414" y="624"/>
                    </a:lnTo>
                    <a:lnTo>
                      <a:pt x="420" y="624"/>
                    </a:lnTo>
                    <a:lnTo>
                      <a:pt x="420" y="630"/>
                    </a:lnTo>
                    <a:lnTo>
                      <a:pt x="420" y="636"/>
                    </a:lnTo>
                    <a:lnTo>
                      <a:pt x="414" y="636"/>
                    </a:lnTo>
                    <a:lnTo>
                      <a:pt x="414" y="642"/>
                    </a:lnTo>
                    <a:lnTo>
                      <a:pt x="414" y="636"/>
                    </a:lnTo>
                    <a:lnTo>
                      <a:pt x="408" y="636"/>
                    </a:lnTo>
                    <a:lnTo>
                      <a:pt x="408" y="630"/>
                    </a:lnTo>
                    <a:lnTo>
                      <a:pt x="402" y="630"/>
                    </a:lnTo>
                    <a:lnTo>
                      <a:pt x="402" y="624"/>
                    </a:lnTo>
                    <a:lnTo>
                      <a:pt x="396" y="624"/>
                    </a:lnTo>
                    <a:lnTo>
                      <a:pt x="390" y="624"/>
                    </a:lnTo>
                    <a:lnTo>
                      <a:pt x="384" y="624"/>
                    </a:lnTo>
                    <a:lnTo>
                      <a:pt x="378" y="624"/>
                    </a:lnTo>
                    <a:lnTo>
                      <a:pt x="372" y="624"/>
                    </a:lnTo>
                    <a:lnTo>
                      <a:pt x="372" y="618"/>
                    </a:lnTo>
                    <a:lnTo>
                      <a:pt x="366" y="618"/>
                    </a:lnTo>
                    <a:lnTo>
                      <a:pt x="372" y="618"/>
                    </a:lnTo>
                    <a:lnTo>
                      <a:pt x="366" y="618"/>
                    </a:lnTo>
                    <a:lnTo>
                      <a:pt x="360" y="618"/>
                    </a:lnTo>
                    <a:lnTo>
                      <a:pt x="360" y="624"/>
                    </a:lnTo>
                    <a:lnTo>
                      <a:pt x="360" y="618"/>
                    </a:lnTo>
                    <a:lnTo>
                      <a:pt x="360" y="624"/>
                    </a:lnTo>
                    <a:lnTo>
                      <a:pt x="360" y="618"/>
                    </a:lnTo>
                    <a:lnTo>
                      <a:pt x="354" y="618"/>
                    </a:lnTo>
                    <a:lnTo>
                      <a:pt x="348" y="618"/>
                    </a:lnTo>
                    <a:lnTo>
                      <a:pt x="348" y="612"/>
                    </a:lnTo>
                    <a:lnTo>
                      <a:pt x="348" y="618"/>
                    </a:lnTo>
                    <a:lnTo>
                      <a:pt x="342" y="618"/>
                    </a:lnTo>
                    <a:lnTo>
                      <a:pt x="342" y="612"/>
                    </a:lnTo>
                    <a:lnTo>
                      <a:pt x="342" y="618"/>
                    </a:lnTo>
                    <a:lnTo>
                      <a:pt x="342" y="612"/>
                    </a:lnTo>
                    <a:lnTo>
                      <a:pt x="336" y="612"/>
                    </a:lnTo>
                    <a:lnTo>
                      <a:pt x="330" y="606"/>
                    </a:lnTo>
                    <a:lnTo>
                      <a:pt x="330" y="612"/>
                    </a:lnTo>
                    <a:lnTo>
                      <a:pt x="324" y="612"/>
                    </a:lnTo>
                    <a:lnTo>
                      <a:pt x="318" y="612"/>
                    </a:lnTo>
                    <a:lnTo>
                      <a:pt x="312" y="612"/>
                    </a:lnTo>
                    <a:lnTo>
                      <a:pt x="306" y="612"/>
                    </a:lnTo>
                    <a:lnTo>
                      <a:pt x="300" y="612"/>
                    </a:lnTo>
                    <a:lnTo>
                      <a:pt x="294" y="612"/>
                    </a:lnTo>
                    <a:lnTo>
                      <a:pt x="288" y="612"/>
                    </a:lnTo>
                    <a:lnTo>
                      <a:pt x="282" y="612"/>
                    </a:lnTo>
                    <a:lnTo>
                      <a:pt x="276" y="612"/>
                    </a:lnTo>
                    <a:lnTo>
                      <a:pt x="270" y="612"/>
                    </a:lnTo>
                    <a:lnTo>
                      <a:pt x="264" y="612"/>
                    </a:lnTo>
                    <a:lnTo>
                      <a:pt x="258" y="612"/>
                    </a:lnTo>
                    <a:lnTo>
                      <a:pt x="258" y="606"/>
                    </a:lnTo>
                    <a:lnTo>
                      <a:pt x="264" y="606"/>
                    </a:lnTo>
                    <a:lnTo>
                      <a:pt x="258" y="606"/>
                    </a:lnTo>
                    <a:lnTo>
                      <a:pt x="252" y="606"/>
                    </a:lnTo>
                    <a:lnTo>
                      <a:pt x="258" y="606"/>
                    </a:lnTo>
                    <a:lnTo>
                      <a:pt x="252" y="606"/>
                    </a:lnTo>
                    <a:lnTo>
                      <a:pt x="246" y="606"/>
                    </a:lnTo>
                    <a:lnTo>
                      <a:pt x="240" y="606"/>
                    </a:lnTo>
                    <a:lnTo>
                      <a:pt x="234" y="606"/>
                    </a:lnTo>
                    <a:lnTo>
                      <a:pt x="228" y="606"/>
                    </a:lnTo>
                    <a:lnTo>
                      <a:pt x="222" y="606"/>
                    </a:lnTo>
                    <a:lnTo>
                      <a:pt x="216" y="606"/>
                    </a:lnTo>
                    <a:lnTo>
                      <a:pt x="210" y="606"/>
                    </a:lnTo>
                    <a:lnTo>
                      <a:pt x="204" y="606"/>
                    </a:lnTo>
                    <a:lnTo>
                      <a:pt x="198" y="606"/>
                    </a:lnTo>
                    <a:lnTo>
                      <a:pt x="192" y="606"/>
                    </a:lnTo>
                    <a:lnTo>
                      <a:pt x="186" y="606"/>
                    </a:lnTo>
                    <a:lnTo>
                      <a:pt x="180" y="606"/>
                    </a:lnTo>
                    <a:lnTo>
                      <a:pt x="174" y="606"/>
                    </a:lnTo>
                    <a:lnTo>
                      <a:pt x="174" y="600"/>
                    </a:lnTo>
                    <a:lnTo>
                      <a:pt x="168" y="600"/>
                    </a:lnTo>
                    <a:lnTo>
                      <a:pt x="168" y="606"/>
                    </a:lnTo>
                    <a:lnTo>
                      <a:pt x="168" y="600"/>
                    </a:lnTo>
                    <a:lnTo>
                      <a:pt x="168" y="606"/>
                    </a:lnTo>
                    <a:lnTo>
                      <a:pt x="168" y="600"/>
                    </a:lnTo>
                    <a:lnTo>
                      <a:pt x="162" y="600"/>
                    </a:lnTo>
                    <a:lnTo>
                      <a:pt x="162" y="606"/>
                    </a:lnTo>
                    <a:lnTo>
                      <a:pt x="156" y="606"/>
                    </a:lnTo>
                    <a:lnTo>
                      <a:pt x="150" y="606"/>
                    </a:lnTo>
                    <a:lnTo>
                      <a:pt x="150" y="612"/>
                    </a:lnTo>
                    <a:lnTo>
                      <a:pt x="144" y="612"/>
                    </a:lnTo>
                    <a:lnTo>
                      <a:pt x="138" y="612"/>
                    </a:lnTo>
                    <a:lnTo>
                      <a:pt x="132" y="612"/>
                    </a:lnTo>
                    <a:lnTo>
                      <a:pt x="126" y="612"/>
                    </a:lnTo>
                    <a:lnTo>
                      <a:pt x="120" y="612"/>
                    </a:lnTo>
                    <a:lnTo>
                      <a:pt x="114" y="612"/>
                    </a:lnTo>
                    <a:lnTo>
                      <a:pt x="108" y="612"/>
                    </a:lnTo>
                    <a:lnTo>
                      <a:pt x="102" y="612"/>
                    </a:lnTo>
                    <a:lnTo>
                      <a:pt x="96" y="612"/>
                    </a:lnTo>
                    <a:lnTo>
                      <a:pt x="90" y="612"/>
                    </a:lnTo>
                    <a:lnTo>
                      <a:pt x="84" y="612"/>
                    </a:lnTo>
                    <a:lnTo>
                      <a:pt x="78" y="612"/>
                    </a:lnTo>
                    <a:lnTo>
                      <a:pt x="72" y="612"/>
                    </a:lnTo>
                    <a:lnTo>
                      <a:pt x="72" y="606"/>
                    </a:lnTo>
                    <a:lnTo>
                      <a:pt x="72" y="612"/>
                    </a:lnTo>
                    <a:lnTo>
                      <a:pt x="72" y="606"/>
                    </a:lnTo>
                    <a:lnTo>
                      <a:pt x="66" y="606"/>
                    </a:lnTo>
                    <a:lnTo>
                      <a:pt x="66" y="600"/>
                    </a:lnTo>
                    <a:lnTo>
                      <a:pt x="66" y="594"/>
                    </a:lnTo>
                    <a:lnTo>
                      <a:pt x="66" y="588"/>
                    </a:lnTo>
                    <a:lnTo>
                      <a:pt x="66" y="582"/>
                    </a:lnTo>
                    <a:lnTo>
                      <a:pt x="72" y="582"/>
                    </a:lnTo>
                    <a:lnTo>
                      <a:pt x="72" y="576"/>
                    </a:lnTo>
                    <a:lnTo>
                      <a:pt x="72" y="570"/>
                    </a:lnTo>
                    <a:lnTo>
                      <a:pt x="72" y="564"/>
                    </a:lnTo>
                    <a:lnTo>
                      <a:pt x="78" y="564"/>
                    </a:lnTo>
                    <a:lnTo>
                      <a:pt x="78" y="558"/>
                    </a:lnTo>
                    <a:lnTo>
                      <a:pt x="72" y="558"/>
                    </a:lnTo>
                    <a:lnTo>
                      <a:pt x="72" y="552"/>
                    </a:lnTo>
                    <a:lnTo>
                      <a:pt x="72" y="546"/>
                    </a:lnTo>
                    <a:lnTo>
                      <a:pt x="66" y="546"/>
                    </a:lnTo>
                    <a:lnTo>
                      <a:pt x="66" y="540"/>
                    </a:lnTo>
                    <a:lnTo>
                      <a:pt x="60" y="540"/>
                    </a:lnTo>
                    <a:lnTo>
                      <a:pt x="60" y="534"/>
                    </a:lnTo>
                    <a:lnTo>
                      <a:pt x="54" y="534"/>
                    </a:lnTo>
                    <a:lnTo>
                      <a:pt x="60" y="534"/>
                    </a:lnTo>
                    <a:lnTo>
                      <a:pt x="54" y="534"/>
                    </a:lnTo>
                    <a:lnTo>
                      <a:pt x="54" y="528"/>
                    </a:lnTo>
                    <a:lnTo>
                      <a:pt x="60" y="528"/>
                    </a:lnTo>
                    <a:lnTo>
                      <a:pt x="54" y="528"/>
                    </a:lnTo>
                    <a:lnTo>
                      <a:pt x="54" y="522"/>
                    </a:lnTo>
                    <a:lnTo>
                      <a:pt x="54" y="516"/>
                    </a:lnTo>
                    <a:lnTo>
                      <a:pt x="54" y="522"/>
                    </a:lnTo>
                    <a:lnTo>
                      <a:pt x="54" y="516"/>
                    </a:lnTo>
                    <a:lnTo>
                      <a:pt x="60" y="516"/>
                    </a:lnTo>
                    <a:lnTo>
                      <a:pt x="60" y="510"/>
                    </a:lnTo>
                    <a:lnTo>
                      <a:pt x="54" y="510"/>
                    </a:lnTo>
                    <a:lnTo>
                      <a:pt x="60" y="510"/>
                    </a:lnTo>
                    <a:lnTo>
                      <a:pt x="60" y="504"/>
                    </a:lnTo>
                    <a:lnTo>
                      <a:pt x="54" y="510"/>
                    </a:lnTo>
                    <a:lnTo>
                      <a:pt x="54" y="504"/>
                    </a:lnTo>
                    <a:lnTo>
                      <a:pt x="54" y="510"/>
                    </a:lnTo>
                    <a:lnTo>
                      <a:pt x="48" y="510"/>
                    </a:lnTo>
                    <a:lnTo>
                      <a:pt x="54" y="510"/>
                    </a:lnTo>
                    <a:lnTo>
                      <a:pt x="48" y="510"/>
                    </a:lnTo>
                    <a:lnTo>
                      <a:pt x="48" y="516"/>
                    </a:lnTo>
                    <a:lnTo>
                      <a:pt x="42" y="516"/>
                    </a:lnTo>
                    <a:lnTo>
                      <a:pt x="36" y="510"/>
                    </a:lnTo>
                    <a:lnTo>
                      <a:pt x="30" y="510"/>
                    </a:lnTo>
                    <a:lnTo>
                      <a:pt x="24" y="504"/>
                    </a:lnTo>
                    <a:lnTo>
                      <a:pt x="18" y="504"/>
                    </a:lnTo>
                    <a:lnTo>
                      <a:pt x="24" y="504"/>
                    </a:lnTo>
                    <a:lnTo>
                      <a:pt x="18" y="504"/>
                    </a:lnTo>
                    <a:lnTo>
                      <a:pt x="18" y="498"/>
                    </a:lnTo>
                    <a:lnTo>
                      <a:pt x="24" y="498"/>
                    </a:lnTo>
                    <a:lnTo>
                      <a:pt x="18" y="498"/>
                    </a:lnTo>
                    <a:lnTo>
                      <a:pt x="18" y="492"/>
                    </a:lnTo>
                    <a:lnTo>
                      <a:pt x="18" y="486"/>
                    </a:lnTo>
                    <a:lnTo>
                      <a:pt x="12" y="486"/>
                    </a:lnTo>
                    <a:lnTo>
                      <a:pt x="18" y="486"/>
                    </a:lnTo>
                    <a:lnTo>
                      <a:pt x="12" y="486"/>
                    </a:lnTo>
                    <a:lnTo>
                      <a:pt x="18" y="486"/>
                    </a:lnTo>
                    <a:lnTo>
                      <a:pt x="18" y="480"/>
                    </a:lnTo>
                    <a:lnTo>
                      <a:pt x="12" y="480"/>
                    </a:lnTo>
                    <a:lnTo>
                      <a:pt x="6" y="480"/>
                    </a:lnTo>
                    <a:lnTo>
                      <a:pt x="6" y="474"/>
                    </a:lnTo>
                    <a:lnTo>
                      <a:pt x="0" y="474"/>
                    </a:lnTo>
                    <a:lnTo>
                      <a:pt x="0" y="468"/>
                    </a:lnTo>
                    <a:lnTo>
                      <a:pt x="0" y="462"/>
                    </a:lnTo>
                    <a:lnTo>
                      <a:pt x="0" y="456"/>
                    </a:lnTo>
                    <a:lnTo>
                      <a:pt x="6" y="456"/>
                    </a:lnTo>
                    <a:lnTo>
                      <a:pt x="0" y="456"/>
                    </a:lnTo>
                    <a:lnTo>
                      <a:pt x="6" y="456"/>
                    </a:lnTo>
                    <a:lnTo>
                      <a:pt x="6" y="450"/>
                    </a:lnTo>
                    <a:lnTo>
                      <a:pt x="6" y="444"/>
                    </a:lnTo>
                    <a:lnTo>
                      <a:pt x="12" y="444"/>
                    </a:lnTo>
                    <a:lnTo>
                      <a:pt x="12" y="438"/>
                    </a:lnTo>
                    <a:lnTo>
                      <a:pt x="12" y="432"/>
                    </a:lnTo>
                    <a:lnTo>
                      <a:pt x="12" y="426"/>
                    </a:lnTo>
                    <a:lnTo>
                      <a:pt x="18" y="420"/>
                    </a:lnTo>
                    <a:lnTo>
                      <a:pt x="12" y="420"/>
                    </a:lnTo>
                    <a:lnTo>
                      <a:pt x="12" y="414"/>
                    </a:lnTo>
                    <a:lnTo>
                      <a:pt x="12" y="408"/>
                    </a:lnTo>
                    <a:lnTo>
                      <a:pt x="18" y="402"/>
                    </a:lnTo>
                    <a:lnTo>
                      <a:pt x="24" y="402"/>
                    </a:lnTo>
                    <a:lnTo>
                      <a:pt x="24" y="396"/>
                    </a:lnTo>
                    <a:lnTo>
                      <a:pt x="30" y="396"/>
                    </a:lnTo>
                    <a:lnTo>
                      <a:pt x="30" y="390"/>
                    </a:lnTo>
                    <a:lnTo>
                      <a:pt x="36" y="390"/>
                    </a:lnTo>
                    <a:lnTo>
                      <a:pt x="36" y="384"/>
                    </a:lnTo>
                    <a:lnTo>
                      <a:pt x="42" y="384"/>
                    </a:lnTo>
                    <a:lnTo>
                      <a:pt x="42" y="378"/>
                    </a:lnTo>
                    <a:lnTo>
                      <a:pt x="48" y="378"/>
                    </a:lnTo>
                    <a:lnTo>
                      <a:pt x="48" y="372"/>
                    </a:lnTo>
                    <a:lnTo>
                      <a:pt x="54" y="372"/>
                    </a:lnTo>
                    <a:lnTo>
                      <a:pt x="54" y="366"/>
                    </a:lnTo>
                    <a:lnTo>
                      <a:pt x="60" y="366"/>
                    </a:lnTo>
                    <a:lnTo>
                      <a:pt x="60" y="360"/>
                    </a:lnTo>
                    <a:lnTo>
                      <a:pt x="66" y="360"/>
                    </a:lnTo>
                    <a:lnTo>
                      <a:pt x="66" y="354"/>
                    </a:lnTo>
                    <a:lnTo>
                      <a:pt x="72" y="354"/>
                    </a:lnTo>
                    <a:lnTo>
                      <a:pt x="72" y="348"/>
                    </a:lnTo>
                    <a:lnTo>
                      <a:pt x="78" y="348"/>
                    </a:lnTo>
                    <a:lnTo>
                      <a:pt x="78" y="342"/>
                    </a:lnTo>
                    <a:lnTo>
                      <a:pt x="84" y="342"/>
                    </a:lnTo>
                    <a:lnTo>
                      <a:pt x="84" y="336"/>
                    </a:lnTo>
                    <a:lnTo>
                      <a:pt x="84" y="342"/>
                    </a:lnTo>
                    <a:lnTo>
                      <a:pt x="90" y="342"/>
                    </a:lnTo>
                    <a:lnTo>
                      <a:pt x="84" y="342"/>
                    </a:lnTo>
                    <a:lnTo>
                      <a:pt x="90" y="342"/>
                    </a:lnTo>
                    <a:lnTo>
                      <a:pt x="84" y="342"/>
                    </a:lnTo>
                    <a:lnTo>
                      <a:pt x="90" y="348"/>
                    </a:lnTo>
                    <a:lnTo>
                      <a:pt x="96" y="348"/>
                    </a:lnTo>
                    <a:lnTo>
                      <a:pt x="102" y="348"/>
                    </a:lnTo>
                    <a:lnTo>
                      <a:pt x="108" y="348"/>
                    </a:lnTo>
                    <a:lnTo>
                      <a:pt x="108" y="342"/>
                    </a:lnTo>
                    <a:lnTo>
                      <a:pt x="108" y="336"/>
                    </a:lnTo>
                    <a:lnTo>
                      <a:pt x="108" y="330"/>
                    </a:lnTo>
                    <a:lnTo>
                      <a:pt x="108" y="336"/>
                    </a:lnTo>
                    <a:lnTo>
                      <a:pt x="114" y="336"/>
                    </a:lnTo>
                    <a:lnTo>
                      <a:pt x="108" y="336"/>
                    </a:lnTo>
                    <a:lnTo>
                      <a:pt x="114" y="336"/>
                    </a:lnTo>
                    <a:lnTo>
                      <a:pt x="114" y="342"/>
                    </a:lnTo>
                    <a:lnTo>
                      <a:pt x="120" y="342"/>
                    </a:lnTo>
                    <a:lnTo>
                      <a:pt x="126" y="342"/>
                    </a:lnTo>
                    <a:lnTo>
                      <a:pt x="120" y="348"/>
                    </a:lnTo>
                    <a:lnTo>
                      <a:pt x="126" y="348"/>
                    </a:lnTo>
                    <a:lnTo>
                      <a:pt x="120" y="348"/>
                    </a:lnTo>
                    <a:lnTo>
                      <a:pt x="126" y="348"/>
                    </a:lnTo>
                    <a:lnTo>
                      <a:pt x="126" y="354"/>
                    </a:lnTo>
                    <a:lnTo>
                      <a:pt x="126" y="360"/>
                    </a:lnTo>
                    <a:lnTo>
                      <a:pt x="132" y="360"/>
                    </a:lnTo>
                    <a:lnTo>
                      <a:pt x="132" y="354"/>
                    </a:lnTo>
                    <a:lnTo>
                      <a:pt x="138" y="354"/>
                    </a:lnTo>
                    <a:lnTo>
                      <a:pt x="138" y="360"/>
                    </a:lnTo>
                    <a:lnTo>
                      <a:pt x="138" y="366"/>
                    </a:lnTo>
                    <a:lnTo>
                      <a:pt x="144" y="366"/>
                    </a:lnTo>
                    <a:lnTo>
                      <a:pt x="150" y="366"/>
                    </a:lnTo>
                    <a:lnTo>
                      <a:pt x="156" y="366"/>
                    </a:lnTo>
                    <a:lnTo>
                      <a:pt x="156" y="360"/>
                    </a:lnTo>
                    <a:lnTo>
                      <a:pt x="162" y="366"/>
                    </a:lnTo>
                    <a:lnTo>
                      <a:pt x="162" y="360"/>
                    </a:lnTo>
                    <a:lnTo>
                      <a:pt x="162" y="354"/>
                    </a:lnTo>
                    <a:lnTo>
                      <a:pt x="168" y="354"/>
                    </a:lnTo>
                    <a:lnTo>
                      <a:pt x="162" y="354"/>
                    </a:lnTo>
                    <a:lnTo>
                      <a:pt x="168" y="354"/>
                    </a:lnTo>
                    <a:lnTo>
                      <a:pt x="168" y="348"/>
                    </a:lnTo>
                    <a:lnTo>
                      <a:pt x="162" y="348"/>
                    </a:lnTo>
                    <a:lnTo>
                      <a:pt x="168" y="348"/>
                    </a:lnTo>
                    <a:lnTo>
                      <a:pt x="168" y="342"/>
                    </a:lnTo>
                    <a:lnTo>
                      <a:pt x="174" y="342"/>
                    </a:lnTo>
                    <a:lnTo>
                      <a:pt x="174" y="336"/>
                    </a:lnTo>
                    <a:lnTo>
                      <a:pt x="180" y="336"/>
                    </a:lnTo>
                    <a:lnTo>
                      <a:pt x="180" y="330"/>
                    </a:lnTo>
                    <a:lnTo>
                      <a:pt x="180" y="324"/>
                    </a:lnTo>
                    <a:lnTo>
                      <a:pt x="180" y="318"/>
                    </a:lnTo>
                    <a:lnTo>
                      <a:pt x="186" y="318"/>
                    </a:lnTo>
                    <a:lnTo>
                      <a:pt x="186" y="312"/>
                    </a:lnTo>
                    <a:lnTo>
                      <a:pt x="192" y="312"/>
                    </a:lnTo>
                    <a:lnTo>
                      <a:pt x="192" y="306"/>
                    </a:lnTo>
                    <a:lnTo>
                      <a:pt x="192" y="300"/>
                    </a:lnTo>
                    <a:lnTo>
                      <a:pt x="192" y="294"/>
                    </a:lnTo>
                    <a:lnTo>
                      <a:pt x="198" y="294"/>
                    </a:lnTo>
                    <a:lnTo>
                      <a:pt x="198" y="288"/>
                    </a:lnTo>
                    <a:lnTo>
                      <a:pt x="198" y="282"/>
                    </a:lnTo>
                    <a:lnTo>
                      <a:pt x="198" y="276"/>
                    </a:lnTo>
                    <a:lnTo>
                      <a:pt x="204" y="276"/>
                    </a:lnTo>
                    <a:lnTo>
                      <a:pt x="204" y="270"/>
                    </a:lnTo>
                    <a:lnTo>
                      <a:pt x="204" y="264"/>
                    </a:lnTo>
                    <a:lnTo>
                      <a:pt x="198" y="264"/>
                    </a:lnTo>
                    <a:lnTo>
                      <a:pt x="204" y="264"/>
                    </a:lnTo>
                    <a:lnTo>
                      <a:pt x="204" y="258"/>
                    </a:lnTo>
                    <a:lnTo>
                      <a:pt x="210" y="258"/>
                    </a:lnTo>
                    <a:lnTo>
                      <a:pt x="210" y="252"/>
                    </a:lnTo>
                    <a:lnTo>
                      <a:pt x="216" y="252"/>
                    </a:lnTo>
                    <a:lnTo>
                      <a:pt x="222" y="252"/>
                    </a:lnTo>
                    <a:lnTo>
                      <a:pt x="222" y="246"/>
                    </a:lnTo>
                    <a:lnTo>
                      <a:pt x="228" y="246"/>
                    </a:lnTo>
                    <a:lnTo>
                      <a:pt x="228" y="240"/>
                    </a:lnTo>
                    <a:lnTo>
                      <a:pt x="234" y="240"/>
                    </a:lnTo>
                    <a:lnTo>
                      <a:pt x="234" y="234"/>
                    </a:lnTo>
                    <a:lnTo>
                      <a:pt x="234" y="228"/>
                    </a:lnTo>
                    <a:lnTo>
                      <a:pt x="240" y="228"/>
                    </a:lnTo>
                    <a:lnTo>
                      <a:pt x="240" y="222"/>
                    </a:lnTo>
                    <a:lnTo>
                      <a:pt x="240" y="216"/>
                    </a:lnTo>
                    <a:lnTo>
                      <a:pt x="240" y="210"/>
                    </a:lnTo>
                    <a:lnTo>
                      <a:pt x="234" y="210"/>
                    </a:lnTo>
                    <a:lnTo>
                      <a:pt x="234" y="204"/>
                    </a:lnTo>
                    <a:lnTo>
                      <a:pt x="240" y="204"/>
                    </a:lnTo>
                    <a:lnTo>
                      <a:pt x="246" y="204"/>
                    </a:lnTo>
                    <a:lnTo>
                      <a:pt x="246" y="198"/>
                    </a:lnTo>
                    <a:lnTo>
                      <a:pt x="252" y="198"/>
                    </a:lnTo>
                    <a:lnTo>
                      <a:pt x="258" y="198"/>
                    </a:lnTo>
                    <a:lnTo>
                      <a:pt x="258" y="192"/>
                    </a:lnTo>
                    <a:lnTo>
                      <a:pt x="258" y="186"/>
                    </a:lnTo>
                    <a:lnTo>
                      <a:pt x="258" y="180"/>
                    </a:lnTo>
                    <a:lnTo>
                      <a:pt x="258" y="174"/>
                    </a:lnTo>
                    <a:lnTo>
                      <a:pt x="258" y="168"/>
                    </a:lnTo>
                    <a:lnTo>
                      <a:pt x="264" y="168"/>
                    </a:lnTo>
                    <a:lnTo>
                      <a:pt x="264" y="162"/>
                    </a:lnTo>
                    <a:lnTo>
                      <a:pt x="270" y="162"/>
                    </a:lnTo>
                    <a:lnTo>
                      <a:pt x="270" y="156"/>
                    </a:lnTo>
                    <a:lnTo>
                      <a:pt x="270" y="150"/>
                    </a:lnTo>
                    <a:lnTo>
                      <a:pt x="276" y="150"/>
                    </a:lnTo>
                    <a:lnTo>
                      <a:pt x="276" y="144"/>
                    </a:lnTo>
                    <a:lnTo>
                      <a:pt x="276" y="138"/>
                    </a:lnTo>
                    <a:lnTo>
                      <a:pt x="276" y="132"/>
                    </a:lnTo>
                    <a:lnTo>
                      <a:pt x="276" y="126"/>
                    </a:lnTo>
                    <a:lnTo>
                      <a:pt x="282" y="126"/>
                    </a:lnTo>
                    <a:lnTo>
                      <a:pt x="282" y="120"/>
                    </a:lnTo>
                    <a:lnTo>
                      <a:pt x="282" y="114"/>
                    </a:lnTo>
                    <a:lnTo>
                      <a:pt x="288" y="114"/>
                    </a:lnTo>
                    <a:lnTo>
                      <a:pt x="288" y="108"/>
                    </a:lnTo>
                    <a:lnTo>
                      <a:pt x="294" y="108"/>
                    </a:lnTo>
                    <a:lnTo>
                      <a:pt x="294" y="102"/>
                    </a:lnTo>
                    <a:lnTo>
                      <a:pt x="300" y="102"/>
                    </a:lnTo>
                    <a:lnTo>
                      <a:pt x="300" y="96"/>
                    </a:lnTo>
                    <a:lnTo>
                      <a:pt x="306" y="102"/>
                    </a:lnTo>
                    <a:lnTo>
                      <a:pt x="312" y="102"/>
                    </a:lnTo>
                    <a:lnTo>
                      <a:pt x="312" y="96"/>
                    </a:lnTo>
                    <a:lnTo>
                      <a:pt x="318" y="96"/>
                    </a:lnTo>
                    <a:lnTo>
                      <a:pt x="324" y="90"/>
                    </a:lnTo>
                    <a:lnTo>
                      <a:pt x="330" y="90"/>
                    </a:lnTo>
                    <a:lnTo>
                      <a:pt x="330" y="84"/>
                    </a:lnTo>
                    <a:lnTo>
                      <a:pt x="336" y="84"/>
                    </a:lnTo>
                    <a:lnTo>
                      <a:pt x="336" y="78"/>
                    </a:lnTo>
                    <a:lnTo>
                      <a:pt x="330" y="78"/>
                    </a:lnTo>
                    <a:lnTo>
                      <a:pt x="330" y="72"/>
                    </a:lnTo>
                    <a:lnTo>
                      <a:pt x="336" y="72"/>
                    </a:lnTo>
                    <a:lnTo>
                      <a:pt x="336" y="66"/>
                    </a:lnTo>
                    <a:lnTo>
                      <a:pt x="336" y="60"/>
                    </a:lnTo>
                    <a:lnTo>
                      <a:pt x="336" y="54"/>
                    </a:lnTo>
                    <a:lnTo>
                      <a:pt x="336" y="48"/>
                    </a:lnTo>
                    <a:lnTo>
                      <a:pt x="330" y="48"/>
                    </a:lnTo>
                    <a:lnTo>
                      <a:pt x="336" y="48"/>
                    </a:lnTo>
                    <a:lnTo>
                      <a:pt x="330" y="48"/>
                    </a:lnTo>
                    <a:lnTo>
                      <a:pt x="330" y="42"/>
                    </a:lnTo>
                    <a:lnTo>
                      <a:pt x="324" y="42"/>
                    </a:lnTo>
                    <a:lnTo>
                      <a:pt x="324" y="36"/>
                    </a:lnTo>
                    <a:lnTo>
                      <a:pt x="318" y="36"/>
                    </a:lnTo>
                    <a:lnTo>
                      <a:pt x="312" y="36"/>
                    </a:lnTo>
                    <a:lnTo>
                      <a:pt x="312" y="30"/>
                    </a:lnTo>
                    <a:lnTo>
                      <a:pt x="312" y="24"/>
                    </a:lnTo>
                    <a:lnTo>
                      <a:pt x="306" y="18"/>
                    </a:lnTo>
                    <a:lnTo>
                      <a:pt x="306" y="12"/>
                    </a:lnTo>
                    <a:lnTo>
                      <a:pt x="306" y="6"/>
                    </a:lnTo>
                    <a:lnTo>
                      <a:pt x="306" y="0"/>
                    </a:lnTo>
                    <a:lnTo>
                      <a:pt x="312" y="0"/>
                    </a:lnTo>
                    <a:lnTo>
                      <a:pt x="318" y="0"/>
                    </a:lnTo>
                    <a:lnTo>
                      <a:pt x="324" y="0"/>
                    </a:lnTo>
                    <a:lnTo>
                      <a:pt x="330" y="0"/>
                    </a:lnTo>
                    <a:lnTo>
                      <a:pt x="330" y="6"/>
                    </a:lnTo>
                    <a:lnTo>
                      <a:pt x="330" y="12"/>
                    </a:lnTo>
                    <a:lnTo>
                      <a:pt x="330" y="18"/>
                    </a:lnTo>
                    <a:lnTo>
                      <a:pt x="336" y="18"/>
                    </a:lnTo>
                    <a:lnTo>
                      <a:pt x="336" y="12"/>
                    </a:lnTo>
                    <a:lnTo>
                      <a:pt x="336" y="18"/>
                    </a:lnTo>
                    <a:lnTo>
                      <a:pt x="342" y="18"/>
                    </a:lnTo>
                    <a:lnTo>
                      <a:pt x="342" y="24"/>
                    </a:lnTo>
                    <a:lnTo>
                      <a:pt x="342" y="18"/>
                    </a:lnTo>
                    <a:lnTo>
                      <a:pt x="342" y="24"/>
                    </a:lnTo>
                    <a:lnTo>
                      <a:pt x="348" y="24"/>
                    </a:lnTo>
                    <a:lnTo>
                      <a:pt x="348" y="30"/>
                    </a:lnTo>
                    <a:lnTo>
                      <a:pt x="348" y="36"/>
                    </a:lnTo>
                    <a:lnTo>
                      <a:pt x="348" y="30"/>
                    </a:lnTo>
                    <a:lnTo>
                      <a:pt x="348" y="36"/>
                    </a:lnTo>
                    <a:lnTo>
                      <a:pt x="348" y="42"/>
                    </a:lnTo>
                    <a:lnTo>
                      <a:pt x="348" y="48"/>
                    </a:lnTo>
                    <a:lnTo>
                      <a:pt x="354" y="54"/>
                    </a:lnTo>
                    <a:lnTo>
                      <a:pt x="360" y="54"/>
                    </a:lnTo>
                    <a:lnTo>
                      <a:pt x="360" y="60"/>
                    </a:lnTo>
                    <a:lnTo>
                      <a:pt x="360" y="66"/>
                    </a:lnTo>
                    <a:lnTo>
                      <a:pt x="360" y="72"/>
                    </a:lnTo>
                    <a:lnTo>
                      <a:pt x="360" y="78"/>
                    </a:lnTo>
                    <a:lnTo>
                      <a:pt x="360" y="84"/>
                    </a:lnTo>
                    <a:lnTo>
                      <a:pt x="366" y="84"/>
                    </a:lnTo>
                    <a:lnTo>
                      <a:pt x="360" y="84"/>
                    </a:lnTo>
                    <a:lnTo>
                      <a:pt x="360" y="90"/>
                    </a:lnTo>
                    <a:lnTo>
                      <a:pt x="360" y="96"/>
                    </a:lnTo>
                    <a:lnTo>
                      <a:pt x="360" y="102"/>
                    </a:lnTo>
                    <a:lnTo>
                      <a:pt x="354" y="102"/>
                    </a:lnTo>
                    <a:lnTo>
                      <a:pt x="360" y="102"/>
                    </a:lnTo>
                    <a:lnTo>
                      <a:pt x="354" y="102"/>
                    </a:lnTo>
                    <a:lnTo>
                      <a:pt x="360" y="102"/>
                    </a:lnTo>
                    <a:lnTo>
                      <a:pt x="360" y="108"/>
                    </a:lnTo>
                    <a:lnTo>
                      <a:pt x="354" y="108"/>
                    </a:lnTo>
                    <a:lnTo>
                      <a:pt x="360" y="108"/>
                    </a:lnTo>
                    <a:lnTo>
                      <a:pt x="360" y="114"/>
                    </a:lnTo>
                    <a:lnTo>
                      <a:pt x="360" y="120"/>
                    </a:lnTo>
                    <a:lnTo>
                      <a:pt x="360" y="126"/>
                    </a:lnTo>
                    <a:lnTo>
                      <a:pt x="360" y="132"/>
                    </a:lnTo>
                    <a:lnTo>
                      <a:pt x="366" y="132"/>
                    </a:lnTo>
                    <a:lnTo>
                      <a:pt x="366" y="138"/>
                    </a:lnTo>
                    <a:lnTo>
                      <a:pt x="366" y="144"/>
                    </a:lnTo>
                    <a:lnTo>
                      <a:pt x="372" y="144"/>
                    </a:lnTo>
                    <a:lnTo>
                      <a:pt x="372" y="150"/>
                    </a:lnTo>
                    <a:lnTo>
                      <a:pt x="372" y="156"/>
                    </a:lnTo>
                    <a:lnTo>
                      <a:pt x="378" y="156"/>
                    </a:lnTo>
                    <a:lnTo>
                      <a:pt x="378" y="162"/>
                    </a:lnTo>
                    <a:lnTo>
                      <a:pt x="384" y="162"/>
                    </a:lnTo>
                    <a:lnTo>
                      <a:pt x="384" y="168"/>
                    </a:lnTo>
                    <a:lnTo>
                      <a:pt x="390" y="168"/>
                    </a:lnTo>
                    <a:lnTo>
                      <a:pt x="396" y="174"/>
                    </a:lnTo>
                    <a:lnTo>
                      <a:pt x="390" y="174"/>
                    </a:lnTo>
                    <a:lnTo>
                      <a:pt x="384" y="174"/>
                    </a:lnTo>
                    <a:lnTo>
                      <a:pt x="378" y="174"/>
                    </a:lnTo>
                    <a:lnTo>
                      <a:pt x="372" y="174"/>
                    </a:lnTo>
                    <a:lnTo>
                      <a:pt x="366" y="174"/>
                    </a:lnTo>
                    <a:lnTo>
                      <a:pt x="360" y="174"/>
                    </a:lnTo>
                    <a:lnTo>
                      <a:pt x="354" y="174"/>
                    </a:lnTo>
                    <a:lnTo>
                      <a:pt x="348" y="174"/>
                    </a:lnTo>
                    <a:lnTo>
                      <a:pt x="342" y="174"/>
                    </a:lnTo>
                    <a:lnTo>
                      <a:pt x="336" y="174"/>
                    </a:lnTo>
                    <a:lnTo>
                      <a:pt x="330" y="174"/>
                    </a:lnTo>
                    <a:lnTo>
                      <a:pt x="324" y="174"/>
                    </a:lnTo>
                    <a:lnTo>
                      <a:pt x="318" y="174"/>
                    </a:lnTo>
                    <a:lnTo>
                      <a:pt x="312" y="174"/>
                    </a:lnTo>
                    <a:lnTo>
                      <a:pt x="312" y="180"/>
                    </a:lnTo>
                    <a:lnTo>
                      <a:pt x="306" y="180"/>
                    </a:lnTo>
                    <a:lnTo>
                      <a:pt x="306" y="186"/>
                    </a:lnTo>
                    <a:lnTo>
                      <a:pt x="300" y="186"/>
                    </a:lnTo>
                    <a:lnTo>
                      <a:pt x="300" y="192"/>
                    </a:lnTo>
                    <a:lnTo>
                      <a:pt x="306" y="198"/>
                    </a:lnTo>
                    <a:lnTo>
                      <a:pt x="312" y="204"/>
                    </a:lnTo>
                    <a:lnTo>
                      <a:pt x="318" y="210"/>
                    </a:lnTo>
                    <a:lnTo>
                      <a:pt x="324" y="210"/>
                    </a:lnTo>
                    <a:lnTo>
                      <a:pt x="324" y="216"/>
                    </a:lnTo>
                    <a:lnTo>
                      <a:pt x="318" y="216"/>
                    </a:lnTo>
                    <a:lnTo>
                      <a:pt x="324" y="216"/>
                    </a:lnTo>
                    <a:lnTo>
                      <a:pt x="324" y="222"/>
                    </a:lnTo>
                    <a:lnTo>
                      <a:pt x="330" y="222"/>
                    </a:lnTo>
                    <a:lnTo>
                      <a:pt x="324" y="222"/>
                    </a:lnTo>
                    <a:lnTo>
                      <a:pt x="330" y="228"/>
                    </a:lnTo>
                    <a:lnTo>
                      <a:pt x="336" y="234"/>
                    </a:lnTo>
                    <a:lnTo>
                      <a:pt x="342" y="234"/>
                    </a:lnTo>
                    <a:lnTo>
                      <a:pt x="342" y="240"/>
                    </a:lnTo>
                    <a:lnTo>
                      <a:pt x="348" y="240"/>
                    </a:lnTo>
                    <a:lnTo>
                      <a:pt x="354" y="240"/>
                    </a:lnTo>
                    <a:lnTo>
                      <a:pt x="348" y="240"/>
                    </a:lnTo>
                    <a:lnTo>
                      <a:pt x="354" y="240"/>
                    </a:lnTo>
                    <a:lnTo>
                      <a:pt x="354" y="246"/>
                    </a:lnTo>
                    <a:lnTo>
                      <a:pt x="360" y="246"/>
                    </a:lnTo>
                    <a:lnTo>
                      <a:pt x="366" y="246"/>
                    </a:lnTo>
                    <a:lnTo>
                      <a:pt x="366" y="252"/>
                    </a:lnTo>
                    <a:lnTo>
                      <a:pt x="366" y="258"/>
                    </a:lnTo>
                    <a:lnTo>
                      <a:pt x="372" y="258"/>
                    </a:lnTo>
                    <a:lnTo>
                      <a:pt x="372" y="264"/>
                    </a:lnTo>
                    <a:lnTo>
                      <a:pt x="372" y="270"/>
                    </a:lnTo>
                    <a:lnTo>
                      <a:pt x="378" y="276"/>
                    </a:lnTo>
                    <a:lnTo>
                      <a:pt x="378" y="282"/>
                    </a:lnTo>
                    <a:lnTo>
                      <a:pt x="378" y="288"/>
                    </a:lnTo>
                    <a:lnTo>
                      <a:pt x="384" y="294"/>
                    </a:lnTo>
                    <a:lnTo>
                      <a:pt x="390" y="300"/>
                    </a:lnTo>
                    <a:lnTo>
                      <a:pt x="390" y="306"/>
                    </a:lnTo>
                    <a:lnTo>
                      <a:pt x="384" y="306"/>
                    </a:lnTo>
                    <a:lnTo>
                      <a:pt x="384" y="312"/>
                    </a:lnTo>
                    <a:lnTo>
                      <a:pt x="384" y="318"/>
                    </a:lnTo>
                    <a:lnTo>
                      <a:pt x="378" y="318"/>
                    </a:lnTo>
                    <a:lnTo>
                      <a:pt x="372" y="324"/>
                    </a:lnTo>
                    <a:lnTo>
                      <a:pt x="366" y="324"/>
                    </a:lnTo>
                    <a:lnTo>
                      <a:pt x="366" y="330"/>
                    </a:lnTo>
                    <a:lnTo>
                      <a:pt x="366" y="336"/>
                    </a:lnTo>
                    <a:lnTo>
                      <a:pt x="366" y="342"/>
                    </a:lnTo>
                    <a:lnTo>
                      <a:pt x="360" y="342"/>
                    </a:lnTo>
                    <a:lnTo>
                      <a:pt x="360" y="348"/>
                    </a:lnTo>
                    <a:lnTo>
                      <a:pt x="360" y="354"/>
                    </a:lnTo>
                    <a:lnTo>
                      <a:pt x="354" y="354"/>
                    </a:lnTo>
                    <a:lnTo>
                      <a:pt x="354" y="360"/>
                    </a:lnTo>
                    <a:lnTo>
                      <a:pt x="348" y="366"/>
                    </a:lnTo>
                    <a:lnTo>
                      <a:pt x="348" y="372"/>
                    </a:lnTo>
                    <a:lnTo>
                      <a:pt x="342" y="372"/>
                    </a:lnTo>
                    <a:lnTo>
                      <a:pt x="342" y="378"/>
                    </a:lnTo>
                    <a:lnTo>
                      <a:pt x="348" y="378"/>
                    </a:lnTo>
                    <a:lnTo>
                      <a:pt x="342" y="378"/>
                    </a:lnTo>
                    <a:lnTo>
                      <a:pt x="342" y="384"/>
                    </a:lnTo>
                    <a:lnTo>
                      <a:pt x="336" y="384"/>
                    </a:lnTo>
                    <a:lnTo>
                      <a:pt x="330" y="384"/>
                    </a:lnTo>
                    <a:lnTo>
                      <a:pt x="330" y="390"/>
                    </a:lnTo>
                    <a:lnTo>
                      <a:pt x="324" y="390"/>
                    </a:lnTo>
                    <a:lnTo>
                      <a:pt x="324" y="396"/>
                    </a:lnTo>
                    <a:lnTo>
                      <a:pt x="324" y="402"/>
                    </a:lnTo>
                    <a:lnTo>
                      <a:pt x="330" y="402"/>
                    </a:lnTo>
                    <a:lnTo>
                      <a:pt x="336" y="402"/>
                    </a:lnTo>
                    <a:lnTo>
                      <a:pt x="336" y="408"/>
                    </a:lnTo>
                    <a:lnTo>
                      <a:pt x="336" y="414"/>
                    </a:lnTo>
                    <a:lnTo>
                      <a:pt x="336" y="420"/>
                    </a:lnTo>
                    <a:lnTo>
                      <a:pt x="330" y="420"/>
                    </a:lnTo>
                    <a:lnTo>
                      <a:pt x="336" y="420"/>
                    </a:lnTo>
                    <a:lnTo>
                      <a:pt x="336" y="426"/>
                    </a:lnTo>
                    <a:lnTo>
                      <a:pt x="336" y="432"/>
                    </a:lnTo>
                    <a:lnTo>
                      <a:pt x="330" y="432"/>
                    </a:lnTo>
                    <a:lnTo>
                      <a:pt x="330" y="438"/>
                    </a:lnTo>
                    <a:lnTo>
                      <a:pt x="336" y="438"/>
                    </a:lnTo>
                    <a:lnTo>
                      <a:pt x="336" y="444"/>
                    </a:lnTo>
                    <a:lnTo>
                      <a:pt x="336" y="450"/>
                    </a:lnTo>
                    <a:lnTo>
                      <a:pt x="336" y="456"/>
                    </a:lnTo>
                    <a:lnTo>
                      <a:pt x="342" y="462"/>
                    </a:lnTo>
                    <a:lnTo>
                      <a:pt x="342" y="468"/>
                    </a:lnTo>
                    <a:lnTo>
                      <a:pt x="336" y="468"/>
                    </a:lnTo>
                    <a:lnTo>
                      <a:pt x="342" y="468"/>
                    </a:lnTo>
                    <a:lnTo>
                      <a:pt x="342" y="474"/>
                    </a:lnTo>
                    <a:lnTo>
                      <a:pt x="342" y="480"/>
                    </a:lnTo>
                    <a:lnTo>
                      <a:pt x="348" y="480"/>
                    </a:lnTo>
                    <a:lnTo>
                      <a:pt x="348" y="486"/>
                    </a:lnTo>
                    <a:lnTo>
                      <a:pt x="354" y="486"/>
                    </a:lnTo>
                    <a:lnTo>
                      <a:pt x="360" y="486"/>
                    </a:lnTo>
                    <a:lnTo>
                      <a:pt x="360" y="492"/>
                    </a:lnTo>
                    <a:lnTo>
                      <a:pt x="360" y="498"/>
                    </a:lnTo>
                    <a:lnTo>
                      <a:pt x="360" y="504"/>
                    </a:lnTo>
                    <a:lnTo>
                      <a:pt x="366" y="504"/>
                    </a:lnTo>
                    <a:lnTo>
                      <a:pt x="360" y="510"/>
                    </a:lnTo>
                    <a:lnTo>
                      <a:pt x="360" y="516"/>
                    </a:lnTo>
                    <a:lnTo>
                      <a:pt x="366" y="516"/>
                    </a:lnTo>
                    <a:lnTo>
                      <a:pt x="366" y="522"/>
                    </a:lnTo>
                    <a:lnTo>
                      <a:pt x="372" y="522"/>
                    </a:lnTo>
                    <a:lnTo>
                      <a:pt x="372" y="528"/>
                    </a:lnTo>
                    <a:lnTo>
                      <a:pt x="378" y="534"/>
                    </a:lnTo>
                    <a:lnTo>
                      <a:pt x="384" y="540"/>
                    </a:lnTo>
                    <a:lnTo>
                      <a:pt x="384" y="546"/>
                    </a:lnTo>
                    <a:lnTo>
                      <a:pt x="390" y="546"/>
                    </a:lnTo>
                    <a:lnTo>
                      <a:pt x="390" y="552"/>
                    </a:lnTo>
                    <a:lnTo>
                      <a:pt x="396" y="552"/>
                    </a:lnTo>
                    <a:lnTo>
                      <a:pt x="396" y="558"/>
                    </a:lnTo>
                    <a:lnTo>
                      <a:pt x="402" y="558"/>
                    </a:lnTo>
                    <a:lnTo>
                      <a:pt x="408" y="558"/>
                    </a:lnTo>
                    <a:lnTo>
                      <a:pt x="408" y="564"/>
                    </a:lnTo>
                    <a:lnTo>
                      <a:pt x="414" y="564"/>
                    </a:lnTo>
                    <a:lnTo>
                      <a:pt x="414" y="570"/>
                    </a:lnTo>
                    <a:lnTo>
                      <a:pt x="414" y="576"/>
                    </a:lnTo>
                    <a:lnTo>
                      <a:pt x="414" y="582"/>
                    </a:lnTo>
                    <a:lnTo>
                      <a:pt x="414" y="588"/>
                    </a:lnTo>
                    <a:lnTo>
                      <a:pt x="414" y="594"/>
                    </a:lnTo>
                    <a:lnTo>
                      <a:pt x="420" y="594"/>
                    </a:lnTo>
                    <a:lnTo>
                      <a:pt x="420" y="600"/>
                    </a:lnTo>
                    <a:lnTo>
                      <a:pt x="420" y="606"/>
                    </a:lnTo>
                    <a:close/>
                    <a:moveTo>
                      <a:pt x="54" y="528"/>
                    </a:moveTo>
                    <a:lnTo>
                      <a:pt x="60" y="528"/>
                    </a:lnTo>
                    <a:lnTo>
                      <a:pt x="54" y="528"/>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75" name="Freeform 23"/>
              <p:cNvSpPr>
                <a:spLocks/>
              </p:cNvSpPr>
              <p:nvPr>
                <p:custDataLst>
                  <p:tags r:id="rId23"/>
                </p:custDataLst>
              </p:nvPr>
            </p:nvSpPr>
            <p:spPr bwMode="gray">
              <a:xfrm>
                <a:off x="2999776" y="1406644"/>
                <a:ext cx="915815" cy="580072"/>
              </a:xfrm>
              <a:custGeom>
                <a:avLst/>
                <a:gdLst>
                  <a:gd name="T0" fmla="*/ 76720 w 726"/>
                  <a:gd name="T1" fmla="*/ 147619 h 492"/>
                  <a:gd name="T2" fmla="*/ 67980 w 726"/>
                  <a:gd name="T3" fmla="*/ 149562 h 492"/>
                  <a:gd name="T4" fmla="*/ 53412 w 726"/>
                  <a:gd name="T5" fmla="*/ 149562 h 492"/>
                  <a:gd name="T6" fmla="*/ 40788 w 726"/>
                  <a:gd name="T7" fmla="*/ 156360 h 492"/>
                  <a:gd name="T8" fmla="*/ 37874 w 726"/>
                  <a:gd name="T9" fmla="*/ 170927 h 492"/>
                  <a:gd name="T10" fmla="*/ 32047 w 726"/>
                  <a:gd name="T11" fmla="*/ 166072 h 492"/>
                  <a:gd name="T12" fmla="*/ 23308 w 726"/>
                  <a:gd name="T13" fmla="*/ 156360 h 492"/>
                  <a:gd name="T14" fmla="*/ 12625 w 726"/>
                  <a:gd name="T15" fmla="*/ 142764 h 492"/>
                  <a:gd name="T16" fmla="*/ 8741 w 726"/>
                  <a:gd name="T17" fmla="*/ 130139 h 492"/>
                  <a:gd name="T18" fmla="*/ 3884 w 726"/>
                  <a:gd name="T19" fmla="*/ 117513 h 492"/>
                  <a:gd name="T20" fmla="*/ 3884 w 726"/>
                  <a:gd name="T21" fmla="*/ 106830 h 492"/>
                  <a:gd name="T22" fmla="*/ 3884 w 726"/>
                  <a:gd name="T23" fmla="*/ 96147 h 492"/>
                  <a:gd name="T24" fmla="*/ 10682 w 726"/>
                  <a:gd name="T25" fmla="*/ 85464 h 492"/>
                  <a:gd name="T26" fmla="*/ 19423 w 726"/>
                  <a:gd name="T27" fmla="*/ 72839 h 492"/>
                  <a:gd name="T28" fmla="*/ 27192 w 726"/>
                  <a:gd name="T29" fmla="*/ 70896 h 492"/>
                  <a:gd name="T30" fmla="*/ 37874 w 726"/>
                  <a:gd name="T31" fmla="*/ 66040 h 492"/>
                  <a:gd name="T32" fmla="*/ 49528 w 726"/>
                  <a:gd name="T33" fmla="*/ 67983 h 492"/>
                  <a:gd name="T34" fmla="*/ 60210 w 726"/>
                  <a:gd name="T35" fmla="*/ 64098 h 492"/>
                  <a:gd name="T36" fmla="*/ 67980 w 726"/>
                  <a:gd name="T37" fmla="*/ 62156 h 492"/>
                  <a:gd name="T38" fmla="*/ 83518 w 726"/>
                  <a:gd name="T39" fmla="*/ 57300 h 492"/>
                  <a:gd name="T40" fmla="*/ 90316 w 726"/>
                  <a:gd name="T41" fmla="*/ 49530 h 492"/>
                  <a:gd name="T42" fmla="*/ 87402 w 726"/>
                  <a:gd name="T43" fmla="*/ 42732 h 492"/>
                  <a:gd name="T44" fmla="*/ 104883 w 726"/>
                  <a:gd name="T45" fmla="*/ 40790 h 492"/>
                  <a:gd name="T46" fmla="*/ 117508 w 726"/>
                  <a:gd name="T47" fmla="*/ 37876 h 492"/>
                  <a:gd name="T48" fmla="*/ 124306 w 726"/>
                  <a:gd name="T49" fmla="*/ 33991 h 492"/>
                  <a:gd name="T50" fmla="*/ 132075 w 726"/>
                  <a:gd name="T51" fmla="*/ 26222 h 492"/>
                  <a:gd name="T52" fmla="*/ 143729 w 726"/>
                  <a:gd name="T53" fmla="*/ 17482 h 492"/>
                  <a:gd name="T54" fmla="*/ 145671 w 726"/>
                  <a:gd name="T55" fmla="*/ 8741 h 492"/>
                  <a:gd name="T56" fmla="*/ 150527 w 726"/>
                  <a:gd name="T57" fmla="*/ 3884 h 492"/>
                  <a:gd name="T58" fmla="*/ 160238 w 726"/>
                  <a:gd name="T59" fmla="*/ 0 h 492"/>
                  <a:gd name="T60" fmla="*/ 170920 w 726"/>
                  <a:gd name="T61" fmla="*/ 8741 h 492"/>
                  <a:gd name="T62" fmla="*/ 181604 w 726"/>
                  <a:gd name="T63" fmla="*/ 21366 h 492"/>
                  <a:gd name="T64" fmla="*/ 184516 w 726"/>
                  <a:gd name="T65" fmla="*/ 32049 h 492"/>
                  <a:gd name="T66" fmla="*/ 179661 w 726"/>
                  <a:gd name="T67" fmla="*/ 40790 h 492"/>
                  <a:gd name="T68" fmla="*/ 186459 w 726"/>
                  <a:gd name="T69" fmla="*/ 46616 h 492"/>
                  <a:gd name="T70" fmla="*/ 195199 w 726"/>
                  <a:gd name="T71" fmla="*/ 55357 h 492"/>
                  <a:gd name="T72" fmla="*/ 205882 w 726"/>
                  <a:gd name="T73" fmla="*/ 57300 h 492"/>
                  <a:gd name="T74" fmla="*/ 214622 w 726"/>
                  <a:gd name="T75" fmla="*/ 64098 h 492"/>
                  <a:gd name="T76" fmla="*/ 218506 w 726"/>
                  <a:gd name="T77" fmla="*/ 74781 h 492"/>
                  <a:gd name="T78" fmla="*/ 231131 w 726"/>
                  <a:gd name="T79" fmla="*/ 81579 h 492"/>
                  <a:gd name="T80" fmla="*/ 235016 w 726"/>
                  <a:gd name="T81" fmla="*/ 91291 h 492"/>
                  <a:gd name="T82" fmla="*/ 241814 w 726"/>
                  <a:gd name="T83" fmla="*/ 101003 h 492"/>
                  <a:gd name="T84" fmla="*/ 252496 w 726"/>
                  <a:gd name="T85" fmla="*/ 104887 h 492"/>
                  <a:gd name="T86" fmla="*/ 256381 w 726"/>
                  <a:gd name="T87" fmla="*/ 120427 h 492"/>
                  <a:gd name="T88" fmla="*/ 244727 w 726"/>
                  <a:gd name="T89" fmla="*/ 117513 h 492"/>
                  <a:gd name="T90" fmla="*/ 233073 w 726"/>
                  <a:gd name="T91" fmla="*/ 117513 h 492"/>
                  <a:gd name="T92" fmla="*/ 231131 w 726"/>
                  <a:gd name="T93" fmla="*/ 117513 h 492"/>
                  <a:gd name="T94" fmla="*/ 226275 w 726"/>
                  <a:gd name="T95" fmla="*/ 115570 h 492"/>
                  <a:gd name="T96" fmla="*/ 215593 w 726"/>
                  <a:gd name="T97" fmla="*/ 115570 h 492"/>
                  <a:gd name="T98" fmla="*/ 207824 w 726"/>
                  <a:gd name="T99" fmla="*/ 121398 h 492"/>
                  <a:gd name="T100" fmla="*/ 197141 w 726"/>
                  <a:gd name="T101" fmla="*/ 117513 h 492"/>
                  <a:gd name="T102" fmla="*/ 188402 w 726"/>
                  <a:gd name="T103" fmla="*/ 124311 h 492"/>
                  <a:gd name="T104" fmla="*/ 175776 w 726"/>
                  <a:gd name="T105" fmla="*/ 128196 h 492"/>
                  <a:gd name="T106" fmla="*/ 167036 w 726"/>
                  <a:gd name="T107" fmla="*/ 126253 h 492"/>
                  <a:gd name="T108" fmla="*/ 158296 w 726"/>
                  <a:gd name="T109" fmla="*/ 138879 h 492"/>
                  <a:gd name="T110" fmla="*/ 143729 w 726"/>
                  <a:gd name="T111" fmla="*/ 134994 h 492"/>
                  <a:gd name="T112" fmla="*/ 126249 w 726"/>
                  <a:gd name="T113" fmla="*/ 132081 h 492"/>
                  <a:gd name="T114" fmla="*/ 113623 w 726"/>
                  <a:gd name="T115" fmla="*/ 124311 h 492"/>
                  <a:gd name="T116" fmla="*/ 98085 w 726"/>
                  <a:gd name="T117" fmla="*/ 117513 h 492"/>
                  <a:gd name="T118" fmla="*/ 87402 w 726"/>
                  <a:gd name="T119" fmla="*/ 128196 h 492"/>
                  <a:gd name="T120" fmla="*/ 83518 w 726"/>
                  <a:gd name="T121" fmla="*/ 138879 h 4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492">
                    <a:moveTo>
                      <a:pt x="234" y="426"/>
                    </a:moveTo>
                    <a:lnTo>
                      <a:pt x="234" y="420"/>
                    </a:lnTo>
                    <a:lnTo>
                      <a:pt x="228" y="420"/>
                    </a:lnTo>
                    <a:lnTo>
                      <a:pt x="228" y="414"/>
                    </a:lnTo>
                    <a:lnTo>
                      <a:pt x="222" y="414"/>
                    </a:lnTo>
                    <a:lnTo>
                      <a:pt x="222" y="420"/>
                    </a:lnTo>
                    <a:lnTo>
                      <a:pt x="222" y="414"/>
                    </a:lnTo>
                    <a:lnTo>
                      <a:pt x="222" y="420"/>
                    </a:lnTo>
                    <a:lnTo>
                      <a:pt x="216" y="414"/>
                    </a:lnTo>
                    <a:lnTo>
                      <a:pt x="216" y="420"/>
                    </a:lnTo>
                    <a:lnTo>
                      <a:pt x="210" y="420"/>
                    </a:lnTo>
                    <a:lnTo>
                      <a:pt x="210" y="426"/>
                    </a:lnTo>
                    <a:lnTo>
                      <a:pt x="210" y="420"/>
                    </a:lnTo>
                    <a:lnTo>
                      <a:pt x="204" y="420"/>
                    </a:lnTo>
                    <a:lnTo>
                      <a:pt x="198" y="420"/>
                    </a:lnTo>
                    <a:lnTo>
                      <a:pt x="198" y="414"/>
                    </a:lnTo>
                    <a:lnTo>
                      <a:pt x="192" y="414"/>
                    </a:lnTo>
                    <a:lnTo>
                      <a:pt x="192" y="420"/>
                    </a:lnTo>
                    <a:lnTo>
                      <a:pt x="192" y="414"/>
                    </a:lnTo>
                    <a:lnTo>
                      <a:pt x="186" y="414"/>
                    </a:lnTo>
                    <a:lnTo>
                      <a:pt x="180" y="414"/>
                    </a:lnTo>
                    <a:lnTo>
                      <a:pt x="174" y="414"/>
                    </a:lnTo>
                    <a:lnTo>
                      <a:pt x="168" y="414"/>
                    </a:lnTo>
                    <a:lnTo>
                      <a:pt x="162" y="414"/>
                    </a:lnTo>
                    <a:lnTo>
                      <a:pt x="156" y="414"/>
                    </a:lnTo>
                    <a:lnTo>
                      <a:pt x="156" y="420"/>
                    </a:lnTo>
                    <a:lnTo>
                      <a:pt x="150" y="420"/>
                    </a:lnTo>
                    <a:lnTo>
                      <a:pt x="144" y="420"/>
                    </a:lnTo>
                    <a:lnTo>
                      <a:pt x="138" y="420"/>
                    </a:lnTo>
                    <a:lnTo>
                      <a:pt x="132" y="420"/>
                    </a:lnTo>
                    <a:lnTo>
                      <a:pt x="126" y="420"/>
                    </a:lnTo>
                    <a:lnTo>
                      <a:pt x="120" y="420"/>
                    </a:lnTo>
                    <a:lnTo>
                      <a:pt x="120" y="426"/>
                    </a:lnTo>
                    <a:lnTo>
                      <a:pt x="120" y="432"/>
                    </a:lnTo>
                    <a:lnTo>
                      <a:pt x="120" y="438"/>
                    </a:lnTo>
                    <a:lnTo>
                      <a:pt x="114" y="438"/>
                    </a:lnTo>
                    <a:lnTo>
                      <a:pt x="114" y="444"/>
                    </a:lnTo>
                    <a:lnTo>
                      <a:pt x="120" y="444"/>
                    </a:lnTo>
                    <a:lnTo>
                      <a:pt x="114" y="450"/>
                    </a:lnTo>
                    <a:lnTo>
                      <a:pt x="114" y="456"/>
                    </a:lnTo>
                    <a:lnTo>
                      <a:pt x="114" y="462"/>
                    </a:lnTo>
                    <a:lnTo>
                      <a:pt x="114" y="468"/>
                    </a:lnTo>
                    <a:lnTo>
                      <a:pt x="108" y="468"/>
                    </a:lnTo>
                    <a:lnTo>
                      <a:pt x="108" y="474"/>
                    </a:lnTo>
                    <a:lnTo>
                      <a:pt x="108" y="480"/>
                    </a:lnTo>
                    <a:lnTo>
                      <a:pt x="102" y="480"/>
                    </a:lnTo>
                    <a:lnTo>
                      <a:pt x="102" y="486"/>
                    </a:lnTo>
                    <a:lnTo>
                      <a:pt x="102" y="492"/>
                    </a:lnTo>
                    <a:lnTo>
                      <a:pt x="96" y="492"/>
                    </a:lnTo>
                    <a:lnTo>
                      <a:pt x="96" y="486"/>
                    </a:lnTo>
                    <a:lnTo>
                      <a:pt x="96" y="480"/>
                    </a:lnTo>
                    <a:lnTo>
                      <a:pt x="90" y="480"/>
                    </a:lnTo>
                    <a:lnTo>
                      <a:pt x="90" y="474"/>
                    </a:lnTo>
                    <a:lnTo>
                      <a:pt x="90" y="468"/>
                    </a:lnTo>
                    <a:lnTo>
                      <a:pt x="90" y="462"/>
                    </a:lnTo>
                    <a:lnTo>
                      <a:pt x="90" y="456"/>
                    </a:lnTo>
                    <a:lnTo>
                      <a:pt x="90" y="450"/>
                    </a:lnTo>
                    <a:lnTo>
                      <a:pt x="84" y="450"/>
                    </a:lnTo>
                    <a:lnTo>
                      <a:pt x="84" y="444"/>
                    </a:lnTo>
                    <a:lnTo>
                      <a:pt x="78" y="444"/>
                    </a:lnTo>
                    <a:lnTo>
                      <a:pt x="72" y="444"/>
                    </a:lnTo>
                    <a:lnTo>
                      <a:pt x="72" y="438"/>
                    </a:lnTo>
                    <a:lnTo>
                      <a:pt x="66" y="438"/>
                    </a:lnTo>
                    <a:lnTo>
                      <a:pt x="66" y="432"/>
                    </a:lnTo>
                    <a:lnTo>
                      <a:pt x="60" y="432"/>
                    </a:lnTo>
                    <a:lnTo>
                      <a:pt x="60" y="426"/>
                    </a:lnTo>
                    <a:lnTo>
                      <a:pt x="54" y="420"/>
                    </a:lnTo>
                    <a:lnTo>
                      <a:pt x="48" y="414"/>
                    </a:lnTo>
                    <a:lnTo>
                      <a:pt x="48" y="408"/>
                    </a:lnTo>
                    <a:lnTo>
                      <a:pt x="42" y="408"/>
                    </a:lnTo>
                    <a:lnTo>
                      <a:pt x="42" y="402"/>
                    </a:lnTo>
                    <a:lnTo>
                      <a:pt x="36" y="402"/>
                    </a:lnTo>
                    <a:lnTo>
                      <a:pt x="36" y="396"/>
                    </a:lnTo>
                    <a:lnTo>
                      <a:pt x="42" y="390"/>
                    </a:lnTo>
                    <a:lnTo>
                      <a:pt x="36" y="390"/>
                    </a:lnTo>
                    <a:lnTo>
                      <a:pt x="36" y="384"/>
                    </a:lnTo>
                    <a:lnTo>
                      <a:pt x="36" y="378"/>
                    </a:lnTo>
                    <a:lnTo>
                      <a:pt x="36" y="372"/>
                    </a:lnTo>
                    <a:lnTo>
                      <a:pt x="30" y="372"/>
                    </a:lnTo>
                    <a:lnTo>
                      <a:pt x="24" y="372"/>
                    </a:lnTo>
                    <a:lnTo>
                      <a:pt x="24" y="366"/>
                    </a:lnTo>
                    <a:lnTo>
                      <a:pt x="18" y="366"/>
                    </a:lnTo>
                    <a:lnTo>
                      <a:pt x="18" y="360"/>
                    </a:lnTo>
                    <a:lnTo>
                      <a:pt x="18" y="354"/>
                    </a:lnTo>
                    <a:lnTo>
                      <a:pt x="12" y="354"/>
                    </a:lnTo>
                    <a:lnTo>
                      <a:pt x="18" y="354"/>
                    </a:lnTo>
                    <a:lnTo>
                      <a:pt x="18" y="348"/>
                    </a:lnTo>
                    <a:lnTo>
                      <a:pt x="12" y="342"/>
                    </a:lnTo>
                    <a:lnTo>
                      <a:pt x="12" y="336"/>
                    </a:lnTo>
                    <a:lnTo>
                      <a:pt x="12" y="330"/>
                    </a:lnTo>
                    <a:lnTo>
                      <a:pt x="12" y="324"/>
                    </a:lnTo>
                    <a:lnTo>
                      <a:pt x="6" y="324"/>
                    </a:lnTo>
                    <a:lnTo>
                      <a:pt x="6" y="318"/>
                    </a:lnTo>
                    <a:lnTo>
                      <a:pt x="12" y="318"/>
                    </a:lnTo>
                    <a:lnTo>
                      <a:pt x="12" y="312"/>
                    </a:lnTo>
                    <a:lnTo>
                      <a:pt x="12" y="306"/>
                    </a:lnTo>
                    <a:lnTo>
                      <a:pt x="6" y="306"/>
                    </a:lnTo>
                    <a:lnTo>
                      <a:pt x="12" y="306"/>
                    </a:lnTo>
                    <a:lnTo>
                      <a:pt x="12" y="300"/>
                    </a:lnTo>
                    <a:lnTo>
                      <a:pt x="12" y="294"/>
                    </a:lnTo>
                    <a:lnTo>
                      <a:pt x="12" y="288"/>
                    </a:lnTo>
                    <a:lnTo>
                      <a:pt x="6" y="288"/>
                    </a:lnTo>
                    <a:lnTo>
                      <a:pt x="0" y="288"/>
                    </a:lnTo>
                    <a:lnTo>
                      <a:pt x="0" y="282"/>
                    </a:lnTo>
                    <a:lnTo>
                      <a:pt x="0" y="276"/>
                    </a:lnTo>
                    <a:lnTo>
                      <a:pt x="6" y="276"/>
                    </a:lnTo>
                    <a:lnTo>
                      <a:pt x="6" y="270"/>
                    </a:lnTo>
                    <a:lnTo>
                      <a:pt x="12" y="270"/>
                    </a:lnTo>
                    <a:lnTo>
                      <a:pt x="18" y="270"/>
                    </a:lnTo>
                    <a:lnTo>
                      <a:pt x="18" y="264"/>
                    </a:lnTo>
                    <a:lnTo>
                      <a:pt x="24" y="264"/>
                    </a:lnTo>
                    <a:lnTo>
                      <a:pt x="18" y="264"/>
                    </a:lnTo>
                    <a:lnTo>
                      <a:pt x="18" y="258"/>
                    </a:lnTo>
                    <a:lnTo>
                      <a:pt x="24" y="258"/>
                    </a:lnTo>
                    <a:lnTo>
                      <a:pt x="24" y="252"/>
                    </a:lnTo>
                    <a:lnTo>
                      <a:pt x="30" y="246"/>
                    </a:lnTo>
                    <a:lnTo>
                      <a:pt x="30" y="240"/>
                    </a:lnTo>
                    <a:lnTo>
                      <a:pt x="36" y="240"/>
                    </a:lnTo>
                    <a:lnTo>
                      <a:pt x="36" y="234"/>
                    </a:lnTo>
                    <a:lnTo>
                      <a:pt x="36" y="228"/>
                    </a:lnTo>
                    <a:lnTo>
                      <a:pt x="42" y="228"/>
                    </a:lnTo>
                    <a:lnTo>
                      <a:pt x="42" y="222"/>
                    </a:lnTo>
                    <a:lnTo>
                      <a:pt x="42" y="216"/>
                    </a:lnTo>
                    <a:lnTo>
                      <a:pt x="42" y="210"/>
                    </a:lnTo>
                    <a:lnTo>
                      <a:pt x="48" y="210"/>
                    </a:lnTo>
                    <a:lnTo>
                      <a:pt x="54" y="204"/>
                    </a:lnTo>
                    <a:lnTo>
                      <a:pt x="60" y="204"/>
                    </a:lnTo>
                    <a:lnTo>
                      <a:pt x="60" y="198"/>
                    </a:lnTo>
                    <a:lnTo>
                      <a:pt x="66" y="198"/>
                    </a:lnTo>
                    <a:lnTo>
                      <a:pt x="72" y="198"/>
                    </a:lnTo>
                    <a:lnTo>
                      <a:pt x="72" y="204"/>
                    </a:lnTo>
                    <a:lnTo>
                      <a:pt x="72" y="198"/>
                    </a:lnTo>
                    <a:lnTo>
                      <a:pt x="78" y="198"/>
                    </a:lnTo>
                    <a:lnTo>
                      <a:pt x="78" y="204"/>
                    </a:lnTo>
                    <a:lnTo>
                      <a:pt x="78" y="198"/>
                    </a:lnTo>
                    <a:lnTo>
                      <a:pt x="84" y="198"/>
                    </a:lnTo>
                    <a:lnTo>
                      <a:pt x="90" y="198"/>
                    </a:lnTo>
                    <a:lnTo>
                      <a:pt x="90" y="192"/>
                    </a:lnTo>
                    <a:lnTo>
                      <a:pt x="96" y="192"/>
                    </a:lnTo>
                    <a:lnTo>
                      <a:pt x="102" y="192"/>
                    </a:lnTo>
                    <a:lnTo>
                      <a:pt x="108" y="192"/>
                    </a:lnTo>
                    <a:lnTo>
                      <a:pt x="108" y="186"/>
                    </a:lnTo>
                    <a:lnTo>
                      <a:pt x="114" y="186"/>
                    </a:lnTo>
                    <a:lnTo>
                      <a:pt x="108" y="186"/>
                    </a:lnTo>
                    <a:lnTo>
                      <a:pt x="114" y="180"/>
                    </a:lnTo>
                    <a:lnTo>
                      <a:pt x="120" y="180"/>
                    </a:lnTo>
                    <a:lnTo>
                      <a:pt x="120" y="186"/>
                    </a:lnTo>
                    <a:lnTo>
                      <a:pt x="126" y="186"/>
                    </a:lnTo>
                    <a:lnTo>
                      <a:pt x="126" y="192"/>
                    </a:lnTo>
                    <a:lnTo>
                      <a:pt x="132" y="192"/>
                    </a:lnTo>
                    <a:lnTo>
                      <a:pt x="132" y="198"/>
                    </a:lnTo>
                    <a:lnTo>
                      <a:pt x="138" y="198"/>
                    </a:lnTo>
                    <a:lnTo>
                      <a:pt x="138" y="192"/>
                    </a:lnTo>
                    <a:lnTo>
                      <a:pt x="144" y="192"/>
                    </a:lnTo>
                    <a:lnTo>
                      <a:pt x="150" y="192"/>
                    </a:lnTo>
                    <a:lnTo>
                      <a:pt x="150" y="186"/>
                    </a:lnTo>
                    <a:lnTo>
                      <a:pt x="150" y="192"/>
                    </a:lnTo>
                    <a:lnTo>
                      <a:pt x="150" y="186"/>
                    </a:lnTo>
                    <a:lnTo>
                      <a:pt x="156" y="186"/>
                    </a:lnTo>
                    <a:lnTo>
                      <a:pt x="156" y="180"/>
                    </a:lnTo>
                    <a:lnTo>
                      <a:pt x="162" y="180"/>
                    </a:lnTo>
                    <a:lnTo>
                      <a:pt x="168" y="180"/>
                    </a:lnTo>
                    <a:lnTo>
                      <a:pt x="168" y="174"/>
                    </a:lnTo>
                    <a:lnTo>
                      <a:pt x="168" y="180"/>
                    </a:lnTo>
                    <a:lnTo>
                      <a:pt x="174" y="180"/>
                    </a:lnTo>
                    <a:lnTo>
                      <a:pt x="174" y="174"/>
                    </a:lnTo>
                    <a:lnTo>
                      <a:pt x="174" y="180"/>
                    </a:lnTo>
                    <a:lnTo>
                      <a:pt x="174" y="174"/>
                    </a:lnTo>
                    <a:lnTo>
                      <a:pt x="180" y="174"/>
                    </a:lnTo>
                    <a:lnTo>
                      <a:pt x="186" y="174"/>
                    </a:lnTo>
                    <a:lnTo>
                      <a:pt x="192" y="174"/>
                    </a:lnTo>
                    <a:lnTo>
                      <a:pt x="198" y="174"/>
                    </a:lnTo>
                    <a:lnTo>
                      <a:pt x="198" y="168"/>
                    </a:lnTo>
                    <a:lnTo>
                      <a:pt x="204" y="168"/>
                    </a:lnTo>
                    <a:lnTo>
                      <a:pt x="210" y="168"/>
                    </a:lnTo>
                    <a:lnTo>
                      <a:pt x="216" y="168"/>
                    </a:lnTo>
                    <a:lnTo>
                      <a:pt x="222" y="168"/>
                    </a:lnTo>
                    <a:lnTo>
                      <a:pt x="228" y="168"/>
                    </a:lnTo>
                    <a:lnTo>
                      <a:pt x="234" y="168"/>
                    </a:lnTo>
                    <a:lnTo>
                      <a:pt x="234" y="162"/>
                    </a:lnTo>
                    <a:lnTo>
                      <a:pt x="234" y="156"/>
                    </a:lnTo>
                    <a:lnTo>
                      <a:pt x="240" y="156"/>
                    </a:lnTo>
                    <a:lnTo>
                      <a:pt x="246" y="156"/>
                    </a:lnTo>
                    <a:lnTo>
                      <a:pt x="246" y="150"/>
                    </a:lnTo>
                    <a:lnTo>
                      <a:pt x="252" y="150"/>
                    </a:lnTo>
                    <a:lnTo>
                      <a:pt x="246" y="150"/>
                    </a:lnTo>
                    <a:lnTo>
                      <a:pt x="252" y="150"/>
                    </a:lnTo>
                    <a:lnTo>
                      <a:pt x="252" y="144"/>
                    </a:lnTo>
                    <a:lnTo>
                      <a:pt x="252" y="138"/>
                    </a:lnTo>
                    <a:lnTo>
                      <a:pt x="258" y="144"/>
                    </a:lnTo>
                    <a:lnTo>
                      <a:pt x="258" y="138"/>
                    </a:lnTo>
                    <a:lnTo>
                      <a:pt x="258" y="132"/>
                    </a:lnTo>
                    <a:lnTo>
                      <a:pt x="258" y="126"/>
                    </a:lnTo>
                    <a:lnTo>
                      <a:pt x="252" y="126"/>
                    </a:lnTo>
                    <a:lnTo>
                      <a:pt x="246" y="126"/>
                    </a:lnTo>
                    <a:lnTo>
                      <a:pt x="246" y="120"/>
                    </a:lnTo>
                    <a:lnTo>
                      <a:pt x="246" y="126"/>
                    </a:lnTo>
                    <a:lnTo>
                      <a:pt x="246" y="120"/>
                    </a:lnTo>
                    <a:lnTo>
                      <a:pt x="252" y="120"/>
                    </a:lnTo>
                    <a:lnTo>
                      <a:pt x="252" y="114"/>
                    </a:lnTo>
                    <a:lnTo>
                      <a:pt x="258" y="114"/>
                    </a:lnTo>
                    <a:lnTo>
                      <a:pt x="264" y="114"/>
                    </a:lnTo>
                    <a:lnTo>
                      <a:pt x="270" y="114"/>
                    </a:lnTo>
                    <a:lnTo>
                      <a:pt x="276" y="114"/>
                    </a:lnTo>
                    <a:lnTo>
                      <a:pt x="282" y="114"/>
                    </a:lnTo>
                    <a:lnTo>
                      <a:pt x="288" y="114"/>
                    </a:lnTo>
                    <a:lnTo>
                      <a:pt x="294" y="114"/>
                    </a:lnTo>
                    <a:lnTo>
                      <a:pt x="300" y="114"/>
                    </a:lnTo>
                    <a:lnTo>
                      <a:pt x="300" y="108"/>
                    </a:lnTo>
                    <a:lnTo>
                      <a:pt x="300" y="114"/>
                    </a:lnTo>
                    <a:lnTo>
                      <a:pt x="300" y="108"/>
                    </a:lnTo>
                    <a:lnTo>
                      <a:pt x="306" y="108"/>
                    </a:lnTo>
                    <a:lnTo>
                      <a:pt x="312" y="108"/>
                    </a:lnTo>
                    <a:lnTo>
                      <a:pt x="318" y="108"/>
                    </a:lnTo>
                    <a:lnTo>
                      <a:pt x="324" y="108"/>
                    </a:lnTo>
                    <a:lnTo>
                      <a:pt x="330" y="108"/>
                    </a:lnTo>
                    <a:lnTo>
                      <a:pt x="336" y="108"/>
                    </a:lnTo>
                    <a:lnTo>
                      <a:pt x="336" y="102"/>
                    </a:lnTo>
                    <a:lnTo>
                      <a:pt x="336" y="96"/>
                    </a:lnTo>
                    <a:lnTo>
                      <a:pt x="342" y="96"/>
                    </a:lnTo>
                    <a:lnTo>
                      <a:pt x="336" y="96"/>
                    </a:lnTo>
                    <a:lnTo>
                      <a:pt x="342" y="96"/>
                    </a:lnTo>
                    <a:lnTo>
                      <a:pt x="348" y="96"/>
                    </a:lnTo>
                    <a:lnTo>
                      <a:pt x="342" y="96"/>
                    </a:lnTo>
                    <a:lnTo>
                      <a:pt x="348" y="96"/>
                    </a:lnTo>
                    <a:lnTo>
                      <a:pt x="348" y="90"/>
                    </a:lnTo>
                    <a:lnTo>
                      <a:pt x="354" y="90"/>
                    </a:lnTo>
                    <a:lnTo>
                      <a:pt x="360" y="84"/>
                    </a:lnTo>
                    <a:lnTo>
                      <a:pt x="360" y="90"/>
                    </a:lnTo>
                    <a:lnTo>
                      <a:pt x="360" y="84"/>
                    </a:lnTo>
                    <a:lnTo>
                      <a:pt x="360" y="78"/>
                    </a:lnTo>
                    <a:lnTo>
                      <a:pt x="366" y="78"/>
                    </a:lnTo>
                    <a:lnTo>
                      <a:pt x="366" y="72"/>
                    </a:lnTo>
                    <a:lnTo>
                      <a:pt x="372" y="72"/>
                    </a:lnTo>
                    <a:lnTo>
                      <a:pt x="372" y="66"/>
                    </a:lnTo>
                    <a:lnTo>
                      <a:pt x="378" y="66"/>
                    </a:lnTo>
                    <a:lnTo>
                      <a:pt x="378" y="60"/>
                    </a:lnTo>
                    <a:lnTo>
                      <a:pt x="384" y="60"/>
                    </a:lnTo>
                    <a:lnTo>
                      <a:pt x="390" y="60"/>
                    </a:lnTo>
                    <a:lnTo>
                      <a:pt x="390" y="54"/>
                    </a:lnTo>
                    <a:lnTo>
                      <a:pt x="390" y="48"/>
                    </a:lnTo>
                    <a:lnTo>
                      <a:pt x="396" y="48"/>
                    </a:lnTo>
                    <a:lnTo>
                      <a:pt x="402" y="48"/>
                    </a:lnTo>
                    <a:lnTo>
                      <a:pt x="402" y="42"/>
                    </a:lnTo>
                    <a:lnTo>
                      <a:pt x="402" y="48"/>
                    </a:lnTo>
                    <a:lnTo>
                      <a:pt x="402" y="42"/>
                    </a:lnTo>
                    <a:lnTo>
                      <a:pt x="408" y="42"/>
                    </a:lnTo>
                    <a:lnTo>
                      <a:pt x="408" y="36"/>
                    </a:lnTo>
                    <a:lnTo>
                      <a:pt x="408" y="30"/>
                    </a:lnTo>
                    <a:lnTo>
                      <a:pt x="408" y="24"/>
                    </a:lnTo>
                    <a:lnTo>
                      <a:pt x="408" y="18"/>
                    </a:lnTo>
                    <a:lnTo>
                      <a:pt x="408" y="24"/>
                    </a:lnTo>
                    <a:lnTo>
                      <a:pt x="408" y="18"/>
                    </a:lnTo>
                    <a:lnTo>
                      <a:pt x="408" y="12"/>
                    </a:lnTo>
                    <a:lnTo>
                      <a:pt x="414" y="12"/>
                    </a:lnTo>
                    <a:lnTo>
                      <a:pt x="414" y="6"/>
                    </a:lnTo>
                    <a:lnTo>
                      <a:pt x="414" y="12"/>
                    </a:lnTo>
                    <a:lnTo>
                      <a:pt x="414" y="6"/>
                    </a:lnTo>
                    <a:lnTo>
                      <a:pt x="420" y="12"/>
                    </a:lnTo>
                    <a:lnTo>
                      <a:pt x="420" y="6"/>
                    </a:lnTo>
                    <a:lnTo>
                      <a:pt x="420" y="12"/>
                    </a:lnTo>
                    <a:lnTo>
                      <a:pt x="420" y="6"/>
                    </a:lnTo>
                    <a:lnTo>
                      <a:pt x="420" y="12"/>
                    </a:lnTo>
                    <a:lnTo>
                      <a:pt x="420" y="6"/>
                    </a:lnTo>
                    <a:lnTo>
                      <a:pt x="426" y="6"/>
                    </a:lnTo>
                    <a:lnTo>
                      <a:pt x="432" y="6"/>
                    </a:lnTo>
                    <a:lnTo>
                      <a:pt x="438" y="6"/>
                    </a:lnTo>
                    <a:lnTo>
                      <a:pt x="444" y="6"/>
                    </a:lnTo>
                    <a:lnTo>
                      <a:pt x="444" y="0"/>
                    </a:lnTo>
                    <a:lnTo>
                      <a:pt x="450" y="0"/>
                    </a:lnTo>
                    <a:lnTo>
                      <a:pt x="456" y="0"/>
                    </a:lnTo>
                    <a:lnTo>
                      <a:pt x="462" y="0"/>
                    </a:lnTo>
                    <a:lnTo>
                      <a:pt x="462" y="6"/>
                    </a:lnTo>
                    <a:lnTo>
                      <a:pt x="468" y="6"/>
                    </a:lnTo>
                    <a:lnTo>
                      <a:pt x="474" y="6"/>
                    </a:lnTo>
                    <a:lnTo>
                      <a:pt x="474" y="12"/>
                    </a:lnTo>
                    <a:lnTo>
                      <a:pt x="474" y="18"/>
                    </a:lnTo>
                    <a:lnTo>
                      <a:pt x="480" y="18"/>
                    </a:lnTo>
                    <a:lnTo>
                      <a:pt x="480" y="24"/>
                    </a:lnTo>
                    <a:lnTo>
                      <a:pt x="486" y="24"/>
                    </a:lnTo>
                    <a:lnTo>
                      <a:pt x="486" y="30"/>
                    </a:lnTo>
                    <a:lnTo>
                      <a:pt x="492" y="30"/>
                    </a:lnTo>
                    <a:lnTo>
                      <a:pt x="492" y="36"/>
                    </a:lnTo>
                    <a:lnTo>
                      <a:pt x="498" y="36"/>
                    </a:lnTo>
                    <a:lnTo>
                      <a:pt x="498" y="42"/>
                    </a:lnTo>
                    <a:lnTo>
                      <a:pt x="504" y="48"/>
                    </a:lnTo>
                    <a:lnTo>
                      <a:pt x="510" y="54"/>
                    </a:lnTo>
                    <a:lnTo>
                      <a:pt x="510" y="60"/>
                    </a:lnTo>
                    <a:lnTo>
                      <a:pt x="516" y="66"/>
                    </a:lnTo>
                    <a:lnTo>
                      <a:pt x="516" y="72"/>
                    </a:lnTo>
                    <a:lnTo>
                      <a:pt x="516" y="78"/>
                    </a:lnTo>
                    <a:lnTo>
                      <a:pt x="516" y="84"/>
                    </a:lnTo>
                    <a:lnTo>
                      <a:pt x="510" y="84"/>
                    </a:lnTo>
                    <a:lnTo>
                      <a:pt x="516" y="84"/>
                    </a:lnTo>
                    <a:lnTo>
                      <a:pt x="510" y="84"/>
                    </a:lnTo>
                    <a:lnTo>
                      <a:pt x="510" y="90"/>
                    </a:lnTo>
                    <a:lnTo>
                      <a:pt x="516" y="90"/>
                    </a:lnTo>
                    <a:lnTo>
                      <a:pt x="510" y="90"/>
                    </a:lnTo>
                    <a:lnTo>
                      <a:pt x="510" y="96"/>
                    </a:lnTo>
                    <a:lnTo>
                      <a:pt x="516" y="96"/>
                    </a:lnTo>
                    <a:lnTo>
                      <a:pt x="510" y="102"/>
                    </a:lnTo>
                    <a:lnTo>
                      <a:pt x="510" y="96"/>
                    </a:lnTo>
                    <a:lnTo>
                      <a:pt x="510" y="102"/>
                    </a:lnTo>
                    <a:lnTo>
                      <a:pt x="504" y="102"/>
                    </a:lnTo>
                    <a:lnTo>
                      <a:pt x="504" y="108"/>
                    </a:lnTo>
                    <a:lnTo>
                      <a:pt x="504" y="114"/>
                    </a:lnTo>
                    <a:lnTo>
                      <a:pt x="510" y="114"/>
                    </a:lnTo>
                    <a:lnTo>
                      <a:pt x="510" y="120"/>
                    </a:lnTo>
                    <a:lnTo>
                      <a:pt x="510" y="126"/>
                    </a:lnTo>
                    <a:lnTo>
                      <a:pt x="504" y="126"/>
                    </a:lnTo>
                    <a:lnTo>
                      <a:pt x="504" y="132"/>
                    </a:lnTo>
                    <a:lnTo>
                      <a:pt x="510" y="132"/>
                    </a:lnTo>
                    <a:lnTo>
                      <a:pt x="510" y="126"/>
                    </a:lnTo>
                    <a:lnTo>
                      <a:pt x="516" y="132"/>
                    </a:lnTo>
                    <a:lnTo>
                      <a:pt x="522" y="132"/>
                    </a:lnTo>
                    <a:lnTo>
                      <a:pt x="528" y="132"/>
                    </a:lnTo>
                    <a:lnTo>
                      <a:pt x="534" y="132"/>
                    </a:lnTo>
                    <a:lnTo>
                      <a:pt x="540" y="132"/>
                    </a:lnTo>
                    <a:lnTo>
                      <a:pt x="546" y="132"/>
                    </a:lnTo>
                    <a:lnTo>
                      <a:pt x="546" y="138"/>
                    </a:lnTo>
                    <a:lnTo>
                      <a:pt x="546" y="144"/>
                    </a:lnTo>
                    <a:lnTo>
                      <a:pt x="540" y="144"/>
                    </a:lnTo>
                    <a:lnTo>
                      <a:pt x="540" y="150"/>
                    </a:lnTo>
                    <a:lnTo>
                      <a:pt x="546" y="156"/>
                    </a:lnTo>
                    <a:lnTo>
                      <a:pt x="552" y="156"/>
                    </a:lnTo>
                    <a:lnTo>
                      <a:pt x="558" y="156"/>
                    </a:lnTo>
                    <a:lnTo>
                      <a:pt x="564" y="156"/>
                    </a:lnTo>
                    <a:lnTo>
                      <a:pt x="564" y="162"/>
                    </a:lnTo>
                    <a:lnTo>
                      <a:pt x="564" y="156"/>
                    </a:lnTo>
                    <a:lnTo>
                      <a:pt x="570" y="156"/>
                    </a:lnTo>
                    <a:lnTo>
                      <a:pt x="570" y="162"/>
                    </a:lnTo>
                    <a:lnTo>
                      <a:pt x="576" y="156"/>
                    </a:lnTo>
                    <a:lnTo>
                      <a:pt x="576" y="162"/>
                    </a:lnTo>
                    <a:lnTo>
                      <a:pt x="582" y="162"/>
                    </a:lnTo>
                    <a:lnTo>
                      <a:pt x="582" y="168"/>
                    </a:lnTo>
                    <a:lnTo>
                      <a:pt x="588" y="168"/>
                    </a:lnTo>
                    <a:lnTo>
                      <a:pt x="588" y="174"/>
                    </a:lnTo>
                    <a:lnTo>
                      <a:pt x="594" y="174"/>
                    </a:lnTo>
                    <a:lnTo>
                      <a:pt x="594" y="180"/>
                    </a:lnTo>
                    <a:lnTo>
                      <a:pt x="594" y="174"/>
                    </a:lnTo>
                    <a:lnTo>
                      <a:pt x="600" y="174"/>
                    </a:lnTo>
                    <a:lnTo>
                      <a:pt x="600" y="180"/>
                    </a:lnTo>
                    <a:lnTo>
                      <a:pt x="606" y="180"/>
                    </a:lnTo>
                    <a:lnTo>
                      <a:pt x="606" y="186"/>
                    </a:lnTo>
                    <a:lnTo>
                      <a:pt x="606" y="192"/>
                    </a:lnTo>
                    <a:lnTo>
                      <a:pt x="600" y="192"/>
                    </a:lnTo>
                    <a:lnTo>
                      <a:pt x="600" y="198"/>
                    </a:lnTo>
                    <a:lnTo>
                      <a:pt x="606" y="198"/>
                    </a:lnTo>
                    <a:lnTo>
                      <a:pt x="606" y="204"/>
                    </a:lnTo>
                    <a:lnTo>
                      <a:pt x="606" y="210"/>
                    </a:lnTo>
                    <a:lnTo>
                      <a:pt x="612" y="210"/>
                    </a:lnTo>
                    <a:lnTo>
                      <a:pt x="618" y="210"/>
                    </a:lnTo>
                    <a:lnTo>
                      <a:pt x="618" y="216"/>
                    </a:lnTo>
                    <a:lnTo>
                      <a:pt x="624" y="216"/>
                    </a:lnTo>
                    <a:lnTo>
                      <a:pt x="630" y="216"/>
                    </a:lnTo>
                    <a:lnTo>
                      <a:pt x="636" y="216"/>
                    </a:lnTo>
                    <a:lnTo>
                      <a:pt x="636" y="222"/>
                    </a:lnTo>
                    <a:lnTo>
                      <a:pt x="642" y="222"/>
                    </a:lnTo>
                    <a:lnTo>
                      <a:pt x="642" y="228"/>
                    </a:lnTo>
                    <a:lnTo>
                      <a:pt x="648" y="228"/>
                    </a:lnTo>
                    <a:lnTo>
                      <a:pt x="648" y="234"/>
                    </a:lnTo>
                    <a:lnTo>
                      <a:pt x="648" y="240"/>
                    </a:lnTo>
                    <a:lnTo>
                      <a:pt x="654" y="240"/>
                    </a:lnTo>
                    <a:lnTo>
                      <a:pt x="660" y="240"/>
                    </a:lnTo>
                    <a:lnTo>
                      <a:pt x="660" y="246"/>
                    </a:lnTo>
                    <a:lnTo>
                      <a:pt x="666" y="246"/>
                    </a:lnTo>
                    <a:lnTo>
                      <a:pt x="666" y="252"/>
                    </a:lnTo>
                    <a:lnTo>
                      <a:pt x="660" y="252"/>
                    </a:lnTo>
                    <a:lnTo>
                      <a:pt x="660" y="258"/>
                    </a:lnTo>
                    <a:lnTo>
                      <a:pt x="660" y="264"/>
                    </a:lnTo>
                    <a:lnTo>
                      <a:pt x="666" y="264"/>
                    </a:lnTo>
                    <a:lnTo>
                      <a:pt x="672" y="264"/>
                    </a:lnTo>
                    <a:lnTo>
                      <a:pt x="672" y="270"/>
                    </a:lnTo>
                    <a:lnTo>
                      <a:pt x="672" y="276"/>
                    </a:lnTo>
                    <a:lnTo>
                      <a:pt x="666" y="276"/>
                    </a:lnTo>
                    <a:lnTo>
                      <a:pt x="672" y="276"/>
                    </a:lnTo>
                    <a:lnTo>
                      <a:pt x="672" y="282"/>
                    </a:lnTo>
                    <a:lnTo>
                      <a:pt x="678" y="282"/>
                    </a:lnTo>
                    <a:lnTo>
                      <a:pt x="684" y="282"/>
                    </a:lnTo>
                    <a:lnTo>
                      <a:pt x="690" y="282"/>
                    </a:lnTo>
                    <a:lnTo>
                      <a:pt x="690" y="288"/>
                    </a:lnTo>
                    <a:lnTo>
                      <a:pt x="696" y="288"/>
                    </a:lnTo>
                    <a:lnTo>
                      <a:pt x="696" y="294"/>
                    </a:lnTo>
                    <a:lnTo>
                      <a:pt x="696" y="288"/>
                    </a:lnTo>
                    <a:lnTo>
                      <a:pt x="702" y="288"/>
                    </a:lnTo>
                    <a:lnTo>
                      <a:pt x="702" y="294"/>
                    </a:lnTo>
                    <a:lnTo>
                      <a:pt x="708" y="294"/>
                    </a:lnTo>
                    <a:lnTo>
                      <a:pt x="708" y="300"/>
                    </a:lnTo>
                    <a:lnTo>
                      <a:pt x="714" y="300"/>
                    </a:lnTo>
                    <a:lnTo>
                      <a:pt x="714" y="306"/>
                    </a:lnTo>
                    <a:lnTo>
                      <a:pt x="714" y="312"/>
                    </a:lnTo>
                    <a:lnTo>
                      <a:pt x="714" y="318"/>
                    </a:lnTo>
                    <a:lnTo>
                      <a:pt x="714" y="324"/>
                    </a:lnTo>
                    <a:lnTo>
                      <a:pt x="720" y="330"/>
                    </a:lnTo>
                    <a:lnTo>
                      <a:pt x="726" y="336"/>
                    </a:lnTo>
                    <a:lnTo>
                      <a:pt x="720" y="336"/>
                    </a:lnTo>
                    <a:lnTo>
                      <a:pt x="720" y="330"/>
                    </a:lnTo>
                    <a:lnTo>
                      <a:pt x="714" y="330"/>
                    </a:lnTo>
                    <a:lnTo>
                      <a:pt x="708" y="330"/>
                    </a:lnTo>
                    <a:lnTo>
                      <a:pt x="702" y="330"/>
                    </a:lnTo>
                    <a:lnTo>
                      <a:pt x="696" y="330"/>
                    </a:lnTo>
                    <a:lnTo>
                      <a:pt x="696" y="336"/>
                    </a:lnTo>
                    <a:lnTo>
                      <a:pt x="690" y="336"/>
                    </a:lnTo>
                    <a:lnTo>
                      <a:pt x="684" y="336"/>
                    </a:lnTo>
                    <a:lnTo>
                      <a:pt x="684" y="330"/>
                    </a:lnTo>
                    <a:lnTo>
                      <a:pt x="684" y="336"/>
                    </a:lnTo>
                    <a:lnTo>
                      <a:pt x="678" y="336"/>
                    </a:lnTo>
                    <a:lnTo>
                      <a:pt x="672" y="336"/>
                    </a:lnTo>
                    <a:lnTo>
                      <a:pt x="666" y="336"/>
                    </a:lnTo>
                    <a:lnTo>
                      <a:pt x="672" y="336"/>
                    </a:lnTo>
                    <a:lnTo>
                      <a:pt x="666" y="336"/>
                    </a:lnTo>
                    <a:lnTo>
                      <a:pt x="666" y="330"/>
                    </a:lnTo>
                    <a:lnTo>
                      <a:pt x="660" y="330"/>
                    </a:lnTo>
                    <a:lnTo>
                      <a:pt x="654" y="330"/>
                    </a:lnTo>
                    <a:lnTo>
                      <a:pt x="660" y="330"/>
                    </a:lnTo>
                    <a:lnTo>
                      <a:pt x="654" y="330"/>
                    </a:lnTo>
                    <a:lnTo>
                      <a:pt x="654" y="324"/>
                    </a:lnTo>
                    <a:lnTo>
                      <a:pt x="648" y="324"/>
                    </a:lnTo>
                    <a:lnTo>
                      <a:pt x="648" y="330"/>
                    </a:lnTo>
                    <a:lnTo>
                      <a:pt x="648" y="324"/>
                    </a:lnTo>
                    <a:lnTo>
                      <a:pt x="648" y="330"/>
                    </a:lnTo>
                    <a:lnTo>
                      <a:pt x="648" y="324"/>
                    </a:lnTo>
                    <a:lnTo>
                      <a:pt x="648" y="330"/>
                    </a:lnTo>
                    <a:lnTo>
                      <a:pt x="642" y="330"/>
                    </a:lnTo>
                    <a:lnTo>
                      <a:pt x="642" y="324"/>
                    </a:lnTo>
                    <a:lnTo>
                      <a:pt x="642" y="330"/>
                    </a:lnTo>
                    <a:lnTo>
                      <a:pt x="636" y="330"/>
                    </a:lnTo>
                    <a:lnTo>
                      <a:pt x="642" y="330"/>
                    </a:lnTo>
                    <a:lnTo>
                      <a:pt x="636" y="330"/>
                    </a:lnTo>
                    <a:lnTo>
                      <a:pt x="636" y="324"/>
                    </a:lnTo>
                    <a:lnTo>
                      <a:pt x="636" y="330"/>
                    </a:lnTo>
                    <a:lnTo>
                      <a:pt x="636" y="324"/>
                    </a:lnTo>
                    <a:lnTo>
                      <a:pt x="630" y="324"/>
                    </a:lnTo>
                    <a:lnTo>
                      <a:pt x="624" y="324"/>
                    </a:lnTo>
                    <a:lnTo>
                      <a:pt x="624" y="318"/>
                    </a:lnTo>
                    <a:lnTo>
                      <a:pt x="624" y="324"/>
                    </a:lnTo>
                    <a:lnTo>
                      <a:pt x="624" y="318"/>
                    </a:lnTo>
                    <a:lnTo>
                      <a:pt x="618" y="318"/>
                    </a:lnTo>
                    <a:lnTo>
                      <a:pt x="612" y="318"/>
                    </a:lnTo>
                    <a:lnTo>
                      <a:pt x="606" y="318"/>
                    </a:lnTo>
                    <a:lnTo>
                      <a:pt x="606" y="324"/>
                    </a:lnTo>
                    <a:lnTo>
                      <a:pt x="612" y="324"/>
                    </a:lnTo>
                    <a:lnTo>
                      <a:pt x="606" y="324"/>
                    </a:lnTo>
                    <a:lnTo>
                      <a:pt x="606" y="330"/>
                    </a:lnTo>
                    <a:lnTo>
                      <a:pt x="606" y="336"/>
                    </a:lnTo>
                    <a:lnTo>
                      <a:pt x="600" y="336"/>
                    </a:lnTo>
                    <a:lnTo>
                      <a:pt x="594" y="336"/>
                    </a:lnTo>
                    <a:lnTo>
                      <a:pt x="594" y="342"/>
                    </a:lnTo>
                    <a:lnTo>
                      <a:pt x="588" y="342"/>
                    </a:lnTo>
                    <a:lnTo>
                      <a:pt x="582" y="342"/>
                    </a:lnTo>
                    <a:lnTo>
                      <a:pt x="576" y="342"/>
                    </a:lnTo>
                    <a:lnTo>
                      <a:pt x="570" y="342"/>
                    </a:lnTo>
                    <a:lnTo>
                      <a:pt x="570" y="336"/>
                    </a:lnTo>
                    <a:lnTo>
                      <a:pt x="564" y="336"/>
                    </a:lnTo>
                    <a:lnTo>
                      <a:pt x="558" y="336"/>
                    </a:lnTo>
                    <a:lnTo>
                      <a:pt x="558" y="330"/>
                    </a:lnTo>
                    <a:lnTo>
                      <a:pt x="558" y="336"/>
                    </a:lnTo>
                    <a:lnTo>
                      <a:pt x="558" y="330"/>
                    </a:lnTo>
                    <a:lnTo>
                      <a:pt x="552" y="330"/>
                    </a:lnTo>
                    <a:lnTo>
                      <a:pt x="552" y="336"/>
                    </a:lnTo>
                    <a:lnTo>
                      <a:pt x="558" y="336"/>
                    </a:lnTo>
                    <a:lnTo>
                      <a:pt x="552" y="336"/>
                    </a:lnTo>
                    <a:lnTo>
                      <a:pt x="546" y="336"/>
                    </a:lnTo>
                    <a:lnTo>
                      <a:pt x="546" y="342"/>
                    </a:lnTo>
                    <a:lnTo>
                      <a:pt x="540" y="342"/>
                    </a:lnTo>
                    <a:lnTo>
                      <a:pt x="534" y="342"/>
                    </a:lnTo>
                    <a:lnTo>
                      <a:pt x="534" y="348"/>
                    </a:lnTo>
                    <a:lnTo>
                      <a:pt x="528" y="348"/>
                    </a:lnTo>
                    <a:lnTo>
                      <a:pt x="522" y="348"/>
                    </a:lnTo>
                    <a:lnTo>
                      <a:pt x="522" y="354"/>
                    </a:lnTo>
                    <a:lnTo>
                      <a:pt x="516" y="348"/>
                    </a:lnTo>
                    <a:lnTo>
                      <a:pt x="516" y="354"/>
                    </a:lnTo>
                    <a:lnTo>
                      <a:pt x="510" y="354"/>
                    </a:lnTo>
                    <a:lnTo>
                      <a:pt x="504" y="354"/>
                    </a:lnTo>
                    <a:lnTo>
                      <a:pt x="504" y="360"/>
                    </a:lnTo>
                    <a:lnTo>
                      <a:pt x="498" y="360"/>
                    </a:lnTo>
                    <a:lnTo>
                      <a:pt x="492" y="360"/>
                    </a:lnTo>
                    <a:lnTo>
                      <a:pt x="492" y="354"/>
                    </a:lnTo>
                    <a:lnTo>
                      <a:pt x="486" y="354"/>
                    </a:lnTo>
                    <a:lnTo>
                      <a:pt x="480" y="354"/>
                    </a:lnTo>
                    <a:lnTo>
                      <a:pt x="474" y="354"/>
                    </a:lnTo>
                    <a:lnTo>
                      <a:pt x="474" y="348"/>
                    </a:lnTo>
                    <a:lnTo>
                      <a:pt x="468" y="348"/>
                    </a:lnTo>
                    <a:lnTo>
                      <a:pt x="468" y="354"/>
                    </a:lnTo>
                    <a:lnTo>
                      <a:pt x="474" y="354"/>
                    </a:lnTo>
                    <a:lnTo>
                      <a:pt x="468" y="354"/>
                    </a:lnTo>
                    <a:lnTo>
                      <a:pt x="462" y="354"/>
                    </a:lnTo>
                    <a:lnTo>
                      <a:pt x="462" y="360"/>
                    </a:lnTo>
                    <a:lnTo>
                      <a:pt x="462" y="366"/>
                    </a:lnTo>
                    <a:lnTo>
                      <a:pt x="456" y="366"/>
                    </a:lnTo>
                    <a:lnTo>
                      <a:pt x="456" y="372"/>
                    </a:lnTo>
                    <a:lnTo>
                      <a:pt x="456" y="378"/>
                    </a:lnTo>
                    <a:lnTo>
                      <a:pt x="450" y="378"/>
                    </a:lnTo>
                    <a:lnTo>
                      <a:pt x="450" y="384"/>
                    </a:lnTo>
                    <a:lnTo>
                      <a:pt x="444" y="390"/>
                    </a:lnTo>
                    <a:lnTo>
                      <a:pt x="438" y="390"/>
                    </a:lnTo>
                    <a:lnTo>
                      <a:pt x="432" y="390"/>
                    </a:lnTo>
                    <a:lnTo>
                      <a:pt x="432" y="384"/>
                    </a:lnTo>
                    <a:lnTo>
                      <a:pt x="426" y="384"/>
                    </a:lnTo>
                    <a:lnTo>
                      <a:pt x="420" y="384"/>
                    </a:lnTo>
                    <a:lnTo>
                      <a:pt x="414" y="384"/>
                    </a:lnTo>
                    <a:lnTo>
                      <a:pt x="414" y="378"/>
                    </a:lnTo>
                    <a:lnTo>
                      <a:pt x="408" y="378"/>
                    </a:lnTo>
                    <a:lnTo>
                      <a:pt x="402" y="378"/>
                    </a:lnTo>
                    <a:lnTo>
                      <a:pt x="396" y="378"/>
                    </a:lnTo>
                    <a:lnTo>
                      <a:pt x="390" y="378"/>
                    </a:lnTo>
                    <a:lnTo>
                      <a:pt x="384" y="378"/>
                    </a:lnTo>
                    <a:lnTo>
                      <a:pt x="378" y="378"/>
                    </a:lnTo>
                    <a:lnTo>
                      <a:pt x="372" y="378"/>
                    </a:lnTo>
                    <a:lnTo>
                      <a:pt x="372" y="372"/>
                    </a:lnTo>
                    <a:lnTo>
                      <a:pt x="366" y="372"/>
                    </a:lnTo>
                    <a:lnTo>
                      <a:pt x="360" y="372"/>
                    </a:lnTo>
                    <a:lnTo>
                      <a:pt x="354" y="372"/>
                    </a:lnTo>
                    <a:lnTo>
                      <a:pt x="348" y="372"/>
                    </a:lnTo>
                    <a:lnTo>
                      <a:pt x="342" y="372"/>
                    </a:lnTo>
                    <a:lnTo>
                      <a:pt x="336" y="372"/>
                    </a:lnTo>
                    <a:lnTo>
                      <a:pt x="336" y="366"/>
                    </a:lnTo>
                    <a:lnTo>
                      <a:pt x="336" y="360"/>
                    </a:lnTo>
                    <a:lnTo>
                      <a:pt x="330" y="354"/>
                    </a:lnTo>
                    <a:lnTo>
                      <a:pt x="324" y="354"/>
                    </a:lnTo>
                    <a:lnTo>
                      <a:pt x="324" y="348"/>
                    </a:lnTo>
                    <a:lnTo>
                      <a:pt x="318" y="348"/>
                    </a:lnTo>
                    <a:lnTo>
                      <a:pt x="318" y="342"/>
                    </a:lnTo>
                    <a:lnTo>
                      <a:pt x="312" y="342"/>
                    </a:lnTo>
                    <a:lnTo>
                      <a:pt x="306" y="342"/>
                    </a:lnTo>
                    <a:lnTo>
                      <a:pt x="306" y="336"/>
                    </a:lnTo>
                    <a:lnTo>
                      <a:pt x="300" y="336"/>
                    </a:lnTo>
                    <a:lnTo>
                      <a:pt x="294" y="330"/>
                    </a:lnTo>
                    <a:lnTo>
                      <a:pt x="288" y="330"/>
                    </a:lnTo>
                    <a:lnTo>
                      <a:pt x="282" y="330"/>
                    </a:lnTo>
                    <a:lnTo>
                      <a:pt x="276" y="330"/>
                    </a:lnTo>
                    <a:lnTo>
                      <a:pt x="276" y="336"/>
                    </a:lnTo>
                    <a:lnTo>
                      <a:pt x="270" y="336"/>
                    </a:lnTo>
                    <a:lnTo>
                      <a:pt x="264" y="336"/>
                    </a:lnTo>
                    <a:lnTo>
                      <a:pt x="264" y="342"/>
                    </a:lnTo>
                    <a:lnTo>
                      <a:pt x="258" y="342"/>
                    </a:lnTo>
                    <a:lnTo>
                      <a:pt x="258" y="348"/>
                    </a:lnTo>
                    <a:lnTo>
                      <a:pt x="252" y="354"/>
                    </a:lnTo>
                    <a:lnTo>
                      <a:pt x="252" y="360"/>
                    </a:lnTo>
                    <a:lnTo>
                      <a:pt x="246" y="360"/>
                    </a:lnTo>
                    <a:lnTo>
                      <a:pt x="246" y="366"/>
                    </a:lnTo>
                    <a:lnTo>
                      <a:pt x="240" y="372"/>
                    </a:lnTo>
                    <a:lnTo>
                      <a:pt x="234" y="372"/>
                    </a:lnTo>
                    <a:lnTo>
                      <a:pt x="234" y="378"/>
                    </a:lnTo>
                    <a:lnTo>
                      <a:pt x="234" y="372"/>
                    </a:lnTo>
                    <a:lnTo>
                      <a:pt x="228" y="378"/>
                    </a:lnTo>
                    <a:lnTo>
                      <a:pt x="228" y="384"/>
                    </a:lnTo>
                    <a:lnTo>
                      <a:pt x="234" y="384"/>
                    </a:lnTo>
                    <a:lnTo>
                      <a:pt x="234" y="390"/>
                    </a:lnTo>
                    <a:lnTo>
                      <a:pt x="234" y="396"/>
                    </a:lnTo>
                    <a:lnTo>
                      <a:pt x="234" y="402"/>
                    </a:lnTo>
                    <a:lnTo>
                      <a:pt x="234" y="408"/>
                    </a:lnTo>
                    <a:lnTo>
                      <a:pt x="234" y="414"/>
                    </a:lnTo>
                    <a:lnTo>
                      <a:pt x="234" y="420"/>
                    </a:lnTo>
                    <a:lnTo>
                      <a:pt x="234" y="42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77" name="Freeform 24"/>
              <p:cNvSpPr>
                <a:spLocks noEditPoints="1"/>
              </p:cNvSpPr>
              <p:nvPr>
                <p:custDataLst>
                  <p:tags r:id="rId24"/>
                </p:custDataLst>
              </p:nvPr>
            </p:nvSpPr>
            <p:spPr bwMode="gray">
              <a:xfrm>
                <a:off x="2175865" y="1216803"/>
                <a:ext cx="838422" cy="635819"/>
              </a:xfrm>
              <a:custGeom>
                <a:avLst/>
                <a:gdLst>
                  <a:gd name="T0" fmla="*/ 233201 w 666"/>
                  <a:gd name="T1" fmla="*/ 33939 h 540"/>
                  <a:gd name="T2" fmla="*/ 233201 w 666"/>
                  <a:gd name="T3" fmla="*/ 46544 h 540"/>
                  <a:gd name="T4" fmla="*/ 218687 w 666"/>
                  <a:gd name="T5" fmla="*/ 57211 h 540"/>
                  <a:gd name="T6" fmla="*/ 209978 w 666"/>
                  <a:gd name="T7" fmla="*/ 74665 h 540"/>
                  <a:gd name="T8" fmla="*/ 199334 w 666"/>
                  <a:gd name="T9" fmla="*/ 90180 h 540"/>
                  <a:gd name="T10" fmla="*/ 195464 w 666"/>
                  <a:gd name="T11" fmla="*/ 106664 h 540"/>
                  <a:gd name="T12" fmla="*/ 186755 w 666"/>
                  <a:gd name="T13" fmla="*/ 119270 h 540"/>
                  <a:gd name="T14" fmla="*/ 179014 w 666"/>
                  <a:gd name="T15" fmla="*/ 136724 h 540"/>
                  <a:gd name="T16" fmla="*/ 172240 w 666"/>
                  <a:gd name="T17" fmla="*/ 145451 h 540"/>
                  <a:gd name="T18" fmla="*/ 159661 w 666"/>
                  <a:gd name="T19" fmla="*/ 140603 h 540"/>
                  <a:gd name="T20" fmla="*/ 154823 w 666"/>
                  <a:gd name="T21" fmla="*/ 138664 h 540"/>
                  <a:gd name="T22" fmla="*/ 144178 w 666"/>
                  <a:gd name="T23" fmla="*/ 138664 h 540"/>
                  <a:gd name="T24" fmla="*/ 131599 w 666"/>
                  <a:gd name="T25" fmla="*/ 151269 h 540"/>
                  <a:gd name="T26" fmla="*/ 123858 w 666"/>
                  <a:gd name="T27" fmla="*/ 165814 h 540"/>
                  <a:gd name="T28" fmla="*/ 115150 w 666"/>
                  <a:gd name="T29" fmla="*/ 181329 h 540"/>
                  <a:gd name="T30" fmla="*/ 108375 w 666"/>
                  <a:gd name="T31" fmla="*/ 179390 h 540"/>
                  <a:gd name="T32" fmla="*/ 110311 w 666"/>
                  <a:gd name="T33" fmla="*/ 185208 h 540"/>
                  <a:gd name="T34" fmla="*/ 95796 w 666"/>
                  <a:gd name="T35" fmla="*/ 188117 h 540"/>
                  <a:gd name="T36" fmla="*/ 90958 w 666"/>
                  <a:gd name="T37" fmla="*/ 188117 h 540"/>
                  <a:gd name="T38" fmla="*/ 87088 w 666"/>
                  <a:gd name="T39" fmla="*/ 188117 h 540"/>
                  <a:gd name="T40" fmla="*/ 83217 w 666"/>
                  <a:gd name="T41" fmla="*/ 185208 h 540"/>
                  <a:gd name="T42" fmla="*/ 81282 w 666"/>
                  <a:gd name="T43" fmla="*/ 188117 h 540"/>
                  <a:gd name="T44" fmla="*/ 78379 w 666"/>
                  <a:gd name="T45" fmla="*/ 188117 h 540"/>
                  <a:gd name="T46" fmla="*/ 74508 w 666"/>
                  <a:gd name="T47" fmla="*/ 191995 h 540"/>
                  <a:gd name="T48" fmla="*/ 67735 w 666"/>
                  <a:gd name="T49" fmla="*/ 190056 h 540"/>
                  <a:gd name="T50" fmla="*/ 61929 w 666"/>
                  <a:gd name="T51" fmla="*/ 188117 h 540"/>
                  <a:gd name="T52" fmla="*/ 55155 w 666"/>
                  <a:gd name="T53" fmla="*/ 181329 h 540"/>
                  <a:gd name="T54" fmla="*/ 55155 w 666"/>
                  <a:gd name="T55" fmla="*/ 174542 h 540"/>
                  <a:gd name="T56" fmla="*/ 57091 w 666"/>
                  <a:gd name="T57" fmla="*/ 168723 h 540"/>
                  <a:gd name="T58" fmla="*/ 55155 w 666"/>
                  <a:gd name="T59" fmla="*/ 170662 h 540"/>
                  <a:gd name="T60" fmla="*/ 53220 w 666"/>
                  <a:gd name="T61" fmla="*/ 164845 h 540"/>
                  <a:gd name="T62" fmla="*/ 49350 w 666"/>
                  <a:gd name="T63" fmla="*/ 159996 h 540"/>
                  <a:gd name="T64" fmla="*/ 46447 w 666"/>
                  <a:gd name="T65" fmla="*/ 161935 h 540"/>
                  <a:gd name="T66" fmla="*/ 31932 w 666"/>
                  <a:gd name="T67" fmla="*/ 151269 h 540"/>
                  <a:gd name="T68" fmla="*/ 19352 w 666"/>
                  <a:gd name="T69" fmla="*/ 147391 h 540"/>
                  <a:gd name="T70" fmla="*/ 23224 w 666"/>
                  <a:gd name="T71" fmla="*/ 147391 h 540"/>
                  <a:gd name="T72" fmla="*/ 17418 w 666"/>
                  <a:gd name="T73" fmla="*/ 147391 h 540"/>
                  <a:gd name="T74" fmla="*/ 14515 w 666"/>
                  <a:gd name="T75" fmla="*/ 149329 h 540"/>
                  <a:gd name="T76" fmla="*/ 0 w 666"/>
                  <a:gd name="T77" fmla="*/ 145451 h 540"/>
                  <a:gd name="T78" fmla="*/ 1936 w 666"/>
                  <a:gd name="T79" fmla="*/ 127997 h 540"/>
                  <a:gd name="T80" fmla="*/ 0 w 666"/>
                  <a:gd name="T81" fmla="*/ 108603 h 540"/>
                  <a:gd name="T82" fmla="*/ 3870 w 666"/>
                  <a:gd name="T83" fmla="*/ 95998 h 540"/>
                  <a:gd name="T84" fmla="*/ 14515 w 666"/>
                  <a:gd name="T85" fmla="*/ 81452 h 540"/>
                  <a:gd name="T86" fmla="*/ 21288 w 666"/>
                  <a:gd name="T87" fmla="*/ 67877 h 540"/>
                  <a:gd name="T88" fmla="*/ 17418 w 666"/>
                  <a:gd name="T89" fmla="*/ 51393 h 540"/>
                  <a:gd name="T90" fmla="*/ 19352 w 666"/>
                  <a:gd name="T91" fmla="*/ 27151 h 540"/>
                  <a:gd name="T92" fmla="*/ 27094 w 666"/>
                  <a:gd name="T93" fmla="*/ 10666 h 540"/>
                  <a:gd name="T94" fmla="*/ 44512 w 666"/>
                  <a:gd name="T95" fmla="*/ 1940 h 540"/>
                  <a:gd name="T96" fmla="*/ 67735 w 666"/>
                  <a:gd name="T97" fmla="*/ 3878 h 540"/>
                  <a:gd name="T98" fmla="*/ 85153 w 666"/>
                  <a:gd name="T99" fmla="*/ 17454 h 540"/>
                  <a:gd name="T100" fmla="*/ 104505 w 666"/>
                  <a:gd name="T101" fmla="*/ 10666 h 540"/>
                  <a:gd name="T102" fmla="*/ 120955 w 666"/>
                  <a:gd name="T103" fmla="*/ 19393 h 540"/>
                  <a:gd name="T104" fmla="*/ 142243 w 666"/>
                  <a:gd name="T105" fmla="*/ 17454 h 540"/>
                  <a:gd name="T106" fmla="*/ 161596 w 666"/>
                  <a:gd name="T107" fmla="*/ 10666 h 540"/>
                  <a:gd name="T108" fmla="*/ 184819 w 666"/>
                  <a:gd name="T109" fmla="*/ 14545 h 540"/>
                  <a:gd name="T110" fmla="*/ 193528 w 666"/>
                  <a:gd name="T111" fmla="*/ 17454 h 540"/>
                  <a:gd name="T112" fmla="*/ 202237 w 666"/>
                  <a:gd name="T113" fmla="*/ 8727 h 540"/>
                  <a:gd name="T114" fmla="*/ 216752 w 666"/>
                  <a:gd name="T115" fmla="*/ 1940 h 540"/>
                  <a:gd name="T116" fmla="*/ 87088 w 666"/>
                  <a:gd name="T117" fmla="*/ 188117 h 540"/>
                  <a:gd name="T118" fmla="*/ 87088 w 666"/>
                  <a:gd name="T119" fmla="*/ 190056 h 540"/>
                  <a:gd name="T120" fmla="*/ 14515 w 666"/>
                  <a:gd name="T121" fmla="*/ 149329 h 5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6" h="540">
                    <a:moveTo>
                      <a:pt x="636" y="48"/>
                    </a:moveTo>
                    <a:lnTo>
                      <a:pt x="636" y="54"/>
                    </a:lnTo>
                    <a:lnTo>
                      <a:pt x="636" y="60"/>
                    </a:lnTo>
                    <a:lnTo>
                      <a:pt x="636" y="66"/>
                    </a:lnTo>
                    <a:lnTo>
                      <a:pt x="642" y="72"/>
                    </a:lnTo>
                    <a:lnTo>
                      <a:pt x="642" y="78"/>
                    </a:lnTo>
                    <a:lnTo>
                      <a:pt x="642" y="84"/>
                    </a:lnTo>
                    <a:lnTo>
                      <a:pt x="648" y="84"/>
                    </a:lnTo>
                    <a:lnTo>
                      <a:pt x="654" y="84"/>
                    </a:lnTo>
                    <a:lnTo>
                      <a:pt x="654" y="90"/>
                    </a:lnTo>
                    <a:lnTo>
                      <a:pt x="660" y="90"/>
                    </a:lnTo>
                    <a:lnTo>
                      <a:pt x="660" y="96"/>
                    </a:lnTo>
                    <a:lnTo>
                      <a:pt x="666" y="96"/>
                    </a:lnTo>
                    <a:lnTo>
                      <a:pt x="660" y="96"/>
                    </a:lnTo>
                    <a:lnTo>
                      <a:pt x="666" y="96"/>
                    </a:lnTo>
                    <a:lnTo>
                      <a:pt x="666" y="102"/>
                    </a:lnTo>
                    <a:lnTo>
                      <a:pt x="666" y="108"/>
                    </a:lnTo>
                    <a:lnTo>
                      <a:pt x="666" y="114"/>
                    </a:lnTo>
                    <a:lnTo>
                      <a:pt x="666" y="120"/>
                    </a:lnTo>
                    <a:lnTo>
                      <a:pt x="660" y="120"/>
                    </a:lnTo>
                    <a:lnTo>
                      <a:pt x="660" y="126"/>
                    </a:lnTo>
                    <a:lnTo>
                      <a:pt x="666" y="126"/>
                    </a:lnTo>
                    <a:lnTo>
                      <a:pt x="666" y="132"/>
                    </a:lnTo>
                    <a:lnTo>
                      <a:pt x="660" y="132"/>
                    </a:lnTo>
                    <a:lnTo>
                      <a:pt x="660" y="138"/>
                    </a:lnTo>
                    <a:lnTo>
                      <a:pt x="654" y="138"/>
                    </a:lnTo>
                    <a:lnTo>
                      <a:pt x="648" y="144"/>
                    </a:lnTo>
                    <a:lnTo>
                      <a:pt x="642" y="144"/>
                    </a:lnTo>
                    <a:lnTo>
                      <a:pt x="642" y="150"/>
                    </a:lnTo>
                    <a:lnTo>
                      <a:pt x="636" y="150"/>
                    </a:lnTo>
                    <a:lnTo>
                      <a:pt x="630" y="144"/>
                    </a:lnTo>
                    <a:lnTo>
                      <a:pt x="630" y="150"/>
                    </a:lnTo>
                    <a:lnTo>
                      <a:pt x="624" y="150"/>
                    </a:lnTo>
                    <a:lnTo>
                      <a:pt x="624" y="156"/>
                    </a:lnTo>
                    <a:lnTo>
                      <a:pt x="618" y="156"/>
                    </a:lnTo>
                    <a:lnTo>
                      <a:pt x="618" y="162"/>
                    </a:lnTo>
                    <a:lnTo>
                      <a:pt x="612" y="162"/>
                    </a:lnTo>
                    <a:lnTo>
                      <a:pt x="612" y="168"/>
                    </a:lnTo>
                    <a:lnTo>
                      <a:pt x="612" y="174"/>
                    </a:lnTo>
                    <a:lnTo>
                      <a:pt x="606" y="174"/>
                    </a:lnTo>
                    <a:lnTo>
                      <a:pt x="606" y="180"/>
                    </a:lnTo>
                    <a:lnTo>
                      <a:pt x="606" y="186"/>
                    </a:lnTo>
                    <a:lnTo>
                      <a:pt x="606" y="192"/>
                    </a:lnTo>
                    <a:lnTo>
                      <a:pt x="606" y="198"/>
                    </a:lnTo>
                    <a:lnTo>
                      <a:pt x="600" y="198"/>
                    </a:lnTo>
                    <a:lnTo>
                      <a:pt x="600" y="204"/>
                    </a:lnTo>
                    <a:lnTo>
                      <a:pt x="600" y="210"/>
                    </a:lnTo>
                    <a:lnTo>
                      <a:pt x="594" y="210"/>
                    </a:lnTo>
                    <a:lnTo>
                      <a:pt x="594" y="216"/>
                    </a:lnTo>
                    <a:lnTo>
                      <a:pt x="588" y="216"/>
                    </a:lnTo>
                    <a:lnTo>
                      <a:pt x="588" y="222"/>
                    </a:lnTo>
                    <a:lnTo>
                      <a:pt x="588" y="228"/>
                    </a:lnTo>
                    <a:lnTo>
                      <a:pt x="588" y="234"/>
                    </a:lnTo>
                    <a:lnTo>
                      <a:pt x="588" y="240"/>
                    </a:lnTo>
                    <a:lnTo>
                      <a:pt x="588" y="246"/>
                    </a:lnTo>
                    <a:lnTo>
                      <a:pt x="582" y="246"/>
                    </a:lnTo>
                    <a:lnTo>
                      <a:pt x="576" y="246"/>
                    </a:lnTo>
                    <a:lnTo>
                      <a:pt x="576" y="252"/>
                    </a:lnTo>
                    <a:lnTo>
                      <a:pt x="570" y="252"/>
                    </a:lnTo>
                    <a:lnTo>
                      <a:pt x="564" y="252"/>
                    </a:lnTo>
                    <a:lnTo>
                      <a:pt x="564" y="258"/>
                    </a:lnTo>
                    <a:lnTo>
                      <a:pt x="570" y="258"/>
                    </a:lnTo>
                    <a:lnTo>
                      <a:pt x="570" y="264"/>
                    </a:lnTo>
                    <a:lnTo>
                      <a:pt x="570" y="270"/>
                    </a:lnTo>
                    <a:lnTo>
                      <a:pt x="570" y="276"/>
                    </a:lnTo>
                    <a:lnTo>
                      <a:pt x="564" y="276"/>
                    </a:lnTo>
                    <a:lnTo>
                      <a:pt x="564" y="282"/>
                    </a:lnTo>
                    <a:lnTo>
                      <a:pt x="564" y="288"/>
                    </a:lnTo>
                    <a:lnTo>
                      <a:pt x="558" y="288"/>
                    </a:lnTo>
                    <a:lnTo>
                      <a:pt x="558" y="294"/>
                    </a:lnTo>
                    <a:lnTo>
                      <a:pt x="552" y="294"/>
                    </a:lnTo>
                    <a:lnTo>
                      <a:pt x="552" y="300"/>
                    </a:lnTo>
                    <a:lnTo>
                      <a:pt x="546" y="300"/>
                    </a:lnTo>
                    <a:lnTo>
                      <a:pt x="540" y="300"/>
                    </a:lnTo>
                    <a:lnTo>
                      <a:pt x="540" y="306"/>
                    </a:lnTo>
                    <a:lnTo>
                      <a:pt x="534" y="306"/>
                    </a:lnTo>
                    <a:lnTo>
                      <a:pt x="534" y="312"/>
                    </a:lnTo>
                    <a:lnTo>
                      <a:pt x="528" y="312"/>
                    </a:lnTo>
                    <a:lnTo>
                      <a:pt x="534" y="312"/>
                    </a:lnTo>
                    <a:lnTo>
                      <a:pt x="534" y="318"/>
                    </a:lnTo>
                    <a:lnTo>
                      <a:pt x="534" y="324"/>
                    </a:lnTo>
                    <a:lnTo>
                      <a:pt x="528" y="324"/>
                    </a:lnTo>
                    <a:lnTo>
                      <a:pt x="528" y="330"/>
                    </a:lnTo>
                    <a:lnTo>
                      <a:pt x="528" y="336"/>
                    </a:lnTo>
                    <a:lnTo>
                      <a:pt x="528" y="342"/>
                    </a:lnTo>
                    <a:lnTo>
                      <a:pt x="522" y="342"/>
                    </a:lnTo>
                    <a:lnTo>
                      <a:pt x="522" y="348"/>
                    </a:lnTo>
                    <a:lnTo>
                      <a:pt x="522" y="354"/>
                    </a:lnTo>
                    <a:lnTo>
                      <a:pt x="522" y="360"/>
                    </a:lnTo>
                    <a:lnTo>
                      <a:pt x="516" y="360"/>
                    </a:lnTo>
                    <a:lnTo>
                      <a:pt x="516" y="366"/>
                    </a:lnTo>
                    <a:lnTo>
                      <a:pt x="510" y="366"/>
                    </a:lnTo>
                    <a:lnTo>
                      <a:pt x="510" y="372"/>
                    </a:lnTo>
                    <a:lnTo>
                      <a:pt x="510" y="378"/>
                    </a:lnTo>
                    <a:lnTo>
                      <a:pt x="510" y="384"/>
                    </a:lnTo>
                    <a:lnTo>
                      <a:pt x="504" y="384"/>
                    </a:lnTo>
                    <a:lnTo>
                      <a:pt x="504" y="390"/>
                    </a:lnTo>
                    <a:lnTo>
                      <a:pt x="498" y="390"/>
                    </a:lnTo>
                    <a:lnTo>
                      <a:pt x="498" y="396"/>
                    </a:lnTo>
                    <a:lnTo>
                      <a:pt x="492" y="396"/>
                    </a:lnTo>
                    <a:lnTo>
                      <a:pt x="498" y="396"/>
                    </a:lnTo>
                    <a:lnTo>
                      <a:pt x="498" y="402"/>
                    </a:lnTo>
                    <a:lnTo>
                      <a:pt x="492" y="402"/>
                    </a:lnTo>
                    <a:lnTo>
                      <a:pt x="498" y="402"/>
                    </a:lnTo>
                    <a:lnTo>
                      <a:pt x="492" y="402"/>
                    </a:lnTo>
                    <a:lnTo>
                      <a:pt x="492" y="408"/>
                    </a:lnTo>
                    <a:lnTo>
                      <a:pt x="492" y="414"/>
                    </a:lnTo>
                    <a:lnTo>
                      <a:pt x="486" y="408"/>
                    </a:lnTo>
                    <a:lnTo>
                      <a:pt x="486" y="414"/>
                    </a:lnTo>
                    <a:lnTo>
                      <a:pt x="480" y="414"/>
                    </a:lnTo>
                    <a:lnTo>
                      <a:pt x="474" y="414"/>
                    </a:lnTo>
                    <a:lnTo>
                      <a:pt x="468" y="414"/>
                    </a:lnTo>
                    <a:lnTo>
                      <a:pt x="468" y="408"/>
                    </a:lnTo>
                    <a:lnTo>
                      <a:pt x="468" y="402"/>
                    </a:lnTo>
                    <a:lnTo>
                      <a:pt x="462" y="402"/>
                    </a:lnTo>
                    <a:lnTo>
                      <a:pt x="462" y="408"/>
                    </a:lnTo>
                    <a:lnTo>
                      <a:pt x="456" y="408"/>
                    </a:lnTo>
                    <a:lnTo>
                      <a:pt x="456" y="402"/>
                    </a:lnTo>
                    <a:lnTo>
                      <a:pt x="456" y="396"/>
                    </a:lnTo>
                    <a:lnTo>
                      <a:pt x="450" y="396"/>
                    </a:lnTo>
                    <a:lnTo>
                      <a:pt x="456" y="396"/>
                    </a:lnTo>
                    <a:lnTo>
                      <a:pt x="450" y="396"/>
                    </a:lnTo>
                    <a:lnTo>
                      <a:pt x="456" y="390"/>
                    </a:lnTo>
                    <a:lnTo>
                      <a:pt x="450" y="390"/>
                    </a:lnTo>
                    <a:lnTo>
                      <a:pt x="444" y="390"/>
                    </a:lnTo>
                    <a:lnTo>
                      <a:pt x="444" y="384"/>
                    </a:lnTo>
                    <a:lnTo>
                      <a:pt x="438" y="384"/>
                    </a:lnTo>
                    <a:lnTo>
                      <a:pt x="444" y="384"/>
                    </a:lnTo>
                    <a:lnTo>
                      <a:pt x="438" y="384"/>
                    </a:lnTo>
                    <a:lnTo>
                      <a:pt x="438" y="378"/>
                    </a:lnTo>
                    <a:lnTo>
                      <a:pt x="438" y="384"/>
                    </a:lnTo>
                    <a:lnTo>
                      <a:pt x="438" y="390"/>
                    </a:lnTo>
                    <a:lnTo>
                      <a:pt x="438" y="396"/>
                    </a:lnTo>
                    <a:lnTo>
                      <a:pt x="432" y="396"/>
                    </a:lnTo>
                    <a:lnTo>
                      <a:pt x="426" y="396"/>
                    </a:lnTo>
                    <a:lnTo>
                      <a:pt x="420" y="396"/>
                    </a:lnTo>
                    <a:lnTo>
                      <a:pt x="414" y="390"/>
                    </a:lnTo>
                    <a:lnTo>
                      <a:pt x="420" y="390"/>
                    </a:lnTo>
                    <a:lnTo>
                      <a:pt x="414" y="390"/>
                    </a:lnTo>
                    <a:lnTo>
                      <a:pt x="420" y="390"/>
                    </a:lnTo>
                    <a:lnTo>
                      <a:pt x="414" y="390"/>
                    </a:lnTo>
                    <a:lnTo>
                      <a:pt x="414" y="384"/>
                    </a:lnTo>
                    <a:lnTo>
                      <a:pt x="414" y="390"/>
                    </a:lnTo>
                    <a:lnTo>
                      <a:pt x="408" y="390"/>
                    </a:lnTo>
                    <a:lnTo>
                      <a:pt x="408" y="396"/>
                    </a:lnTo>
                    <a:lnTo>
                      <a:pt x="402" y="396"/>
                    </a:lnTo>
                    <a:lnTo>
                      <a:pt x="402" y="402"/>
                    </a:lnTo>
                    <a:lnTo>
                      <a:pt x="396" y="402"/>
                    </a:lnTo>
                    <a:lnTo>
                      <a:pt x="396" y="408"/>
                    </a:lnTo>
                    <a:lnTo>
                      <a:pt x="390" y="408"/>
                    </a:lnTo>
                    <a:lnTo>
                      <a:pt x="390" y="414"/>
                    </a:lnTo>
                    <a:lnTo>
                      <a:pt x="384" y="414"/>
                    </a:lnTo>
                    <a:lnTo>
                      <a:pt x="384" y="420"/>
                    </a:lnTo>
                    <a:lnTo>
                      <a:pt x="378" y="420"/>
                    </a:lnTo>
                    <a:lnTo>
                      <a:pt x="378" y="426"/>
                    </a:lnTo>
                    <a:lnTo>
                      <a:pt x="372" y="426"/>
                    </a:lnTo>
                    <a:lnTo>
                      <a:pt x="372" y="432"/>
                    </a:lnTo>
                    <a:lnTo>
                      <a:pt x="366" y="432"/>
                    </a:lnTo>
                    <a:lnTo>
                      <a:pt x="366" y="438"/>
                    </a:lnTo>
                    <a:lnTo>
                      <a:pt x="360" y="438"/>
                    </a:lnTo>
                    <a:lnTo>
                      <a:pt x="360" y="444"/>
                    </a:lnTo>
                    <a:lnTo>
                      <a:pt x="354" y="444"/>
                    </a:lnTo>
                    <a:lnTo>
                      <a:pt x="354" y="450"/>
                    </a:lnTo>
                    <a:lnTo>
                      <a:pt x="348" y="450"/>
                    </a:lnTo>
                    <a:lnTo>
                      <a:pt x="342" y="456"/>
                    </a:lnTo>
                    <a:lnTo>
                      <a:pt x="342" y="462"/>
                    </a:lnTo>
                    <a:lnTo>
                      <a:pt x="342" y="468"/>
                    </a:lnTo>
                    <a:lnTo>
                      <a:pt x="348" y="468"/>
                    </a:lnTo>
                    <a:lnTo>
                      <a:pt x="342" y="474"/>
                    </a:lnTo>
                    <a:lnTo>
                      <a:pt x="342" y="480"/>
                    </a:lnTo>
                    <a:lnTo>
                      <a:pt x="342" y="486"/>
                    </a:lnTo>
                    <a:lnTo>
                      <a:pt x="342" y="492"/>
                    </a:lnTo>
                    <a:lnTo>
                      <a:pt x="336" y="492"/>
                    </a:lnTo>
                    <a:lnTo>
                      <a:pt x="336" y="498"/>
                    </a:lnTo>
                    <a:lnTo>
                      <a:pt x="336" y="504"/>
                    </a:lnTo>
                    <a:lnTo>
                      <a:pt x="330" y="504"/>
                    </a:lnTo>
                    <a:lnTo>
                      <a:pt x="336" y="504"/>
                    </a:lnTo>
                    <a:lnTo>
                      <a:pt x="330" y="504"/>
                    </a:lnTo>
                    <a:lnTo>
                      <a:pt x="330" y="510"/>
                    </a:lnTo>
                    <a:lnTo>
                      <a:pt x="324" y="510"/>
                    </a:lnTo>
                    <a:lnTo>
                      <a:pt x="324" y="516"/>
                    </a:lnTo>
                    <a:lnTo>
                      <a:pt x="318" y="516"/>
                    </a:lnTo>
                    <a:lnTo>
                      <a:pt x="318" y="510"/>
                    </a:lnTo>
                    <a:lnTo>
                      <a:pt x="318" y="504"/>
                    </a:lnTo>
                    <a:lnTo>
                      <a:pt x="312" y="504"/>
                    </a:lnTo>
                    <a:lnTo>
                      <a:pt x="318" y="504"/>
                    </a:lnTo>
                    <a:lnTo>
                      <a:pt x="318" y="510"/>
                    </a:lnTo>
                    <a:lnTo>
                      <a:pt x="318" y="516"/>
                    </a:lnTo>
                    <a:lnTo>
                      <a:pt x="318" y="510"/>
                    </a:lnTo>
                    <a:lnTo>
                      <a:pt x="312" y="510"/>
                    </a:lnTo>
                    <a:lnTo>
                      <a:pt x="312" y="504"/>
                    </a:lnTo>
                    <a:lnTo>
                      <a:pt x="306" y="504"/>
                    </a:lnTo>
                    <a:lnTo>
                      <a:pt x="312" y="504"/>
                    </a:lnTo>
                    <a:lnTo>
                      <a:pt x="312" y="510"/>
                    </a:lnTo>
                    <a:lnTo>
                      <a:pt x="306" y="510"/>
                    </a:lnTo>
                    <a:lnTo>
                      <a:pt x="306" y="504"/>
                    </a:lnTo>
                    <a:lnTo>
                      <a:pt x="306" y="510"/>
                    </a:lnTo>
                    <a:lnTo>
                      <a:pt x="312" y="510"/>
                    </a:lnTo>
                    <a:lnTo>
                      <a:pt x="306" y="510"/>
                    </a:lnTo>
                    <a:lnTo>
                      <a:pt x="312" y="510"/>
                    </a:lnTo>
                    <a:lnTo>
                      <a:pt x="312" y="516"/>
                    </a:lnTo>
                    <a:lnTo>
                      <a:pt x="312" y="522"/>
                    </a:lnTo>
                    <a:lnTo>
                      <a:pt x="312" y="516"/>
                    </a:lnTo>
                    <a:lnTo>
                      <a:pt x="312" y="522"/>
                    </a:lnTo>
                    <a:lnTo>
                      <a:pt x="312" y="528"/>
                    </a:lnTo>
                    <a:lnTo>
                      <a:pt x="306" y="528"/>
                    </a:lnTo>
                    <a:lnTo>
                      <a:pt x="300" y="528"/>
                    </a:lnTo>
                    <a:lnTo>
                      <a:pt x="294" y="528"/>
                    </a:lnTo>
                    <a:lnTo>
                      <a:pt x="294" y="522"/>
                    </a:lnTo>
                    <a:lnTo>
                      <a:pt x="294" y="528"/>
                    </a:lnTo>
                    <a:lnTo>
                      <a:pt x="288" y="528"/>
                    </a:lnTo>
                    <a:lnTo>
                      <a:pt x="282" y="528"/>
                    </a:lnTo>
                    <a:lnTo>
                      <a:pt x="276" y="528"/>
                    </a:lnTo>
                    <a:lnTo>
                      <a:pt x="270" y="528"/>
                    </a:lnTo>
                    <a:lnTo>
                      <a:pt x="270" y="522"/>
                    </a:lnTo>
                    <a:lnTo>
                      <a:pt x="270" y="528"/>
                    </a:lnTo>
                    <a:lnTo>
                      <a:pt x="276" y="528"/>
                    </a:lnTo>
                    <a:lnTo>
                      <a:pt x="270" y="528"/>
                    </a:lnTo>
                    <a:lnTo>
                      <a:pt x="270" y="534"/>
                    </a:lnTo>
                    <a:lnTo>
                      <a:pt x="270" y="528"/>
                    </a:lnTo>
                    <a:lnTo>
                      <a:pt x="270" y="534"/>
                    </a:lnTo>
                    <a:lnTo>
                      <a:pt x="264" y="534"/>
                    </a:lnTo>
                    <a:lnTo>
                      <a:pt x="258" y="534"/>
                    </a:lnTo>
                    <a:lnTo>
                      <a:pt x="258" y="528"/>
                    </a:lnTo>
                    <a:lnTo>
                      <a:pt x="264" y="528"/>
                    </a:lnTo>
                    <a:lnTo>
                      <a:pt x="264" y="522"/>
                    </a:lnTo>
                    <a:lnTo>
                      <a:pt x="264" y="528"/>
                    </a:lnTo>
                    <a:lnTo>
                      <a:pt x="258" y="528"/>
                    </a:lnTo>
                    <a:lnTo>
                      <a:pt x="264" y="528"/>
                    </a:lnTo>
                    <a:lnTo>
                      <a:pt x="258" y="528"/>
                    </a:lnTo>
                    <a:lnTo>
                      <a:pt x="252" y="528"/>
                    </a:lnTo>
                    <a:lnTo>
                      <a:pt x="252" y="522"/>
                    </a:lnTo>
                    <a:lnTo>
                      <a:pt x="246" y="522"/>
                    </a:lnTo>
                    <a:lnTo>
                      <a:pt x="246" y="516"/>
                    </a:lnTo>
                    <a:lnTo>
                      <a:pt x="246" y="522"/>
                    </a:lnTo>
                    <a:lnTo>
                      <a:pt x="252" y="522"/>
                    </a:lnTo>
                    <a:lnTo>
                      <a:pt x="252" y="528"/>
                    </a:lnTo>
                    <a:lnTo>
                      <a:pt x="246" y="528"/>
                    </a:lnTo>
                    <a:lnTo>
                      <a:pt x="246" y="522"/>
                    </a:lnTo>
                    <a:lnTo>
                      <a:pt x="246" y="528"/>
                    </a:lnTo>
                    <a:lnTo>
                      <a:pt x="252" y="528"/>
                    </a:lnTo>
                    <a:lnTo>
                      <a:pt x="246" y="528"/>
                    </a:lnTo>
                    <a:lnTo>
                      <a:pt x="246" y="534"/>
                    </a:lnTo>
                    <a:lnTo>
                      <a:pt x="246" y="528"/>
                    </a:lnTo>
                    <a:lnTo>
                      <a:pt x="246" y="522"/>
                    </a:lnTo>
                    <a:lnTo>
                      <a:pt x="246" y="528"/>
                    </a:lnTo>
                    <a:lnTo>
                      <a:pt x="240" y="522"/>
                    </a:lnTo>
                    <a:lnTo>
                      <a:pt x="240" y="516"/>
                    </a:lnTo>
                    <a:lnTo>
                      <a:pt x="240" y="522"/>
                    </a:lnTo>
                    <a:lnTo>
                      <a:pt x="234" y="522"/>
                    </a:lnTo>
                    <a:lnTo>
                      <a:pt x="234" y="516"/>
                    </a:lnTo>
                    <a:lnTo>
                      <a:pt x="234" y="522"/>
                    </a:lnTo>
                    <a:lnTo>
                      <a:pt x="234" y="528"/>
                    </a:lnTo>
                    <a:lnTo>
                      <a:pt x="240" y="528"/>
                    </a:lnTo>
                    <a:lnTo>
                      <a:pt x="240" y="534"/>
                    </a:lnTo>
                    <a:lnTo>
                      <a:pt x="234" y="534"/>
                    </a:lnTo>
                    <a:lnTo>
                      <a:pt x="234" y="528"/>
                    </a:lnTo>
                    <a:lnTo>
                      <a:pt x="228" y="528"/>
                    </a:lnTo>
                    <a:lnTo>
                      <a:pt x="234" y="528"/>
                    </a:lnTo>
                    <a:lnTo>
                      <a:pt x="228" y="528"/>
                    </a:lnTo>
                    <a:lnTo>
                      <a:pt x="228" y="522"/>
                    </a:lnTo>
                    <a:lnTo>
                      <a:pt x="234" y="522"/>
                    </a:lnTo>
                    <a:lnTo>
                      <a:pt x="228" y="522"/>
                    </a:lnTo>
                    <a:lnTo>
                      <a:pt x="228" y="528"/>
                    </a:lnTo>
                    <a:lnTo>
                      <a:pt x="228" y="534"/>
                    </a:lnTo>
                    <a:lnTo>
                      <a:pt x="234" y="534"/>
                    </a:lnTo>
                    <a:lnTo>
                      <a:pt x="228" y="534"/>
                    </a:lnTo>
                    <a:lnTo>
                      <a:pt x="228" y="540"/>
                    </a:lnTo>
                    <a:lnTo>
                      <a:pt x="222" y="540"/>
                    </a:lnTo>
                    <a:lnTo>
                      <a:pt x="222" y="534"/>
                    </a:lnTo>
                    <a:lnTo>
                      <a:pt x="222" y="528"/>
                    </a:lnTo>
                    <a:lnTo>
                      <a:pt x="228" y="522"/>
                    </a:lnTo>
                    <a:lnTo>
                      <a:pt x="222" y="522"/>
                    </a:lnTo>
                    <a:lnTo>
                      <a:pt x="222" y="528"/>
                    </a:lnTo>
                    <a:lnTo>
                      <a:pt x="222" y="534"/>
                    </a:lnTo>
                    <a:lnTo>
                      <a:pt x="222" y="528"/>
                    </a:lnTo>
                    <a:lnTo>
                      <a:pt x="216" y="528"/>
                    </a:lnTo>
                    <a:lnTo>
                      <a:pt x="222" y="528"/>
                    </a:lnTo>
                    <a:lnTo>
                      <a:pt x="222" y="534"/>
                    </a:lnTo>
                    <a:lnTo>
                      <a:pt x="222" y="540"/>
                    </a:lnTo>
                    <a:lnTo>
                      <a:pt x="216" y="540"/>
                    </a:lnTo>
                    <a:lnTo>
                      <a:pt x="222" y="540"/>
                    </a:lnTo>
                    <a:lnTo>
                      <a:pt x="216" y="540"/>
                    </a:lnTo>
                    <a:lnTo>
                      <a:pt x="216" y="534"/>
                    </a:lnTo>
                    <a:lnTo>
                      <a:pt x="216" y="528"/>
                    </a:lnTo>
                    <a:lnTo>
                      <a:pt x="216" y="534"/>
                    </a:lnTo>
                    <a:lnTo>
                      <a:pt x="216" y="540"/>
                    </a:lnTo>
                    <a:lnTo>
                      <a:pt x="210" y="540"/>
                    </a:lnTo>
                    <a:lnTo>
                      <a:pt x="204" y="540"/>
                    </a:lnTo>
                    <a:lnTo>
                      <a:pt x="204" y="534"/>
                    </a:lnTo>
                    <a:lnTo>
                      <a:pt x="204" y="528"/>
                    </a:lnTo>
                    <a:lnTo>
                      <a:pt x="204" y="534"/>
                    </a:lnTo>
                    <a:lnTo>
                      <a:pt x="198" y="534"/>
                    </a:lnTo>
                    <a:lnTo>
                      <a:pt x="198" y="528"/>
                    </a:lnTo>
                    <a:lnTo>
                      <a:pt x="198" y="534"/>
                    </a:lnTo>
                    <a:lnTo>
                      <a:pt x="198" y="540"/>
                    </a:lnTo>
                    <a:lnTo>
                      <a:pt x="192" y="540"/>
                    </a:lnTo>
                    <a:lnTo>
                      <a:pt x="186" y="540"/>
                    </a:lnTo>
                    <a:lnTo>
                      <a:pt x="192" y="540"/>
                    </a:lnTo>
                    <a:lnTo>
                      <a:pt x="192" y="534"/>
                    </a:lnTo>
                    <a:lnTo>
                      <a:pt x="186" y="534"/>
                    </a:lnTo>
                    <a:lnTo>
                      <a:pt x="192" y="534"/>
                    </a:lnTo>
                    <a:lnTo>
                      <a:pt x="186" y="534"/>
                    </a:lnTo>
                    <a:lnTo>
                      <a:pt x="186" y="540"/>
                    </a:lnTo>
                    <a:lnTo>
                      <a:pt x="186" y="534"/>
                    </a:lnTo>
                    <a:lnTo>
                      <a:pt x="180" y="534"/>
                    </a:lnTo>
                    <a:lnTo>
                      <a:pt x="180" y="540"/>
                    </a:lnTo>
                    <a:lnTo>
                      <a:pt x="180" y="534"/>
                    </a:lnTo>
                    <a:lnTo>
                      <a:pt x="174" y="534"/>
                    </a:lnTo>
                    <a:lnTo>
                      <a:pt x="174" y="528"/>
                    </a:lnTo>
                    <a:lnTo>
                      <a:pt x="174" y="534"/>
                    </a:lnTo>
                    <a:lnTo>
                      <a:pt x="174" y="528"/>
                    </a:lnTo>
                    <a:lnTo>
                      <a:pt x="174" y="534"/>
                    </a:lnTo>
                    <a:lnTo>
                      <a:pt x="174" y="528"/>
                    </a:lnTo>
                    <a:lnTo>
                      <a:pt x="168" y="528"/>
                    </a:lnTo>
                    <a:lnTo>
                      <a:pt x="174" y="528"/>
                    </a:lnTo>
                    <a:lnTo>
                      <a:pt x="174" y="534"/>
                    </a:lnTo>
                    <a:lnTo>
                      <a:pt x="174" y="528"/>
                    </a:lnTo>
                    <a:lnTo>
                      <a:pt x="168" y="528"/>
                    </a:lnTo>
                    <a:lnTo>
                      <a:pt x="168" y="522"/>
                    </a:lnTo>
                    <a:lnTo>
                      <a:pt x="162" y="522"/>
                    </a:lnTo>
                    <a:lnTo>
                      <a:pt x="162" y="516"/>
                    </a:lnTo>
                    <a:lnTo>
                      <a:pt x="156" y="516"/>
                    </a:lnTo>
                    <a:lnTo>
                      <a:pt x="156" y="510"/>
                    </a:lnTo>
                    <a:lnTo>
                      <a:pt x="156" y="504"/>
                    </a:lnTo>
                    <a:lnTo>
                      <a:pt x="150" y="498"/>
                    </a:lnTo>
                    <a:lnTo>
                      <a:pt x="150" y="492"/>
                    </a:lnTo>
                    <a:lnTo>
                      <a:pt x="156" y="492"/>
                    </a:lnTo>
                    <a:lnTo>
                      <a:pt x="150" y="492"/>
                    </a:lnTo>
                    <a:lnTo>
                      <a:pt x="156" y="492"/>
                    </a:lnTo>
                    <a:lnTo>
                      <a:pt x="156" y="498"/>
                    </a:lnTo>
                    <a:lnTo>
                      <a:pt x="156" y="492"/>
                    </a:lnTo>
                    <a:lnTo>
                      <a:pt x="156" y="498"/>
                    </a:lnTo>
                    <a:lnTo>
                      <a:pt x="156" y="492"/>
                    </a:lnTo>
                    <a:lnTo>
                      <a:pt x="156" y="486"/>
                    </a:lnTo>
                    <a:lnTo>
                      <a:pt x="156" y="492"/>
                    </a:lnTo>
                    <a:lnTo>
                      <a:pt x="150" y="492"/>
                    </a:lnTo>
                    <a:lnTo>
                      <a:pt x="150" y="486"/>
                    </a:lnTo>
                    <a:lnTo>
                      <a:pt x="144" y="486"/>
                    </a:lnTo>
                    <a:lnTo>
                      <a:pt x="144" y="480"/>
                    </a:lnTo>
                    <a:lnTo>
                      <a:pt x="150" y="480"/>
                    </a:lnTo>
                    <a:lnTo>
                      <a:pt x="156" y="480"/>
                    </a:lnTo>
                    <a:lnTo>
                      <a:pt x="162" y="480"/>
                    </a:lnTo>
                    <a:lnTo>
                      <a:pt x="156" y="480"/>
                    </a:lnTo>
                    <a:lnTo>
                      <a:pt x="156" y="474"/>
                    </a:lnTo>
                    <a:lnTo>
                      <a:pt x="162" y="474"/>
                    </a:lnTo>
                    <a:lnTo>
                      <a:pt x="162" y="468"/>
                    </a:lnTo>
                    <a:lnTo>
                      <a:pt x="162" y="474"/>
                    </a:lnTo>
                    <a:lnTo>
                      <a:pt x="168" y="474"/>
                    </a:lnTo>
                    <a:lnTo>
                      <a:pt x="168" y="468"/>
                    </a:lnTo>
                    <a:lnTo>
                      <a:pt x="162" y="468"/>
                    </a:lnTo>
                    <a:lnTo>
                      <a:pt x="162" y="474"/>
                    </a:lnTo>
                    <a:lnTo>
                      <a:pt x="156" y="474"/>
                    </a:lnTo>
                    <a:lnTo>
                      <a:pt x="156" y="480"/>
                    </a:lnTo>
                    <a:lnTo>
                      <a:pt x="150" y="480"/>
                    </a:lnTo>
                    <a:lnTo>
                      <a:pt x="150" y="474"/>
                    </a:lnTo>
                    <a:lnTo>
                      <a:pt x="156" y="474"/>
                    </a:lnTo>
                    <a:lnTo>
                      <a:pt x="150" y="474"/>
                    </a:lnTo>
                    <a:lnTo>
                      <a:pt x="150" y="480"/>
                    </a:lnTo>
                    <a:lnTo>
                      <a:pt x="156" y="480"/>
                    </a:lnTo>
                    <a:lnTo>
                      <a:pt x="150" y="480"/>
                    </a:lnTo>
                    <a:lnTo>
                      <a:pt x="144" y="480"/>
                    </a:lnTo>
                    <a:lnTo>
                      <a:pt x="144" y="474"/>
                    </a:lnTo>
                    <a:lnTo>
                      <a:pt x="138" y="474"/>
                    </a:lnTo>
                    <a:lnTo>
                      <a:pt x="138" y="468"/>
                    </a:lnTo>
                    <a:lnTo>
                      <a:pt x="144" y="468"/>
                    </a:lnTo>
                    <a:lnTo>
                      <a:pt x="150" y="468"/>
                    </a:lnTo>
                    <a:lnTo>
                      <a:pt x="156" y="468"/>
                    </a:lnTo>
                    <a:lnTo>
                      <a:pt x="162" y="468"/>
                    </a:lnTo>
                    <a:lnTo>
                      <a:pt x="156" y="468"/>
                    </a:lnTo>
                    <a:lnTo>
                      <a:pt x="156" y="462"/>
                    </a:lnTo>
                    <a:lnTo>
                      <a:pt x="150" y="462"/>
                    </a:lnTo>
                    <a:lnTo>
                      <a:pt x="150" y="468"/>
                    </a:lnTo>
                    <a:lnTo>
                      <a:pt x="144" y="468"/>
                    </a:lnTo>
                    <a:lnTo>
                      <a:pt x="144" y="462"/>
                    </a:lnTo>
                    <a:lnTo>
                      <a:pt x="150" y="462"/>
                    </a:lnTo>
                    <a:lnTo>
                      <a:pt x="144" y="462"/>
                    </a:lnTo>
                    <a:lnTo>
                      <a:pt x="144" y="468"/>
                    </a:lnTo>
                    <a:lnTo>
                      <a:pt x="138" y="468"/>
                    </a:lnTo>
                    <a:lnTo>
                      <a:pt x="138" y="462"/>
                    </a:lnTo>
                    <a:lnTo>
                      <a:pt x="132" y="462"/>
                    </a:lnTo>
                    <a:lnTo>
                      <a:pt x="132" y="456"/>
                    </a:lnTo>
                    <a:lnTo>
                      <a:pt x="138" y="456"/>
                    </a:lnTo>
                    <a:lnTo>
                      <a:pt x="138" y="450"/>
                    </a:lnTo>
                    <a:lnTo>
                      <a:pt x="138" y="456"/>
                    </a:lnTo>
                    <a:lnTo>
                      <a:pt x="138" y="450"/>
                    </a:lnTo>
                    <a:lnTo>
                      <a:pt x="144" y="450"/>
                    </a:lnTo>
                    <a:lnTo>
                      <a:pt x="150" y="450"/>
                    </a:lnTo>
                    <a:lnTo>
                      <a:pt x="150" y="444"/>
                    </a:lnTo>
                    <a:lnTo>
                      <a:pt x="150" y="450"/>
                    </a:lnTo>
                    <a:lnTo>
                      <a:pt x="144" y="450"/>
                    </a:lnTo>
                    <a:lnTo>
                      <a:pt x="138" y="450"/>
                    </a:lnTo>
                    <a:lnTo>
                      <a:pt x="144" y="450"/>
                    </a:lnTo>
                    <a:lnTo>
                      <a:pt x="138" y="450"/>
                    </a:lnTo>
                    <a:lnTo>
                      <a:pt x="138" y="456"/>
                    </a:lnTo>
                    <a:lnTo>
                      <a:pt x="132" y="456"/>
                    </a:lnTo>
                    <a:lnTo>
                      <a:pt x="126" y="456"/>
                    </a:lnTo>
                    <a:lnTo>
                      <a:pt x="126" y="450"/>
                    </a:lnTo>
                    <a:lnTo>
                      <a:pt x="126" y="444"/>
                    </a:lnTo>
                    <a:lnTo>
                      <a:pt x="120" y="444"/>
                    </a:lnTo>
                    <a:lnTo>
                      <a:pt x="120" y="438"/>
                    </a:lnTo>
                    <a:lnTo>
                      <a:pt x="114" y="438"/>
                    </a:lnTo>
                    <a:lnTo>
                      <a:pt x="114" y="432"/>
                    </a:lnTo>
                    <a:lnTo>
                      <a:pt x="108" y="432"/>
                    </a:lnTo>
                    <a:lnTo>
                      <a:pt x="102" y="432"/>
                    </a:lnTo>
                    <a:lnTo>
                      <a:pt x="102" y="426"/>
                    </a:lnTo>
                    <a:lnTo>
                      <a:pt x="96" y="426"/>
                    </a:lnTo>
                    <a:lnTo>
                      <a:pt x="90" y="426"/>
                    </a:lnTo>
                    <a:lnTo>
                      <a:pt x="84" y="426"/>
                    </a:lnTo>
                    <a:lnTo>
                      <a:pt x="84" y="420"/>
                    </a:lnTo>
                    <a:lnTo>
                      <a:pt x="78" y="420"/>
                    </a:lnTo>
                    <a:lnTo>
                      <a:pt x="72" y="420"/>
                    </a:lnTo>
                    <a:lnTo>
                      <a:pt x="66" y="420"/>
                    </a:lnTo>
                    <a:lnTo>
                      <a:pt x="60" y="420"/>
                    </a:lnTo>
                    <a:lnTo>
                      <a:pt x="54" y="420"/>
                    </a:lnTo>
                    <a:lnTo>
                      <a:pt x="48" y="420"/>
                    </a:lnTo>
                    <a:lnTo>
                      <a:pt x="42" y="420"/>
                    </a:lnTo>
                    <a:lnTo>
                      <a:pt x="48" y="420"/>
                    </a:lnTo>
                    <a:lnTo>
                      <a:pt x="48" y="414"/>
                    </a:lnTo>
                    <a:lnTo>
                      <a:pt x="54" y="414"/>
                    </a:lnTo>
                    <a:lnTo>
                      <a:pt x="60" y="414"/>
                    </a:lnTo>
                    <a:lnTo>
                      <a:pt x="66" y="414"/>
                    </a:lnTo>
                    <a:lnTo>
                      <a:pt x="66" y="408"/>
                    </a:lnTo>
                    <a:lnTo>
                      <a:pt x="66" y="414"/>
                    </a:lnTo>
                    <a:lnTo>
                      <a:pt x="72" y="414"/>
                    </a:lnTo>
                    <a:lnTo>
                      <a:pt x="78" y="414"/>
                    </a:lnTo>
                    <a:lnTo>
                      <a:pt x="78" y="420"/>
                    </a:lnTo>
                    <a:lnTo>
                      <a:pt x="78" y="414"/>
                    </a:lnTo>
                    <a:lnTo>
                      <a:pt x="72" y="414"/>
                    </a:lnTo>
                    <a:lnTo>
                      <a:pt x="72" y="420"/>
                    </a:lnTo>
                    <a:lnTo>
                      <a:pt x="72" y="414"/>
                    </a:lnTo>
                    <a:lnTo>
                      <a:pt x="66" y="414"/>
                    </a:lnTo>
                    <a:lnTo>
                      <a:pt x="72" y="414"/>
                    </a:lnTo>
                    <a:lnTo>
                      <a:pt x="72" y="420"/>
                    </a:lnTo>
                    <a:lnTo>
                      <a:pt x="78" y="420"/>
                    </a:lnTo>
                    <a:lnTo>
                      <a:pt x="84" y="420"/>
                    </a:lnTo>
                    <a:lnTo>
                      <a:pt x="84" y="414"/>
                    </a:lnTo>
                    <a:lnTo>
                      <a:pt x="78" y="414"/>
                    </a:lnTo>
                    <a:lnTo>
                      <a:pt x="72" y="414"/>
                    </a:lnTo>
                    <a:lnTo>
                      <a:pt x="66" y="408"/>
                    </a:lnTo>
                    <a:lnTo>
                      <a:pt x="60" y="408"/>
                    </a:lnTo>
                    <a:lnTo>
                      <a:pt x="54" y="408"/>
                    </a:lnTo>
                    <a:lnTo>
                      <a:pt x="54" y="414"/>
                    </a:lnTo>
                    <a:lnTo>
                      <a:pt x="48" y="414"/>
                    </a:lnTo>
                    <a:lnTo>
                      <a:pt x="42" y="414"/>
                    </a:lnTo>
                    <a:lnTo>
                      <a:pt x="42" y="408"/>
                    </a:lnTo>
                    <a:lnTo>
                      <a:pt x="42" y="414"/>
                    </a:lnTo>
                    <a:lnTo>
                      <a:pt x="42" y="420"/>
                    </a:lnTo>
                    <a:lnTo>
                      <a:pt x="42" y="414"/>
                    </a:lnTo>
                    <a:lnTo>
                      <a:pt x="42" y="420"/>
                    </a:lnTo>
                    <a:lnTo>
                      <a:pt x="36" y="420"/>
                    </a:lnTo>
                    <a:lnTo>
                      <a:pt x="42" y="420"/>
                    </a:lnTo>
                    <a:lnTo>
                      <a:pt x="36" y="420"/>
                    </a:lnTo>
                    <a:lnTo>
                      <a:pt x="42" y="420"/>
                    </a:lnTo>
                    <a:lnTo>
                      <a:pt x="36" y="420"/>
                    </a:lnTo>
                    <a:lnTo>
                      <a:pt x="42" y="420"/>
                    </a:lnTo>
                    <a:lnTo>
                      <a:pt x="36" y="420"/>
                    </a:lnTo>
                    <a:lnTo>
                      <a:pt x="30" y="420"/>
                    </a:lnTo>
                    <a:lnTo>
                      <a:pt x="24" y="420"/>
                    </a:lnTo>
                    <a:lnTo>
                      <a:pt x="18" y="420"/>
                    </a:lnTo>
                    <a:lnTo>
                      <a:pt x="12" y="420"/>
                    </a:lnTo>
                    <a:lnTo>
                      <a:pt x="6" y="420"/>
                    </a:lnTo>
                    <a:lnTo>
                      <a:pt x="6" y="426"/>
                    </a:lnTo>
                    <a:lnTo>
                      <a:pt x="0" y="426"/>
                    </a:lnTo>
                    <a:lnTo>
                      <a:pt x="0" y="420"/>
                    </a:lnTo>
                    <a:lnTo>
                      <a:pt x="0" y="414"/>
                    </a:lnTo>
                    <a:lnTo>
                      <a:pt x="6" y="414"/>
                    </a:lnTo>
                    <a:lnTo>
                      <a:pt x="0" y="408"/>
                    </a:lnTo>
                    <a:lnTo>
                      <a:pt x="6" y="408"/>
                    </a:lnTo>
                    <a:lnTo>
                      <a:pt x="6" y="402"/>
                    </a:lnTo>
                    <a:lnTo>
                      <a:pt x="0" y="402"/>
                    </a:lnTo>
                    <a:lnTo>
                      <a:pt x="6" y="396"/>
                    </a:lnTo>
                    <a:lnTo>
                      <a:pt x="6" y="390"/>
                    </a:lnTo>
                    <a:lnTo>
                      <a:pt x="0" y="390"/>
                    </a:lnTo>
                    <a:lnTo>
                      <a:pt x="6" y="390"/>
                    </a:lnTo>
                    <a:lnTo>
                      <a:pt x="6" y="384"/>
                    </a:lnTo>
                    <a:lnTo>
                      <a:pt x="6" y="378"/>
                    </a:lnTo>
                    <a:lnTo>
                      <a:pt x="6" y="372"/>
                    </a:lnTo>
                    <a:lnTo>
                      <a:pt x="6" y="366"/>
                    </a:lnTo>
                    <a:lnTo>
                      <a:pt x="6" y="360"/>
                    </a:lnTo>
                    <a:lnTo>
                      <a:pt x="0" y="360"/>
                    </a:lnTo>
                    <a:lnTo>
                      <a:pt x="0" y="354"/>
                    </a:lnTo>
                    <a:lnTo>
                      <a:pt x="0" y="348"/>
                    </a:lnTo>
                    <a:lnTo>
                      <a:pt x="0" y="342"/>
                    </a:lnTo>
                    <a:lnTo>
                      <a:pt x="0" y="336"/>
                    </a:lnTo>
                    <a:lnTo>
                      <a:pt x="0" y="330"/>
                    </a:lnTo>
                    <a:lnTo>
                      <a:pt x="0" y="324"/>
                    </a:lnTo>
                    <a:lnTo>
                      <a:pt x="6" y="324"/>
                    </a:lnTo>
                    <a:lnTo>
                      <a:pt x="6" y="318"/>
                    </a:lnTo>
                    <a:lnTo>
                      <a:pt x="0" y="318"/>
                    </a:lnTo>
                    <a:lnTo>
                      <a:pt x="0" y="312"/>
                    </a:lnTo>
                    <a:lnTo>
                      <a:pt x="0" y="306"/>
                    </a:lnTo>
                    <a:lnTo>
                      <a:pt x="6" y="306"/>
                    </a:lnTo>
                    <a:lnTo>
                      <a:pt x="6" y="300"/>
                    </a:lnTo>
                    <a:lnTo>
                      <a:pt x="6" y="294"/>
                    </a:lnTo>
                    <a:lnTo>
                      <a:pt x="0" y="294"/>
                    </a:lnTo>
                    <a:lnTo>
                      <a:pt x="6" y="294"/>
                    </a:lnTo>
                    <a:lnTo>
                      <a:pt x="6" y="288"/>
                    </a:lnTo>
                    <a:lnTo>
                      <a:pt x="0" y="288"/>
                    </a:lnTo>
                    <a:lnTo>
                      <a:pt x="6" y="288"/>
                    </a:lnTo>
                    <a:lnTo>
                      <a:pt x="6" y="282"/>
                    </a:lnTo>
                    <a:lnTo>
                      <a:pt x="6" y="276"/>
                    </a:lnTo>
                    <a:lnTo>
                      <a:pt x="6" y="270"/>
                    </a:lnTo>
                    <a:lnTo>
                      <a:pt x="12" y="270"/>
                    </a:lnTo>
                    <a:lnTo>
                      <a:pt x="18" y="270"/>
                    </a:lnTo>
                    <a:lnTo>
                      <a:pt x="24" y="270"/>
                    </a:lnTo>
                    <a:lnTo>
                      <a:pt x="24" y="264"/>
                    </a:lnTo>
                    <a:lnTo>
                      <a:pt x="24" y="258"/>
                    </a:lnTo>
                    <a:lnTo>
                      <a:pt x="24" y="252"/>
                    </a:lnTo>
                    <a:lnTo>
                      <a:pt x="24" y="246"/>
                    </a:lnTo>
                    <a:lnTo>
                      <a:pt x="30" y="246"/>
                    </a:lnTo>
                    <a:lnTo>
                      <a:pt x="30" y="240"/>
                    </a:lnTo>
                    <a:lnTo>
                      <a:pt x="36" y="240"/>
                    </a:lnTo>
                    <a:lnTo>
                      <a:pt x="36" y="234"/>
                    </a:lnTo>
                    <a:lnTo>
                      <a:pt x="36" y="228"/>
                    </a:lnTo>
                    <a:lnTo>
                      <a:pt x="42" y="228"/>
                    </a:lnTo>
                    <a:lnTo>
                      <a:pt x="48" y="228"/>
                    </a:lnTo>
                    <a:lnTo>
                      <a:pt x="48" y="222"/>
                    </a:lnTo>
                    <a:lnTo>
                      <a:pt x="54" y="222"/>
                    </a:lnTo>
                    <a:lnTo>
                      <a:pt x="54" y="216"/>
                    </a:lnTo>
                    <a:lnTo>
                      <a:pt x="54" y="210"/>
                    </a:lnTo>
                    <a:lnTo>
                      <a:pt x="48" y="204"/>
                    </a:lnTo>
                    <a:lnTo>
                      <a:pt x="54" y="204"/>
                    </a:lnTo>
                    <a:lnTo>
                      <a:pt x="54" y="198"/>
                    </a:lnTo>
                    <a:lnTo>
                      <a:pt x="54" y="192"/>
                    </a:lnTo>
                    <a:lnTo>
                      <a:pt x="60" y="192"/>
                    </a:lnTo>
                    <a:lnTo>
                      <a:pt x="60" y="198"/>
                    </a:lnTo>
                    <a:lnTo>
                      <a:pt x="60" y="192"/>
                    </a:lnTo>
                    <a:lnTo>
                      <a:pt x="66" y="192"/>
                    </a:lnTo>
                    <a:lnTo>
                      <a:pt x="66" y="186"/>
                    </a:lnTo>
                    <a:lnTo>
                      <a:pt x="66" y="180"/>
                    </a:lnTo>
                    <a:lnTo>
                      <a:pt x="60" y="180"/>
                    </a:lnTo>
                    <a:lnTo>
                      <a:pt x="60" y="174"/>
                    </a:lnTo>
                    <a:lnTo>
                      <a:pt x="60" y="168"/>
                    </a:lnTo>
                    <a:lnTo>
                      <a:pt x="60" y="162"/>
                    </a:lnTo>
                    <a:lnTo>
                      <a:pt x="60" y="156"/>
                    </a:lnTo>
                    <a:lnTo>
                      <a:pt x="54" y="156"/>
                    </a:lnTo>
                    <a:lnTo>
                      <a:pt x="54" y="150"/>
                    </a:lnTo>
                    <a:lnTo>
                      <a:pt x="48" y="150"/>
                    </a:lnTo>
                    <a:lnTo>
                      <a:pt x="48" y="144"/>
                    </a:lnTo>
                    <a:lnTo>
                      <a:pt x="48" y="138"/>
                    </a:lnTo>
                    <a:lnTo>
                      <a:pt x="48" y="132"/>
                    </a:lnTo>
                    <a:lnTo>
                      <a:pt x="48" y="126"/>
                    </a:lnTo>
                    <a:lnTo>
                      <a:pt x="54" y="126"/>
                    </a:lnTo>
                    <a:lnTo>
                      <a:pt x="54" y="120"/>
                    </a:lnTo>
                    <a:lnTo>
                      <a:pt x="54" y="114"/>
                    </a:lnTo>
                    <a:lnTo>
                      <a:pt x="54" y="108"/>
                    </a:lnTo>
                    <a:lnTo>
                      <a:pt x="54" y="102"/>
                    </a:lnTo>
                    <a:lnTo>
                      <a:pt x="54" y="96"/>
                    </a:lnTo>
                    <a:lnTo>
                      <a:pt x="54" y="90"/>
                    </a:lnTo>
                    <a:lnTo>
                      <a:pt x="54" y="84"/>
                    </a:lnTo>
                    <a:lnTo>
                      <a:pt x="54" y="78"/>
                    </a:lnTo>
                    <a:lnTo>
                      <a:pt x="54" y="72"/>
                    </a:lnTo>
                    <a:lnTo>
                      <a:pt x="60" y="72"/>
                    </a:lnTo>
                    <a:lnTo>
                      <a:pt x="60" y="66"/>
                    </a:lnTo>
                    <a:lnTo>
                      <a:pt x="66" y="66"/>
                    </a:lnTo>
                    <a:lnTo>
                      <a:pt x="72" y="66"/>
                    </a:lnTo>
                    <a:lnTo>
                      <a:pt x="72" y="60"/>
                    </a:lnTo>
                    <a:lnTo>
                      <a:pt x="72" y="54"/>
                    </a:lnTo>
                    <a:lnTo>
                      <a:pt x="78" y="54"/>
                    </a:lnTo>
                    <a:lnTo>
                      <a:pt x="78" y="48"/>
                    </a:lnTo>
                    <a:lnTo>
                      <a:pt x="78" y="42"/>
                    </a:lnTo>
                    <a:lnTo>
                      <a:pt x="78" y="36"/>
                    </a:lnTo>
                    <a:lnTo>
                      <a:pt x="78" y="30"/>
                    </a:lnTo>
                    <a:lnTo>
                      <a:pt x="78" y="24"/>
                    </a:lnTo>
                    <a:lnTo>
                      <a:pt x="84" y="24"/>
                    </a:lnTo>
                    <a:lnTo>
                      <a:pt x="84" y="18"/>
                    </a:lnTo>
                    <a:lnTo>
                      <a:pt x="90" y="18"/>
                    </a:lnTo>
                    <a:lnTo>
                      <a:pt x="90" y="12"/>
                    </a:lnTo>
                    <a:lnTo>
                      <a:pt x="96" y="12"/>
                    </a:lnTo>
                    <a:lnTo>
                      <a:pt x="102" y="12"/>
                    </a:lnTo>
                    <a:lnTo>
                      <a:pt x="102" y="6"/>
                    </a:lnTo>
                    <a:lnTo>
                      <a:pt x="108" y="6"/>
                    </a:lnTo>
                    <a:lnTo>
                      <a:pt x="114" y="6"/>
                    </a:lnTo>
                    <a:lnTo>
                      <a:pt x="120" y="6"/>
                    </a:lnTo>
                    <a:lnTo>
                      <a:pt x="126" y="6"/>
                    </a:lnTo>
                    <a:lnTo>
                      <a:pt x="132" y="6"/>
                    </a:lnTo>
                    <a:lnTo>
                      <a:pt x="138" y="6"/>
                    </a:lnTo>
                    <a:lnTo>
                      <a:pt x="144" y="6"/>
                    </a:lnTo>
                    <a:lnTo>
                      <a:pt x="150" y="0"/>
                    </a:lnTo>
                    <a:lnTo>
                      <a:pt x="156" y="0"/>
                    </a:lnTo>
                    <a:lnTo>
                      <a:pt x="162" y="0"/>
                    </a:lnTo>
                    <a:lnTo>
                      <a:pt x="168" y="6"/>
                    </a:lnTo>
                    <a:lnTo>
                      <a:pt x="174" y="6"/>
                    </a:lnTo>
                    <a:lnTo>
                      <a:pt x="180" y="6"/>
                    </a:lnTo>
                    <a:lnTo>
                      <a:pt x="186" y="6"/>
                    </a:lnTo>
                    <a:lnTo>
                      <a:pt x="186" y="12"/>
                    </a:lnTo>
                    <a:lnTo>
                      <a:pt x="192" y="12"/>
                    </a:lnTo>
                    <a:lnTo>
                      <a:pt x="198" y="12"/>
                    </a:lnTo>
                    <a:lnTo>
                      <a:pt x="204" y="12"/>
                    </a:lnTo>
                    <a:lnTo>
                      <a:pt x="210" y="12"/>
                    </a:lnTo>
                    <a:lnTo>
                      <a:pt x="210" y="18"/>
                    </a:lnTo>
                    <a:lnTo>
                      <a:pt x="216" y="24"/>
                    </a:lnTo>
                    <a:lnTo>
                      <a:pt x="222" y="24"/>
                    </a:lnTo>
                    <a:lnTo>
                      <a:pt x="222" y="30"/>
                    </a:lnTo>
                    <a:lnTo>
                      <a:pt x="228" y="36"/>
                    </a:lnTo>
                    <a:lnTo>
                      <a:pt x="228" y="42"/>
                    </a:lnTo>
                    <a:lnTo>
                      <a:pt x="234" y="42"/>
                    </a:lnTo>
                    <a:lnTo>
                      <a:pt x="234" y="48"/>
                    </a:lnTo>
                    <a:lnTo>
                      <a:pt x="240" y="48"/>
                    </a:lnTo>
                    <a:lnTo>
                      <a:pt x="246" y="48"/>
                    </a:lnTo>
                    <a:lnTo>
                      <a:pt x="252" y="48"/>
                    </a:lnTo>
                    <a:lnTo>
                      <a:pt x="252" y="42"/>
                    </a:lnTo>
                    <a:lnTo>
                      <a:pt x="258" y="42"/>
                    </a:lnTo>
                    <a:lnTo>
                      <a:pt x="264" y="42"/>
                    </a:lnTo>
                    <a:lnTo>
                      <a:pt x="270" y="42"/>
                    </a:lnTo>
                    <a:lnTo>
                      <a:pt x="270" y="36"/>
                    </a:lnTo>
                    <a:lnTo>
                      <a:pt x="276" y="36"/>
                    </a:lnTo>
                    <a:lnTo>
                      <a:pt x="282" y="36"/>
                    </a:lnTo>
                    <a:lnTo>
                      <a:pt x="282" y="30"/>
                    </a:lnTo>
                    <a:lnTo>
                      <a:pt x="288" y="30"/>
                    </a:lnTo>
                    <a:lnTo>
                      <a:pt x="294" y="30"/>
                    </a:lnTo>
                    <a:lnTo>
                      <a:pt x="300" y="30"/>
                    </a:lnTo>
                    <a:lnTo>
                      <a:pt x="300" y="36"/>
                    </a:lnTo>
                    <a:lnTo>
                      <a:pt x="306" y="36"/>
                    </a:lnTo>
                    <a:lnTo>
                      <a:pt x="312" y="36"/>
                    </a:lnTo>
                    <a:lnTo>
                      <a:pt x="312" y="42"/>
                    </a:lnTo>
                    <a:lnTo>
                      <a:pt x="318" y="42"/>
                    </a:lnTo>
                    <a:lnTo>
                      <a:pt x="318" y="48"/>
                    </a:lnTo>
                    <a:lnTo>
                      <a:pt x="324" y="48"/>
                    </a:lnTo>
                    <a:lnTo>
                      <a:pt x="330" y="48"/>
                    </a:lnTo>
                    <a:lnTo>
                      <a:pt x="330" y="54"/>
                    </a:lnTo>
                    <a:lnTo>
                      <a:pt x="336" y="54"/>
                    </a:lnTo>
                    <a:lnTo>
                      <a:pt x="342" y="54"/>
                    </a:lnTo>
                    <a:lnTo>
                      <a:pt x="342" y="60"/>
                    </a:lnTo>
                    <a:lnTo>
                      <a:pt x="348" y="60"/>
                    </a:lnTo>
                    <a:lnTo>
                      <a:pt x="354" y="60"/>
                    </a:lnTo>
                    <a:lnTo>
                      <a:pt x="360" y="60"/>
                    </a:lnTo>
                    <a:lnTo>
                      <a:pt x="366" y="60"/>
                    </a:lnTo>
                    <a:lnTo>
                      <a:pt x="372" y="60"/>
                    </a:lnTo>
                    <a:lnTo>
                      <a:pt x="378" y="60"/>
                    </a:lnTo>
                    <a:lnTo>
                      <a:pt x="384" y="60"/>
                    </a:lnTo>
                    <a:lnTo>
                      <a:pt x="390" y="60"/>
                    </a:lnTo>
                    <a:lnTo>
                      <a:pt x="396" y="54"/>
                    </a:lnTo>
                    <a:lnTo>
                      <a:pt x="396" y="48"/>
                    </a:lnTo>
                    <a:lnTo>
                      <a:pt x="402" y="48"/>
                    </a:lnTo>
                    <a:lnTo>
                      <a:pt x="402" y="42"/>
                    </a:lnTo>
                    <a:lnTo>
                      <a:pt x="408" y="42"/>
                    </a:lnTo>
                    <a:lnTo>
                      <a:pt x="408" y="36"/>
                    </a:lnTo>
                    <a:lnTo>
                      <a:pt x="414" y="36"/>
                    </a:lnTo>
                    <a:lnTo>
                      <a:pt x="420" y="36"/>
                    </a:lnTo>
                    <a:lnTo>
                      <a:pt x="426" y="36"/>
                    </a:lnTo>
                    <a:lnTo>
                      <a:pt x="432" y="36"/>
                    </a:lnTo>
                    <a:lnTo>
                      <a:pt x="432" y="30"/>
                    </a:lnTo>
                    <a:lnTo>
                      <a:pt x="438" y="30"/>
                    </a:lnTo>
                    <a:lnTo>
                      <a:pt x="444" y="30"/>
                    </a:lnTo>
                    <a:lnTo>
                      <a:pt x="450" y="30"/>
                    </a:lnTo>
                    <a:lnTo>
                      <a:pt x="456" y="30"/>
                    </a:lnTo>
                    <a:lnTo>
                      <a:pt x="462" y="30"/>
                    </a:lnTo>
                    <a:lnTo>
                      <a:pt x="468" y="30"/>
                    </a:lnTo>
                    <a:lnTo>
                      <a:pt x="474" y="30"/>
                    </a:lnTo>
                    <a:lnTo>
                      <a:pt x="480" y="30"/>
                    </a:lnTo>
                    <a:lnTo>
                      <a:pt x="486" y="30"/>
                    </a:lnTo>
                    <a:lnTo>
                      <a:pt x="492" y="30"/>
                    </a:lnTo>
                    <a:lnTo>
                      <a:pt x="498" y="30"/>
                    </a:lnTo>
                    <a:lnTo>
                      <a:pt x="504" y="36"/>
                    </a:lnTo>
                    <a:lnTo>
                      <a:pt x="510" y="36"/>
                    </a:lnTo>
                    <a:lnTo>
                      <a:pt x="516" y="36"/>
                    </a:lnTo>
                    <a:lnTo>
                      <a:pt x="516" y="42"/>
                    </a:lnTo>
                    <a:lnTo>
                      <a:pt x="522" y="42"/>
                    </a:lnTo>
                    <a:lnTo>
                      <a:pt x="528" y="42"/>
                    </a:lnTo>
                    <a:lnTo>
                      <a:pt x="534" y="42"/>
                    </a:lnTo>
                    <a:lnTo>
                      <a:pt x="540" y="42"/>
                    </a:lnTo>
                    <a:lnTo>
                      <a:pt x="534" y="48"/>
                    </a:lnTo>
                    <a:lnTo>
                      <a:pt x="540" y="48"/>
                    </a:lnTo>
                    <a:lnTo>
                      <a:pt x="540" y="42"/>
                    </a:lnTo>
                    <a:lnTo>
                      <a:pt x="540" y="48"/>
                    </a:lnTo>
                    <a:lnTo>
                      <a:pt x="540" y="42"/>
                    </a:lnTo>
                    <a:lnTo>
                      <a:pt x="540" y="48"/>
                    </a:lnTo>
                    <a:lnTo>
                      <a:pt x="540" y="42"/>
                    </a:lnTo>
                    <a:lnTo>
                      <a:pt x="540" y="48"/>
                    </a:lnTo>
                    <a:lnTo>
                      <a:pt x="546" y="48"/>
                    </a:lnTo>
                    <a:lnTo>
                      <a:pt x="546" y="42"/>
                    </a:lnTo>
                    <a:lnTo>
                      <a:pt x="552" y="42"/>
                    </a:lnTo>
                    <a:lnTo>
                      <a:pt x="552" y="36"/>
                    </a:lnTo>
                    <a:lnTo>
                      <a:pt x="546" y="36"/>
                    </a:lnTo>
                    <a:lnTo>
                      <a:pt x="552" y="36"/>
                    </a:lnTo>
                    <a:lnTo>
                      <a:pt x="552" y="30"/>
                    </a:lnTo>
                    <a:lnTo>
                      <a:pt x="552" y="36"/>
                    </a:lnTo>
                    <a:lnTo>
                      <a:pt x="558" y="36"/>
                    </a:lnTo>
                    <a:lnTo>
                      <a:pt x="558" y="30"/>
                    </a:lnTo>
                    <a:lnTo>
                      <a:pt x="564" y="30"/>
                    </a:lnTo>
                    <a:lnTo>
                      <a:pt x="564" y="24"/>
                    </a:lnTo>
                    <a:lnTo>
                      <a:pt x="570" y="24"/>
                    </a:lnTo>
                    <a:lnTo>
                      <a:pt x="570" y="18"/>
                    </a:lnTo>
                    <a:lnTo>
                      <a:pt x="570" y="24"/>
                    </a:lnTo>
                    <a:lnTo>
                      <a:pt x="570" y="18"/>
                    </a:lnTo>
                    <a:lnTo>
                      <a:pt x="576" y="18"/>
                    </a:lnTo>
                    <a:lnTo>
                      <a:pt x="582" y="18"/>
                    </a:lnTo>
                    <a:lnTo>
                      <a:pt x="588" y="18"/>
                    </a:lnTo>
                    <a:lnTo>
                      <a:pt x="588" y="12"/>
                    </a:lnTo>
                    <a:lnTo>
                      <a:pt x="594" y="12"/>
                    </a:lnTo>
                    <a:lnTo>
                      <a:pt x="594" y="6"/>
                    </a:lnTo>
                    <a:lnTo>
                      <a:pt x="600" y="6"/>
                    </a:lnTo>
                    <a:lnTo>
                      <a:pt x="606" y="6"/>
                    </a:lnTo>
                    <a:lnTo>
                      <a:pt x="612" y="6"/>
                    </a:lnTo>
                    <a:lnTo>
                      <a:pt x="612" y="12"/>
                    </a:lnTo>
                    <a:lnTo>
                      <a:pt x="612" y="18"/>
                    </a:lnTo>
                    <a:lnTo>
                      <a:pt x="618" y="18"/>
                    </a:lnTo>
                    <a:lnTo>
                      <a:pt x="618" y="24"/>
                    </a:lnTo>
                    <a:lnTo>
                      <a:pt x="624" y="24"/>
                    </a:lnTo>
                    <a:lnTo>
                      <a:pt x="624" y="30"/>
                    </a:lnTo>
                    <a:lnTo>
                      <a:pt x="624" y="36"/>
                    </a:lnTo>
                    <a:lnTo>
                      <a:pt x="630" y="36"/>
                    </a:lnTo>
                    <a:lnTo>
                      <a:pt x="630" y="42"/>
                    </a:lnTo>
                    <a:lnTo>
                      <a:pt x="636" y="42"/>
                    </a:lnTo>
                    <a:lnTo>
                      <a:pt x="636" y="48"/>
                    </a:lnTo>
                    <a:close/>
                    <a:moveTo>
                      <a:pt x="246" y="528"/>
                    </a:moveTo>
                    <a:lnTo>
                      <a:pt x="258" y="528"/>
                    </a:lnTo>
                    <a:lnTo>
                      <a:pt x="258" y="534"/>
                    </a:lnTo>
                    <a:lnTo>
                      <a:pt x="246" y="534"/>
                    </a:lnTo>
                    <a:lnTo>
                      <a:pt x="246" y="528"/>
                    </a:lnTo>
                    <a:close/>
                    <a:moveTo>
                      <a:pt x="198" y="534"/>
                    </a:moveTo>
                    <a:lnTo>
                      <a:pt x="210" y="534"/>
                    </a:lnTo>
                    <a:lnTo>
                      <a:pt x="210" y="540"/>
                    </a:lnTo>
                    <a:lnTo>
                      <a:pt x="198" y="540"/>
                    </a:lnTo>
                    <a:lnTo>
                      <a:pt x="198" y="534"/>
                    </a:lnTo>
                    <a:close/>
                    <a:moveTo>
                      <a:pt x="240" y="522"/>
                    </a:moveTo>
                    <a:lnTo>
                      <a:pt x="246" y="522"/>
                    </a:lnTo>
                    <a:lnTo>
                      <a:pt x="246" y="534"/>
                    </a:lnTo>
                    <a:lnTo>
                      <a:pt x="240" y="534"/>
                    </a:lnTo>
                    <a:lnTo>
                      <a:pt x="240" y="522"/>
                    </a:lnTo>
                    <a:close/>
                    <a:moveTo>
                      <a:pt x="234" y="522"/>
                    </a:moveTo>
                    <a:lnTo>
                      <a:pt x="240" y="522"/>
                    </a:lnTo>
                    <a:lnTo>
                      <a:pt x="240" y="528"/>
                    </a:lnTo>
                    <a:lnTo>
                      <a:pt x="234" y="528"/>
                    </a:lnTo>
                    <a:lnTo>
                      <a:pt x="234" y="522"/>
                    </a:lnTo>
                    <a:close/>
                    <a:moveTo>
                      <a:pt x="78" y="420"/>
                    </a:moveTo>
                    <a:lnTo>
                      <a:pt x="84" y="420"/>
                    </a:lnTo>
                    <a:lnTo>
                      <a:pt x="78" y="420"/>
                    </a:lnTo>
                    <a:close/>
                    <a:moveTo>
                      <a:pt x="36" y="420"/>
                    </a:moveTo>
                    <a:lnTo>
                      <a:pt x="42" y="420"/>
                    </a:lnTo>
                    <a:lnTo>
                      <a:pt x="36" y="420"/>
                    </a:lnTo>
                    <a:close/>
                    <a:moveTo>
                      <a:pt x="312" y="504"/>
                    </a:moveTo>
                    <a:lnTo>
                      <a:pt x="312" y="510"/>
                    </a:lnTo>
                    <a:lnTo>
                      <a:pt x="313" y="510"/>
                    </a:lnTo>
                    <a:lnTo>
                      <a:pt x="312" y="50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78" name="Freeform 25"/>
              <p:cNvSpPr>
                <a:spLocks/>
              </p:cNvSpPr>
              <p:nvPr>
                <p:custDataLst>
                  <p:tags r:id="rId25"/>
                </p:custDataLst>
              </p:nvPr>
            </p:nvSpPr>
            <p:spPr bwMode="gray">
              <a:xfrm>
                <a:off x="1980770" y="1402124"/>
                <a:ext cx="135437" cy="329963"/>
              </a:xfrm>
              <a:custGeom>
                <a:avLst/>
                <a:gdLst>
                  <a:gd name="T0" fmla="*/ 29720 w 108"/>
                  <a:gd name="T1" fmla="*/ 95928 h 282"/>
                  <a:gd name="T2" fmla="*/ 24927 w 108"/>
                  <a:gd name="T3" fmla="*/ 97847 h 282"/>
                  <a:gd name="T4" fmla="*/ 21092 w 108"/>
                  <a:gd name="T5" fmla="*/ 95928 h 282"/>
                  <a:gd name="T6" fmla="*/ 19175 w 108"/>
                  <a:gd name="T7" fmla="*/ 92091 h 282"/>
                  <a:gd name="T8" fmla="*/ 14381 w 108"/>
                  <a:gd name="T9" fmla="*/ 90173 h 282"/>
                  <a:gd name="T10" fmla="*/ 12464 w 108"/>
                  <a:gd name="T11" fmla="*/ 85377 h 282"/>
                  <a:gd name="T12" fmla="*/ 12464 w 108"/>
                  <a:gd name="T13" fmla="*/ 83458 h 282"/>
                  <a:gd name="T14" fmla="*/ 14381 w 108"/>
                  <a:gd name="T15" fmla="*/ 79620 h 282"/>
                  <a:gd name="T16" fmla="*/ 14381 w 108"/>
                  <a:gd name="T17" fmla="*/ 73865 h 282"/>
                  <a:gd name="T18" fmla="*/ 12464 w 108"/>
                  <a:gd name="T19" fmla="*/ 69069 h 282"/>
                  <a:gd name="T20" fmla="*/ 14381 w 108"/>
                  <a:gd name="T21" fmla="*/ 65232 h 282"/>
                  <a:gd name="T22" fmla="*/ 14381 w 108"/>
                  <a:gd name="T23" fmla="*/ 58516 h 282"/>
                  <a:gd name="T24" fmla="*/ 16298 w 108"/>
                  <a:gd name="T25" fmla="*/ 54679 h 282"/>
                  <a:gd name="T26" fmla="*/ 12464 w 108"/>
                  <a:gd name="T27" fmla="*/ 51801 h 282"/>
                  <a:gd name="T28" fmla="*/ 10546 w 108"/>
                  <a:gd name="T29" fmla="*/ 47964 h 282"/>
                  <a:gd name="T30" fmla="*/ 12464 w 108"/>
                  <a:gd name="T31" fmla="*/ 44127 h 282"/>
                  <a:gd name="T32" fmla="*/ 10546 w 108"/>
                  <a:gd name="T33" fmla="*/ 40290 h 282"/>
                  <a:gd name="T34" fmla="*/ 12464 w 108"/>
                  <a:gd name="T35" fmla="*/ 35494 h 282"/>
                  <a:gd name="T36" fmla="*/ 10546 w 108"/>
                  <a:gd name="T37" fmla="*/ 31656 h 282"/>
                  <a:gd name="T38" fmla="*/ 7670 w 108"/>
                  <a:gd name="T39" fmla="*/ 31656 h 282"/>
                  <a:gd name="T40" fmla="*/ 7670 w 108"/>
                  <a:gd name="T41" fmla="*/ 33575 h 282"/>
                  <a:gd name="T42" fmla="*/ 7670 w 108"/>
                  <a:gd name="T43" fmla="*/ 31656 h 282"/>
                  <a:gd name="T44" fmla="*/ 7670 w 108"/>
                  <a:gd name="T45" fmla="*/ 29738 h 282"/>
                  <a:gd name="T46" fmla="*/ 7670 w 108"/>
                  <a:gd name="T47" fmla="*/ 23023 h 282"/>
                  <a:gd name="T48" fmla="*/ 7670 w 108"/>
                  <a:gd name="T49" fmla="*/ 21104 h 282"/>
                  <a:gd name="T50" fmla="*/ 7670 w 108"/>
                  <a:gd name="T51" fmla="*/ 19186 h 282"/>
                  <a:gd name="T52" fmla="*/ 7670 w 108"/>
                  <a:gd name="T53" fmla="*/ 16308 h 282"/>
                  <a:gd name="T54" fmla="*/ 7670 w 108"/>
                  <a:gd name="T55" fmla="*/ 14390 h 282"/>
                  <a:gd name="T56" fmla="*/ 3835 w 108"/>
                  <a:gd name="T57" fmla="*/ 12471 h 282"/>
                  <a:gd name="T58" fmla="*/ 0 w 108"/>
                  <a:gd name="T59" fmla="*/ 10552 h 282"/>
                  <a:gd name="T60" fmla="*/ 1917 w 108"/>
                  <a:gd name="T61" fmla="*/ 6715 h 282"/>
                  <a:gd name="T62" fmla="*/ 1917 w 108"/>
                  <a:gd name="T63" fmla="*/ 0 h 282"/>
                  <a:gd name="T64" fmla="*/ 3835 w 108"/>
                  <a:gd name="T65" fmla="*/ 0 h 282"/>
                  <a:gd name="T66" fmla="*/ 10546 w 108"/>
                  <a:gd name="T67" fmla="*/ 1918 h 282"/>
                  <a:gd name="T68" fmla="*/ 14381 w 108"/>
                  <a:gd name="T69" fmla="*/ 3837 h 282"/>
                  <a:gd name="T70" fmla="*/ 19175 w 108"/>
                  <a:gd name="T71" fmla="*/ 1918 h 282"/>
                  <a:gd name="T72" fmla="*/ 19175 w 108"/>
                  <a:gd name="T73" fmla="*/ 3837 h 282"/>
                  <a:gd name="T74" fmla="*/ 16298 w 108"/>
                  <a:gd name="T75" fmla="*/ 7674 h 282"/>
                  <a:gd name="T76" fmla="*/ 16298 w 108"/>
                  <a:gd name="T77" fmla="*/ 12471 h 282"/>
                  <a:gd name="T78" fmla="*/ 19175 w 108"/>
                  <a:gd name="T79" fmla="*/ 16308 h 282"/>
                  <a:gd name="T80" fmla="*/ 23010 w 108"/>
                  <a:gd name="T81" fmla="*/ 19186 h 282"/>
                  <a:gd name="T82" fmla="*/ 26844 w 108"/>
                  <a:gd name="T83" fmla="*/ 21104 h 282"/>
                  <a:gd name="T84" fmla="*/ 29720 w 108"/>
                  <a:gd name="T85" fmla="*/ 24941 h 282"/>
                  <a:gd name="T86" fmla="*/ 29720 w 108"/>
                  <a:gd name="T87" fmla="*/ 31656 h 282"/>
                  <a:gd name="T88" fmla="*/ 29720 w 108"/>
                  <a:gd name="T89" fmla="*/ 33575 h 282"/>
                  <a:gd name="T90" fmla="*/ 31638 w 108"/>
                  <a:gd name="T91" fmla="*/ 37413 h 282"/>
                  <a:gd name="T92" fmla="*/ 33556 w 108"/>
                  <a:gd name="T93" fmla="*/ 41250 h 282"/>
                  <a:gd name="T94" fmla="*/ 33556 w 108"/>
                  <a:gd name="T95" fmla="*/ 47964 h 282"/>
                  <a:gd name="T96" fmla="*/ 33556 w 108"/>
                  <a:gd name="T97" fmla="*/ 54679 h 282"/>
                  <a:gd name="T98" fmla="*/ 33556 w 108"/>
                  <a:gd name="T99" fmla="*/ 60435 h 282"/>
                  <a:gd name="T100" fmla="*/ 33556 w 108"/>
                  <a:gd name="T101" fmla="*/ 67150 h 282"/>
                  <a:gd name="T102" fmla="*/ 35473 w 108"/>
                  <a:gd name="T103" fmla="*/ 70987 h 282"/>
                  <a:gd name="T104" fmla="*/ 33556 w 108"/>
                  <a:gd name="T105" fmla="*/ 74824 h 282"/>
                  <a:gd name="T106" fmla="*/ 33556 w 108"/>
                  <a:gd name="T107" fmla="*/ 81539 h 282"/>
                  <a:gd name="T108" fmla="*/ 33556 w 108"/>
                  <a:gd name="T109" fmla="*/ 88255 h 282"/>
                  <a:gd name="T110" fmla="*/ 35473 w 108"/>
                  <a:gd name="T111" fmla="*/ 92091 h 282"/>
                  <a:gd name="T112" fmla="*/ 35473 w 108"/>
                  <a:gd name="T113" fmla="*/ 90173 h 282"/>
                  <a:gd name="T114" fmla="*/ 35473 w 108"/>
                  <a:gd name="T115" fmla="*/ 92091 h 282"/>
                  <a:gd name="T116" fmla="*/ 37391 w 108"/>
                  <a:gd name="T117" fmla="*/ 94010 h 282"/>
                  <a:gd name="T118" fmla="*/ 33556 w 108"/>
                  <a:gd name="T119" fmla="*/ 95928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8" h="282">
                    <a:moveTo>
                      <a:pt x="96" y="276"/>
                    </a:moveTo>
                    <a:lnTo>
                      <a:pt x="90" y="276"/>
                    </a:lnTo>
                    <a:lnTo>
                      <a:pt x="84" y="276"/>
                    </a:lnTo>
                    <a:lnTo>
                      <a:pt x="84" y="282"/>
                    </a:lnTo>
                    <a:lnTo>
                      <a:pt x="78" y="282"/>
                    </a:lnTo>
                    <a:lnTo>
                      <a:pt x="72" y="282"/>
                    </a:lnTo>
                    <a:lnTo>
                      <a:pt x="66" y="282"/>
                    </a:lnTo>
                    <a:lnTo>
                      <a:pt x="66" y="276"/>
                    </a:lnTo>
                    <a:lnTo>
                      <a:pt x="60" y="276"/>
                    </a:lnTo>
                    <a:lnTo>
                      <a:pt x="60" y="270"/>
                    </a:lnTo>
                    <a:lnTo>
                      <a:pt x="54" y="270"/>
                    </a:lnTo>
                    <a:lnTo>
                      <a:pt x="54" y="264"/>
                    </a:lnTo>
                    <a:lnTo>
                      <a:pt x="48" y="264"/>
                    </a:lnTo>
                    <a:lnTo>
                      <a:pt x="48" y="258"/>
                    </a:lnTo>
                    <a:lnTo>
                      <a:pt x="42" y="258"/>
                    </a:lnTo>
                    <a:lnTo>
                      <a:pt x="42" y="252"/>
                    </a:lnTo>
                    <a:lnTo>
                      <a:pt x="42" y="246"/>
                    </a:lnTo>
                    <a:lnTo>
                      <a:pt x="36" y="246"/>
                    </a:lnTo>
                    <a:lnTo>
                      <a:pt x="42" y="246"/>
                    </a:lnTo>
                    <a:lnTo>
                      <a:pt x="36" y="246"/>
                    </a:lnTo>
                    <a:lnTo>
                      <a:pt x="36" y="240"/>
                    </a:lnTo>
                    <a:lnTo>
                      <a:pt x="36" y="234"/>
                    </a:lnTo>
                    <a:lnTo>
                      <a:pt x="42" y="234"/>
                    </a:lnTo>
                    <a:lnTo>
                      <a:pt x="42" y="228"/>
                    </a:lnTo>
                    <a:lnTo>
                      <a:pt x="42" y="222"/>
                    </a:lnTo>
                    <a:lnTo>
                      <a:pt x="42" y="216"/>
                    </a:lnTo>
                    <a:lnTo>
                      <a:pt x="42" y="210"/>
                    </a:lnTo>
                    <a:lnTo>
                      <a:pt x="36" y="210"/>
                    </a:lnTo>
                    <a:lnTo>
                      <a:pt x="36" y="204"/>
                    </a:lnTo>
                    <a:lnTo>
                      <a:pt x="36" y="198"/>
                    </a:lnTo>
                    <a:lnTo>
                      <a:pt x="36" y="192"/>
                    </a:lnTo>
                    <a:lnTo>
                      <a:pt x="42" y="192"/>
                    </a:lnTo>
                    <a:lnTo>
                      <a:pt x="42" y="186"/>
                    </a:lnTo>
                    <a:lnTo>
                      <a:pt x="42" y="180"/>
                    </a:lnTo>
                    <a:lnTo>
                      <a:pt x="42" y="174"/>
                    </a:lnTo>
                    <a:lnTo>
                      <a:pt x="42" y="168"/>
                    </a:lnTo>
                    <a:lnTo>
                      <a:pt x="42" y="162"/>
                    </a:lnTo>
                    <a:lnTo>
                      <a:pt x="48" y="162"/>
                    </a:lnTo>
                    <a:lnTo>
                      <a:pt x="48" y="156"/>
                    </a:lnTo>
                    <a:lnTo>
                      <a:pt x="42" y="156"/>
                    </a:lnTo>
                    <a:lnTo>
                      <a:pt x="42" y="150"/>
                    </a:lnTo>
                    <a:lnTo>
                      <a:pt x="36" y="150"/>
                    </a:lnTo>
                    <a:lnTo>
                      <a:pt x="36" y="144"/>
                    </a:lnTo>
                    <a:lnTo>
                      <a:pt x="30" y="144"/>
                    </a:lnTo>
                    <a:lnTo>
                      <a:pt x="30" y="138"/>
                    </a:lnTo>
                    <a:lnTo>
                      <a:pt x="30" y="132"/>
                    </a:lnTo>
                    <a:lnTo>
                      <a:pt x="36" y="132"/>
                    </a:lnTo>
                    <a:lnTo>
                      <a:pt x="36" y="126"/>
                    </a:lnTo>
                    <a:lnTo>
                      <a:pt x="36" y="120"/>
                    </a:lnTo>
                    <a:lnTo>
                      <a:pt x="30" y="120"/>
                    </a:lnTo>
                    <a:lnTo>
                      <a:pt x="30" y="114"/>
                    </a:lnTo>
                    <a:lnTo>
                      <a:pt x="36" y="114"/>
                    </a:lnTo>
                    <a:lnTo>
                      <a:pt x="36" y="108"/>
                    </a:lnTo>
                    <a:lnTo>
                      <a:pt x="36" y="102"/>
                    </a:lnTo>
                    <a:lnTo>
                      <a:pt x="36" y="96"/>
                    </a:lnTo>
                    <a:lnTo>
                      <a:pt x="30" y="96"/>
                    </a:lnTo>
                    <a:lnTo>
                      <a:pt x="30" y="90"/>
                    </a:lnTo>
                    <a:lnTo>
                      <a:pt x="30" y="96"/>
                    </a:lnTo>
                    <a:lnTo>
                      <a:pt x="30" y="90"/>
                    </a:lnTo>
                    <a:lnTo>
                      <a:pt x="24" y="90"/>
                    </a:lnTo>
                    <a:lnTo>
                      <a:pt x="24" y="96"/>
                    </a:lnTo>
                    <a:lnTo>
                      <a:pt x="18" y="96"/>
                    </a:lnTo>
                    <a:lnTo>
                      <a:pt x="24" y="96"/>
                    </a:lnTo>
                    <a:lnTo>
                      <a:pt x="24" y="90"/>
                    </a:lnTo>
                    <a:lnTo>
                      <a:pt x="18" y="90"/>
                    </a:lnTo>
                    <a:lnTo>
                      <a:pt x="24" y="90"/>
                    </a:lnTo>
                    <a:lnTo>
                      <a:pt x="30" y="90"/>
                    </a:lnTo>
                    <a:lnTo>
                      <a:pt x="30" y="84"/>
                    </a:lnTo>
                    <a:lnTo>
                      <a:pt x="24" y="84"/>
                    </a:lnTo>
                    <a:lnTo>
                      <a:pt x="24" y="78"/>
                    </a:lnTo>
                    <a:lnTo>
                      <a:pt x="24" y="72"/>
                    </a:lnTo>
                    <a:lnTo>
                      <a:pt x="24" y="66"/>
                    </a:lnTo>
                    <a:lnTo>
                      <a:pt x="30" y="66"/>
                    </a:lnTo>
                    <a:lnTo>
                      <a:pt x="24" y="66"/>
                    </a:lnTo>
                    <a:lnTo>
                      <a:pt x="24" y="60"/>
                    </a:lnTo>
                    <a:lnTo>
                      <a:pt x="30" y="60"/>
                    </a:lnTo>
                    <a:lnTo>
                      <a:pt x="24" y="60"/>
                    </a:lnTo>
                    <a:lnTo>
                      <a:pt x="24" y="54"/>
                    </a:lnTo>
                    <a:lnTo>
                      <a:pt x="24" y="48"/>
                    </a:lnTo>
                    <a:lnTo>
                      <a:pt x="30" y="48"/>
                    </a:lnTo>
                    <a:lnTo>
                      <a:pt x="24" y="48"/>
                    </a:lnTo>
                    <a:lnTo>
                      <a:pt x="24" y="42"/>
                    </a:lnTo>
                    <a:lnTo>
                      <a:pt x="24" y="48"/>
                    </a:lnTo>
                    <a:lnTo>
                      <a:pt x="24" y="42"/>
                    </a:lnTo>
                    <a:lnTo>
                      <a:pt x="18" y="42"/>
                    </a:lnTo>
                    <a:lnTo>
                      <a:pt x="18" y="36"/>
                    </a:lnTo>
                    <a:lnTo>
                      <a:pt x="12" y="36"/>
                    </a:lnTo>
                    <a:lnTo>
                      <a:pt x="12" y="30"/>
                    </a:lnTo>
                    <a:lnTo>
                      <a:pt x="6" y="30"/>
                    </a:lnTo>
                    <a:lnTo>
                      <a:pt x="0" y="30"/>
                    </a:lnTo>
                    <a:lnTo>
                      <a:pt x="0" y="24"/>
                    </a:lnTo>
                    <a:lnTo>
                      <a:pt x="0" y="18"/>
                    </a:lnTo>
                    <a:lnTo>
                      <a:pt x="6" y="18"/>
                    </a:lnTo>
                    <a:lnTo>
                      <a:pt x="6" y="12"/>
                    </a:lnTo>
                    <a:lnTo>
                      <a:pt x="6" y="6"/>
                    </a:lnTo>
                    <a:lnTo>
                      <a:pt x="6" y="0"/>
                    </a:lnTo>
                    <a:lnTo>
                      <a:pt x="0" y="0"/>
                    </a:lnTo>
                    <a:lnTo>
                      <a:pt x="6" y="0"/>
                    </a:lnTo>
                    <a:lnTo>
                      <a:pt x="12" y="0"/>
                    </a:lnTo>
                    <a:lnTo>
                      <a:pt x="18" y="6"/>
                    </a:lnTo>
                    <a:lnTo>
                      <a:pt x="24" y="6"/>
                    </a:lnTo>
                    <a:lnTo>
                      <a:pt x="30" y="6"/>
                    </a:lnTo>
                    <a:lnTo>
                      <a:pt x="36" y="6"/>
                    </a:lnTo>
                    <a:lnTo>
                      <a:pt x="36" y="12"/>
                    </a:lnTo>
                    <a:lnTo>
                      <a:pt x="42" y="12"/>
                    </a:lnTo>
                    <a:lnTo>
                      <a:pt x="42" y="6"/>
                    </a:lnTo>
                    <a:lnTo>
                      <a:pt x="48" y="6"/>
                    </a:lnTo>
                    <a:lnTo>
                      <a:pt x="54" y="6"/>
                    </a:lnTo>
                    <a:lnTo>
                      <a:pt x="60" y="6"/>
                    </a:lnTo>
                    <a:lnTo>
                      <a:pt x="54" y="6"/>
                    </a:lnTo>
                    <a:lnTo>
                      <a:pt x="54" y="12"/>
                    </a:lnTo>
                    <a:lnTo>
                      <a:pt x="54" y="18"/>
                    </a:lnTo>
                    <a:lnTo>
                      <a:pt x="54" y="24"/>
                    </a:lnTo>
                    <a:lnTo>
                      <a:pt x="48" y="24"/>
                    </a:lnTo>
                    <a:lnTo>
                      <a:pt x="54" y="24"/>
                    </a:lnTo>
                    <a:lnTo>
                      <a:pt x="54" y="30"/>
                    </a:lnTo>
                    <a:lnTo>
                      <a:pt x="48" y="36"/>
                    </a:lnTo>
                    <a:lnTo>
                      <a:pt x="48" y="42"/>
                    </a:lnTo>
                    <a:lnTo>
                      <a:pt x="54" y="42"/>
                    </a:lnTo>
                    <a:lnTo>
                      <a:pt x="54" y="48"/>
                    </a:lnTo>
                    <a:lnTo>
                      <a:pt x="60" y="48"/>
                    </a:lnTo>
                    <a:lnTo>
                      <a:pt x="60" y="54"/>
                    </a:lnTo>
                    <a:lnTo>
                      <a:pt x="66" y="54"/>
                    </a:lnTo>
                    <a:lnTo>
                      <a:pt x="72" y="54"/>
                    </a:lnTo>
                    <a:lnTo>
                      <a:pt x="72" y="60"/>
                    </a:lnTo>
                    <a:lnTo>
                      <a:pt x="78" y="60"/>
                    </a:lnTo>
                    <a:lnTo>
                      <a:pt x="78" y="66"/>
                    </a:lnTo>
                    <a:lnTo>
                      <a:pt x="84" y="66"/>
                    </a:lnTo>
                    <a:lnTo>
                      <a:pt x="84" y="72"/>
                    </a:lnTo>
                    <a:lnTo>
                      <a:pt x="84" y="78"/>
                    </a:lnTo>
                    <a:lnTo>
                      <a:pt x="84" y="84"/>
                    </a:lnTo>
                    <a:lnTo>
                      <a:pt x="84" y="90"/>
                    </a:lnTo>
                    <a:lnTo>
                      <a:pt x="84" y="96"/>
                    </a:lnTo>
                    <a:lnTo>
                      <a:pt x="84" y="90"/>
                    </a:lnTo>
                    <a:lnTo>
                      <a:pt x="84" y="96"/>
                    </a:lnTo>
                    <a:lnTo>
                      <a:pt x="84" y="102"/>
                    </a:lnTo>
                    <a:lnTo>
                      <a:pt x="90" y="102"/>
                    </a:lnTo>
                    <a:lnTo>
                      <a:pt x="90" y="108"/>
                    </a:lnTo>
                    <a:lnTo>
                      <a:pt x="96" y="108"/>
                    </a:lnTo>
                    <a:lnTo>
                      <a:pt x="96" y="114"/>
                    </a:lnTo>
                    <a:lnTo>
                      <a:pt x="96" y="120"/>
                    </a:lnTo>
                    <a:lnTo>
                      <a:pt x="96" y="126"/>
                    </a:lnTo>
                    <a:lnTo>
                      <a:pt x="96" y="132"/>
                    </a:lnTo>
                    <a:lnTo>
                      <a:pt x="96" y="138"/>
                    </a:lnTo>
                    <a:lnTo>
                      <a:pt x="96" y="144"/>
                    </a:lnTo>
                    <a:lnTo>
                      <a:pt x="96" y="150"/>
                    </a:lnTo>
                    <a:lnTo>
                      <a:pt x="96" y="156"/>
                    </a:lnTo>
                    <a:lnTo>
                      <a:pt x="96" y="162"/>
                    </a:lnTo>
                    <a:lnTo>
                      <a:pt x="96" y="168"/>
                    </a:lnTo>
                    <a:lnTo>
                      <a:pt x="96" y="174"/>
                    </a:lnTo>
                    <a:lnTo>
                      <a:pt x="96" y="180"/>
                    </a:lnTo>
                    <a:lnTo>
                      <a:pt x="96" y="186"/>
                    </a:lnTo>
                    <a:lnTo>
                      <a:pt x="96" y="192"/>
                    </a:lnTo>
                    <a:lnTo>
                      <a:pt x="96" y="198"/>
                    </a:lnTo>
                    <a:lnTo>
                      <a:pt x="96" y="204"/>
                    </a:lnTo>
                    <a:lnTo>
                      <a:pt x="102" y="204"/>
                    </a:lnTo>
                    <a:lnTo>
                      <a:pt x="96" y="204"/>
                    </a:lnTo>
                    <a:lnTo>
                      <a:pt x="96" y="210"/>
                    </a:lnTo>
                    <a:lnTo>
                      <a:pt x="96" y="216"/>
                    </a:lnTo>
                    <a:lnTo>
                      <a:pt x="96" y="222"/>
                    </a:lnTo>
                    <a:lnTo>
                      <a:pt x="96" y="228"/>
                    </a:lnTo>
                    <a:lnTo>
                      <a:pt x="96" y="234"/>
                    </a:lnTo>
                    <a:lnTo>
                      <a:pt x="96" y="240"/>
                    </a:lnTo>
                    <a:lnTo>
                      <a:pt x="96" y="246"/>
                    </a:lnTo>
                    <a:lnTo>
                      <a:pt x="96" y="252"/>
                    </a:lnTo>
                    <a:lnTo>
                      <a:pt x="96" y="258"/>
                    </a:lnTo>
                    <a:lnTo>
                      <a:pt x="102" y="258"/>
                    </a:lnTo>
                    <a:lnTo>
                      <a:pt x="102" y="264"/>
                    </a:lnTo>
                    <a:lnTo>
                      <a:pt x="102" y="258"/>
                    </a:lnTo>
                    <a:lnTo>
                      <a:pt x="102" y="264"/>
                    </a:lnTo>
                    <a:lnTo>
                      <a:pt x="102" y="258"/>
                    </a:lnTo>
                    <a:lnTo>
                      <a:pt x="102" y="264"/>
                    </a:lnTo>
                    <a:lnTo>
                      <a:pt x="108" y="264"/>
                    </a:lnTo>
                    <a:lnTo>
                      <a:pt x="102" y="264"/>
                    </a:lnTo>
                    <a:lnTo>
                      <a:pt x="108" y="264"/>
                    </a:lnTo>
                    <a:lnTo>
                      <a:pt x="102" y="264"/>
                    </a:lnTo>
                    <a:lnTo>
                      <a:pt x="108" y="270"/>
                    </a:lnTo>
                    <a:lnTo>
                      <a:pt x="108" y="276"/>
                    </a:lnTo>
                    <a:lnTo>
                      <a:pt x="102" y="276"/>
                    </a:lnTo>
                    <a:lnTo>
                      <a:pt x="96" y="27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79" name="Freeform 26"/>
              <p:cNvSpPr>
                <a:spLocks/>
              </p:cNvSpPr>
              <p:nvPr>
                <p:custDataLst>
                  <p:tags r:id="rId26"/>
                </p:custDataLst>
              </p:nvPr>
            </p:nvSpPr>
            <p:spPr bwMode="gray">
              <a:xfrm>
                <a:off x="2040428" y="1316243"/>
                <a:ext cx="219280" cy="409816"/>
              </a:xfrm>
              <a:custGeom>
                <a:avLst/>
                <a:gdLst>
                  <a:gd name="T0" fmla="*/ 31879 w 174"/>
                  <a:gd name="T1" fmla="*/ 122354 h 348"/>
                  <a:gd name="T2" fmla="*/ 23184 w 174"/>
                  <a:gd name="T3" fmla="*/ 122354 h 348"/>
                  <a:gd name="T4" fmla="*/ 17388 w 174"/>
                  <a:gd name="T5" fmla="*/ 124295 h 348"/>
                  <a:gd name="T6" fmla="*/ 19321 w 174"/>
                  <a:gd name="T7" fmla="*/ 120412 h 348"/>
                  <a:gd name="T8" fmla="*/ 19321 w 174"/>
                  <a:gd name="T9" fmla="*/ 120412 h 348"/>
                  <a:gd name="T10" fmla="*/ 19321 w 174"/>
                  <a:gd name="T11" fmla="*/ 120412 h 348"/>
                  <a:gd name="T12" fmla="*/ 17388 w 174"/>
                  <a:gd name="T13" fmla="*/ 113614 h 348"/>
                  <a:gd name="T14" fmla="*/ 17388 w 174"/>
                  <a:gd name="T15" fmla="*/ 104875 h 348"/>
                  <a:gd name="T16" fmla="*/ 19321 w 174"/>
                  <a:gd name="T17" fmla="*/ 98077 h 348"/>
                  <a:gd name="T18" fmla="*/ 17388 w 174"/>
                  <a:gd name="T19" fmla="*/ 92251 h 348"/>
                  <a:gd name="T20" fmla="*/ 17388 w 174"/>
                  <a:gd name="T21" fmla="*/ 83511 h 348"/>
                  <a:gd name="T22" fmla="*/ 17388 w 174"/>
                  <a:gd name="T23" fmla="*/ 74772 h 348"/>
                  <a:gd name="T24" fmla="*/ 17388 w 174"/>
                  <a:gd name="T25" fmla="*/ 67003 h 348"/>
                  <a:gd name="T26" fmla="*/ 12558 w 174"/>
                  <a:gd name="T27" fmla="*/ 62148 h 348"/>
                  <a:gd name="T28" fmla="*/ 12558 w 174"/>
                  <a:gd name="T29" fmla="*/ 57293 h 348"/>
                  <a:gd name="T30" fmla="*/ 12558 w 174"/>
                  <a:gd name="T31" fmla="*/ 49524 h 348"/>
                  <a:gd name="T32" fmla="*/ 7728 w 174"/>
                  <a:gd name="T33" fmla="*/ 44669 h 348"/>
                  <a:gd name="T34" fmla="*/ 1932 w 174"/>
                  <a:gd name="T35" fmla="*/ 42727 h 348"/>
                  <a:gd name="T36" fmla="*/ 1932 w 174"/>
                  <a:gd name="T37" fmla="*/ 36901 h 348"/>
                  <a:gd name="T38" fmla="*/ 1932 w 174"/>
                  <a:gd name="T39" fmla="*/ 32045 h 348"/>
                  <a:gd name="T40" fmla="*/ 3864 w 174"/>
                  <a:gd name="T41" fmla="*/ 26218 h 348"/>
                  <a:gd name="T42" fmla="*/ 7728 w 174"/>
                  <a:gd name="T43" fmla="*/ 26218 h 348"/>
                  <a:gd name="T44" fmla="*/ 10626 w 174"/>
                  <a:gd name="T45" fmla="*/ 23305 h 348"/>
                  <a:gd name="T46" fmla="*/ 12558 w 174"/>
                  <a:gd name="T47" fmla="*/ 21363 h 348"/>
                  <a:gd name="T48" fmla="*/ 17388 w 174"/>
                  <a:gd name="T49" fmla="*/ 21363 h 348"/>
                  <a:gd name="T50" fmla="*/ 23184 w 174"/>
                  <a:gd name="T51" fmla="*/ 19421 h 348"/>
                  <a:gd name="T52" fmla="*/ 29947 w 174"/>
                  <a:gd name="T53" fmla="*/ 14566 h 348"/>
                  <a:gd name="T54" fmla="*/ 31879 w 174"/>
                  <a:gd name="T55" fmla="*/ 8739 h 348"/>
                  <a:gd name="T56" fmla="*/ 31879 w 174"/>
                  <a:gd name="T57" fmla="*/ 3885 h 348"/>
                  <a:gd name="T58" fmla="*/ 37674 w 174"/>
                  <a:gd name="T59" fmla="*/ 1942 h 348"/>
                  <a:gd name="T60" fmla="*/ 41539 w 174"/>
                  <a:gd name="T61" fmla="*/ 1942 h 348"/>
                  <a:gd name="T62" fmla="*/ 46369 w 174"/>
                  <a:gd name="T63" fmla="*/ 6798 h 348"/>
                  <a:gd name="T64" fmla="*/ 51199 w 174"/>
                  <a:gd name="T65" fmla="*/ 10681 h 348"/>
                  <a:gd name="T66" fmla="*/ 55063 w 174"/>
                  <a:gd name="T67" fmla="*/ 14566 h 348"/>
                  <a:gd name="T68" fmla="*/ 55063 w 174"/>
                  <a:gd name="T69" fmla="*/ 19421 h 348"/>
                  <a:gd name="T70" fmla="*/ 56995 w 174"/>
                  <a:gd name="T71" fmla="*/ 26218 h 348"/>
                  <a:gd name="T72" fmla="*/ 58927 w 174"/>
                  <a:gd name="T73" fmla="*/ 32045 h 348"/>
                  <a:gd name="T74" fmla="*/ 60859 w 174"/>
                  <a:gd name="T75" fmla="*/ 37871 h 348"/>
                  <a:gd name="T76" fmla="*/ 56995 w 174"/>
                  <a:gd name="T77" fmla="*/ 37871 h 348"/>
                  <a:gd name="T78" fmla="*/ 56995 w 174"/>
                  <a:gd name="T79" fmla="*/ 44669 h 348"/>
                  <a:gd name="T80" fmla="*/ 55063 w 174"/>
                  <a:gd name="T81" fmla="*/ 51466 h 348"/>
                  <a:gd name="T82" fmla="*/ 51199 w 174"/>
                  <a:gd name="T83" fmla="*/ 56321 h 348"/>
                  <a:gd name="T84" fmla="*/ 46369 w 174"/>
                  <a:gd name="T85" fmla="*/ 60206 h 348"/>
                  <a:gd name="T86" fmla="*/ 44437 w 174"/>
                  <a:gd name="T87" fmla="*/ 67003 h 348"/>
                  <a:gd name="T88" fmla="*/ 40573 w 174"/>
                  <a:gd name="T89" fmla="*/ 70887 h 348"/>
                  <a:gd name="T90" fmla="*/ 40573 w 174"/>
                  <a:gd name="T91" fmla="*/ 74772 h 348"/>
                  <a:gd name="T92" fmla="*/ 40573 w 174"/>
                  <a:gd name="T93" fmla="*/ 79627 h 348"/>
                  <a:gd name="T94" fmla="*/ 40573 w 174"/>
                  <a:gd name="T95" fmla="*/ 83511 h 348"/>
                  <a:gd name="T96" fmla="*/ 37674 w 174"/>
                  <a:gd name="T97" fmla="*/ 90309 h 348"/>
                  <a:gd name="T98" fmla="*/ 37674 w 174"/>
                  <a:gd name="T99" fmla="*/ 98077 h 348"/>
                  <a:gd name="T100" fmla="*/ 40573 w 174"/>
                  <a:gd name="T101" fmla="*/ 104875 h 348"/>
                  <a:gd name="T102" fmla="*/ 40573 w 174"/>
                  <a:gd name="T103" fmla="*/ 109730 h 348"/>
                  <a:gd name="T104" fmla="*/ 40573 w 174"/>
                  <a:gd name="T105" fmla="*/ 115556 h 348"/>
                  <a:gd name="T106" fmla="*/ 37674 w 174"/>
                  <a:gd name="T107" fmla="*/ 120412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348">
                    <a:moveTo>
                      <a:pt x="108" y="342"/>
                    </a:moveTo>
                    <a:lnTo>
                      <a:pt x="102" y="342"/>
                    </a:lnTo>
                    <a:lnTo>
                      <a:pt x="96" y="342"/>
                    </a:lnTo>
                    <a:lnTo>
                      <a:pt x="90" y="342"/>
                    </a:lnTo>
                    <a:lnTo>
                      <a:pt x="84" y="342"/>
                    </a:lnTo>
                    <a:lnTo>
                      <a:pt x="78" y="342"/>
                    </a:lnTo>
                    <a:lnTo>
                      <a:pt x="72" y="342"/>
                    </a:lnTo>
                    <a:lnTo>
                      <a:pt x="66" y="342"/>
                    </a:lnTo>
                    <a:lnTo>
                      <a:pt x="66" y="348"/>
                    </a:lnTo>
                    <a:lnTo>
                      <a:pt x="60" y="348"/>
                    </a:lnTo>
                    <a:lnTo>
                      <a:pt x="54" y="348"/>
                    </a:lnTo>
                    <a:lnTo>
                      <a:pt x="48" y="348"/>
                    </a:lnTo>
                    <a:lnTo>
                      <a:pt x="54" y="348"/>
                    </a:lnTo>
                    <a:lnTo>
                      <a:pt x="60" y="348"/>
                    </a:lnTo>
                    <a:lnTo>
                      <a:pt x="60" y="342"/>
                    </a:lnTo>
                    <a:lnTo>
                      <a:pt x="54" y="336"/>
                    </a:lnTo>
                    <a:lnTo>
                      <a:pt x="60" y="336"/>
                    </a:lnTo>
                    <a:lnTo>
                      <a:pt x="54" y="336"/>
                    </a:lnTo>
                    <a:lnTo>
                      <a:pt x="60" y="336"/>
                    </a:lnTo>
                    <a:lnTo>
                      <a:pt x="54" y="336"/>
                    </a:lnTo>
                    <a:lnTo>
                      <a:pt x="54" y="330"/>
                    </a:lnTo>
                    <a:lnTo>
                      <a:pt x="54" y="336"/>
                    </a:lnTo>
                    <a:lnTo>
                      <a:pt x="54" y="330"/>
                    </a:lnTo>
                    <a:lnTo>
                      <a:pt x="54" y="336"/>
                    </a:lnTo>
                    <a:lnTo>
                      <a:pt x="54" y="330"/>
                    </a:lnTo>
                    <a:lnTo>
                      <a:pt x="48" y="330"/>
                    </a:lnTo>
                    <a:lnTo>
                      <a:pt x="48" y="324"/>
                    </a:lnTo>
                    <a:lnTo>
                      <a:pt x="48" y="318"/>
                    </a:lnTo>
                    <a:lnTo>
                      <a:pt x="48" y="312"/>
                    </a:lnTo>
                    <a:lnTo>
                      <a:pt x="48" y="306"/>
                    </a:lnTo>
                    <a:lnTo>
                      <a:pt x="48" y="300"/>
                    </a:lnTo>
                    <a:lnTo>
                      <a:pt x="48" y="294"/>
                    </a:lnTo>
                    <a:lnTo>
                      <a:pt x="48" y="288"/>
                    </a:lnTo>
                    <a:lnTo>
                      <a:pt x="48" y="282"/>
                    </a:lnTo>
                    <a:lnTo>
                      <a:pt x="48" y="276"/>
                    </a:lnTo>
                    <a:lnTo>
                      <a:pt x="54" y="276"/>
                    </a:lnTo>
                    <a:lnTo>
                      <a:pt x="48" y="276"/>
                    </a:lnTo>
                    <a:lnTo>
                      <a:pt x="48" y="270"/>
                    </a:lnTo>
                    <a:lnTo>
                      <a:pt x="48" y="264"/>
                    </a:lnTo>
                    <a:lnTo>
                      <a:pt x="48" y="258"/>
                    </a:lnTo>
                    <a:lnTo>
                      <a:pt x="48" y="252"/>
                    </a:lnTo>
                    <a:lnTo>
                      <a:pt x="48" y="246"/>
                    </a:lnTo>
                    <a:lnTo>
                      <a:pt x="48" y="240"/>
                    </a:lnTo>
                    <a:lnTo>
                      <a:pt x="48" y="234"/>
                    </a:lnTo>
                    <a:lnTo>
                      <a:pt x="48" y="228"/>
                    </a:lnTo>
                    <a:lnTo>
                      <a:pt x="48" y="222"/>
                    </a:lnTo>
                    <a:lnTo>
                      <a:pt x="48" y="216"/>
                    </a:lnTo>
                    <a:lnTo>
                      <a:pt x="48" y="210"/>
                    </a:lnTo>
                    <a:lnTo>
                      <a:pt x="48" y="204"/>
                    </a:lnTo>
                    <a:lnTo>
                      <a:pt x="48" y="198"/>
                    </a:lnTo>
                    <a:lnTo>
                      <a:pt x="48" y="192"/>
                    </a:lnTo>
                    <a:lnTo>
                      <a:pt x="48" y="186"/>
                    </a:lnTo>
                    <a:lnTo>
                      <a:pt x="48" y="180"/>
                    </a:lnTo>
                    <a:lnTo>
                      <a:pt x="42" y="180"/>
                    </a:lnTo>
                    <a:lnTo>
                      <a:pt x="42" y="174"/>
                    </a:lnTo>
                    <a:lnTo>
                      <a:pt x="36" y="174"/>
                    </a:lnTo>
                    <a:lnTo>
                      <a:pt x="36" y="168"/>
                    </a:lnTo>
                    <a:lnTo>
                      <a:pt x="36" y="162"/>
                    </a:lnTo>
                    <a:lnTo>
                      <a:pt x="36" y="168"/>
                    </a:lnTo>
                    <a:lnTo>
                      <a:pt x="36" y="162"/>
                    </a:lnTo>
                    <a:lnTo>
                      <a:pt x="36" y="156"/>
                    </a:lnTo>
                    <a:lnTo>
                      <a:pt x="36" y="150"/>
                    </a:lnTo>
                    <a:lnTo>
                      <a:pt x="36" y="144"/>
                    </a:lnTo>
                    <a:lnTo>
                      <a:pt x="36" y="138"/>
                    </a:lnTo>
                    <a:lnTo>
                      <a:pt x="30" y="138"/>
                    </a:lnTo>
                    <a:lnTo>
                      <a:pt x="30" y="132"/>
                    </a:lnTo>
                    <a:lnTo>
                      <a:pt x="24" y="132"/>
                    </a:lnTo>
                    <a:lnTo>
                      <a:pt x="24" y="126"/>
                    </a:lnTo>
                    <a:lnTo>
                      <a:pt x="18" y="126"/>
                    </a:lnTo>
                    <a:lnTo>
                      <a:pt x="12" y="126"/>
                    </a:lnTo>
                    <a:lnTo>
                      <a:pt x="12" y="120"/>
                    </a:lnTo>
                    <a:lnTo>
                      <a:pt x="6" y="120"/>
                    </a:lnTo>
                    <a:lnTo>
                      <a:pt x="6" y="114"/>
                    </a:lnTo>
                    <a:lnTo>
                      <a:pt x="0" y="114"/>
                    </a:lnTo>
                    <a:lnTo>
                      <a:pt x="0" y="108"/>
                    </a:lnTo>
                    <a:lnTo>
                      <a:pt x="6" y="102"/>
                    </a:lnTo>
                    <a:lnTo>
                      <a:pt x="6" y="96"/>
                    </a:lnTo>
                    <a:lnTo>
                      <a:pt x="0" y="96"/>
                    </a:lnTo>
                    <a:lnTo>
                      <a:pt x="6" y="96"/>
                    </a:lnTo>
                    <a:lnTo>
                      <a:pt x="6" y="90"/>
                    </a:lnTo>
                    <a:lnTo>
                      <a:pt x="6" y="84"/>
                    </a:lnTo>
                    <a:lnTo>
                      <a:pt x="6" y="78"/>
                    </a:lnTo>
                    <a:lnTo>
                      <a:pt x="12" y="78"/>
                    </a:lnTo>
                    <a:lnTo>
                      <a:pt x="12" y="72"/>
                    </a:lnTo>
                    <a:lnTo>
                      <a:pt x="18" y="72"/>
                    </a:lnTo>
                    <a:lnTo>
                      <a:pt x="18" y="78"/>
                    </a:lnTo>
                    <a:lnTo>
                      <a:pt x="18" y="72"/>
                    </a:lnTo>
                    <a:lnTo>
                      <a:pt x="24" y="72"/>
                    </a:lnTo>
                    <a:lnTo>
                      <a:pt x="24" y="66"/>
                    </a:lnTo>
                    <a:lnTo>
                      <a:pt x="30" y="66"/>
                    </a:lnTo>
                    <a:lnTo>
                      <a:pt x="30" y="60"/>
                    </a:lnTo>
                    <a:lnTo>
                      <a:pt x="30" y="66"/>
                    </a:lnTo>
                    <a:lnTo>
                      <a:pt x="30" y="60"/>
                    </a:lnTo>
                    <a:lnTo>
                      <a:pt x="36" y="60"/>
                    </a:lnTo>
                    <a:lnTo>
                      <a:pt x="30" y="60"/>
                    </a:lnTo>
                    <a:lnTo>
                      <a:pt x="36" y="60"/>
                    </a:lnTo>
                    <a:lnTo>
                      <a:pt x="36" y="54"/>
                    </a:lnTo>
                    <a:lnTo>
                      <a:pt x="42" y="54"/>
                    </a:lnTo>
                    <a:lnTo>
                      <a:pt x="48" y="54"/>
                    </a:lnTo>
                    <a:lnTo>
                      <a:pt x="48" y="60"/>
                    </a:lnTo>
                    <a:lnTo>
                      <a:pt x="48" y="54"/>
                    </a:lnTo>
                    <a:lnTo>
                      <a:pt x="54" y="54"/>
                    </a:lnTo>
                    <a:lnTo>
                      <a:pt x="60" y="54"/>
                    </a:lnTo>
                    <a:lnTo>
                      <a:pt x="66" y="54"/>
                    </a:lnTo>
                    <a:lnTo>
                      <a:pt x="72" y="54"/>
                    </a:lnTo>
                    <a:lnTo>
                      <a:pt x="78" y="48"/>
                    </a:lnTo>
                    <a:lnTo>
                      <a:pt x="84" y="48"/>
                    </a:lnTo>
                    <a:lnTo>
                      <a:pt x="84" y="42"/>
                    </a:lnTo>
                    <a:lnTo>
                      <a:pt x="84" y="36"/>
                    </a:lnTo>
                    <a:lnTo>
                      <a:pt x="90" y="36"/>
                    </a:lnTo>
                    <a:lnTo>
                      <a:pt x="90" y="30"/>
                    </a:lnTo>
                    <a:lnTo>
                      <a:pt x="90" y="24"/>
                    </a:lnTo>
                    <a:lnTo>
                      <a:pt x="96" y="24"/>
                    </a:lnTo>
                    <a:lnTo>
                      <a:pt x="96" y="18"/>
                    </a:lnTo>
                    <a:lnTo>
                      <a:pt x="90" y="18"/>
                    </a:lnTo>
                    <a:lnTo>
                      <a:pt x="90" y="12"/>
                    </a:lnTo>
                    <a:lnTo>
                      <a:pt x="90" y="6"/>
                    </a:lnTo>
                    <a:lnTo>
                      <a:pt x="96" y="6"/>
                    </a:lnTo>
                    <a:lnTo>
                      <a:pt x="102" y="6"/>
                    </a:lnTo>
                    <a:lnTo>
                      <a:pt x="108" y="6"/>
                    </a:lnTo>
                    <a:lnTo>
                      <a:pt x="108" y="0"/>
                    </a:lnTo>
                    <a:lnTo>
                      <a:pt x="114" y="0"/>
                    </a:lnTo>
                    <a:lnTo>
                      <a:pt x="120" y="0"/>
                    </a:lnTo>
                    <a:lnTo>
                      <a:pt x="120" y="6"/>
                    </a:lnTo>
                    <a:lnTo>
                      <a:pt x="126" y="6"/>
                    </a:lnTo>
                    <a:lnTo>
                      <a:pt x="126" y="12"/>
                    </a:lnTo>
                    <a:lnTo>
                      <a:pt x="132" y="12"/>
                    </a:lnTo>
                    <a:lnTo>
                      <a:pt x="132" y="18"/>
                    </a:lnTo>
                    <a:lnTo>
                      <a:pt x="138" y="18"/>
                    </a:lnTo>
                    <a:lnTo>
                      <a:pt x="138" y="24"/>
                    </a:lnTo>
                    <a:lnTo>
                      <a:pt x="144" y="24"/>
                    </a:lnTo>
                    <a:lnTo>
                      <a:pt x="144" y="30"/>
                    </a:lnTo>
                    <a:lnTo>
                      <a:pt x="150" y="30"/>
                    </a:lnTo>
                    <a:lnTo>
                      <a:pt x="156" y="30"/>
                    </a:lnTo>
                    <a:lnTo>
                      <a:pt x="156" y="36"/>
                    </a:lnTo>
                    <a:lnTo>
                      <a:pt x="156" y="42"/>
                    </a:lnTo>
                    <a:lnTo>
                      <a:pt x="162" y="42"/>
                    </a:lnTo>
                    <a:lnTo>
                      <a:pt x="156" y="42"/>
                    </a:lnTo>
                    <a:lnTo>
                      <a:pt x="156" y="48"/>
                    </a:lnTo>
                    <a:lnTo>
                      <a:pt x="156" y="54"/>
                    </a:lnTo>
                    <a:lnTo>
                      <a:pt x="156" y="60"/>
                    </a:lnTo>
                    <a:lnTo>
                      <a:pt x="156" y="66"/>
                    </a:lnTo>
                    <a:lnTo>
                      <a:pt x="162" y="66"/>
                    </a:lnTo>
                    <a:lnTo>
                      <a:pt x="162" y="72"/>
                    </a:lnTo>
                    <a:lnTo>
                      <a:pt x="168" y="72"/>
                    </a:lnTo>
                    <a:lnTo>
                      <a:pt x="168" y="78"/>
                    </a:lnTo>
                    <a:lnTo>
                      <a:pt x="168" y="84"/>
                    </a:lnTo>
                    <a:lnTo>
                      <a:pt x="168" y="90"/>
                    </a:lnTo>
                    <a:lnTo>
                      <a:pt x="168" y="96"/>
                    </a:lnTo>
                    <a:lnTo>
                      <a:pt x="174" y="96"/>
                    </a:lnTo>
                    <a:lnTo>
                      <a:pt x="174" y="102"/>
                    </a:lnTo>
                    <a:lnTo>
                      <a:pt x="174" y="108"/>
                    </a:lnTo>
                    <a:lnTo>
                      <a:pt x="168" y="108"/>
                    </a:lnTo>
                    <a:lnTo>
                      <a:pt x="168" y="114"/>
                    </a:lnTo>
                    <a:lnTo>
                      <a:pt x="168" y="108"/>
                    </a:lnTo>
                    <a:lnTo>
                      <a:pt x="162" y="108"/>
                    </a:lnTo>
                    <a:lnTo>
                      <a:pt x="162" y="114"/>
                    </a:lnTo>
                    <a:lnTo>
                      <a:pt x="162" y="120"/>
                    </a:lnTo>
                    <a:lnTo>
                      <a:pt x="156" y="120"/>
                    </a:lnTo>
                    <a:lnTo>
                      <a:pt x="162" y="126"/>
                    </a:lnTo>
                    <a:lnTo>
                      <a:pt x="162" y="132"/>
                    </a:lnTo>
                    <a:lnTo>
                      <a:pt x="162" y="138"/>
                    </a:lnTo>
                    <a:lnTo>
                      <a:pt x="156" y="138"/>
                    </a:lnTo>
                    <a:lnTo>
                      <a:pt x="156" y="144"/>
                    </a:lnTo>
                    <a:lnTo>
                      <a:pt x="150" y="144"/>
                    </a:lnTo>
                    <a:lnTo>
                      <a:pt x="144" y="144"/>
                    </a:lnTo>
                    <a:lnTo>
                      <a:pt x="144" y="150"/>
                    </a:lnTo>
                    <a:lnTo>
                      <a:pt x="144" y="156"/>
                    </a:lnTo>
                    <a:lnTo>
                      <a:pt x="138" y="156"/>
                    </a:lnTo>
                    <a:lnTo>
                      <a:pt x="138" y="162"/>
                    </a:lnTo>
                    <a:lnTo>
                      <a:pt x="132" y="162"/>
                    </a:lnTo>
                    <a:lnTo>
                      <a:pt x="132" y="168"/>
                    </a:lnTo>
                    <a:lnTo>
                      <a:pt x="132" y="174"/>
                    </a:lnTo>
                    <a:lnTo>
                      <a:pt x="132" y="180"/>
                    </a:lnTo>
                    <a:lnTo>
                      <a:pt x="132" y="186"/>
                    </a:lnTo>
                    <a:lnTo>
                      <a:pt x="126" y="186"/>
                    </a:lnTo>
                    <a:lnTo>
                      <a:pt x="120" y="186"/>
                    </a:lnTo>
                    <a:lnTo>
                      <a:pt x="114" y="186"/>
                    </a:lnTo>
                    <a:lnTo>
                      <a:pt x="114" y="192"/>
                    </a:lnTo>
                    <a:lnTo>
                      <a:pt x="114" y="198"/>
                    </a:lnTo>
                    <a:lnTo>
                      <a:pt x="114" y="204"/>
                    </a:lnTo>
                    <a:lnTo>
                      <a:pt x="108" y="204"/>
                    </a:lnTo>
                    <a:lnTo>
                      <a:pt x="114" y="204"/>
                    </a:lnTo>
                    <a:lnTo>
                      <a:pt x="114" y="210"/>
                    </a:lnTo>
                    <a:lnTo>
                      <a:pt x="108" y="210"/>
                    </a:lnTo>
                    <a:lnTo>
                      <a:pt x="114" y="210"/>
                    </a:lnTo>
                    <a:lnTo>
                      <a:pt x="114" y="216"/>
                    </a:lnTo>
                    <a:lnTo>
                      <a:pt x="114" y="222"/>
                    </a:lnTo>
                    <a:lnTo>
                      <a:pt x="108" y="222"/>
                    </a:lnTo>
                    <a:lnTo>
                      <a:pt x="108" y="228"/>
                    </a:lnTo>
                    <a:lnTo>
                      <a:pt x="108" y="234"/>
                    </a:lnTo>
                    <a:lnTo>
                      <a:pt x="114" y="234"/>
                    </a:lnTo>
                    <a:lnTo>
                      <a:pt x="114" y="240"/>
                    </a:lnTo>
                    <a:lnTo>
                      <a:pt x="108" y="240"/>
                    </a:lnTo>
                    <a:lnTo>
                      <a:pt x="108" y="246"/>
                    </a:lnTo>
                    <a:lnTo>
                      <a:pt x="108" y="252"/>
                    </a:lnTo>
                    <a:lnTo>
                      <a:pt x="108" y="258"/>
                    </a:lnTo>
                    <a:lnTo>
                      <a:pt x="108" y="264"/>
                    </a:lnTo>
                    <a:lnTo>
                      <a:pt x="108" y="270"/>
                    </a:lnTo>
                    <a:lnTo>
                      <a:pt x="108" y="276"/>
                    </a:lnTo>
                    <a:lnTo>
                      <a:pt x="114" y="276"/>
                    </a:lnTo>
                    <a:lnTo>
                      <a:pt x="114" y="282"/>
                    </a:lnTo>
                    <a:lnTo>
                      <a:pt x="114" y="288"/>
                    </a:lnTo>
                    <a:lnTo>
                      <a:pt x="114" y="294"/>
                    </a:lnTo>
                    <a:lnTo>
                      <a:pt x="114" y="300"/>
                    </a:lnTo>
                    <a:lnTo>
                      <a:pt x="114" y="306"/>
                    </a:lnTo>
                    <a:lnTo>
                      <a:pt x="108" y="306"/>
                    </a:lnTo>
                    <a:lnTo>
                      <a:pt x="114" y="306"/>
                    </a:lnTo>
                    <a:lnTo>
                      <a:pt x="114" y="312"/>
                    </a:lnTo>
                    <a:lnTo>
                      <a:pt x="108" y="318"/>
                    </a:lnTo>
                    <a:lnTo>
                      <a:pt x="114" y="318"/>
                    </a:lnTo>
                    <a:lnTo>
                      <a:pt x="114" y="324"/>
                    </a:lnTo>
                    <a:lnTo>
                      <a:pt x="108" y="324"/>
                    </a:lnTo>
                    <a:lnTo>
                      <a:pt x="114" y="330"/>
                    </a:lnTo>
                    <a:lnTo>
                      <a:pt x="108" y="330"/>
                    </a:lnTo>
                    <a:lnTo>
                      <a:pt x="108" y="336"/>
                    </a:lnTo>
                    <a:lnTo>
                      <a:pt x="108" y="34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0" name="Freeform 27"/>
              <p:cNvSpPr>
                <a:spLocks/>
              </p:cNvSpPr>
              <p:nvPr>
                <p:custDataLst>
                  <p:tags r:id="rId27"/>
                </p:custDataLst>
              </p:nvPr>
            </p:nvSpPr>
            <p:spPr bwMode="gray">
              <a:xfrm>
                <a:off x="2001732" y="546329"/>
                <a:ext cx="1104461" cy="818127"/>
              </a:xfrm>
              <a:custGeom>
                <a:avLst/>
                <a:gdLst>
                  <a:gd name="T0" fmla="*/ 60190 w 876"/>
                  <a:gd name="T1" fmla="*/ 237877 h 696"/>
                  <a:gd name="T2" fmla="*/ 49511 w 876"/>
                  <a:gd name="T3" fmla="*/ 233041 h 696"/>
                  <a:gd name="T4" fmla="*/ 42716 w 876"/>
                  <a:gd name="T5" fmla="*/ 241744 h 696"/>
                  <a:gd name="T6" fmla="*/ 40774 w 876"/>
                  <a:gd name="T7" fmla="*/ 229174 h 696"/>
                  <a:gd name="T8" fmla="*/ 26211 w 876"/>
                  <a:gd name="T9" fmla="*/ 227240 h 696"/>
                  <a:gd name="T10" fmla="*/ 14562 w 876"/>
                  <a:gd name="T11" fmla="*/ 216603 h 696"/>
                  <a:gd name="T12" fmla="*/ 19416 w 876"/>
                  <a:gd name="T13" fmla="*/ 212735 h 696"/>
                  <a:gd name="T14" fmla="*/ 8737 w 876"/>
                  <a:gd name="T15" fmla="*/ 204032 h 696"/>
                  <a:gd name="T16" fmla="*/ 1942 w 876"/>
                  <a:gd name="T17" fmla="*/ 195329 h 696"/>
                  <a:gd name="T18" fmla="*/ 0 w 876"/>
                  <a:gd name="T19" fmla="*/ 182759 h 696"/>
                  <a:gd name="T20" fmla="*/ 10678 w 876"/>
                  <a:gd name="T21" fmla="*/ 177924 h 696"/>
                  <a:gd name="T22" fmla="*/ 23299 w 876"/>
                  <a:gd name="T23" fmla="*/ 172122 h 696"/>
                  <a:gd name="T24" fmla="*/ 42716 w 876"/>
                  <a:gd name="T25" fmla="*/ 172122 h 696"/>
                  <a:gd name="T26" fmla="*/ 62132 w 876"/>
                  <a:gd name="T27" fmla="*/ 172122 h 696"/>
                  <a:gd name="T28" fmla="*/ 72810 w 876"/>
                  <a:gd name="T29" fmla="*/ 163420 h 696"/>
                  <a:gd name="T30" fmla="*/ 76693 w 876"/>
                  <a:gd name="T31" fmla="*/ 144080 h 696"/>
                  <a:gd name="T32" fmla="*/ 79605 w 876"/>
                  <a:gd name="T33" fmla="*/ 127641 h 696"/>
                  <a:gd name="T34" fmla="*/ 79605 w 876"/>
                  <a:gd name="T35" fmla="*/ 108301 h 696"/>
                  <a:gd name="T36" fmla="*/ 83489 w 876"/>
                  <a:gd name="T37" fmla="*/ 93797 h 696"/>
                  <a:gd name="T38" fmla="*/ 102905 w 876"/>
                  <a:gd name="T39" fmla="*/ 88962 h 696"/>
                  <a:gd name="T40" fmla="*/ 120379 w 876"/>
                  <a:gd name="T41" fmla="*/ 78325 h 696"/>
                  <a:gd name="T42" fmla="*/ 132029 w 876"/>
                  <a:gd name="T43" fmla="*/ 67689 h 696"/>
                  <a:gd name="T44" fmla="*/ 145620 w 876"/>
                  <a:gd name="T45" fmla="*/ 55118 h 696"/>
                  <a:gd name="T46" fmla="*/ 158240 w 876"/>
                  <a:gd name="T47" fmla="*/ 48349 h 696"/>
                  <a:gd name="T48" fmla="*/ 170861 w 876"/>
                  <a:gd name="T49" fmla="*/ 40613 h 696"/>
                  <a:gd name="T50" fmla="*/ 186394 w 876"/>
                  <a:gd name="T51" fmla="*/ 29977 h 696"/>
                  <a:gd name="T52" fmla="*/ 199014 w 876"/>
                  <a:gd name="T53" fmla="*/ 21274 h 696"/>
                  <a:gd name="T54" fmla="*/ 214547 w 876"/>
                  <a:gd name="T55" fmla="*/ 12571 h 696"/>
                  <a:gd name="T56" fmla="*/ 229109 w 876"/>
                  <a:gd name="T57" fmla="*/ 3868 h 696"/>
                  <a:gd name="T58" fmla="*/ 244642 w 876"/>
                  <a:gd name="T59" fmla="*/ 1934 h 696"/>
                  <a:gd name="T60" fmla="*/ 263088 w 876"/>
                  <a:gd name="T61" fmla="*/ 6769 h 696"/>
                  <a:gd name="T62" fmla="*/ 273766 w 876"/>
                  <a:gd name="T63" fmla="*/ 14505 h 696"/>
                  <a:gd name="T64" fmla="*/ 295124 w 876"/>
                  <a:gd name="T65" fmla="*/ 17406 h 696"/>
                  <a:gd name="T66" fmla="*/ 298036 w 876"/>
                  <a:gd name="T67" fmla="*/ 37712 h 696"/>
                  <a:gd name="T68" fmla="*/ 303861 w 876"/>
                  <a:gd name="T69" fmla="*/ 51250 h 696"/>
                  <a:gd name="T70" fmla="*/ 312598 w 876"/>
                  <a:gd name="T71" fmla="*/ 65754 h 696"/>
                  <a:gd name="T72" fmla="*/ 308715 w 876"/>
                  <a:gd name="T73" fmla="*/ 85094 h 696"/>
                  <a:gd name="T74" fmla="*/ 305802 w 876"/>
                  <a:gd name="T75" fmla="*/ 101532 h 696"/>
                  <a:gd name="T76" fmla="*/ 303861 w 876"/>
                  <a:gd name="T77" fmla="*/ 120872 h 696"/>
                  <a:gd name="T78" fmla="*/ 301919 w 876"/>
                  <a:gd name="T79" fmla="*/ 140212 h 696"/>
                  <a:gd name="T80" fmla="*/ 289299 w 876"/>
                  <a:gd name="T81" fmla="*/ 154717 h 696"/>
                  <a:gd name="T82" fmla="*/ 280562 w 876"/>
                  <a:gd name="T83" fmla="*/ 165353 h 696"/>
                  <a:gd name="T84" fmla="*/ 269883 w 876"/>
                  <a:gd name="T85" fmla="*/ 177924 h 696"/>
                  <a:gd name="T86" fmla="*/ 263088 w 876"/>
                  <a:gd name="T87" fmla="*/ 191461 h 696"/>
                  <a:gd name="T88" fmla="*/ 265029 w 876"/>
                  <a:gd name="T89" fmla="*/ 204032 h 696"/>
                  <a:gd name="T90" fmla="*/ 252408 w 876"/>
                  <a:gd name="T91" fmla="*/ 209834 h 696"/>
                  <a:gd name="T92" fmla="*/ 245613 w 876"/>
                  <a:gd name="T93" fmla="*/ 214669 h 696"/>
                  <a:gd name="T94" fmla="*/ 241730 w 876"/>
                  <a:gd name="T95" fmla="*/ 216603 h 696"/>
                  <a:gd name="T96" fmla="*/ 232992 w 876"/>
                  <a:gd name="T97" fmla="*/ 216603 h 696"/>
                  <a:gd name="T98" fmla="*/ 215518 w 876"/>
                  <a:gd name="T99" fmla="*/ 212735 h 696"/>
                  <a:gd name="T100" fmla="*/ 199014 w 876"/>
                  <a:gd name="T101" fmla="*/ 214669 h 696"/>
                  <a:gd name="T102" fmla="*/ 186394 w 876"/>
                  <a:gd name="T103" fmla="*/ 222405 h 696"/>
                  <a:gd name="T104" fmla="*/ 168920 w 876"/>
                  <a:gd name="T105" fmla="*/ 220471 h 696"/>
                  <a:gd name="T106" fmla="*/ 156299 w 876"/>
                  <a:gd name="T107" fmla="*/ 214669 h 696"/>
                  <a:gd name="T108" fmla="*/ 143679 w 876"/>
                  <a:gd name="T109" fmla="*/ 216603 h 696"/>
                  <a:gd name="T110" fmla="*/ 131059 w 876"/>
                  <a:gd name="T111" fmla="*/ 214669 h 696"/>
                  <a:gd name="T112" fmla="*/ 115526 w 876"/>
                  <a:gd name="T113" fmla="*/ 205966 h 696"/>
                  <a:gd name="T114" fmla="*/ 98051 w 876"/>
                  <a:gd name="T115" fmla="*/ 204032 h 696"/>
                  <a:gd name="T116" fmla="*/ 81547 w 876"/>
                  <a:gd name="T117" fmla="*/ 205966 h 696"/>
                  <a:gd name="T118" fmla="*/ 76693 w 876"/>
                  <a:gd name="T119" fmla="*/ 220471 h 696"/>
                  <a:gd name="T120" fmla="*/ 67957 w 876"/>
                  <a:gd name="T121" fmla="*/ 232075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696">
                    <a:moveTo>
                      <a:pt x="192" y="696"/>
                    </a:moveTo>
                    <a:lnTo>
                      <a:pt x="186" y="696"/>
                    </a:lnTo>
                    <a:lnTo>
                      <a:pt x="186" y="690"/>
                    </a:lnTo>
                    <a:lnTo>
                      <a:pt x="186" y="684"/>
                    </a:lnTo>
                    <a:lnTo>
                      <a:pt x="180" y="684"/>
                    </a:lnTo>
                    <a:lnTo>
                      <a:pt x="174" y="684"/>
                    </a:lnTo>
                    <a:lnTo>
                      <a:pt x="174" y="678"/>
                    </a:lnTo>
                    <a:lnTo>
                      <a:pt x="168" y="678"/>
                    </a:lnTo>
                    <a:lnTo>
                      <a:pt x="168" y="672"/>
                    </a:lnTo>
                    <a:lnTo>
                      <a:pt x="162" y="672"/>
                    </a:lnTo>
                    <a:lnTo>
                      <a:pt x="162" y="666"/>
                    </a:lnTo>
                    <a:lnTo>
                      <a:pt x="156" y="666"/>
                    </a:lnTo>
                    <a:lnTo>
                      <a:pt x="156" y="660"/>
                    </a:lnTo>
                    <a:lnTo>
                      <a:pt x="150" y="660"/>
                    </a:lnTo>
                    <a:lnTo>
                      <a:pt x="150" y="654"/>
                    </a:lnTo>
                    <a:lnTo>
                      <a:pt x="144" y="654"/>
                    </a:lnTo>
                    <a:lnTo>
                      <a:pt x="138" y="654"/>
                    </a:lnTo>
                    <a:lnTo>
                      <a:pt x="138" y="660"/>
                    </a:lnTo>
                    <a:lnTo>
                      <a:pt x="132" y="660"/>
                    </a:lnTo>
                    <a:lnTo>
                      <a:pt x="126" y="660"/>
                    </a:lnTo>
                    <a:lnTo>
                      <a:pt x="120" y="660"/>
                    </a:lnTo>
                    <a:lnTo>
                      <a:pt x="120" y="666"/>
                    </a:lnTo>
                    <a:lnTo>
                      <a:pt x="120" y="672"/>
                    </a:lnTo>
                    <a:lnTo>
                      <a:pt x="126" y="672"/>
                    </a:lnTo>
                    <a:lnTo>
                      <a:pt x="126" y="678"/>
                    </a:lnTo>
                    <a:lnTo>
                      <a:pt x="120" y="678"/>
                    </a:lnTo>
                    <a:lnTo>
                      <a:pt x="120" y="684"/>
                    </a:lnTo>
                    <a:lnTo>
                      <a:pt x="120" y="678"/>
                    </a:lnTo>
                    <a:lnTo>
                      <a:pt x="114" y="672"/>
                    </a:lnTo>
                    <a:lnTo>
                      <a:pt x="108" y="666"/>
                    </a:lnTo>
                    <a:lnTo>
                      <a:pt x="108" y="660"/>
                    </a:lnTo>
                    <a:lnTo>
                      <a:pt x="102" y="660"/>
                    </a:lnTo>
                    <a:lnTo>
                      <a:pt x="102" y="654"/>
                    </a:lnTo>
                    <a:lnTo>
                      <a:pt x="108" y="654"/>
                    </a:lnTo>
                    <a:lnTo>
                      <a:pt x="114" y="654"/>
                    </a:lnTo>
                    <a:lnTo>
                      <a:pt x="114" y="648"/>
                    </a:lnTo>
                    <a:lnTo>
                      <a:pt x="114" y="642"/>
                    </a:lnTo>
                    <a:lnTo>
                      <a:pt x="108" y="642"/>
                    </a:lnTo>
                    <a:lnTo>
                      <a:pt x="108" y="636"/>
                    </a:lnTo>
                    <a:lnTo>
                      <a:pt x="102" y="636"/>
                    </a:lnTo>
                    <a:lnTo>
                      <a:pt x="96" y="636"/>
                    </a:lnTo>
                    <a:lnTo>
                      <a:pt x="90" y="642"/>
                    </a:lnTo>
                    <a:lnTo>
                      <a:pt x="84" y="642"/>
                    </a:lnTo>
                    <a:lnTo>
                      <a:pt x="78" y="642"/>
                    </a:lnTo>
                    <a:lnTo>
                      <a:pt x="72" y="642"/>
                    </a:lnTo>
                    <a:lnTo>
                      <a:pt x="72" y="636"/>
                    </a:lnTo>
                    <a:lnTo>
                      <a:pt x="66" y="636"/>
                    </a:lnTo>
                    <a:lnTo>
                      <a:pt x="66" y="630"/>
                    </a:lnTo>
                    <a:lnTo>
                      <a:pt x="60" y="630"/>
                    </a:lnTo>
                    <a:lnTo>
                      <a:pt x="60" y="624"/>
                    </a:lnTo>
                    <a:lnTo>
                      <a:pt x="54" y="624"/>
                    </a:lnTo>
                    <a:lnTo>
                      <a:pt x="48" y="618"/>
                    </a:lnTo>
                    <a:lnTo>
                      <a:pt x="42" y="618"/>
                    </a:lnTo>
                    <a:lnTo>
                      <a:pt x="42" y="612"/>
                    </a:lnTo>
                    <a:lnTo>
                      <a:pt x="42" y="606"/>
                    </a:lnTo>
                    <a:lnTo>
                      <a:pt x="42" y="600"/>
                    </a:lnTo>
                    <a:lnTo>
                      <a:pt x="48" y="600"/>
                    </a:lnTo>
                    <a:lnTo>
                      <a:pt x="54" y="600"/>
                    </a:lnTo>
                    <a:lnTo>
                      <a:pt x="60" y="600"/>
                    </a:lnTo>
                    <a:lnTo>
                      <a:pt x="60" y="594"/>
                    </a:lnTo>
                    <a:lnTo>
                      <a:pt x="54" y="600"/>
                    </a:lnTo>
                    <a:lnTo>
                      <a:pt x="54" y="594"/>
                    </a:lnTo>
                    <a:lnTo>
                      <a:pt x="54" y="600"/>
                    </a:lnTo>
                    <a:lnTo>
                      <a:pt x="54" y="594"/>
                    </a:lnTo>
                    <a:lnTo>
                      <a:pt x="48" y="594"/>
                    </a:lnTo>
                    <a:lnTo>
                      <a:pt x="48" y="588"/>
                    </a:lnTo>
                    <a:lnTo>
                      <a:pt x="42" y="588"/>
                    </a:lnTo>
                    <a:lnTo>
                      <a:pt x="42" y="582"/>
                    </a:lnTo>
                    <a:lnTo>
                      <a:pt x="36" y="582"/>
                    </a:lnTo>
                    <a:lnTo>
                      <a:pt x="30" y="582"/>
                    </a:lnTo>
                    <a:lnTo>
                      <a:pt x="24" y="582"/>
                    </a:lnTo>
                    <a:lnTo>
                      <a:pt x="24" y="576"/>
                    </a:lnTo>
                    <a:lnTo>
                      <a:pt x="18" y="576"/>
                    </a:lnTo>
                    <a:lnTo>
                      <a:pt x="18" y="570"/>
                    </a:lnTo>
                    <a:lnTo>
                      <a:pt x="12" y="570"/>
                    </a:lnTo>
                    <a:lnTo>
                      <a:pt x="12" y="564"/>
                    </a:lnTo>
                    <a:lnTo>
                      <a:pt x="18" y="564"/>
                    </a:lnTo>
                    <a:lnTo>
                      <a:pt x="12" y="564"/>
                    </a:lnTo>
                    <a:lnTo>
                      <a:pt x="12" y="558"/>
                    </a:lnTo>
                    <a:lnTo>
                      <a:pt x="6" y="558"/>
                    </a:lnTo>
                    <a:lnTo>
                      <a:pt x="6" y="552"/>
                    </a:lnTo>
                    <a:lnTo>
                      <a:pt x="12" y="552"/>
                    </a:lnTo>
                    <a:lnTo>
                      <a:pt x="12" y="546"/>
                    </a:lnTo>
                    <a:lnTo>
                      <a:pt x="6" y="546"/>
                    </a:lnTo>
                    <a:lnTo>
                      <a:pt x="6" y="540"/>
                    </a:lnTo>
                    <a:lnTo>
                      <a:pt x="0" y="540"/>
                    </a:lnTo>
                    <a:lnTo>
                      <a:pt x="0" y="534"/>
                    </a:lnTo>
                    <a:lnTo>
                      <a:pt x="0" y="528"/>
                    </a:lnTo>
                    <a:lnTo>
                      <a:pt x="0" y="522"/>
                    </a:lnTo>
                    <a:lnTo>
                      <a:pt x="0" y="516"/>
                    </a:lnTo>
                    <a:lnTo>
                      <a:pt x="0" y="510"/>
                    </a:lnTo>
                    <a:lnTo>
                      <a:pt x="0" y="504"/>
                    </a:lnTo>
                    <a:lnTo>
                      <a:pt x="6" y="504"/>
                    </a:lnTo>
                    <a:lnTo>
                      <a:pt x="12" y="504"/>
                    </a:lnTo>
                    <a:lnTo>
                      <a:pt x="18" y="504"/>
                    </a:lnTo>
                    <a:lnTo>
                      <a:pt x="24" y="504"/>
                    </a:lnTo>
                    <a:lnTo>
                      <a:pt x="24" y="510"/>
                    </a:lnTo>
                    <a:lnTo>
                      <a:pt x="30" y="510"/>
                    </a:lnTo>
                    <a:lnTo>
                      <a:pt x="30" y="504"/>
                    </a:lnTo>
                    <a:lnTo>
                      <a:pt x="36" y="504"/>
                    </a:lnTo>
                    <a:lnTo>
                      <a:pt x="42" y="504"/>
                    </a:lnTo>
                    <a:lnTo>
                      <a:pt x="48" y="504"/>
                    </a:lnTo>
                    <a:lnTo>
                      <a:pt x="48" y="498"/>
                    </a:lnTo>
                    <a:lnTo>
                      <a:pt x="54" y="498"/>
                    </a:lnTo>
                    <a:lnTo>
                      <a:pt x="54" y="492"/>
                    </a:lnTo>
                    <a:lnTo>
                      <a:pt x="60" y="492"/>
                    </a:lnTo>
                    <a:lnTo>
                      <a:pt x="66" y="492"/>
                    </a:lnTo>
                    <a:lnTo>
                      <a:pt x="66" y="486"/>
                    </a:lnTo>
                    <a:lnTo>
                      <a:pt x="72" y="486"/>
                    </a:lnTo>
                    <a:lnTo>
                      <a:pt x="78" y="486"/>
                    </a:lnTo>
                    <a:lnTo>
                      <a:pt x="84" y="486"/>
                    </a:lnTo>
                    <a:lnTo>
                      <a:pt x="90" y="486"/>
                    </a:lnTo>
                    <a:lnTo>
                      <a:pt x="96" y="486"/>
                    </a:lnTo>
                    <a:lnTo>
                      <a:pt x="102" y="486"/>
                    </a:lnTo>
                    <a:lnTo>
                      <a:pt x="108" y="486"/>
                    </a:lnTo>
                    <a:lnTo>
                      <a:pt x="114" y="486"/>
                    </a:lnTo>
                    <a:lnTo>
                      <a:pt x="120" y="486"/>
                    </a:lnTo>
                    <a:lnTo>
                      <a:pt x="126" y="486"/>
                    </a:lnTo>
                    <a:lnTo>
                      <a:pt x="132" y="486"/>
                    </a:lnTo>
                    <a:lnTo>
                      <a:pt x="138" y="486"/>
                    </a:lnTo>
                    <a:lnTo>
                      <a:pt x="144" y="486"/>
                    </a:lnTo>
                    <a:lnTo>
                      <a:pt x="150" y="486"/>
                    </a:lnTo>
                    <a:lnTo>
                      <a:pt x="156" y="486"/>
                    </a:lnTo>
                    <a:lnTo>
                      <a:pt x="162" y="486"/>
                    </a:lnTo>
                    <a:lnTo>
                      <a:pt x="168" y="486"/>
                    </a:lnTo>
                    <a:lnTo>
                      <a:pt x="174" y="486"/>
                    </a:lnTo>
                    <a:lnTo>
                      <a:pt x="180" y="486"/>
                    </a:lnTo>
                    <a:lnTo>
                      <a:pt x="186" y="486"/>
                    </a:lnTo>
                    <a:lnTo>
                      <a:pt x="186" y="480"/>
                    </a:lnTo>
                    <a:lnTo>
                      <a:pt x="186" y="474"/>
                    </a:lnTo>
                    <a:lnTo>
                      <a:pt x="192" y="474"/>
                    </a:lnTo>
                    <a:lnTo>
                      <a:pt x="192" y="468"/>
                    </a:lnTo>
                    <a:lnTo>
                      <a:pt x="198" y="468"/>
                    </a:lnTo>
                    <a:lnTo>
                      <a:pt x="204" y="468"/>
                    </a:lnTo>
                    <a:lnTo>
                      <a:pt x="204" y="462"/>
                    </a:lnTo>
                    <a:lnTo>
                      <a:pt x="204" y="456"/>
                    </a:lnTo>
                    <a:lnTo>
                      <a:pt x="210" y="450"/>
                    </a:lnTo>
                    <a:lnTo>
                      <a:pt x="210" y="444"/>
                    </a:lnTo>
                    <a:lnTo>
                      <a:pt x="210" y="438"/>
                    </a:lnTo>
                    <a:lnTo>
                      <a:pt x="216" y="432"/>
                    </a:lnTo>
                    <a:lnTo>
                      <a:pt x="216" y="426"/>
                    </a:lnTo>
                    <a:lnTo>
                      <a:pt x="216" y="420"/>
                    </a:lnTo>
                    <a:lnTo>
                      <a:pt x="216" y="414"/>
                    </a:lnTo>
                    <a:lnTo>
                      <a:pt x="216" y="408"/>
                    </a:lnTo>
                    <a:lnTo>
                      <a:pt x="216" y="402"/>
                    </a:lnTo>
                    <a:lnTo>
                      <a:pt x="216" y="396"/>
                    </a:lnTo>
                    <a:lnTo>
                      <a:pt x="216" y="390"/>
                    </a:lnTo>
                    <a:lnTo>
                      <a:pt x="222" y="390"/>
                    </a:lnTo>
                    <a:lnTo>
                      <a:pt x="222" y="384"/>
                    </a:lnTo>
                    <a:lnTo>
                      <a:pt x="222" y="378"/>
                    </a:lnTo>
                    <a:lnTo>
                      <a:pt x="222" y="372"/>
                    </a:lnTo>
                    <a:lnTo>
                      <a:pt x="222" y="366"/>
                    </a:lnTo>
                    <a:lnTo>
                      <a:pt x="222" y="360"/>
                    </a:lnTo>
                    <a:lnTo>
                      <a:pt x="222" y="354"/>
                    </a:lnTo>
                    <a:lnTo>
                      <a:pt x="222" y="348"/>
                    </a:lnTo>
                    <a:lnTo>
                      <a:pt x="222" y="342"/>
                    </a:lnTo>
                    <a:lnTo>
                      <a:pt x="222" y="336"/>
                    </a:lnTo>
                    <a:lnTo>
                      <a:pt x="222" y="330"/>
                    </a:lnTo>
                    <a:lnTo>
                      <a:pt x="222" y="324"/>
                    </a:lnTo>
                    <a:lnTo>
                      <a:pt x="222" y="318"/>
                    </a:lnTo>
                    <a:lnTo>
                      <a:pt x="222" y="312"/>
                    </a:lnTo>
                    <a:lnTo>
                      <a:pt x="222" y="306"/>
                    </a:lnTo>
                    <a:lnTo>
                      <a:pt x="222" y="300"/>
                    </a:lnTo>
                    <a:lnTo>
                      <a:pt x="222" y="294"/>
                    </a:lnTo>
                    <a:lnTo>
                      <a:pt x="222" y="288"/>
                    </a:lnTo>
                    <a:lnTo>
                      <a:pt x="222" y="282"/>
                    </a:lnTo>
                    <a:lnTo>
                      <a:pt x="222" y="276"/>
                    </a:lnTo>
                    <a:lnTo>
                      <a:pt x="222" y="270"/>
                    </a:lnTo>
                    <a:lnTo>
                      <a:pt x="222" y="264"/>
                    </a:lnTo>
                    <a:lnTo>
                      <a:pt x="228" y="264"/>
                    </a:lnTo>
                    <a:lnTo>
                      <a:pt x="234" y="264"/>
                    </a:lnTo>
                    <a:lnTo>
                      <a:pt x="240" y="258"/>
                    </a:lnTo>
                    <a:lnTo>
                      <a:pt x="246" y="258"/>
                    </a:lnTo>
                    <a:lnTo>
                      <a:pt x="252" y="258"/>
                    </a:lnTo>
                    <a:lnTo>
                      <a:pt x="258" y="258"/>
                    </a:lnTo>
                    <a:lnTo>
                      <a:pt x="264" y="258"/>
                    </a:lnTo>
                    <a:lnTo>
                      <a:pt x="270" y="252"/>
                    </a:lnTo>
                    <a:lnTo>
                      <a:pt x="276" y="252"/>
                    </a:lnTo>
                    <a:lnTo>
                      <a:pt x="282" y="252"/>
                    </a:lnTo>
                    <a:lnTo>
                      <a:pt x="288" y="252"/>
                    </a:lnTo>
                    <a:lnTo>
                      <a:pt x="294" y="252"/>
                    </a:lnTo>
                    <a:lnTo>
                      <a:pt x="300" y="252"/>
                    </a:lnTo>
                    <a:lnTo>
                      <a:pt x="306" y="246"/>
                    </a:lnTo>
                    <a:lnTo>
                      <a:pt x="312" y="246"/>
                    </a:lnTo>
                    <a:lnTo>
                      <a:pt x="318" y="240"/>
                    </a:lnTo>
                    <a:lnTo>
                      <a:pt x="324" y="234"/>
                    </a:lnTo>
                    <a:lnTo>
                      <a:pt x="330" y="228"/>
                    </a:lnTo>
                    <a:lnTo>
                      <a:pt x="336" y="228"/>
                    </a:lnTo>
                    <a:lnTo>
                      <a:pt x="336" y="222"/>
                    </a:lnTo>
                    <a:lnTo>
                      <a:pt x="342" y="216"/>
                    </a:lnTo>
                    <a:lnTo>
                      <a:pt x="348" y="210"/>
                    </a:lnTo>
                    <a:lnTo>
                      <a:pt x="354" y="210"/>
                    </a:lnTo>
                    <a:lnTo>
                      <a:pt x="354" y="204"/>
                    </a:lnTo>
                    <a:lnTo>
                      <a:pt x="360" y="204"/>
                    </a:lnTo>
                    <a:lnTo>
                      <a:pt x="360" y="198"/>
                    </a:lnTo>
                    <a:lnTo>
                      <a:pt x="366" y="198"/>
                    </a:lnTo>
                    <a:lnTo>
                      <a:pt x="366" y="192"/>
                    </a:lnTo>
                    <a:lnTo>
                      <a:pt x="372" y="192"/>
                    </a:lnTo>
                    <a:lnTo>
                      <a:pt x="372" y="186"/>
                    </a:lnTo>
                    <a:lnTo>
                      <a:pt x="378" y="186"/>
                    </a:lnTo>
                    <a:lnTo>
                      <a:pt x="384" y="180"/>
                    </a:lnTo>
                    <a:lnTo>
                      <a:pt x="384" y="174"/>
                    </a:lnTo>
                    <a:lnTo>
                      <a:pt x="390" y="174"/>
                    </a:lnTo>
                    <a:lnTo>
                      <a:pt x="396" y="168"/>
                    </a:lnTo>
                    <a:lnTo>
                      <a:pt x="402" y="162"/>
                    </a:lnTo>
                    <a:lnTo>
                      <a:pt x="408" y="162"/>
                    </a:lnTo>
                    <a:lnTo>
                      <a:pt x="408" y="156"/>
                    </a:lnTo>
                    <a:lnTo>
                      <a:pt x="414" y="156"/>
                    </a:lnTo>
                    <a:lnTo>
                      <a:pt x="420" y="156"/>
                    </a:lnTo>
                    <a:lnTo>
                      <a:pt x="420" y="150"/>
                    </a:lnTo>
                    <a:lnTo>
                      <a:pt x="426" y="150"/>
                    </a:lnTo>
                    <a:lnTo>
                      <a:pt x="426" y="144"/>
                    </a:lnTo>
                    <a:lnTo>
                      <a:pt x="432" y="144"/>
                    </a:lnTo>
                    <a:lnTo>
                      <a:pt x="438" y="144"/>
                    </a:lnTo>
                    <a:lnTo>
                      <a:pt x="438" y="138"/>
                    </a:lnTo>
                    <a:lnTo>
                      <a:pt x="444" y="138"/>
                    </a:lnTo>
                    <a:lnTo>
                      <a:pt x="450" y="132"/>
                    </a:lnTo>
                    <a:lnTo>
                      <a:pt x="456" y="132"/>
                    </a:lnTo>
                    <a:lnTo>
                      <a:pt x="456" y="126"/>
                    </a:lnTo>
                    <a:lnTo>
                      <a:pt x="462" y="126"/>
                    </a:lnTo>
                    <a:lnTo>
                      <a:pt x="462" y="120"/>
                    </a:lnTo>
                    <a:lnTo>
                      <a:pt x="468" y="120"/>
                    </a:lnTo>
                    <a:lnTo>
                      <a:pt x="474" y="120"/>
                    </a:lnTo>
                    <a:lnTo>
                      <a:pt x="474" y="114"/>
                    </a:lnTo>
                    <a:lnTo>
                      <a:pt x="480" y="114"/>
                    </a:lnTo>
                    <a:lnTo>
                      <a:pt x="486" y="108"/>
                    </a:lnTo>
                    <a:lnTo>
                      <a:pt x="492" y="108"/>
                    </a:lnTo>
                    <a:lnTo>
                      <a:pt x="492" y="102"/>
                    </a:lnTo>
                    <a:lnTo>
                      <a:pt x="498" y="102"/>
                    </a:lnTo>
                    <a:lnTo>
                      <a:pt x="504" y="96"/>
                    </a:lnTo>
                    <a:lnTo>
                      <a:pt x="510" y="96"/>
                    </a:lnTo>
                    <a:lnTo>
                      <a:pt x="510" y="90"/>
                    </a:lnTo>
                    <a:lnTo>
                      <a:pt x="516" y="90"/>
                    </a:lnTo>
                    <a:lnTo>
                      <a:pt x="522" y="84"/>
                    </a:lnTo>
                    <a:lnTo>
                      <a:pt x="528" y="84"/>
                    </a:lnTo>
                    <a:lnTo>
                      <a:pt x="528" y="78"/>
                    </a:lnTo>
                    <a:lnTo>
                      <a:pt x="534" y="78"/>
                    </a:lnTo>
                    <a:lnTo>
                      <a:pt x="540" y="78"/>
                    </a:lnTo>
                    <a:lnTo>
                      <a:pt x="540" y="72"/>
                    </a:lnTo>
                    <a:lnTo>
                      <a:pt x="546" y="72"/>
                    </a:lnTo>
                    <a:lnTo>
                      <a:pt x="552" y="66"/>
                    </a:lnTo>
                    <a:lnTo>
                      <a:pt x="558" y="66"/>
                    </a:lnTo>
                    <a:lnTo>
                      <a:pt x="558" y="60"/>
                    </a:lnTo>
                    <a:lnTo>
                      <a:pt x="564" y="60"/>
                    </a:lnTo>
                    <a:lnTo>
                      <a:pt x="570" y="54"/>
                    </a:lnTo>
                    <a:lnTo>
                      <a:pt x="576" y="54"/>
                    </a:lnTo>
                    <a:lnTo>
                      <a:pt x="576" y="48"/>
                    </a:lnTo>
                    <a:lnTo>
                      <a:pt x="582" y="48"/>
                    </a:lnTo>
                    <a:lnTo>
                      <a:pt x="588" y="48"/>
                    </a:lnTo>
                    <a:lnTo>
                      <a:pt x="588" y="42"/>
                    </a:lnTo>
                    <a:lnTo>
                      <a:pt x="594" y="36"/>
                    </a:lnTo>
                    <a:lnTo>
                      <a:pt x="600" y="36"/>
                    </a:lnTo>
                    <a:lnTo>
                      <a:pt x="606" y="36"/>
                    </a:lnTo>
                    <a:lnTo>
                      <a:pt x="606" y="30"/>
                    </a:lnTo>
                    <a:lnTo>
                      <a:pt x="612" y="30"/>
                    </a:lnTo>
                    <a:lnTo>
                      <a:pt x="618" y="24"/>
                    </a:lnTo>
                    <a:lnTo>
                      <a:pt x="624" y="24"/>
                    </a:lnTo>
                    <a:lnTo>
                      <a:pt x="624" y="18"/>
                    </a:lnTo>
                    <a:lnTo>
                      <a:pt x="630" y="18"/>
                    </a:lnTo>
                    <a:lnTo>
                      <a:pt x="636" y="12"/>
                    </a:lnTo>
                    <a:lnTo>
                      <a:pt x="642" y="12"/>
                    </a:lnTo>
                    <a:lnTo>
                      <a:pt x="642" y="6"/>
                    </a:lnTo>
                    <a:lnTo>
                      <a:pt x="648" y="6"/>
                    </a:lnTo>
                    <a:lnTo>
                      <a:pt x="654" y="6"/>
                    </a:lnTo>
                    <a:lnTo>
                      <a:pt x="654" y="0"/>
                    </a:lnTo>
                    <a:lnTo>
                      <a:pt x="660" y="6"/>
                    </a:lnTo>
                    <a:lnTo>
                      <a:pt x="666" y="6"/>
                    </a:lnTo>
                    <a:lnTo>
                      <a:pt x="672" y="6"/>
                    </a:lnTo>
                    <a:lnTo>
                      <a:pt x="678" y="6"/>
                    </a:lnTo>
                    <a:lnTo>
                      <a:pt x="684" y="6"/>
                    </a:lnTo>
                    <a:lnTo>
                      <a:pt x="690" y="12"/>
                    </a:lnTo>
                    <a:lnTo>
                      <a:pt x="696" y="12"/>
                    </a:lnTo>
                    <a:lnTo>
                      <a:pt x="702" y="12"/>
                    </a:lnTo>
                    <a:lnTo>
                      <a:pt x="708" y="12"/>
                    </a:lnTo>
                    <a:lnTo>
                      <a:pt x="714" y="18"/>
                    </a:lnTo>
                    <a:lnTo>
                      <a:pt x="720" y="18"/>
                    </a:lnTo>
                    <a:lnTo>
                      <a:pt x="726" y="18"/>
                    </a:lnTo>
                    <a:lnTo>
                      <a:pt x="732" y="18"/>
                    </a:lnTo>
                    <a:lnTo>
                      <a:pt x="738" y="18"/>
                    </a:lnTo>
                    <a:lnTo>
                      <a:pt x="738" y="24"/>
                    </a:lnTo>
                    <a:lnTo>
                      <a:pt x="744" y="24"/>
                    </a:lnTo>
                    <a:lnTo>
                      <a:pt x="750" y="24"/>
                    </a:lnTo>
                    <a:lnTo>
                      <a:pt x="750" y="30"/>
                    </a:lnTo>
                    <a:lnTo>
                      <a:pt x="756" y="30"/>
                    </a:lnTo>
                    <a:lnTo>
                      <a:pt x="756" y="36"/>
                    </a:lnTo>
                    <a:lnTo>
                      <a:pt x="762" y="36"/>
                    </a:lnTo>
                    <a:lnTo>
                      <a:pt x="762" y="42"/>
                    </a:lnTo>
                    <a:lnTo>
                      <a:pt x="768" y="42"/>
                    </a:lnTo>
                    <a:lnTo>
                      <a:pt x="768" y="48"/>
                    </a:lnTo>
                    <a:lnTo>
                      <a:pt x="774" y="48"/>
                    </a:lnTo>
                    <a:lnTo>
                      <a:pt x="774" y="54"/>
                    </a:lnTo>
                    <a:lnTo>
                      <a:pt x="780" y="54"/>
                    </a:lnTo>
                    <a:lnTo>
                      <a:pt x="822" y="30"/>
                    </a:lnTo>
                    <a:lnTo>
                      <a:pt x="822" y="36"/>
                    </a:lnTo>
                    <a:lnTo>
                      <a:pt x="822" y="42"/>
                    </a:lnTo>
                    <a:lnTo>
                      <a:pt x="828" y="42"/>
                    </a:lnTo>
                    <a:lnTo>
                      <a:pt x="828" y="48"/>
                    </a:lnTo>
                    <a:lnTo>
                      <a:pt x="828" y="54"/>
                    </a:lnTo>
                    <a:lnTo>
                      <a:pt x="828" y="66"/>
                    </a:lnTo>
                    <a:lnTo>
                      <a:pt x="828" y="72"/>
                    </a:lnTo>
                    <a:lnTo>
                      <a:pt x="834" y="78"/>
                    </a:lnTo>
                    <a:lnTo>
                      <a:pt x="834" y="84"/>
                    </a:lnTo>
                    <a:lnTo>
                      <a:pt x="834" y="90"/>
                    </a:lnTo>
                    <a:lnTo>
                      <a:pt x="834" y="96"/>
                    </a:lnTo>
                    <a:lnTo>
                      <a:pt x="834" y="102"/>
                    </a:lnTo>
                    <a:lnTo>
                      <a:pt x="834" y="108"/>
                    </a:lnTo>
                    <a:lnTo>
                      <a:pt x="834" y="114"/>
                    </a:lnTo>
                    <a:lnTo>
                      <a:pt x="834" y="120"/>
                    </a:lnTo>
                    <a:lnTo>
                      <a:pt x="834" y="126"/>
                    </a:lnTo>
                    <a:lnTo>
                      <a:pt x="840" y="126"/>
                    </a:lnTo>
                    <a:lnTo>
                      <a:pt x="840" y="132"/>
                    </a:lnTo>
                    <a:lnTo>
                      <a:pt x="846" y="132"/>
                    </a:lnTo>
                    <a:lnTo>
                      <a:pt x="846" y="138"/>
                    </a:lnTo>
                    <a:lnTo>
                      <a:pt x="846" y="144"/>
                    </a:lnTo>
                    <a:lnTo>
                      <a:pt x="852" y="144"/>
                    </a:lnTo>
                    <a:lnTo>
                      <a:pt x="858" y="150"/>
                    </a:lnTo>
                    <a:lnTo>
                      <a:pt x="858" y="156"/>
                    </a:lnTo>
                    <a:lnTo>
                      <a:pt x="852" y="156"/>
                    </a:lnTo>
                    <a:lnTo>
                      <a:pt x="852" y="162"/>
                    </a:lnTo>
                    <a:lnTo>
                      <a:pt x="858" y="168"/>
                    </a:lnTo>
                    <a:lnTo>
                      <a:pt x="864" y="174"/>
                    </a:lnTo>
                    <a:lnTo>
                      <a:pt x="870" y="180"/>
                    </a:lnTo>
                    <a:lnTo>
                      <a:pt x="870" y="186"/>
                    </a:lnTo>
                    <a:lnTo>
                      <a:pt x="876" y="186"/>
                    </a:lnTo>
                    <a:lnTo>
                      <a:pt x="876" y="192"/>
                    </a:lnTo>
                    <a:lnTo>
                      <a:pt x="876" y="198"/>
                    </a:lnTo>
                    <a:lnTo>
                      <a:pt x="876" y="204"/>
                    </a:lnTo>
                    <a:lnTo>
                      <a:pt x="870" y="210"/>
                    </a:lnTo>
                    <a:lnTo>
                      <a:pt x="864" y="216"/>
                    </a:lnTo>
                    <a:lnTo>
                      <a:pt x="864" y="222"/>
                    </a:lnTo>
                    <a:lnTo>
                      <a:pt x="864" y="228"/>
                    </a:lnTo>
                    <a:lnTo>
                      <a:pt x="864" y="234"/>
                    </a:lnTo>
                    <a:lnTo>
                      <a:pt x="864" y="240"/>
                    </a:lnTo>
                    <a:lnTo>
                      <a:pt x="864" y="246"/>
                    </a:lnTo>
                    <a:lnTo>
                      <a:pt x="864" y="252"/>
                    </a:lnTo>
                    <a:lnTo>
                      <a:pt x="858" y="252"/>
                    </a:lnTo>
                    <a:lnTo>
                      <a:pt x="858" y="258"/>
                    </a:lnTo>
                    <a:lnTo>
                      <a:pt x="858" y="264"/>
                    </a:lnTo>
                    <a:lnTo>
                      <a:pt x="858" y="270"/>
                    </a:lnTo>
                    <a:lnTo>
                      <a:pt x="858" y="276"/>
                    </a:lnTo>
                    <a:lnTo>
                      <a:pt x="858" y="282"/>
                    </a:lnTo>
                    <a:lnTo>
                      <a:pt x="858" y="288"/>
                    </a:lnTo>
                    <a:lnTo>
                      <a:pt x="858" y="294"/>
                    </a:lnTo>
                    <a:lnTo>
                      <a:pt x="858" y="300"/>
                    </a:lnTo>
                    <a:lnTo>
                      <a:pt x="858" y="306"/>
                    </a:lnTo>
                    <a:lnTo>
                      <a:pt x="858" y="312"/>
                    </a:lnTo>
                    <a:lnTo>
                      <a:pt x="858" y="318"/>
                    </a:lnTo>
                    <a:lnTo>
                      <a:pt x="852" y="324"/>
                    </a:lnTo>
                    <a:lnTo>
                      <a:pt x="852" y="330"/>
                    </a:lnTo>
                    <a:lnTo>
                      <a:pt x="852" y="336"/>
                    </a:lnTo>
                    <a:lnTo>
                      <a:pt x="852" y="342"/>
                    </a:lnTo>
                    <a:lnTo>
                      <a:pt x="852" y="348"/>
                    </a:lnTo>
                    <a:lnTo>
                      <a:pt x="852" y="354"/>
                    </a:lnTo>
                    <a:lnTo>
                      <a:pt x="852" y="360"/>
                    </a:lnTo>
                    <a:lnTo>
                      <a:pt x="852" y="372"/>
                    </a:lnTo>
                    <a:lnTo>
                      <a:pt x="852" y="378"/>
                    </a:lnTo>
                    <a:lnTo>
                      <a:pt x="852" y="384"/>
                    </a:lnTo>
                    <a:lnTo>
                      <a:pt x="852" y="390"/>
                    </a:lnTo>
                    <a:lnTo>
                      <a:pt x="852" y="396"/>
                    </a:lnTo>
                    <a:lnTo>
                      <a:pt x="846" y="396"/>
                    </a:lnTo>
                    <a:lnTo>
                      <a:pt x="846" y="402"/>
                    </a:lnTo>
                    <a:lnTo>
                      <a:pt x="840" y="408"/>
                    </a:lnTo>
                    <a:lnTo>
                      <a:pt x="834" y="414"/>
                    </a:lnTo>
                    <a:lnTo>
                      <a:pt x="828" y="420"/>
                    </a:lnTo>
                    <a:lnTo>
                      <a:pt x="822" y="426"/>
                    </a:lnTo>
                    <a:lnTo>
                      <a:pt x="822" y="432"/>
                    </a:lnTo>
                    <a:lnTo>
                      <a:pt x="816" y="432"/>
                    </a:lnTo>
                    <a:lnTo>
                      <a:pt x="816" y="438"/>
                    </a:lnTo>
                    <a:lnTo>
                      <a:pt x="810" y="438"/>
                    </a:lnTo>
                    <a:lnTo>
                      <a:pt x="810" y="444"/>
                    </a:lnTo>
                    <a:lnTo>
                      <a:pt x="804" y="444"/>
                    </a:lnTo>
                    <a:lnTo>
                      <a:pt x="804" y="450"/>
                    </a:lnTo>
                    <a:lnTo>
                      <a:pt x="798" y="450"/>
                    </a:lnTo>
                    <a:lnTo>
                      <a:pt x="798" y="456"/>
                    </a:lnTo>
                    <a:lnTo>
                      <a:pt x="792" y="456"/>
                    </a:lnTo>
                    <a:lnTo>
                      <a:pt x="792" y="462"/>
                    </a:lnTo>
                    <a:lnTo>
                      <a:pt x="786" y="462"/>
                    </a:lnTo>
                    <a:lnTo>
                      <a:pt x="786" y="468"/>
                    </a:lnTo>
                    <a:lnTo>
                      <a:pt x="780" y="474"/>
                    </a:lnTo>
                    <a:lnTo>
                      <a:pt x="780" y="480"/>
                    </a:lnTo>
                    <a:lnTo>
                      <a:pt x="774" y="480"/>
                    </a:lnTo>
                    <a:lnTo>
                      <a:pt x="774" y="486"/>
                    </a:lnTo>
                    <a:lnTo>
                      <a:pt x="768" y="492"/>
                    </a:lnTo>
                    <a:lnTo>
                      <a:pt x="768" y="498"/>
                    </a:lnTo>
                    <a:lnTo>
                      <a:pt x="762" y="498"/>
                    </a:lnTo>
                    <a:lnTo>
                      <a:pt x="762" y="504"/>
                    </a:lnTo>
                    <a:lnTo>
                      <a:pt x="756" y="504"/>
                    </a:lnTo>
                    <a:lnTo>
                      <a:pt x="756" y="510"/>
                    </a:lnTo>
                    <a:lnTo>
                      <a:pt x="756" y="516"/>
                    </a:lnTo>
                    <a:lnTo>
                      <a:pt x="756" y="522"/>
                    </a:lnTo>
                    <a:lnTo>
                      <a:pt x="750" y="522"/>
                    </a:lnTo>
                    <a:lnTo>
                      <a:pt x="750" y="528"/>
                    </a:lnTo>
                    <a:lnTo>
                      <a:pt x="750" y="534"/>
                    </a:lnTo>
                    <a:lnTo>
                      <a:pt x="744" y="534"/>
                    </a:lnTo>
                    <a:lnTo>
                      <a:pt x="738" y="534"/>
                    </a:lnTo>
                    <a:lnTo>
                      <a:pt x="738" y="540"/>
                    </a:lnTo>
                    <a:lnTo>
                      <a:pt x="738" y="546"/>
                    </a:lnTo>
                    <a:lnTo>
                      <a:pt x="738" y="552"/>
                    </a:lnTo>
                    <a:lnTo>
                      <a:pt x="744" y="552"/>
                    </a:lnTo>
                    <a:lnTo>
                      <a:pt x="744" y="558"/>
                    </a:lnTo>
                    <a:lnTo>
                      <a:pt x="744" y="564"/>
                    </a:lnTo>
                    <a:lnTo>
                      <a:pt x="744" y="570"/>
                    </a:lnTo>
                    <a:lnTo>
                      <a:pt x="744" y="576"/>
                    </a:lnTo>
                    <a:lnTo>
                      <a:pt x="750" y="576"/>
                    </a:lnTo>
                    <a:lnTo>
                      <a:pt x="744" y="576"/>
                    </a:lnTo>
                    <a:lnTo>
                      <a:pt x="738" y="576"/>
                    </a:lnTo>
                    <a:lnTo>
                      <a:pt x="732" y="576"/>
                    </a:lnTo>
                    <a:lnTo>
                      <a:pt x="732" y="582"/>
                    </a:lnTo>
                    <a:lnTo>
                      <a:pt x="726" y="582"/>
                    </a:lnTo>
                    <a:lnTo>
                      <a:pt x="726" y="588"/>
                    </a:lnTo>
                    <a:lnTo>
                      <a:pt x="720" y="588"/>
                    </a:lnTo>
                    <a:lnTo>
                      <a:pt x="714" y="588"/>
                    </a:lnTo>
                    <a:lnTo>
                      <a:pt x="708" y="588"/>
                    </a:lnTo>
                    <a:lnTo>
                      <a:pt x="708" y="594"/>
                    </a:lnTo>
                    <a:lnTo>
                      <a:pt x="708" y="588"/>
                    </a:lnTo>
                    <a:lnTo>
                      <a:pt x="708" y="594"/>
                    </a:lnTo>
                    <a:lnTo>
                      <a:pt x="702" y="594"/>
                    </a:lnTo>
                    <a:lnTo>
                      <a:pt x="702" y="600"/>
                    </a:lnTo>
                    <a:lnTo>
                      <a:pt x="696" y="600"/>
                    </a:lnTo>
                    <a:lnTo>
                      <a:pt x="696" y="606"/>
                    </a:lnTo>
                    <a:lnTo>
                      <a:pt x="690" y="606"/>
                    </a:lnTo>
                    <a:lnTo>
                      <a:pt x="690" y="600"/>
                    </a:lnTo>
                    <a:lnTo>
                      <a:pt x="690" y="606"/>
                    </a:lnTo>
                    <a:lnTo>
                      <a:pt x="684" y="606"/>
                    </a:lnTo>
                    <a:lnTo>
                      <a:pt x="690" y="606"/>
                    </a:lnTo>
                    <a:lnTo>
                      <a:pt x="690" y="612"/>
                    </a:lnTo>
                    <a:lnTo>
                      <a:pt x="684" y="612"/>
                    </a:lnTo>
                    <a:lnTo>
                      <a:pt x="684" y="618"/>
                    </a:lnTo>
                    <a:lnTo>
                      <a:pt x="678" y="618"/>
                    </a:lnTo>
                    <a:lnTo>
                      <a:pt x="678" y="612"/>
                    </a:lnTo>
                    <a:lnTo>
                      <a:pt x="678" y="618"/>
                    </a:lnTo>
                    <a:lnTo>
                      <a:pt x="678" y="612"/>
                    </a:lnTo>
                    <a:lnTo>
                      <a:pt x="678" y="618"/>
                    </a:lnTo>
                    <a:lnTo>
                      <a:pt x="678" y="612"/>
                    </a:lnTo>
                    <a:lnTo>
                      <a:pt x="678" y="618"/>
                    </a:lnTo>
                    <a:lnTo>
                      <a:pt x="672" y="618"/>
                    </a:lnTo>
                    <a:lnTo>
                      <a:pt x="678" y="612"/>
                    </a:lnTo>
                    <a:lnTo>
                      <a:pt x="672" y="612"/>
                    </a:lnTo>
                    <a:lnTo>
                      <a:pt x="666" y="612"/>
                    </a:lnTo>
                    <a:lnTo>
                      <a:pt x="660" y="612"/>
                    </a:lnTo>
                    <a:lnTo>
                      <a:pt x="654" y="612"/>
                    </a:lnTo>
                    <a:lnTo>
                      <a:pt x="654" y="606"/>
                    </a:lnTo>
                    <a:lnTo>
                      <a:pt x="648" y="606"/>
                    </a:lnTo>
                    <a:lnTo>
                      <a:pt x="642" y="606"/>
                    </a:lnTo>
                    <a:lnTo>
                      <a:pt x="636" y="600"/>
                    </a:lnTo>
                    <a:lnTo>
                      <a:pt x="630" y="600"/>
                    </a:lnTo>
                    <a:lnTo>
                      <a:pt x="624" y="600"/>
                    </a:lnTo>
                    <a:lnTo>
                      <a:pt x="618" y="600"/>
                    </a:lnTo>
                    <a:lnTo>
                      <a:pt x="612" y="600"/>
                    </a:lnTo>
                    <a:lnTo>
                      <a:pt x="606" y="600"/>
                    </a:lnTo>
                    <a:lnTo>
                      <a:pt x="600" y="600"/>
                    </a:lnTo>
                    <a:lnTo>
                      <a:pt x="594" y="600"/>
                    </a:lnTo>
                    <a:lnTo>
                      <a:pt x="588" y="600"/>
                    </a:lnTo>
                    <a:lnTo>
                      <a:pt x="582" y="600"/>
                    </a:lnTo>
                    <a:lnTo>
                      <a:pt x="576" y="600"/>
                    </a:lnTo>
                    <a:lnTo>
                      <a:pt x="570" y="600"/>
                    </a:lnTo>
                    <a:lnTo>
                      <a:pt x="570" y="606"/>
                    </a:lnTo>
                    <a:lnTo>
                      <a:pt x="564" y="606"/>
                    </a:lnTo>
                    <a:lnTo>
                      <a:pt x="558" y="606"/>
                    </a:lnTo>
                    <a:lnTo>
                      <a:pt x="552" y="606"/>
                    </a:lnTo>
                    <a:lnTo>
                      <a:pt x="546" y="606"/>
                    </a:lnTo>
                    <a:lnTo>
                      <a:pt x="546" y="612"/>
                    </a:lnTo>
                    <a:lnTo>
                      <a:pt x="540" y="612"/>
                    </a:lnTo>
                    <a:lnTo>
                      <a:pt x="540" y="618"/>
                    </a:lnTo>
                    <a:lnTo>
                      <a:pt x="534" y="618"/>
                    </a:lnTo>
                    <a:lnTo>
                      <a:pt x="534" y="624"/>
                    </a:lnTo>
                    <a:lnTo>
                      <a:pt x="528" y="630"/>
                    </a:lnTo>
                    <a:lnTo>
                      <a:pt x="522" y="630"/>
                    </a:lnTo>
                    <a:lnTo>
                      <a:pt x="516" y="630"/>
                    </a:lnTo>
                    <a:lnTo>
                      <a:pt x="510" y="630"/>
                    </a:lnTo>
                    <a:lnTo>
                      <a:pt x="504" y="630"/>
                    </a:lnTo>
                    <a:lnTo>
                      <a:pt x="498" y="630"/>
                    </a:lnTo>
                    <a:lnTo>
                      <a:pt x="492" y="630"/>
                    </a:lnTo>
                    <a:lnTo>
                      <a:pt x="486" y="630"/>
                    </a:lnTo>
                    <a:lnTo>
                      <a:pt x="480" y="630"/>
                    </a:lnTo>
                    <a:lnTo>
                      <a:pt x="480" y="624"/>
                    </a:lnTo>
                    <a:lnTo>
                      <a:pt x="474" y="624"/>
                    </a:lnTo>
                    <a:lnTo>
                      <a:pt x="468" y="624"/>
                    </a:lnTo>
                    <a:lnTo>
                      <a:pt x="468" y="618"/>
                    </a:lnTo>
                    <a:lnTo>
                      <a:pt x="462" y="618"/>
                    </a:lnTo>
                    <a:lnTo>
                      <a:pt x="456" y="618"/>
                    </a:lnTo>
                    <a:lnTo>
                      <a:pt x="456" y="612"/>
                    </a:lnTo>
                    <a:lnTo>
                      <a:pt x="450" y="612"/>
                    </a:lnTo>
                    <a:lnTo>
                      <a:pt x="450" y="606"/>
                    </a:lnTo>
                    <a:lnTo>
                      <a:pt x="444" y="606"/>
                    </a:lnTo>
                    <a:lnTo>
                      <a:pt x="438" y="606"/>
                    </a:lnTo>
                    <a:lnTo>
                      <a:pt x="438" y="600"/>
                    </a:lnTo>
                    <a:lnTo>
                      <a:pt x="432" y="600"/>
                    </a:lnTo>
                    <a:lnTo>
                      <a:pt x="426" y="600"/>
                    </a:lnTo>
                    <a:lnTo>
                      <a:pt x="420" y="600"/>
                    </a:lnTo>
                    <a:lnTo>
                      <a:pt x="420" y="606"/>
                    </a:lnTo>
                    <a:lnTo>
                      <a:pt x="414" y="606"/>
                    </a:lnTo>
                    <a:lnTo>
                      <a:pt x="408" y="606"/>
                    </a:lnTo>
                    <a:lnTo>
                      <a:pt x="408" y="612"/>
                    </a:lnTo>
                    <a:lnTo>
                      <a:pt x="402" y="612"/>
                    </a:lnTo>
                    <a:lnTo>
                      <a:pt x="396" y="612"/>
                    </a:lnTo>
                    <a:lnTo>
                      <a:pt x="390" y="612"/>
                    </a:lnTo>
                    <a:lnTo>
                      <a:pt x="390" y="618"/>
                    </a:lnTo>
                    <a:lnTo>
                      <a:pt x="384" y="618"/>
                    </a:lnTo>
                    <a:lnTo>
                      <a:pt x="378" y="618"/>
                    </a:lnTo>
                    <a:lnTo>
                      <a:pt x="372" y="618"/>
                    </a:lnTo>
                    <a:lnTo>
                      <a:pt x="372" y="612"/>
                    </a:lnTo>
                    <a:lnTo>
                      <a:pt x="366" y="612"/>
                    </a:lnTo>
                    <a:lnTo>
                      <a:pt x="366" y="606"/>
                    </a:lnTo>
                    <a:lnTo>
                      <a:pt x="360" y="600"/>
                    </a:lnTo>
                    <a:lnTo>
                      <a:pt x="360" y="594"/>
                    </a:lnTo>
                    <a:lnTo>
                      <a:pt x="354" y="594"/>
                    </a:lnTo>
                    <a:lnTo>
                      <a:pt x="348" y="588"/>
                    </a:lnTo>
                    <a:lnTo>
                      <a:pt x="348" y="582"/>
                    </a:lnTo>
                    <a:lnTo>
                      <a:pt x="342" y="582"/>
                    </a:lnTo>
                    <a:lnTo>
                      <a:pt x="336" y="582"/>
                    </a:lnTo>
                    <a:lnTo>
                      <a:pt x="330" y="582"/>
                    </a:lnTo>
                    <a:lnTo>
                      <a:pt x="324" y="582"/>
                    </a:lnTo>
                    <a:lnTo>
                      <a:pt x="324" y="576"/>
                    </a:lnTo>
                    <a:lnTo>
                      <a:pt x="318" y="576"/>
                    </a:lnTo>
                    <a:lnTo>
                      <a:pt x="312" y="576"/>
                    </a:lnTo>
                    <a:lnTo>
                      <a:pt x="306" y="576"/>
                    </a:lnTo>
                    <a:lnTo>
                      <a:pt x="300" y="570"/>
                    </a:lnTo>
                    <a:lnTo>
                      <a:pt x="294" y="570"/>
                    </a:lnTo>
                    <a:lnTo>
                      <a:pt x="288" y="570"/>
                    </a:lnTo>
                    <a:lnTo>
                      <a:pt x="282" y="576"/>
                    </a:lnTo>
                    <a:lnTo>
                      <a:pt x="276" y="576"/>
                    </a:lnTo>
                    <a:lnTo>
                      <a:pt x="270" y="576"/>
                    </a:lnTo>
                    <a:lnTo>
                      <a:pt x="264" y="576"/>
                    </a:lnTo>
                    <a:lnTo>
                      <a:pt x="258" y="576"/>
                    </a:lnTo>
                    <a:lnTo>
                      <a:pt x="252" y="576"/>
                    </a:lnTo>
                    <a:lnTo>
                      <a:pt x="246" y="576"/>
                    </a:lnTo>
                    <a:lnTo>
                      <a:pt x="240" y="576"/>
                    </a:lnTo>
                    <a:lnTo>
                      <a:pt x="240" y="582"/>
                    </a:lnTo>
                    <a:lnTo>
                      <a:pt x="234" y="582"/>
                    </a:lnTo>
                    <a:lnTo>
                      <a:pt x="228" y="582"/>
                    </a:lnTo>
                    <a:lnTo>
                      <a:pt x="228" y="588"/>
                    </a:lnTo>
                    <a:lnTo>
                      <a:pt x="222" y="588"/>
                    </a:lnTo>
                    <a:lnTo>
                      <a:pt x="222" y="594"/>
                    </a:lnTo>
                    <a:lnTo>
                      <a:pt x="216" y="594"/>
                    </a:lnTo>
                    <a:lnTo>
                      <a:pt x="216" y="600"/>
                    </a:lnTo>
                    <a:lnTo>
                      <a:pt x="216" y="606"/>
                    </a:lnTo>
                    <a:lnTo>
                      <a:pt x="216" y="612"/>
                    </a:lnTo>
                    <a:lnTo>
                      <a:pt x="216" y="618"/>
                    </a:lnTo>
                    <a:lnTo>
                      <a:pt x="216" y="624"/>
                    </a:lnTo>
                    <a:lnTo>
                      <a:pt x="210" y="624"/>
                    </a:lnTo>
                    <a:lnTo>
                      <a:pt x="210" y="630"/>
                    </a:lnTo>
                    <a:lnTo>
                      <a:pt x="210" y="636"/>
                    </a:lnTo>
                    <a:lnTo>
                      <a:pt x="204" y="636"/>
                    </a:lnTo>
                    <a:lnTo>
                      <a:pt x="198" y="636"/>
                    </a:lnTo>
                    <a:lnTo>
                      <a:pt x="198" y="642"/>
                    </a:lnTo>
                    <a:lnTo>
                      <a:pt x="192" y="642"/>
                    </a:lnTo>
                    <a:lnTo>
                      <a:pt x="192" y="648"/>
                    </a:lnTo>
                    <a:lnTo>
                      <a:pt x="192" y="654"/>
                    </a:lnTo>
                    <a:lnTo>
                      <a:pt x="192" y="660"/>
                    </a:lnTo>
                    <a:lnTo>
                      <a:pt x="192" y="666"/>
                    </a:lnTo>
                    <a:lnTo>
                      <a:pt x="192" y="672"/>
                    </a:lnTo>
                    <a:lnTo>
                      <a:pt x="192" y="678"/>
                    </a:lnTo>
                    <a:lnTo>
                      <a:pt x="192" y="684"/>
                    </a:lnTo>
                    <a:lnTo>
                      <a:pt x="192" y="690"/>
                    </a:lnTo>
                    <a:lnTo>
                      <a:pt x="192" y="69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1" name="Freeform 28"/>
              <p:cNvSpPr>
                <a:spLocks/>
              </p:cNvSpPr>
              <p:nvPr>
                <p:custDataLst>
                  <p:tags r:id="rId28"/>
                </p:custDataLst>
              </p:nvPr>
            </p:nvSpPr>
            <p:spPr bwMode="gray">
              <a:xfrm>
                <a:off x="2932058" y="550849"/>
                <a:ext cx="741681" cy="1096863"/>
              </a:xfrm>
              <a:custGeom>
                <a:avLst/>
                <a:gdLst>
                  <a:gd name="T0" fmla="*/ 174132 w 588"/>
                  <a:gd name="T1" fmla="*/ 261667 h 930"/>
                  <a:gd name="T2" fmla="*/ 167323 w 588"/>
                  <a:gd name="T3" fmla="*/ 264586 h 930"/>
                  <a:gd name="T4" fmla="*/ 166349 w 588"/>
                  <a:gd name="T5" fmla="*/ 272368 h 930"/>
                  <a:gd name="T6" fmla="*/ 159540 w 588"/>
                  <a:gd name="T7" fmla="*/ 281122 h 930"/>
                  <a:gd name="T8" fmla="*/ 147867 w 588"/>
                  <a:gd name="T9" fmla="*/ 289877 h 930"/>
                  <a:gd name="T10" fmla="*/ 140084 w 588"/>
                  <a:gd name="T11" fmla="*/ 294741 h 930"/>
                  <a:gd name="T12" fmla="*/ 129383 w 588"/>
                  <a:gd name="T13" fmla="*/ 298632 h 930"/>
                  <a:gd name="T14" fmla="*/ 116737 w 588"/>
                  <a:gd name="T15" fmla="*/ 300577 h 930"/>
                  <a:gd name="T16" fmla="*/ 109927 w 588"/>
                  <a:gd name="T17" fmla="*/ 305441 h 930"/>
                  <a:gd name="T18" fmla="*/ 109927 w 588"/>
                  <a:gd name="T19" fmla="*/ 313223 h 930"/>
                  <a:gd name="T20" fmla="*/ 97281 w 588"/>
                  <a:gd name="T21" fmla="*/ 320032 h 930"/>
                  <a:gd name="T22" fmla="*/ 81716 w 588"/>
                  <a:gd name="T23" fmla="*/ 323923 h 930"/>
                  <a:gd name="T24" fmla="*/ 72960 w 588"/>
                  <a:gd name="T25" fmla="*/ 325868 h 930"/>
                  <a:gd name="T26" fmla="*/ 64205 w 588"/>
                  <a:gd name="T27" fmla="*/ 328787 h 930"/>
                  <a:gd name="T28" fmla="*/ 56423 w 588"/>
                  <a:gd name="T29" fmla="*/ 328787 h 930"/>
                  <a:gd name="T30" fmla="*/ 45721 w 588"/>
                  <a:gd name="T31" fmla="*/ 332678 h 930"/>
                  <a:gd name="T32" fmla="*/ 38912 w 588"/>
                  <a:gd name="T33" fmla="*/ 320032 h 930"/>
                  <a:gd name="T34" fmla="*/ 30157 w 588"/>
                  <a:gd name="T35" fmla="*/ 306414 h 930"/>
                  <a:gd name="T36" fmla="*/ 19456 w 588"/>
                  <a:gd name="T37" fmla="*/ 298632 h 930"/>
                  <a:gd name="T38" fmla="*/ 12646 w 588"/>
                  <a:gd name="T39" fmla="*/ 289877 h 930"/>
                  <a:gd name="T40" fmla="*/ 21402 w 588"/>
                  <a:gd name="T41" fmla="*/ 281122 h 930"/>
                  <a:gd name="T42" fmla="*/ 40858 w 588"/>
                  <a:gd name="T43" fmla="*/ 281122 h 930"/>
                  <a:gd name="T44" fmla="*/ 36967 w 588"/>
                  <a:gd name="T45" fmla="*/ 272368 h 930"/>
                  <a:gd name="T46" fmla="*/ 32102 w 588"/>
                  <a:gd name="T47" fmla="*/ 257777 h 930"/>
                  <a:gd name="T48" fmla="*/ 32102 w 588"/>
                  <a:gd name="T49" fmla="*/ 250967 h 930"/>
                  <a:gd name="T50" fmla="*/ 30157 w 588"/>
                  <a:gd name="T51" fmla="*/ 238322 h 930"/>
                  <a:gd name="T52" fmla="*/ 26265 w 588"/>
                  <a:gd name="T53" fmla="*/ 225676 h 930"/>
                  <a:gd name="T54" fmla="*/ 21402 w 588"/>
                  <a:gd name="T55" fmla="*/ 218867 h 930"/>
                  <a:gd name="T56" fmla="*/ 8755 w 588"/>
                  <a:gd name="T57" fmla="*/ 212058 h 930"/>
                  <a:gd name="T58" fmla="*/ 1946 w 588"/>
                  <a:gd name="T59" fmla="*/ 199413 h 930"/>
                  <a:gd name="T60" fmla="*/ 3891 w 588"/>
                  <a:gd name="T61" fmla="*/ 186766 h 930"/>
                  <a:gd name="T62" fmla="*/ 10700 w 588"/>
                  <a:gd name="T63" fmla="*/ 174121 h 930"/>
                  <a:gd name="T64" fmla="*/ 21402 w 588"/>
                  <a:gd name="T65" fmla="*/ 161475 h 930"/>
                  <a:gd name="T66" fmla="*/ 30157 w 588"/>
                  <a:gd name="T67" fmla="*/ 150775 h 930"/>
                  <a:gd name="T68" fmla="*/ 40858 w 588"/>
                  <a:gd name="T69" fmla="*/ 133265 h 930"/>
                  <a:gd name="T70" fmla="*/ 42803 w 588"/>
                  <a:gd name="T71" fmla="*/ 111865 h 930"/>
                  <a:gd name="T72" fmla="*/ 42803 w 588"/>
                  <a:gd name="T73" fmla="*/ 92411 h 930"/>
                  <a:gd name="T74" fmla="*/ 45721 w 588"/>
                  <a:gd name="T75" fmla="*/ 74901 h 930"/>
                  <a:gd name="T76" fmla="*/ 42803 w 588"/>
                  <a:gd name="T77" fmla="*/ 57391 h 930"/>
                  <a:gd name="T78" fmla="*/ 36967 w 588"/>
                  <a:gd name="T79" fmla="*/ 44746 h 930"/>
                  <a:gd name="T80" fmla="*/ 34048 w 588"/>
                  <a:gd name="T81" fmla="*/ 28210 h 930"/>
                  <a:gd name="T82" fmla="*/ 30157 w 588"/>
                  <a:gd name="T83" fmla="*/ 8755 h 930"/>
                  <a:gd name="T84" fmla="*/ 42803 w 588"/>
                  <a:gd name="T85" fmla="*/ 1945 h 930"/>
                  <a:gd name="T86" fmla="*/ 62260 w 588"/>
                  <a:gd name="T87" fmla="*/ 6810 h 930"/>
                  <a:gd name="T88" fmla="*/ 81716 w 588"/>
                  <a:gd name="T89" fmla="*/ 14591 h 930"/>
                  <a:gd name="T90" fmla="*/ 97281 w 588"/>
                  <a:gd name="T91" fmla="*/ 23346 h 930"/>
                  <a:gd name="T92" fmla="*/ 211099 w 588"/>
                  <a:gd name="T93" fmla="*/ 90465 h 930"/>
                  <a:gd name="T94" fmla="*/ 211099 w 588"/>
                  <a:gd name="T95" fmla="*/ 109920 h 930"/>
                  <a:gd name="T96" fmla="*/ 211099 w 588"/>
                  <a:gd name="T97" fmla="*/ 128402 h 930"/>
                  <a:gd name="T98" fmla="*/ 211099 w 588"/>
                  <a:gd name="T99" fmla="*/ 147857 h 930"/>
                  <a:gd name="T100" fmla="*/ 204289 w 588"/>
                  <a:gd name="T101" fmla="*/ 163420 h 930"/>
                  <a:gd name="T102" fmla="*/ 189697 w 588"/>
                  <a:gd name="T103" fmla="*/ 167312 h 930"/>
                  <a:gd name="T104" fmla="*/ 182888 w 588"/>
                  <a:gd name="T105" fmla="*/ 180930 h 930"/>
                  <a:gd name="T106" fmla="*/ 178023 w 588"/>
                  <a:gd name="T107" fmla="*/ 192603 h 930"/>
                  <a:gd name="T108" fmla="*/ 174132 w 588"/>
                  <a:gd name="T109" fmla="*/ 199413 h 930"/>
                  <a:gd name="T110" fmla="*/ 177051 w 588"/>
                  <a:gd name="T111" fmla="*/ 212058 h 930"/>
                  <a:gd name="T112" fmla="*/ 167323 w 588"/>
                  <a:gd name="T113" fmla="*/ 220813 h 930"/>
                  <a:gd name="T114" fmla="*/ 178023 w 588"/>
                  <a:gd name="T115" fmla="*/ 227621 h 930"/>
                  <a:gd name="T116" fmla="*/ 182888 w 588"/>
                  <a:gd name="T117" fmla="*/ 238322 h 930"/>
                  <a:gd name="T118" fmla="*/ 186779 w 588"/>
                  <a:gd name="T119" fmla="*/ 25096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8" h="930">
                    <a:moveTo>
                      <a:pt x="522" y="732"/>
                    </a:moveTo>
                    <a:lnTo>
                      <a:pt x="516" y="732"/>
                    </a:lnTo>
                    <a:lnTo>
                      <a:pt x="516" y="726"/>
                    </a:lnTo>
                    <a:lnTo>
                      <a:pt x="510" y="726"/>
                    </a:lnTo>
                    <a:lnTo>
                      <a:pt x="504" y="726"/>
                    </a:lnTo>
                    <a:lnTo>
                      <a:pt x="498" y="726"/>
                    </a:lnTo>
                    <a:lnTo>
                      <a:pt x="498" y="732"/>
                    </a:lnTo>
                    <a:lnTo>
                      <a:pt x="492" y="732"/>
                    </a:lnTo>
                    <a:lnTo>
                      <a:pt x="486" y="732"/>
                    </a:lnTo>
                    <a:lnTo>
                      <a:pt x="480" y="732"/>
                    </a:lnTo>
                    <a:lnTo>
                      <a:pt x="474" y="732"/>
                    </a:lnTo>
                    <a:lnTo>
                      <a:pt x="474" y="738"/>
                    </a:lnTo>
                    <a:lnTo>
                      <a:pt x="474" y="732"/>
                    </a:lnTo>
                    <a:lnTo>
                      <a:pt x="474" y="738"/>
                    </a:lnTo>
                    <a:lnTo>
                      <a:pt x="474" y="732"/>
                    </a:lnTo>
                    <a:lnTo>
                      <a:pt x="474" y="738"/>
                    </a:lnTo>
                    <a:lnTo>
                      <a:pt x="468" y="732"/>
                    </a:lnTo>
                    <a:lnTo>
                      <a:pt x="468" y="738"/>
                    </a:lnTo>
                    <a:lnTo>
                      <a:pt x="468" y="732"/>
                    </a:lnTo>
                    <a:lnTo>
                      <a:pt x="468" y="738"/>
                    </a:lnTo>
                    <a:lnTo>
                      <a:pt x="462" y="738"/>
                    </a:lnTo>
                    <a:lnTo>
                      <a:pt x="462" y="744"/>
                    </a:lnTo>
                    <a:lnTo>
                      <a:pt x="462" y="750"/>
                    </a:lnTo>
                    <a:lnTo>
                      <a:pt x="462" y="744"/>
                    </a:lnTo>
                    <a:lnTo>
                      <a:pt x="462" y="750"/>
                    </a:lnTo>
                    <a:lnTo>
                      <a:pt x="462" y="756"/>
                    </a:lnTo>
                    <a:lnTo>
                      <a:pt x="462" y="762"/>
                    </a:lnTo>
                    <a:lnTo>
                      <a:pt x="462" y="768"/>
                    </a:lnTo>
                    <a:lnTo>
                      <a:pt x="456" y="768"/>
                    </a:lnTo>
                    <a:lnTo>
                      <a:pt x="456" y="774"/>
                    </a:lnTo>
                    <a:lnTo>
                      <a:pt x="456" y="768"/>
                    </a:lnTo>
                    <a:lnTo>
                      <a:pt x="456" y="774"/>
                    </a:lnTo>
                    <a:lnTo>
                      <a:pt x="450" y="774"/>
                    </a:lnTo>
                    <a:lnTo>
                      <a:pt x="444" y="774"/>
                    </a:lnTo>
                    <a:lnTo>
                      <a:pt x="444" y="780"/>
                    </a:lnTo>
                    <a:lnTo>
                      <a:pt x="444" y="786"/>
                    </a:lnTo>
                    <a:lnTo>
                      <a:pt x="438" y="786"/>
                    </a:lnTo>
                    <a:lnTo>
                      <a:pt x="432" y="786"/>
                    </a:lnTo>
                    <a:lnTo>
                      <a:pt x="432" y="792"/>
                    </a:lnTo>
                    <a:lnTo>
                      <a:pt x="426" y="792"/>
                    </a:lnTo>
                    <a:lnTo>
                      <a:pt x="426" y="798"/>
                    </a:lnTo>
                    <a:lnTo>
                      <a:pt x="420" y="798"/>
                    </a:lnTo>
                    <a:lnTo>
                      <a:pt x="420" y="804"/>
                    </a:lnTo>
                    <a:lnTo>
                      <a:pt x="414" y="804"/>
                    </a:lnTo>
                    <a:lnTo>
                      <a:pt x="414" y="810"/>
                    </a:lnTo>
                    <a:lnTo>
                      <a:pt x="414" y="816"/>
                    </a:lnTo>
                    <a:lnTo>
                      <a:pt x="414" y="810"/>
                    </a:lnTo>
                    <a:lnTo>
                      <a:pt x="408" y="816"/>
                    </a:lnTo>
                    <a:lnTo>
                      <a:pt x="402" y="816"/>
                    </a:lnTo>
                    <a:lnTo>
                      <a:pt x="402" y="822"/>
                    </a:lnTo>
                    <a:lnTo>
                      <a:pt x="396" y="822"/>
                    </a:lnTo>
                    <a:lnTo>
                      <a:pt x="402" y="822"/>
                    </a:lnTo>
                    <a:lnTo>
                      <a:pt x="396" y="822"/>
                    </a:lnTo>
                    <a:lnTo>
                      <a:pt x="390" y="822"/>
                    </a:lnTo>
                    <a:lnTo>
                      <a:pt x="396" y="822"/>
                    </a:lnTo>
                    <a:lnTo>
                      <a:pt x="390" y="822"/>
                    </a:lnTo>
                    <a:lnTo>
                      <a:pt x="390" y="828"/>
                    </a:lnTo>
                    <a:lnTo>
                      <a:pt x="390" y="834"/>
                    </a:lnTo>
                    <a:lnTo>
                      <a:pt x="384" y="834"/>
                    </a:lnTo>
                    <a:lnTo>
                      <a:pt x="378" y="834"/>
                    </a:lnTo>
                    <a:lnTo>
                      <a:pt x="372" y="834"/>
                    </a:lnTo>
                    <a:lnTo>
                      <a:pt x="366" y="834"/>
                    </a:lnTo>
                    <a:lnTo>
                      <a:pt x="360" y="834"/>
                    </a:lnTo>
                    <a:lnTo>
                      <a:pt x="354" y="834"/>
                    </a:lnTo>
                    <a:lnTo>
                      <a:pt x="354" y="840"/>
                    </a:lnTo>
                    <a:lnTo>
                      <a:pt x="354" y="834"/>
                    </a:lnTo>
                    <a:lnTo>
                      <a:pt x="354" y="840"/>
                    </a:lnTo>
                    <a:lnTo>
                      <a:pt x="348" y="840"/>
                    </a:lnTo>
                    <a:lnTo>
                      <a:pt x="342" y="840"/>
                    </a:lnTo>
                    <a:lnTo>
                      <a:pt x="336" y="840"/>
                    </a:lnTo>
                    <a:lnTo>
                      <a:pt x="330" y="840"/>
                    </a:lnTo>
                    <a:lnTo>
                      <a:pt x="324" y="840"/>
                    </a:lnTo>
                    <a:lnTo>
                      <a:pt x="318" y="840"/>
                    </a:lnTo>
                    <a:lnTo>
                      <a:pt x="312" y="840"/>
                    </a:lnTo>
                    <a:lnTo>
                      <a:pt x="306" y="840"/>
                    </a:lnTo>
                    <a:lnTo>
                      <a:pt x="306" y="846"/>
                    </a:lnTo>
                    <a:lnTo>
                      <a:pt x="300" y="846"/>
                    </a:lnTo>
                    <a:lnTo>
                      <a:pt x="300" y="852"/>
                    </a:lnTo>
                    <a:lnTo>
                      <a:pt x="300" y="846"/>
                    </a:lnTo>
                    <a:lnTo>
                      <a:pt x="300" y="852"/>
                    </a:lnTo>
                    <a:lnTo>
                      <a:pt x="306" y="852"/>
                    </a:lnTo>
                    <a:lnTo>
                      <a:pt x="312" y="852"/>
                    </a:lnTo>
                    <a:lnTo>
                      <a:pt x="312" y="858"/>
                    </a:lnTo>
                    <a:lnTo>
                      <a:pt x="312" y="864"/>
                    </a:lnTo>
                    <a:lnTo>
                      <a:pt x="312" y="870"/>
                    </a:lnTo>
                    <a:lnTo>
                      <a:pt x="306" y="864"/>
                    </a:lnTo>
                    <a:lnTo>
                      <a:pt x="306" y="870"/>
                    </a:lnTo>
                    <a:lnTo>
                      <a:pt x="306" y="876"/>
                    </a:lnTo>
                    <a:lnTo>
                      <a:pt x="300" y="876"/>
                    </a:lnTo>
                    <a:lnTo>
                      <a:pt x="306" y="876"/>
                    </a:lnTo>
                    <a:lnTo>
                      <a:pt x="300" y="876"/>
                    </a:lnTo>
                    <a:lnTo>
                      <a:pt x="300" y="882"/>
                    </a:lnTo>
                    <a:lnTo>
                      <a:pt x="294" y="882"/>
                    </a:lnTo>
                    <a:lnTo>
                      <a:pt x="288" y="882"/>
                    </a:lnTo>
                    <a:lnTo>
                      <a:pt x="288" y="888"/>
                    </a:lnTo>
                    <a:lnTo>
                      <a:pt x="288" y="894"/>
                    </a:lnTo>
                    <a:lnTo>
                      <a:pt x="282" y="894"/>
                    </a:lnTo>
                    <a:lnTo>
                      <a:pt x="276" y="894"/>
                    </a:lnTo>
                    <a:lnTo>
                      <a:pt x="270" y="894"/>
                    </a:lnTo>
                    <a:lnTo>
                      <a:pt x="264" y="894"/>
                    </a:lnTo>
                    <a:lnTo>
                      <a:pt x="258" y="894"/>
                    </a:lnTo>
                    <a:lnTo>
                      <a:pt x="252" y="894"/>
                    </a:lnTo>
                    <a:lnTo>
                      <a:pt x="252" y="900"/>
                    </a:lnTo>
                    <a:lnTo>
                      <a:pt x="246" y="900"/>
                    </a:lnTo>
                    <a:lnTo>
                      <a:pt x="240" y="900"/>
                    </a:lnTo>
                    <a:lnTo>
                      <a:pt x="234" y="900"/>
                    </a:lnTo>
                    <a:lnTo>
                      <a:pt x="228" y="900"/>
                    </a:lnTo>
                    <a:lnTo>
                      <a:pt x="228" y="906"/>
                    </a:lnTo>
                    <a:lnTo>
                      <a:pt x="228" y="900"/>
                    </a:lnTo>
                    <a:lnTo>
                      <a:pt x="228" y="906"/>
                    </a:lnTo>
                    <a:lnTo>
                      <a:pt x="222" y="906"/>
                    </a:lnTo>
                    <a:lnTo>
                      <a:pt x="222" y="900"/>
                    </a:lnTo>
                    <a:lnTo>
                      <a:pt x="222" y="906"/>
                    </a:lnTo>
                    <a:lnTo>
                      <a:pt x="216" y="906"/>
                    </a:lnTo>
                    <a:lnTo>
                      <a:pt x="210" y="906"/>
                    </a:lnTo>
                    <a:lnTo>
                      <a:pt x="210" y="912"/>
                    </a:lnTo>
                    <a:lnTo>
                      <a:pt x="204" y="912"/>
                    </a:lnTo>
                    <a:lnTo>
                      <a:pt x="204" y="918"/>
                    </a:lnTo>
                    <a:lnTo>
                      <a:pt x="204" y="912"/>
                    </a:lnTo>
                    <a:lnTo>
                      <a:pt x="204" y="918"/>
                    </a:lnTo>
                    <a:lnTo>
                      <a:pt x="198" y="918"/>
                    </a:lnTo>
                    <a:lnTo>
                      <a:pt x="192" y="918"/>
                    </a:lnTo>
                    <a:lnTo>
                      <a:pt x="192" y="924"/>
                    </a:lnTo>
                    <a:lnTo>
                      <a:pt x="186" y="924"/>
                    </a:lnTo>
                    <a:lnTo>
                      <a:pt x="186" y="918"/>
                    </a:lnTo>
                    <a:lnTo>
                      <a:pt x="180" y="918"/>
                    </a:lnTo>
                    <a:lnTo>
                      <a:pt x="180" y="912"/>
                    </a:lnTo>
                    <a:lnTo>
                      <a:pt x="174" y="912"/>
                    </a:lnTo>
                    <a:lnTo>
                      <a:pt x="174" y="906"/>
                    </a:lnTo>
                    <a:lnTo>
                      <a:pt x="168" y="906"/>
                    </a:lnTo>
                    <a:lnTo>
                      <a:pt x="162" y="912"/>
                    </a:lnTo>
                    <a:lnTo>
                      <a:pt x="168" y="912"/>
                    </a:lnTo>
                    <a:lnTo>
                      <a:pt x="162" y="912"/>
                    </a:lnTo>
                    <a:lnTo>
                      <a:pt x="162" y="918"/>
                    </a:lnTo>
                    <a:lnTo>
                      <a:pt x="156" y="918"/>
                    </a:lnTo>
                    <a:lnTo>
                      <a:pt x="150" y="918"/>
                    </a:lnTo>
                    <a:lnTo>
                      <a:pt x="144" y="918"/>
                    </a:lnTo>
                    <a:lnTo>
                      <a:pt x="144" y="924"/>
                    </a:lnTo>
                    <a:lnTo>
                      <a:pt x="138" y="924"/>
                    </a:lnTo>
                    <a:lnTo>
                      <a:pt x="132" y="924"/>
                    </a:lnTo>
                    <a:lnTo>
                      <a:pt x="132" y="930"/>
                    </a:lnTo>
                    <a:lnTo>
                      <a:pt x="132" y="924"/>
                    </a:lnTo>
                    <a:lnTo>
                      <a:pt x="126" y="924"/>
                    </a:lnTo>
                    <a:lnTo>
                      <a:pt x="126" y="930"/>
                    </a:lnTo>
                    <a:lnTo>
                      <a:pt x="126" y="924"/>
                    </a:lnTo>
                    <a:lnTo>
                      <a:pt x="120" y="924"/>
                    </a:lnTo>
                    <a:lnTo>
                      <a:pt x="114" y="924"/>
                    </a:lnTo>
                    <a:lnTo>
                      <a:pt x="114" y="918"/>
                    </a:lnTo>
                    <a:lnTo>
                      <a:pt x="120" y="918"/>
                    </a:lnTo>
                    <a:lnTo>
                      <a:pt x="120" y="912"/>
                    </a:lnTo>
                    <a:lnTo>
                      <a:pt x="114" y="906"/>
                    </a:lnTo>
                    <a:lnTo>
                      <a:pt x="108" y="900"/>
                    </a:lnTo>
                    <a:lnTo>
                      <a:pt x="108" y="894"/>
                    </a:lnTo>
                    <a:lnTo>
                      <a:pt x="108" y="888"/>
                    </a:lnTo>
                    <a:lnTo>
                      <a:pt x="102" y="882"/>
                    </a:lnTo>
                    <a:lnTo>
                      <a:pt x="102" y="876"/>
                    </a:lnTo>
                    <a:lnTo>
                      <a:pt x="102" y="870"/>
                    </a:lnTo>
                    <a:lnTo>
                      <a:pt x="96" y="870"/>
                    </a:lnTo>
                    <a:lnTo>
                      <a:pt x="96" y="864"/>
                    </a:lnTo>
                    <a:lnTo>
                      <a:pt x="96" y="858"/>
                    </a:lnTo>
                    <a:lnTo>
                      <a:pt x="90" y="858"/>
                    </a:lnTo>
                    <a:lnTo>
                      <a:pt x="84" y="858"/>
                    </a:lnTo>
                    <a:lnTo>
                      <a:pt x="84" y="852"/>
                    </a:lnTo>
                    <a:lnTo>
                      <a:pt x="78" y="852"/>
                    </a:lnTo>
                    <a:lnTo>
                      <a:pt x="84" y="852"/>
                    </a:lnTo>
                    <a:lnTo>
                      <a:pt x="78" y="852"/>
                    </a:lnTo>
                    <a:lnTo>
                      <a:pt x="72" y="852"/>
                    </a:lnTo>
                    <a:lnTo>
                      <a:pt x="72" y="846"/>
                    </a:lnTo>
                    <a:lnTo>
                      <a:pt x="66" y="846"/>
                    </a:lnTo>
                    <a:lnTo>
                      <a:pt x="60" y="840"/>
                    </a:lnTo>
                    <a:lnTo>
                      <a:pt x="54" y="834"/>
                    </a:lnTo>
                    <a:lnTo>
                      <a:pt x="60" y="834"/>
                    </a:lnTo>
                    <a:lnTo>
                      <a:pt x="54" y="834"/>
                    </a:lnTo>
                    <a:lnTo>
                      <a:pt x="54" y="828"/>
                    </a:lnTo>
                    <a:lnTo>
                      <a:pt x="48" y="828"/>
                    </a:lnTo>
                    <a:lnTo>
                      <a:pt x="54" y="828"/>
                    </a:lnTo>
                    <a:lnTo>
                      <a:pt x="54" y="822"/>
                    </a:lnTo>
                    <a:lnTo>
                      <a:pt x="48" y="822"/>
                    </a:lnTo>
                    <a:lnTo>
                      <a:pt x="42" y="816"/>
                    </a:lnTo>
                    <a:lnTo>
                      <a:pt x="36" y="810"/>
                    </a:lnTo>
                    <a:lnTo>
                      <a:pt x="30" y="804"/>
                    </a:lnTo>
                    <a:lnTo>
                      <a:pt x="30" y="798"/>
                    </a:lnTo>
                    <a:lnTo>
                      <a:pt x="36" y="798"/>
                    </a:lnTo>
                    <a:lnTo>
                      <a:pt x="36" y="792"/>
                    </a:lnTo>
                    <a:lnTo>
                      <a:pt x="42" y="792"/>
                    </a:lnTo>
                    <a:lnTo>
                      <a:pt x="42" y="786"/>
                    </a:lnTo>
                    <a:lnTo>
                      <a:pt x="48" y="786"/>
                    </a:lnTo>
                    <a:lnTo>
                      <a:pt x="54" y="786"/>
                    </a:lnTo>
                    <a:lnTo>
                      <a:pt x="60" y="786"/>
                    </a:lnTo>
                    <a:lnTo>
                      <a:pt x="66" y="786"/>
                    </a:lnTo>
                    <a:lnTo>
                      <a:pt x="72" y="786"/>
                    </a:lnTo>
                    <a:lnTo>
                      <a:pt x="78" y="786"/>
                    </a:lnTo>
                    <a:lnTo>
                      <a:pt x="84" y="786"/>
                    </a:lnTo>
                    <a:lnTo>
                      <a:pt x="90" y="786"/>
                    </a:lnTo>
                    <a:lnTo>
                      <a:pt x="96" y="786"/>
                    </a:lnTo>
                    <a:lnTo>
                      <a:pt x="102" y="786"/>
                    </a:lnTo>
                    <a:lnTo>
                      <a:pt x="108" y="786"/>
                    </a:lnTo>
                    <a:lnTo>
                      <a:pt x="114" y="786"/>
                    </a:lnTo>
                    <a:lnTo>
                      <a:pt x="120" y="786"/>
                    </a:lnTo>
                    <a:lnTo>
                      <a:pt x="126" y="786"/>
                    </a:lnTo>
                    <a:lnTo>
                      <a:pt x="120" y="780"/>
                    </a:lnTo>
                    <a:lnTo>
                      <a:pt x="114" y="780"/>
                    </a:lnTo>
                    <a:lnTo>
                      <a:pt x="114" y="774"/>
                    </a:lnTo>
                    <a:lnTo>
                      <a:pt x="108" y="774"/>
                    </a:lnTo>
                    <a:lnTo>
                      <a:pt x="108" y="768"/>
                    </a:lnTo>
                    <a:lnTo>
                      <a:pt x="102" y="768"/>
                    </a:lnTo>
                    <a:lnTo>
                      <a:pt x="102" y="762"/>
                    </a:lnTo>
                    <a:lnTo>
                      <a:pt x="102" y="756"/>
                    </a:lnTo>
                    <a:lnTo>
                      <a:pt x="96" y="756"/>
                    </a:lnTo>
                    <a:lnTo>
                      <a:pt x="96" y="750"/>
                    </a:lnTo>
                    <a:lnTo>
                      <a:pt x="96" y="744"/>
                    </a:lnTo>
                    <a:lnTo>
                      <a:pt x="90" y="744"/>
                    </a:lnTo>
                    <a:lnTo>
                      <a:pt x="90" y="738"/>
                    </a:lnTo>
                    <a:lnTo>
                      <a:pt x="90" y="732"/>
                    </a:lnTo>
                    <a:lnTo>
                      <a:pt x="90" y="726"/>
                    </a:lnTo>
                    <a:lnTo>
                      <a:pt x="90" y="720"/>
                    </a:lnTo>
                    <a:lnTo>
                      <a:pt x="84" y="720"/>
                    </a:lnTo>
                    <a:lnTo>
                      <a:pt x="90" y="720"/>
                    </a:lnTo>
                    <a:lnTo>
                      <a:pt x="90" y="714"/>
                    </a:lnTo>
                    <a:lnTo>
                      <a:pt x="84" y="714"/>
                    </a:lnTo>
                    <a:lnTo>
                      <a:pt x="90" y="714"/>
                    </a:lnTo>
                    <a:lnTo>
                      <a:pt x="84" y="714"/>
                    </a:lnTo>
                    <a:lnTo>
                      <a:pt x="90" y="714"/>
                    </a:lnTo>
                    <a:lnTo>
                      <a:pt x="90" y="708"/>
                    </a:lnTo>
                    <a:lnTo>
                      <a:pt x="90" y="702"/>
                    </a:lnTo>
                    <a:lnTo>
                      <a:pt x="90" y="696"/>
                    </a:lnTo>
                    <a:lnTo>
                      <a:pt x="96" y="696"/>
                    </a:lnTo>
                    <a:lnTo>
                      <a:pt x="90" y="696"/>
                    </a:lnTo>
                    <a:lnTo>
                      <a:pt x="90" y="690"/>
                    </a:lnTo>
                    <a:lnTo>
                      <a:pt x="90" y="684"/>
                    </a:lnTo>
                    <a:lnTo>
                      <a:pt x="90" y="678"/>
                    </a:lnTo>
                    <a:lnTo>
                      <a:pt x="90" y="672"/>
                    </a:lnTo>
                    <a:lnTo>
                      <a:pt x="90" y="666"/>
                    </a:lnTo>
                    <a:lnTo>
                      <a:pt x="84" y="666"/>
                    </a:lnTo>
                    <a:lnTo>
                      <a:pt x="78" y="660"/>
                    </a:lnTo>
                    <a:lnTo>
                      <a:pt x="78" y="654"/>
                    </a:lnTo>
                    <a:lnTo>
                      <a:pt x="78" y="648"/>
                    </a:lnTo>
                    <a:lnTo>
                      <a:pt x="78" y="642"/>
                    </a:lnTo>
                    <a:lnTo>
                      <a:pt x="78" y="648"/>
                    </a:lnTo>
                    <a:lnTo>
                      <a:pt x="78" y="642"/>
                    </a:lnTo>
                    <a:lnTo>
                      <a:pt x="78" y="636"/>
                    </a:lnTo>
                    <a:lnTo>
                      <a:pt x="72" y="636"/>
                    </a:lnTo>
                    <a:lnTo>
                      <a:pt x="72" y="630"/>
                    </a:lnTo>
                    <a:lnTo>
                      <a:pt x="72" y="636"/>
                    </a:lnTo>
                    <a:lnTo>
                      <a:pt x="72" y="630"/>
                    </a:lnTo>
                    <a:lnTo>
                      <a:pt x="66" y="630"/>
                    </a:lnTo>
                    <a:lnTo>
                      <a:pt x="66" y="624"/>
                    </a:lnTo>
                    <a:lnTo>
                      <a:pt x="66" y="630"/>
                    </a:lnTo>
                    <a:lnTo>
                      <a:pt x="60" y="630"/>
                    </a:lnTo>
                    <a:lnTo>
                      <a:pt x="60" y="624"/>
                    </a:lnTo>
                    <a:lnTo>
                      <a:pt x="60" y="618"/>
                    </a:lnTo>
                    <a:lnTo>
                      <a:pt x="60" y="612"/>
                    </a:lnTo>
                    <a:lnTo>
                      <a:pt x="54" y="612"/>
                    </a:lnTo>
                    <a:lnTo>
                      <a:pt x="48" y="612"/>
                    </a:lnTo>
                    <a:lnTo>
                      <a:pt x="42" y="612"/>
                    </a:lnTo>
                    <a:lnTo>
                      <a:pt x="36" y="612"/>
                    </a:lnTo>
                    <a:lnTo>
                      <a:pt x="36" y="606"/>
                    </a:lnTo>
                    <a:lnTo>
                      <a:pt x="30" y="606"/>
                    </a:lnTo>
                    <a:lnTo>
                      <a:pt x="30" y="600"/>
                    </a:lnTo>
                    <a:lnTo>
                      <a:pt x="24" y="600"/>
                    </a:lnTo>
                    <a:lnTo>
                      <a:pt x="24" y="594"/>
                    </a:lnTo>
                    <a:lnTo>
                      <a:pt x="24" y="588"/>
                    </a:lnTo>
                    <a:lnTo>
                      <a:pt x="18" y="588"/>
                    </a:lnTo>
                    <a:lnTo>
                      <a:pt x="18" y="582"/>
                    </a:lnTo>
                    <a:lnTo>
                      <a:pt x="12" y="582"/>
                    </a:lnTo>
                    <a:lnTo>
                      <a:pt x="12" y="576"/>
                    </a:lnTo>
                    <a:lnTo>
                      <a:pt x="12" y="570"/>
                    </a:lnTo>
                    <a:lnTo>
                      <a:pt x="6" y="570"/>
                    </a:lnTo>
                    <a:lnTo>
                      <a:pt x="6" y="564"/>
                    </a:lnTo>
                    <a:lnTo>
                      <a:pt x="6" y="558"/>
                    </a:lnTo>
                    <a:lnTo>
                      <a:pt x="6" y="552"/>
                    </a:lnTo>
                    <a:lnTo>
                      <a:pt x="6" y="546"/>
                    </a:lnTo>
                    <a:lnTo>
                      <a:pt x="0" y="546"/>
                    </a:lnTo>
                    <a:lnTo>
                      <a:pt x="0" y="540"/>
                    </a:lnTo>
                    <a:lnTo>
                      <a:pt x="0" y="534"/>
                    </a:lnTo>
                    <a:lnTo>
                      <a:pt x="0" y="528"/>
                    </a:lnTo>
                    <a:lnTo>
                      <a:pt x="6" y="528"/>
                    </a:lnTo>
                    <a:lnTo>
                      <a:pt x="12" y="528"/>
                    </a:lnTo>
                    <a:lnTo>
                      <a:pt x="12" y="522"/>
                    </a:lnTo>
                    <a:lnTo>
                      <a:pt x="12" y="516"/>
                    </a:lnTo>
                    <a:lnTo>
                      <a:pt x="18" y="516"/>
                    </a:lnTo>
                    <a:lnTo>
                      <a:pt x="18" y="510"/>
                    </a:lnTo>
                    <a:lnTo>
                      <a:pt x="18" y="504"/>
                    </a:lnTo>
                    <a:lnTo>
                      <a:pt x="18" y="498"/>
                    </a:lnTo>
                    <a:lnTo>
                      <a:pt x="24" y="498"/>
                    </a:lnTo>
                    <a:lnTo>
                      <a:pt x="24" y="492"/>
                    </a:lnTo>
                    <a:lnTo>
                      <a:pt x="30" y="492"/>
                    </a:lnTo>
                    <a:lnTo>
                      <a:pt x="30" y="486"/>
                    </a:lnTo>
                    <a:lnTo>
                      <a:pt x="36" y="480"/>
                    </a:lnTo>
                    <a:lnTo>
                      <a:pt x="36" y="474"/>
                    </a:lnTo>
                    <a:lnTo>
                      <a:pt x="42" y="474"/>
                    </a:lnTo>
                    <a:lnTo>
                      <a:pt x="42" y="468"/>
                    </a:lnTo>
                    <a:lnTo>
                      <a:pt x="48" y="462"/>
                    </a:lnTo>
                    <a:lnTo>
                      <a:pt x="48" y="456"/>
                    </a:lnTo>
                    <a:lnTo>
                      <a:pt x="54" y="456"/>
                    </a:lnTo>
                    <a:lnTo>
                      <a:pt x="54" y="450"/>
                    </a:lnTo>
                    <a:lnTo>
                      <a:pt x="60" y="450"/>
                    </a:lnTo>
                    <a:lnTo>
                      <a:pt x="60" y="444"/>
                    </a:lnTo>
                    <a:lnTo>
                      <a:pt x="66" y="444"/>
                    </a:lnTo>
                    <a:lnTo>
                      <a:pt x="66" y="438"/>
                    </a:lnTo>
                    <a:lnTo>
                      <a:pt x="72" y="438"/>
                    </a:lnTo>
                    <a:lnTo>
                      <a:pt x="72" y="432"/>
                    </a:lnTo>
                    <a:lnTo>
                      <a:pt x="78" y="432"/>
                    </a:lnTo>
                    <a:lnTo>
                      <a:pt x="78" y="426"/>
                    </a:lnTo>
                    <a:lnTo>
                      <a:pt x="84" y="426"/>
                    </a:lnTo>
                    <a:lnTo>
                      <a:pt x="84" y="420"/>
                    </a:lnTo>
                    <a:lnTo>
                      <a:pt x="90" y="414"/>
                    </a:lnTo>
                    <a:lnTo>
                      <a:pt x="96" y="408"/>
                    </a:lnTo>
                    <a:lnTo>
                      <a:pt x="102" y="402"/>
                    </a:lnTo>
                    <a:lnTo>
                      <a:pt x="108" y="396"/>
                    </a:lnTo>
                    <a:lnTo>
                      <a:pt x="108" y="390"/>
                    </a:lnTo>
                    <a:lnTo>
                      <a:pt x="114" y="390"/>
                    </a:lnTo>
                    <a:lnTo>
                      <a:pt x="114" y="384"/>
                    </a:lnTo>
                    <a:lnTo>
                      <a:pt x="114" y="378"/>
                    </a:lnTo>
                    <a:lnTo>
                      <a:pt x="114" y="372"/>
                    </a:lnTo>
                    <a:lnTo>
                      <a:pt x="114" y="366"/>
                    </a:lnTo>
                    <a:lnTo>
                      <a:pt x="114" y="354"/>
                    </a:lnTo>
                    <a:lnTo>
                      <a:pt x="114" y="348"/>
                    </a:lnTo>
                    <a:lnTo>
                      <a:pt x="114" y="342"/>
                    </a:lnTo>
                    <a:lnTo>
                      <a:pt x="114" y="336"/>
                    </a:lnTo>
                    <a:lnTo>
                      <a:pt x="114" y="330"/>
                    </a:lnTo>
                    <a:lnTo>
                      <a:pt x="114" y="324"/>
                    </a:lnTo>
                    <a:lnTo>
                      <a:pt x="114" y="318"/>
                    </a:lnTo>
                    <a:lnTo>
                      <a:pt x="120" y="312"/>
                    </a:lnTo>
                    <a:lnTo>
                      <a:pt x="120" y="306"/>
                    </a:lnTo>
                    <a:lnTo>
                      <a:pt x="120" y="300"/>
                    </a:lnTo>
                    <a:lnTo>
                      <a:pt x="120" y="294"/>
                    </a:lnTo>
                    <a:lnTo>
                      <a:pt x="120" y="288"/>
                    </a:lnTo>
                    <a:lnTo>
                      <a:pt x="120" y="282"/>
                    </a:lnTo>
                    <a:lnTo>
                      <a:pt x="120" y="276"/>
                    </a:lnTo>
                    <a:lnTo>
                      <a:pt x="120" y="270"/>
                    </a:lnTo>
                    <a:lnTo>
                      <a:pt x="120" y="264"/>
                    </a:lnTo>
                    <a:lnTo>
                      <a:pt x="120" y="258"/>
                    </a:lnTo>
                    <a:lnTo>
                      <a:pt x="120" y="252"/>
                    </a:lnTo>
                    <a:lnTo>
                      <a:pt x="120" y="246"/>
                    </a:lnTo>
                    <a:lnTo>
                      <a:pt x="126" y="246"/>
                    </a:lnTo>
                    <a:lnTo>
                      <a:pt x="126" y="240"/>
                    </a:lnTo>
                    <a:lnTo>
                      <a:pt x="126" y="234"/>
                    </a:lnTo>
                    <a:lnTo>
                      <a:pt x="126" y="228"/>
                    </a:lnTo>
                    <a:lnTo>
                      <a:pt x="126" y="222"/>
                    </a:lnTo>
                    <a:lnTo>
                      <a:pt x="126" y="216"/>
                    </a:lnTo>
                    <a:lnTo>
                      <a:pt x="126" y="210"/>
                    </a:lnTo>
                    <a:lnTo>
                      <a:pt x="132" y="204"/>
                    </a:lnTo>
                    <a:lnTo>
                      <a:pt x="138" y="198"/>
                    </a:lnTo>
                    <a:lnTo>
                      <a:pt x="138" y="192"/>
                    </a:lnTo>
                    <a:lnTo>
                      <a:pt x="138" y="186"/>
                    </a:lnTo>
                    <a:lnTo>
                      <a:pt x="138" y="180"/>
                    </a:lnTo>
                    <a:lnTo>
                      <a:pt x="132" y="180"/>
                    </a:lnTo>
                    <a:lnTo>
                      <a:pt x="132" y="174"/>
                    </a:lnTo>
                    <a:lnTo>
                      <a:pt x="126" y="168"/>
                    </a:lnTo>
                    <a:lnTo>
                      <a:pt x="120" y="162"/>
                    </a:lnTo>
                    <a:lnTo>
                      <a:pt x="114" y="156"/>
                    </a:lnTo>
                    <a:lnTo>
                      <a:pt x="114" y="150"/>
                    </a:lnTo>
                    <a:lnTo>
                      <a:pt x="120" y="150"/>
                    </a:lnTo>
                    <a:lnTo>
                      <a:pt x="120" y="144"/>
                    </a:lnTo>
                    <a:lnTo>
                      <a:pt x="114" y="138"/>
                    </a:lnTo>
                    <a:lnTo>
                      <a:pt x="108" y="138"/>
                    </a:lnTo>
                    <a:lnTo>
                      <a:pt x="108" y="132"/>
                    </a:lnTo>
                    <a:lnTo>
                      <a:pt x="108" y="126"/>
                    </a:lnTo>
                    <a:lnTo>
                      <a:pt x="102" y="126"/>
                    </a:lnTo>
                    <a:lnTo>
                      <a:pt x="102" y="120"/>
                    </a:lnTo>
                    <a:lnTo>
                      <a:pt x="96" y="120"/>
                    </a:lnTo>
                    <a:lnTo>
                      <a:pt x="96" y="114"/>
                    </a:lnTo>
                    <a:lnTo>
                      <a:pt x="96" y="108"/>
                    </a:lnTo>
                    <a:lnTo>
                      <a:pt x="96" y="102"/>
                    </a:lnTo>
                    <a:lnTo>
                      <a:pt x="96" y="96"/>
                    </a:lnTo>
                    <a:lnTo>
                      <a:pt x="96" y="90"/>
                    </a:lnTo>
                    <a:lnTo>
                      <a:pt x="96" y="84"/>
                    </a:lnTo>
                    <a:lnTo>
                      <a:pt x="96" y="78"/>
                    </a:lnTo>
                    <a:lnTo>
                      <a:pt x="96" y="72"/>
                    </a:lnTo>
                    <a:lnTo>
                      <a:pt x="90" y="66"/>
                    </a:lnTo>
                    <a:lnTo>
                      <a:pt x="90" y="60"/>
                    </a:lnTo>
                    <a:lnTo>
                      <a:pt x="90" y="48"/>
                    </a:lnTo>
                    <a:lnTo>
                      <a:pt x="90" y="42"/>
                    </a:lnTo>
                    <a:lnTo>
                      <a:pt x="90" y="36"/>
                    </a:lnTo>
                    <a:lnTo>
                      <a:pt x="84" y="36"/>
                    </a:lnTo>
                    <a:lnTo>
                      <a:pt x="84" y="30"/>
                    </a:lnTo>
                    <a:lnTo>
                      <a:pt x="84" y="24"/>
                    </a:lnTo>
                    <a:lnTo>
                      <a:pt x="90" y="24"/>
                    </a:lnTo>
                    <a:lnTo>
                      <a:pt x="96" y="24"/>
                    </a:lnTo>
                    <a:lnTo>
                      <a:pt x="96" y="18"/>
                    </a:lnTo>
                    <a:lnTo>
                      <a:pt x="102" y="18"/>
                    </a:lnTo>
                    <a:lnTo>
                      <a:pt x="108" y="18"/>
                    </a:lnTo>
                    <a:lnTo>
                      <a:pt x="108" y="12"/>
                    </a:lnTo>
                    <a:lnTo>
                      <a:pt x="114" y="12"/>
                    </a:lnTo>
                    <a:lnTo>
                      <a:pt x="120" y="12"/>
                    </a:lnTo>
                    <a:lnTo>
                      <a:pt x="120" y="6"/>
                    </a:lnTo>
                    <a:lnTo>
                      <a:pt x="126" y="6"/>
                    </a:lnTo>
                    <a:lnTo>
                      <a:pt x="132" y="6"/>
                    </a:lnTo>
                    <a:lnTo>
                      <a:pt x="138" y="0"/>
                    </a:lnTo>
                    <a:lnTo>
                      <a:pt x="144" y="0"/>
                    </a:lnTo>
                    <a:lnTo>
                      <a:pt x="150" y="6"/>
                    </a:lnTo>
                    <a:lnTo>
                      <a:pt x="156" y="6"/>
                    </a:lnTo>
                    <a:lnTo>
                      <a:pt x="162" y="12"/>
                    </a:lnTo>
                    <a:lnTo>
                      <a:pt x="168" y="12"/>
                    </a:lnTo>
                    <a:lnTo>
                      <a:pt x="174" y="18"/>
                    </a:lnTo>
                    <a:lnTo>
                      <a:pt x="180" y="18"/>
                    </a:lnTo>
                    <a:lnTo>
                      <a:pt x="186" y="24"/>
                    </a:lnTo>
                    <a:lnTo>
                      <a:pt x="192" y="24"/>
                    </a:lnTo>
                    <a:lnTo>
                      <a:pt x="198" y="30"/>
                    </a:lnTo>
                    <a:lnTo>
                      <a:pt x="204" y="30"/>
                    </a:lnTo>
                    <a:lnTo>
                      <a:pt x="210" y="36"/>
                    </a:lnTo>
                    <a:lnTo>
                      <a:pt x="216" y="36"/>
                    </a:lnTo>
                    <a:lnTo>
                      <a:pt x="222" y="42"/>
                    </a:lnTo>
                    <a:lnTo>
                      <a:pt x="228" y="42"/>
                    </a:lnTo>
                    <a:lnTo>
                      <a:pt x="234" y="48"/>
                    </a:lnTo>
                    <a:lnTo>
                      <a:pt x="240" y="48"/>
                    </a:lnTo>
                    <a:lnTo>
                      <a:pt x="246" y="54"/>
                    </a:lnTo>
                    <a:lnTo>
                      <a:pt x="252" y="54"/>
                    </a:lnTo>
                    <a:lnTo>
                      <a:pt x="252" y="60"/>
                    </a:lnTo>
                    <a:lnTo>
                      <a:pt x="258" y="60"/>
                    </a:lnTo>
                    <a:lnTo>
                      <a:pt x="264" y="60"/>
                    </a:lnTo>
                    <a:lnTo>
                      <a:pt x="264" y="66"/>
                    </a:lnTo>
                    <a:lnTo>
                      <a:pt x="270" y="66"/>
                    </a:lnTo>
                    <a:lnTo>
                      <a:pt x="276" y="66"/>
                    </a:lnTo>
                    <a:lnTo>
                      <a:pt x="282" y="72"/>
                    </a:lnTo>
                    <a:lnTo>
                      <a:pt x="288" y="72"/>
                    </a:lnTo>
                    <a:lnTo>
                      <a:pt x="288" y="78"/>
                    </a:lnTo>
                    <a:lnTo>
                      <a:pt x="306" y="84"/>
                    </a:lnTo>
                    <a:lnTo>
                      <a:pt x="588" y="234"/>
                    </a:lnTo>
                    <a:lnTo>
                      <a:pt x="588" y="240"/>
                    </a:lnTo>
                    <a:lnTo>
                      <a:pt x="588" y="246"/>
                    </a:lnTo>
                    <a:lnTo>
                      <a:pt x="588" y="252"/>
                    </a:lnTo>
                    <a:lnTo>
                      <a:pt x="588" y="258"/>
                    </a:lnTo>
                    <a:lnTo>
                      <a:pt x="588" y="264"/>
                    </a:lnTo>
                    <a:lnTo>
                      <a:pt x="588" y="270"/>
                    </a:lnTo>
                    <a:lnTo>
                      <a:pt x="588" y="276"/>
                    </a:lnTo>
                    <a:lnTo>
                      <a:pt x="588" y="282"/>
                    </a:lnTo>
                    <a:lnTo>
                      <a:pt x="588" y="288"/>
                    </a:lnTo>
                    <a:lnTo>
                      <a:pt x="588" y="294"/>
                    </a:lnTo>
                    <a:lnTo>
                      <a:pt x="588" y="300"/>
                    </a:lnTo>
                    <a:lnTo>
                      <a:pt x="588" y="306"/>
                    </a:lnTo>
                    <a:lnTo>
                      <a:pt x="588" y="312"/>
                    </a:lnTo>
                    <a:lnTo>
                      <a:pt x="588" y="318"/>
                    </a:lnTo>
                    <a:lnTo>
                      <a:pt x="588" y="324"/>
                    </a:lnTo>
                    <a:lnTo>
                      <a:pt x="588" y="330"/>
                    </a:lnTo>
                    <a:lnTo>
                      <a:pt x="588" y="336"/>
                    </a:lnTo>
                    <a:lnTo>
                      <a:pt x="588" y="342"/>
                    </a:lnTo>
                    <a:lnTo>
                      <a:pt x="588" y="348"/>
                    </a:lnTo>
                    <a:lnTo>
                      <a:pt x="588" y="354"/>
                    </a:lnTo>
                    <a:lnTo>
                      <a:pt x="588" y="360"/>
                    </a:lnTo>
                    <a:lnTo>
                      <a:pt x="588" y="366"/>
                    </a:lnTo>
                    <a:lnTo>
                      <a:pt x="588" y="372"/>
                    </a:lnTo>
                    <a:lnTo>
                      <a:pt x="588" y="378"/>
                    </a:lnTo>
                    <a:lnTo>
                      <a:pt x="588" y="384"/>
                    </a:lnTo>
                    <a:lnTo>
                      <a:pt x="588" y="390"/>
                    </a:lnTo>
                    <a:lnTo>
                      <a:pt x="588" y="396"/>
                    </a:lnTo>
                    <a:lnTo>
                      <a:pt x="588" y="402"/>
                    </a:lnTo>
                    <a:lnTo>
                      <a:pt x="588" y="408"/>
                    </a:lnTo>
                    <a:lnTo>
                      <a:pt x="588" y="414"/>
                    </a:lnTo>
                    <a:lnTo>
                      <a:pt x="588" y="420"/>
                    </a:lnTo>
                    <a:lnTo>
                      <a:pt x="588" y="426"/>
                    </a:lnTo>
                    <a:lnTo>
                      <a:pt x="588" y="432"/>
                    </a:lnTo>
                    <a:lnTo>
                      <a:pt x="588" y="438"/>
                    </a:lnTo>
                    <a:lnTo>
                      <a:pt x="588" y="450"/>
                    </a:lnTo>
                    <a:lnTo>
                      <a:pt x="588" y="456"/>
                    </a:lnTo>
                    <a:lnTo>
                      <a:pt x="582" y="456"/>
                    </a:lnTo>
                    <a:lnTo>
                      <a:pt x="576" y="456"/>
                    </a:lnTo>
                    <a:lnTo>
                      <a:pt x="570" y="456"/>
                    </a:lnTo>
                    <a:lnTo>
                      <a:pt x="564" y="456"/>
                    </a:lnTo>
                    <a:lnTo>
                      <a:pt x="558" y="456"/>
                    </a:lnTo>
                    <a:lnTo>
                      <a:pt x="552" y="456"/>
                    </a:lnTo>
                    <a:lnTo>
                      <a:pt x="552" y="462"/>
                    </a:lnTo>
                    <a:lnTo>
                      <a:pt x="546" y="456"/>
                    </a:lnTo>
                    <a:lnTo>
                      <a:pt x="540" y="456"/>
                    </a:lnTo>
                    <a:lnTo>
                      <a:pt x="534" y="456"/>
                    </a:lnTo>
                    <a:lnTo>
                      <a:pt x="534" y="462"/>
                    </a:lnTo>
                    <a:lnTo>
                      <a:pt x="528" y="468"/>
                    </a:lnTo>
                    <a:lnTo>
                      <a:pt x="528" y="474"/>
                    </a:lnTo>
                    <a:lnTo>
                      <a:pt x="528" y="480"/>
                    </a:lnTo>
                    <a:lnTo>
                      <a:pt x="528" y="486"/>
                    </a:lnTo>
                    <a:lnTo>
                      <a:pt x="528" y="492"/>
                    </a:lnTo>
                    <a:lnTo>
                      <a:pt x="522" y="492"/>
                    </a:lnTo>
                    <a:lnTo>
                      <a:pt x="522" y="498"/>
                    </a:lnTo>
                    <a:lnTo>
                      <a:pt x="516" y="498"/>
                    </a:lnTo>
                    <a:lnTo>
                      <a:pt x="516" y="504"/>
                    </a:lnTo>
                    <a:lnTo>
                      <a:pt x="510" y="504"/>
                    </a:lnTo>
                    <a:lnTo>
                      <a:pt x="510" y="510"/>
                    </a:lnTo>
                    <a:lnTo>
                      <a:pt x="516" y="510"/>
                    </a:lnTo>
                    <a:lnTo>
                      <a:pt x="516" y="516"/>
                    </a:lnTo>
                    <a:lnTo>
                      <a:pt x="510" y="516"/>
                    </a:lnTo>
                    <a:lnTo>
                      <a:pt x="504" y="522"/>
                    </a:lnTo>
                    <a:lnTo>
                      <a:pt x="498" y="522"/>
                    </a:lnTo>
                    <a:lnTo>
                      <a:pt x="498" y="528"/>
                    </a:lnTo>
                    <a:lnTo>
                      <a:pt x="498" y="534"/>
                    </a:lnTo>
                    <a:lnTo>
                      <a:pt x="498" y="540"/>
                    </a:lnTo>
                    <a:lnTo>
                      <a:pt x="504" y="540"/>
                    </a:lnTo>
                    <a:lnTo>
                      <a:pt x="504" y="546"/>
                    </a:lnTo>
                    <a:lnTo>
                      <a:pt x="510" y="546"/>
                    </a:lnTo>
                    <a:lnTo>
                      <a:pt x="504" y="546"/>
                    </a:lnTo>
                    <a:lnTo>
                      <a:pt x="504" y="552"/>
                    </a:lnTo>
                    <a:lnTo>
                      <a:pt x="498" y="552"/>
                    </a:lnTo>
                    <a:lnTo>
                      <a:pt x="498" y="558"/>
                    </a:lnTo>
                    <a:lnTo>
                      <a:pt x="492" y="558"/>
                    </a:lnTo>
                    <a:lnTo>
                      <a:pt x="486" y="558"/>
                    </a:lnTo>
                    <a:lnTo>
                      <a:pt x="486" y="564"/>
                    </a:lnTo>
                    <a:lnTo>
                      <a:pt x="480" y="564"/>
                    </a:lnTo>
                    <a:lnTo>
                      <a:pt x="480" y="570"/>
                    </a:lnTo>
                    <a:lnTo>
                      <a:pt x="480" y="576"/>
                    </a:lnTo>
                    <a:lnTo>
                      <a:pt x="486" y="576"/>
                    </a:lnTo>
                    <a:lnTo>
                      <a:pt x="486" y="582"/>
                    </a:lnTo>
                    <a:lnTo>
                      <a:pt x="486" y="588"/>
                    </a:lnTo>
                    <a:lnTo>
                      <a:pt x="492" y="588"/>
                    </a:lnTo>
                    <a:lnTo>
                      <a:pt x="492" y="594"/>
                    </a:lnTo>
                    <a:lnTo>
                      <a:pt x="486" y="594"/>
                    </a:lnTo>
                    <a:lnTo>
                      <a:pt x="486" y="600"/>
                    </a:lnTo>
                    <a:lnTo>
                      <a:pt x="480" y="606"/>
                    </a:lnTo>
                    <a:lnTo>
                      <a:pt x="474" y="606"/>
                    </a:lnTo>
                    <a:lnTo>
                      <a:pt x="474" y="612"/>
                    </a:lnTo>
                    <a:lnTo>
                      <a:pt x="468" y="612"/>
                    </a:lnTo>
                    <a:lnTo>
                      <a:pt x="474" y="612"/>
                    </a:lnTo>
                    <a:lnTo>
                      <a:pt x="468" y="612"/>
                    </a:lnTo>
                    <a:lnTo>
                      <a:pt x="468" y="618"/>
                    </a:lnTo>
                    <a:lnTo>
                      <a:pt x="468" y="624"/>
                    </a:lnTo>
                    <a:lnTo>
                      <a:pt x="468" y="630"/>
                    </a:lnTo>
                    <a:lnTo>
                      <a:pt x="474" y="636"/>
                    </a:lnTo>
                    <a:lnTo>
                      <a:pt x="480" y="636"/>
                    </a:lnTo>
                    <a:lnTo>
                      <a:pt x="480" y="630"/>
                    </a:lnTo>
                    <a:lnTo>
                      <a:pt x="486" y="630"/>
                    </a:lnTo>
                    <a:lnTo>
                      <a:pt x="492" y="630"/>
                    </a:lnTo>
                    <a:lnTo>
                      <a:pt x="498" y="630"/>
                    </a:lnTo>
                    <a:lnTo>
                      <a:pt x="498" y="636"/>
                    </a:lnTo>
                    <a:lnTo>
                      <a:pt x="498" y="642"/>
                    </a:lnTo>
                    <a:lnTo>
                      <a:pt x="498" y="648"/>
                    </a:lnTo>
                    <a:lnTo>
                      <a:pt x="498" y="654"/>
                    </a:lnTo>
                    <a:lnTo>
                      <a:pt x="504" y="660"/>
                    </a:lnTo>
                    <a:lnTo>
                      <a:pt x="504" y="666"/>
                    </a:lnTo>
                    <a:lnTo>
                      <a:pt x="498" y="672"/>
                    </a:lnTo>
                    <a:lnTo>
                      <a:pt x="504" y="672"/>
                    </a:lnTo>
                    <a:lnTo>
                      <a:pt x="504" y="666"/>
                    </a:lnTo>
                    <a:lnTo>
                      <a:pt x="510" y="666"/>
                    </a:lnTo>
                    <a:lnTo>
                      <a:pt x="510" y="672"/>
                    </a:lnTo>
                    <a:lnTo>
                      <a:pt x="510" y="678"/>
                    </a:lnTo>
                    <a:lnTo>
                      <a:pt x="510" y="684"/>
                    </a:lnTo>
                    <a:lnTo>
                      <a:pt x="504" y="684"/>
                    </a:lnTo>
                    <a:lnTo>
                      <a:pt x="504" y="690"/>
                    </a:lnTo>
                    <a:lnTo>
                      <a:pt x="510" y="690"/>
                    </a:lnTo>
                    <a:lnTo>
                      <a:pt x="510" y="696"/>
                    </a:lnTo>
                    <a:lnTo>
                      <a:pt x="516" y="702"/>
                    </a:lnTo>
                    <a:lnTo>
                      <a:pt x="522" y="702"/>
                    </a:lnTo>
                    <a:lnTo>
                      <a:pt x="528" y="702"/>
                    </a:lnTo>
                    <a:lnTo>
                      <a:pt x="528" y="708"/>
                    </a:lnTo>
                    <a:lnTo>
                      <a:pt x="528" y="714"/>
                    </a:lnTo>
                    <a:lnTo>
                      <a:pt x="528" y="720"/>
                    </a:lnTo>
                    <a:lnTo>
                      <a:pt x="528" y="726"/>
                    </a:lnTo>
                    <a:lnTo>
                      <a:pt x="522" y="73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2" name="Freeform 30"/>
              <p:cNvSpPr>
                <a:spLocks noEditPoints="1"/>
              </p:cNvSpPr>
              <p:nvPr>
                <p:custDataLst>
                  <p:tags r:id="rId29"/>
                </p:custDataLst>
              </p:nvPr>
            </p:nvSpPr>
            <p:spPr bwMode="gray">
              <a:xfrm>
                <a:off x="4542796" y="935053"/>
                <a:ext cx="469195" cy="381191"/>
              </a:xfrm>
              <a:custGeom>
                <a:avLst/>
                <a:gdLst>
                  <a:gd name="T0" fmla="*/ 48452 w 372"/>
                  <a:gd name="T1" fmla="*/ 14519 h 324"/>
                  <a:gd name="T2" fmla="*/ 55235 w 372"/>
                  <a:gd name="T3" fmla="*/ 31941 h 324"/>
                  <a:gd name="T4" fmla="*/ 60081 w 372"/>
                  <a:gd name="T5" fmla="*/ 44524 h 324"/>
                  <a:gd name="T6" fmla="*/ 63957 w 372"/>
                  <a:gd name="T7" fmla="*/ 57107 h 324"/>
                  <a:gd name="T8" fmla="*/ 67834 w 372"/>
                  <a:gd name="T9" fmla="*/ 57107 h 324"/>
                  <a:gd name="T10" fmla="*/ 71710 w 372"/>
                  <a:gd name="T11" fmla="*/ 57107 h 324"/>
                  <a:gd name="T12" fmla="*/ 74616 w 372"/>
                  <a:gd name="T13" fmla="*/ 63883 h 324"/>
                  <a:gd name="T14" fmla="*/ 80431 w 372"/>
                  <a:gd name="T15" fmla="*/ 61947 h 324"/>
                  <a:gd name="T16" fmla="*/ 95935 w 372"/>
                  <a:gd name="T17" fmla="*/ 70658 h 324"/>
                  <a:gd name="T18" fmla="*/ 104657 w 372"/>
                  <a:gd name="T19" fmla="*/ 83241 h 324"/>
                  <a:gd name="T20" fmla="*/ 112409 w 372"/>
                  <a:gd name="T21" fmla="*/ 89049 h 324"/>
                  <a:gd name="T22" fmla="*/ 117254 w 372"/>
                  <a:gd name="T23" fmla="*/ 97760 h 324"/>
                  <a:gd name="T24" fmla="*/ 123069 w 372"/>
                  <a:gd name="T25" fmla="*/ 104535 h 324"/>
                  <a:gd name="T26" fmla="*/ 131790 w 372"/>
                  <a:gd name="T27" fmla="*/ 108407 h 324"/>
                  <a:gd name="T28" fmla="*/ 119193 w 372"/>
                  <a:gd name="T29" fmla="*/ 112279 h 324"/>
                  <a:gd name="T30" fmla="*/ 105626 w 372"/>
                  <a:gd name="T31" fmla="*/ 99696 h 324"/>
                  <a:gd name="T32" fmla="*/ 93998 w 372"/>
                  <a:gd name="T33" fmla="*/ 89049 h 324"/>
                  <a:gd name="T34" fmla="*/ 80431 w 372"/>
                  <a:gd name="T35" fmla="*/ 78402 h 324"/>
                  <a:gd name="T36" fmla="*/ 67834 w 372"/>
                  <a:gd name="T37" fmla="*/ 74530 h 324"/>
                  <a:gd name="T38" fmla="*/ 55235 w 372"/>
                  <a:gd name="T39" fmla="*/ 74530 h 324"/>
                  <a:gd name="T40" fmla="*/ 42638 w 372"/>
                  <a:gd name="T41" fmla="*/ 74530 h 324"/>
                  <a:gd name="T42" fmla="*/ 30040 w 372"/>
                  <a:gd name="T43" fmla="*/ 65818 h 324"/>
                  <a:gd name="T44" fmla="*/ 21319 w 372"/>
                  <a:gd name="T45" fmla="*/ 80338 h 324"/>
                  <a:gd name="T46" fmla="*/ 14536 w 372"/>
                  <a:gd name="T47" fmla="*/ 74530 h 324"/>
                  <a:gd name="T48" fmla="*/ 1938 w 372"/>
                  <a:gd name="T49" fmla="*/ 70658 h 324"/>
                  <a:gd name="T50" fmla="*/ 3876 w 372"/>
                  <a:gd name="T51" fmla="*/ 55171 h 324"/>
                  <a:gd name="T52" fmla="*/ 8721 w 372"/>
                  <a:gd name="T53" fmla="*/ 36781 h 324"/>
                  <a:gd name="T54" fmla="*/ 10660 w 372"/>
                  <a:gd name="T55" fmla="*/ 26134 h 324"/>
                  <a:gd name="T56" fmla="*/ 21319 w 372"/>
                  <a:gd name="T57" fmla="*/ 19358 h 324"/>
                  <a:gd name="T58" fmla="*/ 33916 w 372"/>
                  <a:gd name="T59" fmla="*/ 10647 h 324"/>
                  <a:gd name="T60" fmla="*/ 70740 w 372"/>
                  <a:gd name="T61" fmla="*/ 46460 h 324"/>
                  <a:gd name="T62" fmla="*/ 71710 w 372"/>
                  <a:gd name="T63" fmla="*/ 44524 h 324"/>
                  <a:gd name="T64" fmla="*/ 78493 w 372"/>
                  <a:gd name="T65" fmla="*/ 48396 h 324"/>
                  <a:gd name="T66" fmla="*/ 70740 w 372"/>
                  <a:gd name="T67" fmla="*/ 48396 h 324"/>
                  <a:gd name="T68" fmla="*/ 76555 w 372"/>
                  <a:gd name="T69" fmla="*/ 60011 h 324"/>
                  <a:gd name="T70" fmla="*/ 74616 w 372"/>
                  <a:gd name="T71" fmla="*/ 48396 h 324"/>
                  <a:gd name="T72" fmla="*/ 60081 w 372"/>
                  <a:gd name="T73" fmla="*/ 37749 h 324"/>
                  <a:gd name="T74" fmla="*/ 71710 w 372"/>
                  <a:gd name="T75" fmla="*/ 40653 h 324"/>
                  <a:gd name="T76" fmla="*/ 63957 w 372"/>
                  <a:gd name="T77" fmla="*/ 42588 h 324"/>
                  <a:gd name="T78" fmla="*/ 71710 w 372"/>
                  <a:gd name="T79" fmla="*/ 46460 h 324"/>
                  <a:gd name="T80" fmla="*/ 127914 w 372"/>
                  <a:gd name="T81" fmla="*/ 105503 h 324"/>
                  <a:gd name="T82" fmla="*/ 87214 w 372"/>
                  <a:gd name="T83" fmla="*/ 51300 h 324"/>
                  <a:gd name="T84" fmla="*/ 76555 w 372"/>
                  <a:gd name="T85" fmla="*/ 51300 h 324"/>
                  <a:gd name="T86" fmla="*/ 91090 w 372"/>
                  <a:gd name="T87" fmla="*/ 51300 h 324"/>
                  <a:gd name="T88" fmla="*/ 83338 w 372"/>
                  <a:gd name="T89" fmla="*/ 42588 h 324"/>
                  <a:gd name="T90" fmla="*/ 125007 w 372"/>
                  <a:gd name="T91" fmla="*/ 104535 h 324"/>
                  <a:gd name="T92" fmla="*/ 65895 w 372"/>
                  <a:gd name="T93" fmla="*/ 36781 h 324"/>
                  <a:gd name="T94" fmla="*/ 76555 w 372"/>
                  <a:gd name="T95" fmla="*/ 44524 h 324"/>
                  <a:gd name="T96" fmla="*/ 74616 w 372"/>
                  <a:gd name="T97" fmla="*/ 57107 h 324"/>
                  <a:gd name="T98" fmla="*/ 127914 w 372"/>
                  <a:gd name="T99" fmla="*/ 104535 h 324"/>
                  <a:gd name="T100" fmla="*/ 115317 w 372"/>
                  <a:gd name="T101" fmla="*/ 89049 h 324"/>
                  <a:gd name="T102" fmla="*/ 85276 w 372"/>
                  <a:gd name="T103" fmla="*/ 46460 h 324"/>
                  <a:gd name="T104" fmla="*/ 58143 w 372"/>
                  <a:gd name="T105" fmla="*/ 30005 h 324"/>
                  <a:gd name="T106" fmla="*/ 115317 w 372"/>
                  <a:gd name="T107" fmla="*/ 89049 h 324"/>
                  <a:gd name="T108" fmla="*/ 127914 w 372"/>
                  <a:gd name="T109" fmla="*/ 105503 h 324"/>
                  <a:gd name="T110" fmla="*/ 80431 w 372"/>
                  <a:gd name="T111" fmla="*/ 48396 h 324"/>
                  <a:gd name="T112" fmla="*/ 127914 w 372"/>
                  <a:gd name="T113" fmla="*/ 101632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2" h="324">
                    <a:moveTo>
                      <a:pt x="120" y="0"/>
                    </a:moveTo>
                    <a:lnTo>
                      <a:pt x="120" y="6"/>
                    </a:lnTo>
                    <a:lnTo>
                      <a:pt x="126" y="6"/>
                    </a:lnTo>
                    <a:lnTo>
                      <a:pt x="126" y="12"/>
                    </a:lnTo>
                    <a:lnTo>
                      <a:pt x="126" y="18"/>
                    </a:lnTo>
                    <a:lnTo>
                      <a:pt x="132" y="18"/>
                    </a:lnTo>
                    <a:lnTo>
                      <a:pt x="132" y="24"/>
                    </a:lnTo>
                    <a:lnTo>
                      <a:pt x="138" y="30"/>
                    </a:lnTo>
                    <a:lnTo>
                      <a:pt x="138" y="36"/>
                    </a:lnTo>
                    <a:lnTo>
                      <a:pt x="138" y="42"/>
                    </a:lnTo>
                    <a:lnTo>
                      <a:pt x="144" y="42"/>
                    </a:lnTo>
                    <a:lnTo>
                      <a:pt x="144" y="48"/>
                    </a:lnTo>
                    <a:lnTo>
                      <a:pt x="144" y="54"/>
                    </a:lnTo>
                    <a:lnTo>
                      <a:pt x="144" y="60"/>
                    </a:lnTo>
                    <a:lnTo>
                      <a:pt x="144" y="66"/>
                    </a:lnTo>
                    <a:lnTo>
                      <a:pt x="150" y="66"/>
                    </a:lnTo>
                    <a:lnTo>
                      <a:pt x="150" y="72"/>
                    </a:lnTo>
                    <a:lnTo>
                      <a:pt x="150" y="78"/>
                    </a:lnTo>
                    <a:lnTo>
                      <a:pt x="150" y="84"/>
                    </a:lnTo>
                    <a:lnTo>
                      <a:pt x="156" y="90"/>
                    </a:lnTo>
                    <a:lnTo>
                      <a:pt x="150" y="90"/>
                    </a:lnTo>
                    <a:lnTo>
                      <a:pt x="156" y="90"/>
                    </a:lnTo>
                    <a:lnTo>
                      <a:pt x="156" y="96"/>
                    </a:lnTo>
                    <a:lnTo>
                      <a:pt x="156" y="102"/>
                    </a:lnTo>
                    <a:lnTo>
                      <a:pt x="156" y="108"/>
                    </a:lnTo>
                    <a:lnTo>
                      <a:pt x="156" y="114"/>
                    </a:lnTo>
                    <a:lnTo>
                      <a:pt x="156" y="120"/>
                    </a:lnTo>
                    <a:lnTo>
                      <a:pt x="162" y="120"/>
                    </a:lnTo>
                    <a:lnTo>
                      <a:pt x="162" y="126"/>
                    </a:lnTo>
                    <a:lnTo>
                      <a:pt x="168" y="126"/>
                    </a:lnTo>
                    <a:lnTo>
                      <a:pt x="168" y="132"/>
                    </a:lnTo>
                    <a:lnTo>
                      <a:pt x="168" y="138"/>
                    </a:lnTo>
                    <a:lnTo>
                      <a:pt x="168" y="144"/>
                    </a:lnTo>
                    <a:lnTo>
                      <a:pt x="174" y="144"/>
                    </a:lnTo>
                    <a:lnTo>
                      <a:pt x="180" y="144"/>
                    </a:lnTo>
                    <a:lnTo>
                      <a:pt x="180" y="150"/>
                    </a:lnTo>
                    <a:lnTo>
                      <a:pt x="180" y="156"/>
                    </a:lnTo>
                    <a:lnTo>
                      <a:pt x="180" y="162"/>
                    </a:lnTo>
                    <a:lnTo>
                      <a:pt x="186" y="162"/>
                    </a:lnTo>
                    <a:lnTo>
                      <a:pt x="180" y="162"/>
                    </a:lnTo>
                    <a:lnTo>
                      <a:pt x="180" y="168"/>
                    </a:lnTo>
                    <a:lnTo>
                      <a:pt x="186" y="168"/>
                    </a:lnTo>
                    <a:lnTo>
                      <a:pt x="186" y="174"/>
                    </a:lnTo>
                    <a:lnTo>
                      <a:pt x="186" y="168"/>
                    </a:lnTo>
                    <a:lnTo>
                      <a:pt x="186" y="174"/>
                    </a:lnTo>
                    <a:lnTo>
                      <a:pt x="186" y="168"/>
                    </a:lnTo>
                    <a:lnTo>
                      <a:pt x="186" y="174"/>
                    </a:lnTo>
                    <a:lnTo>
                      <a:pt x="186" y="168"/>
                    </a:lnTo>
                    <a:lnTo>
                      <a:pt x="192" y="168"/>
                    </a:lnTo>
                    <a:lnTo>
                      <a:pt x="192" y="162"/>
                    </a:lnTo>
                    <a:lnTo>
                      <a:pt x="186" y="162"/>
                    </a:lnTo>
                    <a:lnTo>
                      <a:pt x="186" y="156"/>
                    </a:lnTo>
                    <a:lnTo>
                      <a:pt x="186" y="150"/>
                    </a:lnTo>
                    <a:lnTo>
                      <a:pt x="192" y="150"/>
                    </a:lnTo>
                    <a:lnTo>
                      <a:pt x="192" y="144"/>
                    </a:lnTo>
                    <a:lnTo>
                      <a:pt x="192" y="150"/>
                    </a:lnTo>
                    <a:lnTo>
                      <a:pt x="198" y="150"/>
                    </a:lnTo>
                    <a:lnTo>
                      <a:pt x="198" y="156"/>
                    </a:lnTo>
                    <a:lnTo>
                      <a:pt x="204" y="156"/>
                    </a:lnTo>
                    <a:lnTo>
                      <a:pt x="204" y="162"/>
                    </a:lnTo>
                    <a:lnTo>
                      <a:pt x="198" y="162"/>
                    </a:lnTo>
                    <a:lnTo>
                      <a:pt x="204" y="162"/>
                    </a:lnTo>
                    <a:lnTo>
                      <a:pt x="204" y="168"/>
                    </a:lnTo>
                    <a:lnTo>
                      <a:pt x="204" y="174"/>
                    </a:lnTo>
                    <a:lnTo>
                      <a:pt x="204" y="168"/>
                    </a:lnTo>
                    <a:lnTo>
                      <a:pt x="204" y="174"/>
                    </a:lnTo>
                    <a:lnTo>
                      <a:pt x="210" y="174"/>
                    </a:lnTo>
                    <a:lnTo>
                      <a:pt x="204" y="174"/>
                    </a:lnTo>
                    <a:lnTo>
                      <a:pt x="210" y="174"/>
                    </a:lnTo>
                    <a:lnTo>
                      <a:pt x="210" y="180"/>
                    </a:lnTo>
                    <a:lnTo>
                      <a:pt x="216" y="180"/>
                    </a:lnTo>
                    <a:lnTo>
                      <a:pt x="222" y="180"/>
                    </a:lnTo>
                    <a:lnTo>
                      <a:pt x="216" y="180"/>
                    </a:lnTo>
                    <a:lnTo>
                      <a:pt x="222" y="180"/>
                    </a:lnTo>
                    <a:lnTo>
                      <a:pt x="222" y="174"/>
                    </a:lnTo>
                    <a:lnTo>
                      <a:pt x="222" y="180"/>
                    </a:lnTo>
                    <a:lnTo>
                      <a:pt x="222" y="174"/>
                    </a:lnTo>
                    <a:lnTo>
                      <a:pt x="228" y="174"/>
                    </a:lnTo>
                    <a:lnTo>
                      <a:pt x="228" y="180"/>
                    </a:lnTo>
                    <a:lnTo>
                      <a:pt x="228" y="174"/>
                    </a:lnTo>
                    <a:lnTo>
                      <a:pt x="228" y="180"/>
                    </a:lnTo>
                    <a:lnTo>
                      <a:pt x="234" y="180"/>
                    </a:lnTo>
                    <a:lnTo>
                      <a:pt x="240" y="180"/>
                    </a:lnTo>
                    <a:lnTo>
                      <a:pt x="240" y="186"/>
                    </a:lnTo>
                    <a:lnTo>
                      <a:pt x="240" y="192"/>
                    </a:lnTo>
                    <a:lnTo>
                      <a:pt x="246" y="192"/>
                    </a:lnTo>
                    <a:lnTo>
                      <a:pt x="252" y="192"/>
                    </a:lnTo>
                    <a:lnTo>
                      <a:pt x="258" y="192"/>
                    </a:lnTo>
                    <a:lnTo>
                      <a:pt x="264" y="198"/>
                    </a:lnTo>
                    <a:lnTo>
                      <a:pt x="270" y="198"/>
                    </a:lnTo>
                    <a:lnTo>
                      <a:pt x="270" y="204"/>
                    </a:lnTo>
                    <a:lnTo>
                      <a:pt x="276" y="210"/>
                    </a:lnTo>
                    <a:lnTo>
                      <a:pt x="276" y="216"/>
                    </a:lnTo>
                    <a:lnTo>
                      <a:pt x="282" y="216"/>
                    </a:lnTo>
                    <a:lnTo>
                      <a:pt x="282" y="222"/>
                    </a:lnTo>
                    <a:lnTo>
                      <a:pt x="288" y="222"/>
                    </a:lnTo>
                    <a:lnTo>
                      <a:pt x="288" y="228"/>
                    </a:lnTo>
                    <a:lnTo>
                      <a:pt x="288" y="234"/>
                    </a:lnTo>
                    <a:lnTo>
                      <a:pt x="288" y="228"/>
                    </a:lnTo>
                    <a:lnTo>
                      <a:pt x="294" y="234"/>
                    </a:lnTo>
                    <a:lnTo>
                      <a:pt x="294" y="240"/>
                    </a:lnTo>
                    <a:lnTo>
                      <a:pt x="294" y="234"/>
                    </a:lnTo>
                    <a:lnTo>
                      <a:pt x="300" y="240"/>
                    </a:lnTo>
                    <a:lnTo>
                      <a:pt x="300" y="234"/>
                    </a:lnTo>
                    <a:lnTo>
                      <a:pt x="300" y="240"/>
                    </a:lnTo>
                    <a:lnTo>
                      <a:pt x="306" y="240"/>
                    </a:lnTo>
                    <a:lnTo>
                      <a:pt x="312" y="240"/>
                    </a:lnTo>
                    <a:lnTo>
                      <a:pt x="312" y="246"/>
                    </a:lnTo>
                    <a:lnTo>
                      <a:pt x="312" y="252"/>
                    </a:lnTo>
                    <a:lnTo>
                      <a:pt x="318" y="252"/>
                    </a:lnTo>
                    <a:lnTo>
                      <a:pt x="318" y="258"/>
                    </a:lnTo>
                    <a:lnTo>
                      <a:pt x="324" y="258"/>
                    </a:lnTo>
                    <a:lnTo>
                      <a:pt x="324" y="252"/>
                    </a:lnTo>
                    <a:lnTo>
                      <a:pt x="318" y="252"/>
                    </a:lnTo>
                    <a:lnTo>
                      <a:pt x="324" y="252"/>
                    </a:lnTo>
                    <a:lnTo>
                      <a:pt x="324" y="258"/>
                    </a:lnTo>
                    <a:lnTo>
                      <a:pt x="330" y="258"/>
                    </a:lnTo>
                    <a:lnTo>
                      <a:pt x="330" y="264"/>
                    </a:lnTo>
                    <a:lnTo>
                      <a:pt x="330" y="270"/>
                    </a:lnTo>
                    <a:lnTo>
                      <a:pt x="330" y="276"/>
                    </a:lnTo>
                    <a:lnTo>
                      <a:pt x="336" y="276"/>
                    </a:lnTo>
                    <a:lnTo>
                      <a:pt x="336" y="282"/>
                    </a:lnTo>
                    <a:lnTo>
                      <a:pt x="336" y="276"/>
                    </a:lnTo>
                    <a:lnTo>
                      <a:pt x="342" y="276"/>
                    </a:lnTo>
                    <a:lnTo>
                      <a:pt x="342" y="282"/>
                    </a:lnTo>
                    <a:lnTo>
                      <a:pt x="348" y="282"/>
                    </a:lnTo>
                    <a:lnTo>
                      <a:pt x="348" y="288"/>
                    </a:lnTo>
                    <a:lnTo>
                      <a:pt x="354" y="288"/>
                    </a:lnTo>
                    <a:lnTo>
                      <a:pt x="354" y="294"/>
                    </a:lnTo>
                    <a:lnTo>
                      <a:pt x="348" y="294"/>
                    </a:lnTo>
                    <a:lnTo>
                      <a:pt x="354" y="294"/>
                    </a:lnTo>
                    <a:lnTo>
                      <a:pt x="354" y="300"/>
                    </a:lnTo>
                    <a:lnTo>
                      <a:pt x="360" y="300"/>
                    </a:lnTo>
                    <a:lnTo>
                      <a:pt x="354" y="300"/>
                    </a:lnTo>
                    <a:lnTo>
                      <a:pt x="360" y="300"/>
                    </a:lnTo>
                    <a:lnTo>
                      <a:pt x="366" y="300"/>
                    </a:lnTo>
                    <a:lnTo>
                      <a:pt x="366" y="294"/>
                    </a:lnTo>
                    <a:lnTo>
                      <a:pt x="366" y="300"/>
                    </a:lnTo>
                    <a:lnTo>
                      <a:pt x="372" y="300"/>
                    </a:lnTo>
                    <a:lnTo>
                      <a:pt x="372" y="306"/>
                    </a:lnTo>
                    <a:lnTo>
                      <a:pt x="366" y="306"/>
                    </a:lnTo>
                    <a:lnTo>
                      <a:pt x="366" y="312"/>
                    </a:lnTo>
                    <a:lnTo>
                      <a:pt x="360" y="312"/>
                    </a:lnTo>
                    <a:lnTo>
                      <a:pt x="360" y="318"/>
                    </a:lnTo>
                    <a:lnTo>
                      <a:pt x="354" y="318"/>
                    </a:lnTo>
                    <a:lnTo>
                      <a:pt x="354" y="324"/>
                    </a:lnTo>
                    <a:lnTo>
                      <a:pt x="348" y="324"/>
                    </a:lnTo>
                    <a:lnTo>
                      <a:pt x="342" y="324"/>
                    </a:lnTo>
                    <a:lnTo>
                      <a:pt x="342" y="318"/>
                    </a:lnTo>
                    <a:lnTo>
                      <a:pt x="336" y="318"/>
                    </a:lnTo>
                    <a:lnTo>
                      <a:pt x="330" y="318"/>
                    </a:lnTo>
                    <a:lnTo>
                      <a:pt x="330" y="312"/>
                    </a:lnTo>
                    <a:lnTo>
                      <a:pt x="324" y="312"/>
                    </a:lnTo>
                    <a:lnTo>
                      <a:pt x="324" y="306"/>
                    </a:lnTo>
                    <a:lnTo>
                      <a:pt x="318" y="306"/>
                    </a:lnTo>
                    <a:lnTo>
                      <a:pt x="318" y="300"/>
                    </a:lnTo>
                    <a:lnTo>
                      <a:pt x="312" y="300"/>
                    </a:lnTo>
                    <a:lnTo>
                      <a:pt x="306" y="294"/>
                    </a:lnTo>
                    <a:lnTo>
                      <a:pt x="306" y="288"/>
                    </a:lnTo>
                    <a:lnTo>
                      <a:pt x="300" y="282"/>
                    </a:lnTo>
                    <a:lnTo>
                      <a:pt x="300" y="276"/>
                    </a:lnTo>
                    <a:lnTo>
                      <a:pt x="294" y="276"/>
                    </a:lnTo>
                    <a:lnTo>
                      <a:pt x="294" y="270"/>
                    </a:lnTo>
                    <a:lnTo>
                      <a:pt x="288" y="270"/>
                    </a:lnTo>
                    <a:lnTo>
                      <a:pt x="282" y="264"/>
                    </a:lnTo>
                    <a:lnTo>
                      <a:pt x="276" y="264"/>
                    </a:lnTo>
                    <a:lnTo>
                      <a:pt x="276" y="258"/>
                    </a:lnTo>
                    <a:lnTo>
                      <a:pt x="270" y="258"/>
                    </a:lnTo>
                    <a:lnTo>
                      <a:pt x="270" y="252"/>
                    </a:lnTo>
                    <a:lnTo>
                      <a:pt x="264" y="252"/>
                    </a:lnTo>
                    <a:lnTo>
                      <a:pt x="264" y="246"/>
                    </a:lnTo>
                    <a:lnTo>
                      <a:pt x="258" y="240"/>
                    </a:lnTo>
                    <a:lnTo>
                      <a:pt x="258" y="234"/>
                    </a:lnTo>
                    <a:lnTo>
                      <a:pt x="252" y="234"/>
                    </a:lnTo>
                    <a:lnTo>
                      <a:pt x="252" y="228"/>
                    </a:lnTo>
                    <a:lnTo>
                      <a:pt x="246" y="228"/>
                    </a:lnTo>
                    <a:lnTo>
                      <a:pt x="246" y="222"/>
                    </a:lnTo>
                    <a:lnTo>
                      <a:pt x="240" y="222"/>
                    </a:lnTo>
                    <a:lnTo>
                      <a:pt x="234" y="222"/>
                    </a:lnTo>
                    <a:lnTo>
                      <a:pt x="228" y="222"/>
                    </a:lnTo>
                    <a:lnTo>
                      <a:pt x="228" y="216"/>
                    </a:lnTo>
                    <a:lnTo>
                      <a:pt x="222" y="216"/>
                    </a:lnTo>
                    <a:lnTo>
                      <a:pt x="222" y="210"/>
                    </a:lnTo>
                    <a:lnTo>
                      <a:pt x="216" y="210"/>
                    </a:lnTo>
                    <a:lnTo>
                      <a:pt x="210" y="210"/>
                    </a:lnTo>
                    <a:lnTo>
                      <a:pt x="210" y="204"/>
                    </a:lnTo>
                    <a:lnTo>
                      <a:pt x="204" y="204"/>
                    </a:lnTo>
                    <a:lnTo>
                      <a:pt x="198" y="204"/>
                    </a:lnTo>
                    <a:lnTo>
                      <a:pt x="198" y="210"/>
                    </a:lnTo>
                    <a:lnTo>
                      <a:pt x="192" y="210"/>
                    </a:lnTo>
                    <a:lnTo>
                      <a:pt x="192" y="204"/>
                    </a:lnTo>
                    <a:lnTo>
                      <a:pt x="186" y="204"/>
                    </a:lnTo>
                    <a:lnTo>
                      <a:pt x="180" y="204"/>
                    </a:lnTo>
                    <a:lnTo>
                      <a:pt x="174" y="204"/>
                    </a:lnTo>
                    <a:lnTo>
                      <a:pt x="174" y="198"/>
                    </a:lnTo>
                    <a:lnTo>
                      <a:pt x="174" y="204"/>
                    </a:lnTo>
                    <a:lnTo>
                      <a:pt x="168" y="204"/>
                    </a:lnTo>
                    <a:lnTo>
                      <a:pt x="162" y="204"/>
                    </a:lnTo>
                    <a:lnTo>
                      <a:pt x="156" y="204"/>
                    </a:lnTo>
                    <a:lnTo>
                      <a:pt x="156" y="210"/>
                    </a:lnTo>
                    <a:lnTo>
                      <a:pt x="156" y="204"/>
                    </a:lnTo>
                    <a:lnTo>
                      <a:pt x="156" y="198"/>
                    </a:lnTo>
                    <a:lnTo>
                      <a:pt x="150" y="198"/>
                    </a:lnTo>
                    <a:lnTo>
                      <a:pt x="144" y="198"/>
                    </a:lnTo>
                    <a:lnTo>
                      <a:pt x="144" y="204"/>
                    </a:lnTo>
                    <a:lnTo>
                      <a:pt x="138" y="204"/>
                    </a:lnTo>
                    <a:lnTo>
                      <a:pt x="132" y="204"/>
                    </a:lnTo>
                    <a:lnTo>
                      <a:pt x="126" y="204"/>
                    </a:lnTo>
                    <a:lnTo>
                      <a:pt x="126" y="210"/>
                    </a:lnTo>
                    <a:lnTo>
                      <a:pt x="120" y="210"/>
                    </a:lnTo>
                    <a:lnTo>
                      <a:pt x="114" y="210"/>
                    </a:lnTo>
                    <a:lnTo>
                      <a:pt x="114" y="204"/>
                    </a:lnTo>
                    <a:lnTo>
                      <a:pt x="108" y="204"/>
                    </a:lnTo>
                    <a:lnTo>
                      <a:pt x="108" y="198"/>
                    </a:lnTo>
                    <a:lnTo>
                      <a:pt x="102" y="198"/>
                    </a:lnTo>
                    <a:lnTo>
                      <a:pt x="102" y="192"/>
                    </a:lnTo>
                    <a:lnTo>
                      <a:pt x="96" y="192"/>
                    </a:lnTo>
                    <a:lnTo>
                      <a:pt x="90" y="192"/>
                    </a:lnTo>
                    <a:lnTo>
                      <a:pt x="90" y="186"/>
                    </a:lnTo>
                    <a:lnTo>
                      <a:pt x="84" y="186"/>
                    </a:lnTo>
                    <a:lnTo>
                      <a:pt x="84" y="180"/>
                    </a:lnTo>
                    <a:lnTo>
                      <a:pt x="78" y="186"/>
                    </a:lnTo>
                    <a:lnTo>
                      <a:pt x="78" y="192"/>
                    </a:lnTo>
                    <a:lnTo>
                      <a:pt x="78" y="198"/>
                    </a:lnTo>
                    <a:lnTo>
                      <a:pt x="72" y="204"/>
                    </a:lnTo>
                    <a:lnTo>
                      <a:pt x="72" y="210"/>
                    </a:lnTo>
                    <a:lnTo>
                      <a:pt x="66" y="216"/>
                    </a:lnTo>
                    <a:lnTo>
                      <a:pt x="66" y="222"/>
                    </a:lnTo>
                    <a:lnTo>
                      <a:pt x="66" y="228"/>
                    </a:lnTo>
                    <a:lnTo>
                      <a:pt x="60" y="228"/>
                    </a:lnTo>
                    <a:lnTo>
                      <a:pt x="60" y="222"/>
                    </a:lnTo>
                    <a:lnTo>
                      <a:pt x="60" y="216"/>
                    </a:lnTo>
                    <a:lnTo>
                      <a:pt x="54" y="216"/>
                    </a:lnTo>
                    <a:lnTo>
                      <a:pt x="54" y="210"/>
                    </a:lnTo>
                    <a:lnTo>
                      <a:pt x="48" y="210"/>
                    </a:lnTo>
                    <a:lnTo>
                      <a:pt x="48" y="204"/>
                    </a:lnTo>
                    <a:lnTo>
                      <a:pt x="48" y="210"/>
                    </a:lnTo>
                    <a:lnTo>
                      <a:pt x="48" y="204"/>
                    </a:lnTo>
                    <a:lnTo>
                      <a:pt x="42" y="204"/>
                    </a:lnTo>
                    <a:lnTo>
                      <a:pt x="42" y="210"/>
                    </a:lnTo>
                    <a:lnTo>
                      <a:pt x="36" y="210"/>
                    </a:lnTo>
                    <a:lnTo>
                      <a:pt x="36" y="216"/>
                    </a:lnTo>
                    <a:lnTo>
                      <a:pt x="30" y="216"/>
                    </a:lnTo>
                    <a:lnTo>
                      <a:pt x="24" y="216"/>
                    </a:lnTo>
                    <a:lnTo>
                      <a:pt x="18" y="216"/>
                    </a:lnTo>
                    <a:lnTo>
                      <a:pt x="12" y="216"/>
                    </a:lnTo>
                    <a:lnTo>
                      <a:pt x="6" y="216"/>
                    </a:lnTo>
                    <a:lnTo>
                      <a:pt x="6" y="210"/>
                    </a:lnTo>
                    <a:lnTo>
                      <a:pt x="6" y="204"/>
                    </a:lnTo>
                    <a:lnTo>
                      <a:pt x="6" y="198"/>
                    </a:lnTo>
                    <a:lnTo>
                      <a:pt x="6" y="192"/>
                    </a:lnTo>
                    <a:lnTo>
                      <a:pt x="6" y="186"/>
                    </a:lnTo>
                    <a:lnTo>
                      <a:pt x="0" y="186"/>
                    </a:lnTo>
                    <a:lnTo>
                      <a:pt x="0" y="180"/>
                    </a:lnTo>
                    <a:lnTo>
                      <a:pt x="0" y="174"/>
                    </a:lnTo>
                    <a:lnTo>
                      <a:pt x="0" y="168"/>
                    </a:lnTo>
                    <a:lnTo>
                      <a:pt x="0" y="162"/>
                    </a:lnTo>
                    <a:lnTo>
                      <a:pt x="6" y="162"/>
                    </a:lnTo>
                    <a:lnTo>
                      <a:pt x="6" y="156"/>
                    </a:lnTo>
                    <a:lnTo>
                      <a:pt x="12" y="156"/>
                    </a:lnTo>
                    <a:lnTo>
                      <a:pt x="12" y="150"/>
                    </a:lnTo>
                    <a:lnTo>
                      <a:pt x="12" y="144"/>
                    </a:lnTo>
                    <a:lnTo>
                      <a:pt x="12" y="138"/>
                    </a:lnTo>
                    <a:lnTo>
                      <a:pt x="18" y="132"/>
                    </a:lnTo>
                    <a:lnTo>
                      <a:pt x="18" y="126"/>
                    </a:lnTo>
                    <a:lnTo>
                      <a:pt x="18" y="120"/>
                    </a:lnTo>
                    <a:lnTo>
                      <a:pt x="24" y="120"/>
                    </a:lnTo>
                    <a:lnTo>
                      <a:pt x="24" y="114"/>
                    </a:lnTo>
                    <a:lnTo>
                      <a:pt x="24" y="108"/>
                    </a:lnTo>
                    <a:lnTo>
                      <a:pt x="24" y="102"/>
                    </a:lnTo>
                    <a:lnTo>
                      <a:pt x="30" y="102"/>
                    </a:lnTo>
                    <a:lnTo>
                      <a:pt x="30" y="96"/>
                    </a:lnTo>
                    <a:lnTo>
                      <a:pt x="30" y="90"/>
                    </a:lnTo>
                    <a:lnTo>
                      <a:pt x="24" y="90"/>
                    </a:lnTo>
                    <a:lnTo>
                      <a:pt x="24" y="84"/>
                    </a:lnTo>
                    <a:lnTo>
                      <a:pt x="24" y="78"/>
                    </a:lnTo>
                    <a:lnTo>
                      <a:pt x="30" y="78"/>
                    </a:lnTo>
                    <a:lnTo>
                      <a:pt x="30" y="72"/>
                    </a:lnTo>
                    <a:lnTo>
                      <a:pt x="36" y="72"/>
                    </a:lnTo>
                    <a:lnTo>
                      <a:pt x="30" y="72"/>
                    </a:lnTo>
                    <a:lnTo>
                      <a:pt x="30" y="66"/>
                    </a:lnTo>
                    <a:lnTo>
                      <a:pt x="30" y="60"/>
                    </a:lnTo>
                    <a:lnTo>
                      <a:pt x="36" y="60"/>
                    </a:lnTo>
                    <a:lnTo>
                      <a:pt x="36" y="54"/>
                    </a:lnTo>
                    <a:lnTo>
                      <a:pt x="30" y="54"/>
                    </a:lnTo>
                    <a:lnTo>
                      <a:pt x="36" y="54"/>
                    </a:lnTo>
                    <a:lnTo>
                      <a:pt x="42" y="54"/>
                    </a:lnTo>
                    <a:lnTo>
                      <a:pt x="48" y="54"/>
                    </a:lnTo>
                    <a:lnTo>
                      <a:pt x="54" y="54"/>
                    </a:lnTo>
                    <a:lnTo>
                      <a:pt x="60" y="54"/>
                    </a:lnTo>
                    <a:lnTo>
                      <a:pt x="60" y="48"/>
                    </a:lnTo>
                    <a:lnTo>
                      <a:pt x="60" y="42"/>
                    </a:lnTo>
                    <a:lnTo>
                      <a:pt x="66" y="36"/>
                    </a:lnTo>
                    <a:lnTo>
                      <a:pt x="72" y="36"/>
                    </a:lnTo>
                    <a:lnTo>
                      <a:pt x="78" y="36"/>
                    </a:lnTo>
                    <a:lnTo>
                      <a:pt x="78" y="30"/>
                    </a:lnTo>
                    <a:lnTo>
                      <a:pt x="84" y="30"/>
                    </a:lnTo>
                    <a:lnTo>
                      <a:pt x="90" y="24"/>
                    </a:lnTo>
                    <a:lnTo>
                      <a:pt x="90" y="30"/>
                    </a:lnTo>
                    <a:lnTo>
                      <a:pt x="96" y="30"/>
                    </a:lnTo>
                    <a:lnTo>
                      <a:pt x="96" y="24"/>
                    </a:lnTo>
                    <a:lnTo>
                      <a:pt x="96" y="30"/>
                    </a:lnTo>
                    <a:lnTo>
                      <a:pt x="102" y="24"/>
                    </a:lnTo>
                    <a:lnTo>
                      <a:pt x="108" y="24"/>
                    </a:lnTo>
                    <a:lnTo>
                      <a:pt x="108" y="18"/>
                    </a:lnTo>
                    <a:lnTo>
                      <a:pt x="108" y="12"/>
                    </a:lnTo>
                    <a:lnTo>
                      <a:pt x="114" y="6"/>
                    </a:lnTo>
                    <a:lnTo>
                      <a:pt x="120" y="0"/>
                    </a:lnTo>
                    <a:close/>
                    <a:moveTo>
                      <a:pt x="192" y="132"/>
                    </a:moveTo>
                    <a:lnTo>
                      <a:pt x="198" y="132"/>
                    </a:lnTo>
                    <a:lnTo>
                      <a:pt x="198" y="138"/>
                    </a:lnTo>
                    <a:lnTo>
                      <a:pt x="204" y="138"/>
                    </a:lnTo>
                    <a:lnTo>
                      <a:pt x="204" y="132"/>
                    </a:lnTo>
                    <a:lnTo>
                      <a:pt x="198" y="132"/>
                    </a:lnTo>
                    <a:lnTo>
                      <a:pt x="192" y="132"/>
                    </a:lnTo>
                    <a:lnTo>
                      <a:pt x="198" y="132"/>
                    </a:lnTo>
                    <a:lnTo>
                      <a:pt x="198" y="126"/>
                    </a:lnTo>
                    <a:lnTo>
                      <a:pt x="204" y="126"/>
                    </a:lnTo>
                    <a:lnTo>
                      <a:pt x="198" y="126"/>
                    </a:lnTo>
                    <a:lnTo>
                      <a:pt x="204" y="126"/>
                    </a:lnTo>
                    <a:lnTo>
                      <a:pt x="204" y="132"/>
                    </a:lnTo>
                    <a:lnTo>
                      <a:pt x="210" y="138"/>
                    </a:lnTo>
                    <a:lnTo>
                      <a:pt x="216" y="138"/>
                    </a:lnTo>
                    <a:lnTo>
                      <a:pt x="210" y="138"/>
                    </a:lnTo>
                    <a:lnTo>
                      <a:pt x="210" y="132"/>
                    </a:lnTo>
                    <a:lnTo>
                      <a:pt x="216" y="132"/>
                    </a:lnTo>
                    <a:lnTo>
                      <a:pt x="216" y="138"/>
                    </a:lnTo>
                    <a:lnTo>
                      <a:pt x="222" y="138"/>
                    </a:lnTo>
                    <a:lnTo>
                      <a:pt x="216" y="138"/>
                    </a:lnTo>
                    <a:lnTo>
                      <a:pt x="222" y="138"/>
                    </a:lnTo>
                    <a:lnTo>
                      <a:pt x="222" y="144"/>
                    </a:lnTo>
                    <a:lnTo>
                      <a:pt x="216" y="144"/>
                    </a:lnTo>
                    <a:lnTo>
                      <a:pt x="210" y="144"/>
                    </a:lnTo>
                    <a:lnTo>
                      <a:pt x="210" y="138"/>
                    </a:lnTo>
                    <a:lnTo>
                      <a:pt x="210" y="144"/>
                    </a:lnTo>
                    <a:lnTo>
                      <a:pt x="204" y="138"/>
                    </a:lnTo>
                    <a:lnTo>
                      <a:pt x="204" y="144"/>
                    </a:lnTo>
                    <a:lnTo>
                      <a:pt x="198" y="138"/>
                    </a:lnTo>
                    <a:lnTo>
                      <a:pt x="198" y="132"/>
                    </a:lnTo>
                    <a:lnTo>
                      <a:pt x="198" y="138"/>
                    </a:lnTo>
                    <a:lnTo>
                      <a:pt x="192" y="138"/>
                    </a:lnTo>
                    <a:lnTo>
                      <a:pt x="192" y="132"/>
                    </a:lnTo>
                    <a:close/>
                    <a:moveTo>
                      <a:pt x="198" y="108"/>
                    </a:moveTo>
                    <a:lnTo>
                      <a:pt x="204" y="108"/>
                    </a:lnTo>
                    <a:lnTo>
                      <a:pt x="204" y="120"/>
                    </a:lnTo>
                    <a:lnTo>
                      <a:pt x="198" y="120"/>
                    </a:lnTo>
                    <a:lnTo>
                      <a:pt x="198" y="108"/>
                    </a:lnTo>
                    <a:close/>
                    <a:moveTo>
                      <a:pt x="210" y="162"/>
                    </a:moveTo>
                    <a:lnTo>
                      <a:pt x="216" y="162"/>
                    </a:lnTo>
                    <a:lnTo>
                      <a:pt x="216" y="168"/>
                    </a:lnTo>
                    <a:lnTo>
                      <a:pt x="210" y="168"/>
                    </a:lnTo>
                    <a:lnTo>
                      <a:pt x="210" y="162"/>
                    </a:lnTo>
                    <a:close/>
                    <a:moveTo>
                      <a:pt x="204" y="108"/>
                    </a:moveTo>
                    <a:lnTo>
                      <a:pt x="210" y="108"/>
                    </a:lnTo>
                    <a:lnTo>
                      <a:pt x="210" y="114"/>
                    </a:lnTo>
                    <a:lnTo>
                      <a:pt x="204" y="114"/>
                    </a:lnTo>
                    <a:lnTo>
                      <a:pt x="204" y="108"/>
                    </a:lnTo>
                    <a:close/>
                    <a:moveTo>
                      <a:pt x="210" y="132"/>
                    </a:moveTo>
                    <a:lnTo>
                      <a:pt x="210" y="138"/>
                    </a:lnTo>
                    <a:lnTo>
                      <a:pt x="211" y="138"/>
                    </a:lnTo>
                    <a:lnTo>
                      <a:pt x="210" y="132"/>
                    </a:lnTo>
                    <a:close/>
                    <a:moveTo>
                      <a:pt x="360" y="294"/>
                    </a:moveTo>
                    <a:lnTo>
                      <a:pt x="366" y="294"/>
                    </a:lnTo>
                    <a:lnTo>
                      <a:pt x="360" y="294"/>
                    </a:lnTo>
                    <a:close/>
                    <a:moveTo>
                      <a:pt x="204" y="84"/>
                    </a:moveTo>
                    <a:lnTo>
                      <a:pt x="210" y="84"/>
                    </a:lnTo>
                    <a:lnTo>
                      <a:pt x="210" y="90"/>
                    </a:lnTo>
                    <a:lnTo>
                      <a:pt x="204" y="90"/>
                    </a:lnTo>
                    <a:lnTo>
                      <a:pt x="204" y="84"/>
                    </a:lnTo>
                    <a:close/>
                    <a:moveTo>
                      <a:pt x="168" y="108"/>
                    </a:moveTo>
                    <a:lnTo>
                      <a:pt x="168" y="114"/>
                    </a:lnTo>
                    <a:lnTo>
                      <a:pt x="169" y="114"/>
                    </a:lnTo>
                    <a:lnTo>
                      <a:pt x="168" y="108"/>
                    </a:lnTo>
                    <a:close/>
                    <a:moveTo>
                      <a:pt x="192" y="96"/>
                    </a:moveTo>
                    <a:lnTo>
                      <a:pt x="192" y="102"/>
                    </a:lnTo>
                    <a:lnTo>
                      <a:pt x="193" y="102"/>
                    </a:lnTo>
                    <a:lnTo>
                      <a:pt x="192" y="96"/>
                    </a:lnTo>
                    <a:close/>
                    <a:moveTo>
                      <a:pt x="204" y="114"/>
                    </a:moveTo>
                    <a:lnTo>
                      <a:pt x="210" y="114"/>
                    </a:lnTo>
                    <a:lnTo>
                      <a:pt x="204" y="114"/>
                    </a:lnTo>
                    <a:close/>
                    <a:moveTo>
                      <a:pt x="210" y="162"/>
                    </a:moveTo>
                    <a:lnTo>
                      <a:pt x="216" y="162"/>
                    </a:lnTo>
                    <a:lnTo>
                      <a:pt x="210" y="162"/>
                    </a:lnTo>
                    <a:close/>
                    <a:moveTo>
                      <a:pt x="240" y="144"/>
                    </a:moveTo>
                    <a:lnTo>
                      <a:pt x="246" y="144"/>
                    </a:lnTo>
                    <a:lnTo>
                      <a:pt x="240" y="144"/>
                    </a:lnTo>
                    <a:close/>
                    <a:moveTo>
                      <a:pt x="180" y="120"/>
                    </a:moveTo>
                    <a:lnTo>
                      <a:pt x="180" y="126"/>
                    </a:lnTo>
                    <a:lnTo>
                      <a:pt x="181" y="126"/>
                    </a:lnTo>
                    <a:lnTo>
                      <a:pt x="180" y="120"/>
                    </a:lnTo>
                    <a:close/>
                    <a:moveTo>
                      <a:pt x="354" y="288"/>
                    </a:moveTo>
                    <a:lnTo>
                      <a:pt x="360" y="288"/>
                    </a:lnTo>
                    <a:lnTo>
                      <a:pt x="354" y="288"/>
                    </a:lnTo>
                    <a:close/>
                    <a:moveTo>
                      <a:pt x="198" y="120"/>
                    </a:moveTo>
                    <a:lnTo>
                      <a:pt x="204" y="120"/>
                    </a:lnTo>
                    <a:lnTo>
                      <a:pt x="198" y="120"/>
                    </a:lnTo>
                    <a:close/>
                    <a:moveTo>
                      <a:pt x="204" y="126"/>
                    </a:moveTo>
                    <a:lnTo>
                      <a:pt x="210" y="126"/>
                    </a:lnTo>
                    <a:lnTo>
                      <a:pt x="210" y="132"/>
                    </a:lnTo>
                    <a:lnTo>
                      <a:pt x="204" y="132"/>
                    </a:lnTo>
                    <a:lnTo>
                      <a:pt x="204" y="126"/>
                    </a:lnTo>
                    <a:close/>
                    <a:moveTo>
                      <a:pt x="354" y="288"/>
                    </a:moveTo>
                    <a:lnTo>
                      <a:pt x="360" y="288"/>
                    </a:lnTo>
                    <a:lnTo>
                      <a:pt x="360" y="294"/>
                    </a:lnTo>
                    <a:lnTo>
                      <a:pt x="354" y="294"/>
                    </a:lnTo>
                    <a:lnTo>
                      <a:pt x="354" y="288"/>
                    </a:lnTo>
                    <a:close/>
                    <a:moveTo>
                      <a:pt x="360" y="294"/>
                    </a:moveTo>
                    <a:lnTo>
                      <a:pt x="366" y="294"/>
                    </a:lnTo>
                    <a:lnTo>
                      <a:pt x="366" y="300"/>
                    </a:lnTo>
                    <a:lnTo>
                      <a:pt x="360" y="300"/>
                    </a:lnTo>
                    <a:lnTo>
                      <a:pt x="360" y="294"/>
                    </a:lnTo>
                    <a:close/>
                    <a:moveTo>
                      <a:pt x="228" y="144"/>
                    </a:moveTo>
                    <a:lnTo>
                      <a:pt x="234" y="144"/>
                    </a:lnTo>
                    <a:lnTo>
                      <a:pt x="228" y="144"/>
                    </a:lnTo>
                    <a:close/>
                    <a:moveTo>
                      <a:pt x="186" y="144"/>
                    </a:moveTo>
                    <a:lnTo>
                      <a:pt x="186" y="150"/>
                    </a:lnTo>
                    <a:lnTo>
                      <a:pt x="187" y="150"/>
                    </a:lnTo>
                    <a:lnTo>
                      <a:pt x="186" y="144"/>
                    </a:lnTo>
                    <a:close/>
                    <a:moveTo>
                      <a:pt x="240" y="144"/>
                    </a:moveTo>
                    <a:lnTo>
                      <a:pt x="246" y="144"/>
                    </a:lnTo>
                    <a:lnTo>
                      <a:pt x="240" y="144"/>
                    </a:lnTo>
                    <a:close/>
                    <a:moveTo>
                      <a:pt x="240" y="144"/>
                    </a:moveTo>
                    <a:lnTo>
                      <a:pt x="240" y="150"/>
                    </a:lnTo>
                    <a:lnTo>
                      <a:pt x="241" y="150"/>
                    </a:lnTo>
                    <a:lnTo>
                      <a:pt x="240" y="144"/>
                    </a:lnTo>
                    <a:close/>
                    <a:moveTo>
                      <a:pt x="228" y="168"/>
                    </a:moveTo>
                    <a:lnTo>
                      <a:pt x="228" y="174"/>
                    </a:lnTo>
                    <a:lnTo>
                      <a:pt x="229" y="174"/>
                    </a:lnTo>
                    <a:lnTo>
                      <a:pt x="228" y="168"/>
                    </a:lnTo>
                    <a:close/>
                    <a:moveTo>
                      <a:pt x="216" y="144"/>
                    </a:moveTo>
                    <a:lnTo>
                      <a:pt x="222" y="144"/>
                    </a:lnTo>
                    <a:lnTo>
                      <a:pt x="222" y="150"/>
                    </a:lnTo>
                    <a:lnTo>
                      <a:pt x="216" y="150"/>
                    </a:lnTo>
                    <a:lnTo>
                      <a:pt x="216" y="144"/>
                    </a:lnTo>
                    <a:close/>
                    <a:moveTo>
                      <a:pt x="240" y="180"/>
                    </a:moveTo>
                    <a:lnTo>
                      <a:pt x="240" y="186"/>
                    </a:lnTo>
                    <a:lnTo>
                      <a:pt x="241" y="186"/>
                    </a:lnTo>
                    <a:lnTo>
                      <a:pt x="240" y="180"/>
                    </a:lnTo>
                    <a:close/>
                    <a:moveTo>
                      <a:pt x="252" y="144"/>
                    </a:moveTo>
                    <a:lnTo>
                      <a:pt x="258" y="144"/>
                    </a:lnTo>
                    <a:lnTo>
                      <a:pt x="252" y="144"/>
                    </a:lnTo>
                    <a:close/>
                    <a:moveTo>
                      <a:pt x="216" y="114"/>
                    </a:moveTo>
                    <a:lnTo>
                      <a:pt x="216" y="120"/>
                    </a:lnTo>
                    <a:lnTo>
                      <a:pt x="217" y="120"/>
                    </a:lnTo>
                    <a:lnTo>
                      <a:pt x="216" y="114"/>
                    </a:lnTo>
                    <a:close/>
                    <a:moveTo>
                      <a:pt x="198" y="102"/>
                    </a:moveTo>
                    <a:lnTo>
                      <a:pt x="198" y="108"/>
                    </a:lnTo>
                    <a:lnTo>
                      <a:pt x="199" y="108"/>
                    </a:lnTo>
                    <a:lnTo>
                      <a:pt x="198" y="102"/>
                    </a:lnTo>
                    <a:close/>
                    <a:moveTo>
                      <a:pt x="234" y="120"/>
                    </a:moveTo>
                    <a:lnTo>
                      <a:pt x="234" y="126"/>
                    </a:lnTo>
                    <a:lnTo>
                      <a:pt x="235" y="126"/>
                    </a:lnTo>
                    <a:lnTo>
                      <a:pt x="234" y="120"/>
                    </a:lnTo>
                    <a:close/>
                    <a:moveTo>
                      <a:pt x="360" y="300"/>
                    </a:moveTo>
                    <a:lnTo>
                      <a:pt x="366" y="300"/>
                    </a:lnTo>
                    <a:lnTo>
                      <a:pt x="360" y="300"/>
                    </a:lnTo>
                    <a:close/>
                    <a:moveTo>
                      <a:pt x="354" y="294"/>
                    </a:moveTo>
                    <a:lnTo>
                      <a:pt x="354" y="300"/>
                    </a:lnTo>
                    <a:lnTo>
                      <a:pt x="355" y="300"/>
                    </a:lnTo>
                    <a:lnTo>
                      <a:pt x="354" y="294"/>
                    </a:lnTo>
                    <a:close/>
                    <a:moveTo>
                      <a:pt x="204" y="120"/>
                    </a:moveTo>
                    <a:lnTo>
                      <a:pt x="210" y="120"/>
                    </a:lnTo>
                    <a:lnTo>
                      <a:pt x="204" y="120"/>
                    </a:lnTo>
                    <a:close/>
                    <a:moveTo>
                      <a:pt x="228" y="126"/>
                    </a:moveTo>
                    <a:lnTo>
                      <a:pt x="234" y="126"/>
                    </a:lnTo>
                    <a:lnTo>
                      <a:pt x="228" y="126"/>
                    </a:lnTo>
                    <a:close/>
                    <a:moveTo>
                      <a:pt x="186" y="96"/>
                    </a:moveTo>
                    <a:lnTo>
                      <a:pt x="192" y="96"/>
                    </a:lnTo>
                    <a:lnTo>
                      <a:pt x="192" y="102"/>
                    </a:lnTo>
                    <a:lnTo>
                      <a:pt x="186" y="102"/>
                    </a:lnTo>
                    <a:lnTo>
                      <a:pt x="186" y="96"/>
                    </a:lnTo>
                    <a:close/>
                    <a:moveTo>
                      <a:pt x="240" y="138"/>
                    </a:moveTo>
                    <a:lnTo>
                      <a:pt x="246" y="138"/>
                    </a:lnTo>
                    <a:lnTo>
                      <a:pt x="240" y="138"/>
                    </a:lnTo>
                    <a:close/>
                    <a:moveTo>
                      <a:pt x="216" y="120"/>
                    </a:moveTo>
                    <a:lnTo>
                      <a:pt x="222" y="120"/>
                    </a:lnTo>
                    <a:lnTo>
                      <a:pt x="222" y="126"/>
                    </a:lnTo>
                    <a:lnTo>
                      <a:pt x="216" y="126"/>
                    </a:lnTo>
                    <a:lnTo>
                      <a:pt x="216" y="120"/>
                    </a:lnTo>
                    <a:close/>
                    <a:moveTo>
                      <a:pt x="216" y="126"/>
                    </a:moveTo>
                    <a:lnTo>
                      <a:pt x="222" y="126"/>
                    </a:lnTo>
                    <a:lnTo>
                      <a:pt x="216" y="126"/>
                    </a:lnTo>
                    <a:close/>
                    <a:moveTo>
                      <a:pt x="174" y="120"/>
                    </a:moveTo>
                    <a:lnTo>
                      <a:pt x="180" y="120"/>
                    </a:lnTo>
                    <a:lnTo>
                      <a:pt x="174" y="120"/>
                    </a:lnTo>
                    <a:close/>
                    <a:moveTo>
                      <a:pt x="306" y="240"/>
                    </a:moveTo>
                    <a:lnTo>
                      <a:pt x="312" y="240"/>
                    </a:lnTo>
                    <a:lnTo>
                      <a:pt x="306" y="240"/>
                    </a:lnTo>
                    <a:close/>
                    <a:moveTo>
                      <a:pt x="210" y="156"/>
                    </a:moveTo>
                    <a:lnTo>
                      <a:pt x="210" y="162"/>
                    </a:lnTo>
                    <a:lnTo>
                      <a:pt x="211" y="162"/>
                    </a:lnTo>
                    <a:lnTo>
                      <a:pt x="210" y="156"/>
                    </a:lnTo>
                    <a:close/>
                    <a:moveTo>
                      <a:pt x="234" y="150"/>
                    </a:moveTo>
                    <a:lnTo>
                      <a:pt x="234" y="156"/>
                    </a:lnTo>
                    <a:lnTo>
                      <a:pt x="235" y="156"/>
                    </a:lnTo>
                    <a:lnTo>
                      <a:pt x="234" y="150"/>
                    </a:lnTo>
                    <a:close/>
                    <a:moveTo>
                      <a:pt x="240" y="186"/>
                    </a:moveTo>
                    <a:lnTo>
                      <a:pt x="246" y="186"/>
                    </a:lnTo>
                    <a:lnTo>
                      <a:pt x="240" y="186"/>
                    </a:lnTo>
                    <a:close/>
                    <a:moveTo>
                      <a:pt x="360" y="294"/>
                    </a:moveTo>
                    <a:lnTo>
                      <a:pt x="360" y="300"/>
                    </a:lnTo>
                    <a:lnTo>
                      <a:pt x="361" y="300"/>
                    </a:lnTo>
                    <a:lnTo>
                      <a:pt x="360" y="294"/>
                    </a:lnTo>
                    <a:close/>
                    <a:moveTo>
                      <a:pt x="240" y="186"/>
                    </a:moveTo>
                    <a:lnTo>
                      <a:pt x="246" y="186"/>
                    </a:lnTo>
                    <a:lnTo>
                      <a:pt x="246" y="192"/>
                    </a:lnTo>
                    <a:lnTo>
                      <a:pt x="240" y="192"/>
                    </a:lnTo>
                    <a:lnTo>
                      <a:pt x="240" y="186"/>
                    </a:lnTo>
                    <a:close/>
                    <a:moveTo>
                      <a:pt x="318" y="252"/>
                    </a:moveTo>
                    <a:lnTo>
                      <a:pt x="324" y="252"/>
                    </a:lnTo>
                    <a:lnTo>
                      <a:pt x="318" y="252"/>
                    </a:lnTo>
                    <a:close/>
                    <a:moveTo>
                      <a:pt x="192" y="120"/>
                    </a:moveTo>
                    <a:lnTo>
                      <a:pt x="198" y="120"/>
                    </a:lnTo>
                    <a:lnTo>
                      <a:pt x="198" y="126"/>
                    </a:lnTo>
                    <a:lnTo>
                      <a:pt x="192" y="126"/>
                    </a:lnTo>
                    <a:lnTo>
                      <a:pt x="192" y="120"/>
                    </a:lnTo>
                    <a:close/>
                    <a:moveTo>
                      <a:pt x="246" y="192"/>
                    </a:moveTo>
                    <a:lnTo>
                      <a:pt x="252" y="192"/>
                    </a:lnTo>
                    <a:lnTo>
                      <a:pt x="246" y="192"/>
                    </a:lnTo>
                    <a:close/>
                    <a:moveTo>
                      <a:pt x="240" y="132"/>
                    </a:moveTo>
                    <a:lnTo>
                      <a:pt x="240" y="138"/>
                    </a:lnTo>
                    <a:lnTo>
                      <a:pt x="241" y="138"/>
                    </a:lnTo>
                    <a:lnTo>
                      <a:pt x="240" y="132"/>
                    </a:lnTo>
                    <a:close/>
                    <a:moveTo>
                      <a:pt x="210" y="162"/>
                    </a:moveTo>
                    <a:lnTo>
                      <a:pt x="210" y="168"/>
                    </a:lnTo>
                    <a:lnTo>
                      <a:pt x="211" y="168"/>
                    </a:lnTo>
                    <a:lnTo>
                      <a:pt x="210" y="162"/>
                    </a:lnTo>
                    <a:close/>
                    <a:moveTo>
                      <a:pt x="162" y="78"/>
                    </a:moveTo>
                    <a:lnTo>
                      <a:pt x="162" y="84"/>
                    </a:lnTo>
                    <a:lnTo>
                      <a:pt x="163" y="84"/>
                    </a:lnTo>
                    <a:lnTo>
                      <a:pt x="162" y="78"/>
                    </a:lnTo>
                    <a:close/>
                    <a:moveTo>
                      <a:pt x="186" y="144"/>
                    </a:moveTo>
                    <a:lnTo>
                      <a:pt x="192" y="144"/>
                    </a:lnTo>
                    <a:lnTo>
                      <a:pt x="192" y="150"/>
                    </a:lnTo>
                    <a:lnTo>
                      <a:pt x="186" y="150"/>
                    </a:lnTo>
                    <a:lnTo>
                      <a:pt x="186" y="144"/>
                    </a:lnTo>
                    <a:close/>
                    <a:moveTo>
                      <a:pt x="324" y="252"/>
                    </a:moveTo>
                    <a:lnTo>
                      <a:pt x="324" y="258"/>
                    </a:lnTo>
                    <a:lnTo>
                      <a:pt x="325" y="258"/>
                    </a:lnTo>
                    <a:lnTo>
                      <a:pt x="324" y="252"/>
                    </a:lnTo>
                    <a:close/>
                    <a:moveTo>
                      <a:pt x="210" y="120"/>
                    </a:moveTo>
                    <a:lnTo>
                      <a:pt x="216" y="120"/>
                    </a:lnTo>
                    <a:lnTo>
                      <a:pt x="210" y="120"/>
                    </a:lnTo>
                    <a:close/>
                    <a:moveTo>
                      <a:pt x="360" y="288"/>
                    </a:moveTo>
                    <a:lnTo>
                      <a:pt x="360" y="294"/>
                    </a:lnTo>
                    <a:lnTo>
                      <a:pt x="361" y="294"/>
                    </a:lnTo>
                    <a:lnTo>
                      <a:pt x="360" y="288"/>
                    </a:lnTo>
                    <a:close/>
                    <a:moveTo>
                      <a:pt x="360" y="294"/>
                    </a:moveTo>
                    <a:lnTo>
                      <a:pt x="360" y="300"/>
                    </a:lnTo>
                    <a:lnTo>
                      <a:pt x="361" y="300"/>
                    </a:lnTo>
                    <a:lnTo>
                      <a:pt x="360" y="294"/>
                    </a:lnTo>
                    <a:close/>
                    <a:moveTo>
                      <a:pt x="198" y="108"/>
                    </a:moveTo>
                    <a:lnTo>
                      <a:pt x="204" y="108"/>
                    </a:lnTo>
                    <a:lnTo>
                      <a:pt x="198" y="108"/>
                    </a:lnTo>
                    <a:close/>
                    <a:moveTo>
                      <a:pt x="186" y="96"/>
                    </a:moveTo>
                    <a:lnTo>
                      <a:pt x="186" y="102"/>
                    </a:lnTo>
                    <a:lnTo>
                      <a:pt x="187" y="102"/>
                    </a:lnTo>
                    <a:lnTo>
                      <a:pt x="186" y="96"/>
                    </a:lnTo>
                    <a:close/>
                    <a:moveTo>
                      <a:pt x="222" y="138"/>
                    </a:moveTo>
                    <a:lnTo>
                      <a:pt x="228" y="138"/>
                    </a:lnTo>
                    <a:lnTo>
                      <a:pt x="222" y="138"/>
                    </a:lnTo>
                    <a:close/>
                    <a:moveTo>
                      <a:pt x="354" y="294"/>
                    </a:moveTo>
                    <a:lnTo>
                      <a:pt x="354" y="300"/>
                    </a:lnTo>
                    <a:lnTo>
                      <a:pt x="355" y="300"/>
                    </a:lnTo>
                    <a:lnTo>
                      <a:pt x="354" y="294"/>
                    </a:lnTo>
                    <a:close/>
                    <a:moveTo>
                      <a:pt x="342" y="276"/>
                    </a:moveTo>
                    <a:lnTo>
                      <a:pt x="342" y="282"/>
                    </a:lnTo>
                    <a:lnTo>
                      <a:pt x="343" y="282"/>
                    </a:lnTo>
                    <a:lnTo>
                      <a:pt x="342" y="276"/>
                    </a:lnTo>
                    <a:close/>
                    <a:moveTo>
                      <a:pt x="360" y="288"/>
                    </a:moveTo>
                    <a:lnTo>
                      <a:pt x="360" y="294"/>
                    </a:lnTo>
                    <a:lnTo>
                      <a:pt x="361" y="294"/>
                    </a:lnTo>
                    <a:lnTo>
                      <a:pt x="360" y="288"/>
                    </a:lnTo>
                    <a:close/>
                    <a:moveTo>
                      <a:pt x="192" y="132"/>
                    </a:moveTo>
                    <a:lnTo>
                      <a:pt x="198" y="132"/>
                    </a:lnTo>
                    <a:lnTo>
                      <a:pt x="192" y="13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3" name="Freeform 31"/>
              <p:cNvSpPr>
                <a:spLocks/>
              </p:cNvSpPr>
              <p:nvPr>
                <p:custDataLst>
                  <p:tags r:id="rId30"/>
                </p:custDataLst>
              </p:nvPr>
            </p:nvSpPr>
            <p:spPr bwMode="gray">
              <a:xfrm>
                <a:off x="4920086" y="1295149"/>
                <a:ext cx="114477" cy="120535"/>
              </a:xfrm>
              <a:custGeom>
                <a:avLst/>
                <a:gdLst>
                  <a:gd name="T0" fmla="*/ 15798 w 90"/>
                  <a:gd name="T1" fmla="*/ 3907 h 102"/>
                  <a:gd name="T2" fmla="*/ 17773 w 90"/>
                  <a:gd name="T3" fmla="*/ 6838 h 102"/>
                  <a:gd name="T4" fmla="*/ 19747 w 90"/>
                  <a:gd name="T5" fmla="*/ 3907 h 102"/>
                  <a:gd name="T6" fmla="*/ 22710 w 90"/>
                  <a:gd name="T7" fmla="*/ 1954 h 102"/>
                  <a:gd name="T8" fmla="*/ 23697 w 90"/>
                  <a:gd name="T9" fmla="*/ 0 h 102"/>
                  <a:gd name="T10" fmla="*/ 28634 w 90"/>
                  <a:gd name="T11" fmla="*/ 1954 h 102"/>
                  <a:gd name="T12" fmla="*/ 30609 w 90"/>
                  <a:gd name="T13" fmla="*/ 3907 h 102"/>
                  <a:gd name="T14" fmla="*/ 30609 w 90"/>
                  <a:gd name="T15" fmla="*/ 8792 h 102"/>
                  <a:gd name="T16" fmla="*/ 33571 w 90"/>
                  <a:gd name="T17" fmla="*/ 10746 h 102"/>
                  <a:gd name="T18" fmla="*/ 33571 w 90"/>
                  <a:gd name="T19" fmla="*/ 15630 h 102"/>
                  <a:gd name="T20" fmla="*/ 28634 w 90"/>
                  <a:gd name="T21" fmla="*/ 15630 h 102"/>
                  <a:gd name="T22" fmla="*/ 23697 w 90"/>
                  <a:gd name="T23" fmla="*/ 19537 h 102"/>
                  <a:gd name="T24" fmla="*/ 19747 w 90"/>
                  <a:gd name="T25" fmla="*/ 19537 h 102"/>
                  <a:gd name="T26" fmla="*/ 17773 w 90"/>
                  <a:gd name="T27" fmla="*/ 21491 h 102"/>
                  <a:gd name="T28" fmla="*/ 15798 w 90"/>
                  <a:gd name="T29" fmla="*/ 23445 h 102"/>
                  <a:gd name="T30" fmla="*/ 17773 w 90"/>
                  <a:gd name="T31" fmla="*/ 26376 h 102"/>
                  <a:gd name="T32" fmla="*/ 19747 w 90"/>
                  <a:gd name="T33" fmla="*/ 23445 h 102"/>
                  <a:gd name="T34" fmla="*/ 23697 w 90"/>
                  <a:gd name="T35" fmla="*/ 23445 h 102"/>
                  <a:gd name="T36" fmla="*/ 26660 w 90"/>
                  <a:gd name="T37" fmla="*/ 21491 h 102"/>
                  <a:gd name="T38" fmla="*/ 28634 w 90"/>
                  <a:gd name="T39" fmla="*/ 23445 h 102"/>
                  <a:gd name="T40" fmla="*/ 28634 w 90"/>
                  <a:gd name="T41" fmla="*/ 28329 h 102"/>
                  <a:gd name="T42" fmla="*/ 26660 w 90"/>
                  <a:gd name="T43" fmla="*/ 30283 h 102"/>
                  <a:gd name="T44" fmla="*/ 23697 w 90"/>
                  <a:gd name="T45" fmla="*/ 32237 h 102"/>
                  <a:gd name="T46" fmla="*/ 22710 w 90"/>
                  <a:gd name="T47" fmla="*/ 34191 h 102"/>
                  <a:gd name="T48" fmla="*/ 17773 w 90"/>
                  <a:gd name="T49" fmla="*/ 34191 h 102"/>
                  <a:gd name="T50" fmla="*/ 15798 w 90"/>
                  <a:gd name="T51" fmla="*/ 34191 h 102"/>
                  <a:gd name="T52" fmla="*/ 10861 w 90"/>
                  <a:gd name="T53" fmla="*/ 34191 h 102"/>
                  <a:gd name="T54" fmla="*/ 8887 w 90"/>
                  <a:gd name="T55" fmla="*/ 37121 h 102"/>
                  <a:gd name="T56" fmla="*/ 6911 w 90"/>
                  <a:gd name="T57" fmla="*/ 34191 h 102"/>
                  <a:gd name="T58" fmla="*/ 3949 w 90"/>
                  <a:gd name="T59" fmla="*/ 37121 h 102"/>
                  <a:gd name="T60" fmla="*/ 0 w 90"/>
                  <a:gd name="T61" fmla="*/ 37121 h 102"/>
                  <a:gd name="T62" fmla="*/ 0 w 90"/>
                  <a:gd name="T63" fmla="*/ 32237 h 102"/>
                  <a:gd name="T64" fmla="*/ 0 w 90"/>
                  <a:gd name="T65" fmla="*/ 28329 h 102"/>
                  <a:gd name="T66" fmla="*/ 0 w 90"/>
                  <a:gd name="T67" fmla="*/ 23445 h 102"/>
                  <a:gd name="T68" fmla="*/ 0 w 90"/>
                  <a:gd name="T69" fmla="*/ 19537 h 102"/>
                  <a:gd name="T70" fmla="*/ 1975 w 90"/>
                  <a:gd name="T71" fmla="*/ 17584 h 102"/>
                  <a:gd name="T72" fmla="*/ 3949 w 90"/>
                  <a:gd name="T73" fmla="*/ 15630 h 102"/>
                  <a:gd name="T74" fmla="*/ 6911 w 90"/>
                  <a:gd name="T75" fmla="*/ 12700 h 102"/>
                  <a:gd name="T76" fmla="*/ 8887 w 90"/>
                  <a:gd name="T77" fmla="*/ 10746 h 102"/>
                  <a:gd name="T78" fmla="*/ 10861 w 90"/>
                  <a:gd name="T79" fmla="*/ 8792 h 102"/>
                  <a:gd name="T80" fmla="*/ 12836 w 90"/>
                  <a:gd name="T81" fmla="*/ 3907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 h="102">
                    <a:moveTo>
                      <a:pt x="36" y="12"/>
                    </a:moveTo>
                    <a:lnTo>
                      <a:pt x="42" y="12"/>
                    </a:lnTo>
                    <a:lnTo>
                      <a:pt x="42" y="18"/>
                    </a:lnTo>
                    <a:lnTo>
                      <a:pt x="48" y="18"/>
                    </a:lnTo>
                    <a:lnTo>
                      <a:pt x="54" y="18"/>
                    </a:lnTo>
                    <a:lnTo>
                      <a:pt x="54" y="12"/>
                    </a:lnTo>
                    <a:lnTo>
                      <a:pt x="60" y="12"/>
                    </a:lnTo>
                    <a:lnTo>
                      <a:pt x="60" y="6"/>
                    </a:lnTo>
                    <a:lnTo>
                      <a:pt x="66" y="6"/>
                    </a:lnTo>
                    <a:lnTo>
                      <a:pt x="66" y="0"/>
                    </a:lnTo>
                    <a:lnTo>
                      <a:pt x="72" y="0"/>
                    </a:lnTo>
                    <a:lnTo>
                      <a:pt x="78" y="6"/>
                    </a:lnTo>
                    <a:lnTo>
                      <a:pt x="78" y="12"/>
                    </a:lnTo>
                    <a:lnTo>
                      <a:pt x="84" y="12"/>
                    </a:lnTo>
                    <a:lnTo>
                      <a:pt x="84" y="18"/>
                    </a:lnTo>
                    <a:lnTo>
                      <a:pt x="84" y="24"/>
                    </a:lnTo>
                    <a:lnTo>
                      <a:pt x="90" y="24"/>
                    </a:lnTo>
                    <a:lnTo>
                      <a:pt x="90" y="30"/>
                    </a:lnTo>
                    <a:lnTo>
                      <a:pt x="90" y="36"/>
                    </a:lnTo>
                    <a:lnTo>
                      <a:pt x="90" y="42"/>
                    </a:lnTo>
                    <a:lnTo>
                      <a:pt x="84" y="42"/>
                    </a:lnTo>
                    <a:lnTo>
                      <a:pt x="78" y="42"/>
                    </a:lnTo>
                    <a:lnTo>
                      <a:pt x="72" y="48"/>
                    </a:lnTo>
                    <a:lnTo>
                      <a:pt x="66" y="54"/>
                    </a:lnTo>
                    <a:lnTo>
                      <a:pt x="60" y="54"/>
                    </a:lnTo>
                    <a:lnTo>
                      <a:pt x="54" y="54"/>
                    </a:lnTo>
                    <a:lnTo>
                      <a:pt x="54" y="60"/>
                    </a:lnTo>
                    <a:lnTo>
                      <a:pt x="48" y="60"/>
                    </a:lnTo>
                    <a:lnTo>
                      <a:pt x="48" y="66"/>
                    </a:lnTo>
                    <a:lnTo>
                      <a:pt x="42" y="66"/>
                    </a:lnTo>
                    <a:lnTo>
                      <a:pt x="42" y="72"/>
                    </a:lnTo>
                    <a:lnTo>
                      <a:pt x="48" y="72"/>
                    </a:lnTo>
                    <a:lnTo>
                      <a:pt x="48" y="66"/>
                    </a:lnTo>
                    <a:lnTo>
                      <a:pt x="54" y="66"/>
                    </a:lnTo>
                    <a:lnTo>
                      <a:pt x="60" y="66"/>
                    </a:lnTo>
                    <a:lnTo>
                      <a:pt x="66" y="66"/>
                    </a:lnTo>
                    <a:lnTo>
                      <a:pt x="72" y="66"/>
                    </a:lnTo>
                    <a:lnTo>
                      <a:pt x="72" y="60"/>
                    </a:lnTo>
                    <a:lnTo>
                      <a:pt x="72" y="66"/>
                    </a:lnTo>
                    <a:lnTo>
                      <a:pt x="78" y="66"/>
                    </a:lnTo>
                    <a:lnTo>
                      <a:pt x="78" y="72"/>
                    </a:lnTo>
                    <a:lnTo>
                      <a:pt x="78" y="78"/>
                    </a:lnTo>
                    <a:lnTo>
                      <a:pt x="72" y="78"/>
                    </a:lnTo>
                    <a:lnTo>
                      <a:pt x="72" y="84"/>
                    </a:lnTo>
                    <a:lnTo>
                      <a:pt x="72" y="90"/>
                    </a:lnTo>
                    <a:lnTo>
                      <a:pt x="66" y="90"/>
                    </a:lnTo>
                    <a:lnTo>
                      <a:pt x="66" y="96"/>
                    </a:lnTo>
                    <a:lnTo>
                      <a:pt x="60" y="96"/>
                    </a:lnTo>
                    <a:lnTo>
                      <a:pt x="54" y="96"/>
                    </a:lnTo>
                    <a:lnTo>
                      <a:pt x="48" y="96"/>
                    </a:lnTo>
                    <a:lnTo>
                      <a:pt x="48" y="90"/>
                    </a:lnTo>
                    <a:lnTo>
                      <a:pt x="42" y="96"/>
                    </a:lnTo>
                    <a:lnTo>
                      <a:pt x="36" y="96"/>
                    </a:lnTo>
                    <a:lnTo>
                      <a:pt x="30" y="96"/>
                    </a:lnTo>
                    <a:lnTo>
                      <a:pt x="24" y="96"/>
                    </a:lnTo>
                    <a:lnTo>
                      <a:pt x="24" y="102"/>
                    </a:lnTo>
                    <a:lnTo>
                      <a:pt x="24" y="96"/>
                    </a:lnTo>
                    <a:lnTo>
                      <a:pt x="18" y="96"/>
                    </a:lnTo>
                    <a:lnTo>
                      <a:pt x="18" y="102"/>
                    </a:lnTo>
                    <a:lnTo>
                      <a:pt x="12" y="102"/>
                    </a:lnTo>
                    <a:lnTo>
                      <a:pt x="6" y="102"/>
                    </a:lnTo>
                    <a:lnTo>
                      <a:pt x="0" y="102"/>
                    </a:lnTo>
                    <a:lnTo>
                      <a:pt x="0" y="96"/>
                    </a:lnTo>
                    <a:lnTo>
                      <a:pt x="0" y="90"/>
                    </a:lnTo>
                    <a:lnTo>
                      <a:pt x="0" y="84"/>
                    </a:lnTo>
                    <a:lnTo>
                      <a:pt x="0" y="78"/>
                    </a:lnTo>
                    <a:lnTo>
                      <a:pt x="0" y="72"/>
                    </a:lnTo>
                    <a:lnTo>
                      <a:pt x="0" y="66"/>
                    </a:lnTo>
                    <a:lnTo>
                      <a:pt x="0" y="60"/>
                    </a:lnTo>
                    <a:lnTo>
                      <a:pt x="0" y="54"/>
                    </a:lnTo>
                    <a:lnTo>
                      <a:pt x="6" y="54"/>
                    </a:lnTo>
                    <a:lnTo>
                      <a:pt x="6" y="48"/>
                    </a:lnTo>
                    <a:lnTo>
                      <a:pt x="12" y="48"/>
                    </a:lnTo>
                    <a:lnTo>
                      <a:pt x="12" y="42"/>
                    </a:lnTo>
                    <a:lnTo>
                      <a:pt x="18" y="42"/>
                    </a:lnTo>
                    <a:lnTo>
                      <a:pt x="18" y="36"/>
                    </a:lnTo>
                    <a:lnTo>
                      <a:pt x="18" y="30"/>
                    </a:lnTo>
                    <a:lnTo>
                      <a:pt x="24" y="30"/>
                    </a:lnTo>
                    <a:lnTo>
                      <a:pt x="24" y="24"/>
                    </a:lnTo>
                    <a:lnTo>
                      <a:pt x="30" y="24"/>
                    </a:lnTo>
                    <a:lnTo>
                      <a:pt x="30" y="18"/>
                    </a:lnTo>
                    <a:lnTo>
                      <a:pt x="36" y="1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4" name="Freeform 32"/>
              <p:cNvSpPr>
                <a:spLocks/>
              </p:cNvSpPr>
              <p:nvPr>
                <p:custDataLst>
                  <p:tags r:id="rId31"/>
                </p:custDataLst>
              </p:nvPr>
            </p:nvSpPr>
            <p:spPr bwMode="gray">
              <a:xfrm>
                <a:off x="4299331" y="1145988"/>
                <a:ext cx="1052865" cy="762379"/>
              </a:xfrm>
              <a:custGeom>
                <a:avLst/>
                <a:gdLst>
                  <a:gd name="T0" fmla="*/ 163454 w 834"/>
                  <a:gd name="T1" fmla="*/ 218751 h 648"/>
                  <a:gd name="T2" fmla="*/ 154698 w 834"/>
                  <a:gd name="T3" fmla="*/ 214878 h 648"/>
                  <a:gd name="T4" fmla="*/ 142049 w 834"/>
                  <a:gd name="T5" fmla="*/ 218751 h 648"/>
                  <a:gd name="T6" fmla="*/ 128428 w 834"/>
                  <a:gd name="T7" fmla="*/ 229398 h 648"/>
                  <a:gd name="T8" fmla="*/ 117726 w 834"/>
                  <a:gd name="T9" fmla="*/ 227461 h 648"/>
                  <a:gd name="T10" fmla="*/ 103132 w 834"/>
                  <a:gd name="T11" fmla="*/ 225525 h 648"/>
                  <a:gd name="T12" fmla="*/ 90484 w 834"/>
                  <a:gd name="T13" fmla="*/ 218751 h 648"/>
                  <a:gd name="T14" fmla="*/ 76862 w 834"/>
                  <a:gd name="T15" fmla="*/ 210039 h 648"/>
                  <a:gd name="T16" fmla="*/ 62268 w 834"/>
                  <a:gd name="T17" fmla="*/ 210039 h 648"/>
                  <a:gd name="T18" fmla="*/ 56430 w 834"/>
                  <a:gd name="T19" fmla="*/ 197456 h 648"/>
                  <a:gd name="T20" fmla="*/ 53512 w 834"/>
                  <a:gd name="T21" fmla="*/ 191648 h 648"/>
                  <a:gd name="T22" fmla="*/ 42809 w 834"/>
                  <a:gd name="T23" fmla="*/ 184873 h 648"/>
                  <a:gd name="T24" fmla="*/ 38918 w 834"/>
                  <a:gd name="T25" fmla="*/ 174226 h 648"/>
                  <a:gd name="T26" fmla="*/ 34053 w 834"/>
                  <a:gd name="T27" fmla="*/ 165514 h 648"/>
                  <a:gd name="T28" fmla="*/ 30161 w 834"/>
                  <a:gd name="T29" fmla="*/ 161643 h 648"/>
                  <a:gd name="T30" fmla="*/ 21405 w 834"/>
                  <a:gd name="T31" fmla="*/ 150996 h 648"/>
                  <a:gd name="T32" fmla="*/ 10702 w 834"/>
                  <a:gd name="T33" fmla="*/ 144220 h 648"/>
                  <a:gd name="T34" fmla="*/ 0 w 834"/>
                  <a:gd name="T35" fmla="*/ 142284 h 648"/>
                  <a:gd name="T36" fmla="*/ 3891 w 834"/>
                  <a:gd name="T37" fmla="*/ 129702 h 648"/>
                  <a:gd name="T38" fmla="*/ 17513 w 834"/>
                  <a:gd name="T39" fmla="*/ 129702 h 648"/>
                  <a:gd name="T40" fmla="*/ 23351 w 834"/>
                  <a:gd name="T41" fmla="*/ 119054 h 648"/>
                  <a:gd name="T42" fmla="*/ 23351 w 834"/>
                  <a:gd name="T43" fmla="*/ 101632 h 648"/>
                  <a:gd name="T44" fmla="*/ 26270 w 834"/>
                  <a:gd name="T45" fmla="*/ 90985 h 648"/>
                  <a:gd name="T46" fmla="*/ 32107 w 834"/>
                  <a:gd name="T47" fmla="*/ 83241 h 648"/>
                  <a:gd name="T48" fmla="*/ 38918 w 834"/>
                  <a:gd name="T49" fmla="*/ 80338 h 648"/>
                  <a:gd name="T50" fmla="*/ 42809 w 834"/>
                  <a:gd name="T51" fmla="*/ 65818 h 648"/>
                  <a:gd name="T52" fmla="*/ 47674 w 834"/>
                  <a:gd name="T53" fmla="*/ 57108 h 648"/>
                  <a:gd name="T54" fmla="*/ 53512 w 834"/>
                  <a:gd name="T55" fmla="*/ 44524 h 648"/>
                  <a:gd name="T56" fmla="*/ 62268 w 834"/>
                  <a:gd name="T57" fmla="*/ 40653 h 648"/>
                  <a:gd name="T58" fmla="*/ 68105 w 834"/>
                  <a:gd name="T59" fmla="*/ 27101 h 648"/>
                  <a:gd name="T60" fmla="*/ 71024 w 834"/>
                  <a:gd name="T61" fmla="*/ 14519 h 648"/>
                  <a:gd name="T62" fmla="*/ 83672 w 834"/>
                  <a:gd name="T63" fmla="*/ 10647 h 648"/>
                  <a:gd name="T64" fmla="*/ 90484 w 834"/>
                  <a:gd name="T65" fmla="*/ 12583 h 648"/>
                  <a:gd name="T66" fmla="*/ 97294 w 834"/>
                  <a:gd name="T67" fmla="*/ 6776 h 648"/>
                  <a:gd name="T68" fmla="*/ 105077 w 834"/>
                  <a:gd name="T69" fmla="*/ 3872 h 648"/>
                  <a:gd name="T70" fmla="*/ 113834 w 834"/>
                  <a:gd name="T71" fmla="*/ 8711 h 648"/>
                  <a:gd name="T72" fmla="*/ 124536 w 834"/>
                  <a:gd name="T73" fmla="*/ 10647 h 648"/>
                  <a:gd name="T74" fmla="*/ 135238 w 834"/>
                  <a:gd name="T75" fmla="*/ 8711 h 648"/>
                  <a:gd name="T76" fmla="*/ 145941 w 834"/>
                  <a:gd name="T77" fmla="*/ 10647 h 648"/>
                  <a:gd name="T78" fmla="*/ 156643 w 834"/>
                  <a:gd name="T79" fmla="*/ 17423 h 648"/>
                  <a:gd name="T80" fmla="*/ 165399 w 834"/>
                  <a:gd name="T81" fmla="*/ 27101 h 648"/>
                  <a:gd name="T82" fmla="*/ 176102 w 834"/>
                  <a:gd name="T83" fmla="*/ 36781 h 648"/>
                  <a:gd name="T84" fmla="*/ 186804 w 834"/>
                  <a:gd name="T85" fmla="*/ 46460 h 648"/>
                  <a:gd name="T86" fmla="*/ 181940 w 834"/>
                  <a:gd name="T87" fmla="*/ 57108 h 648"/>
                  <a:gd name="T88" fmla="*/ 176102 w 834"/>
                  <a:gd name="T89" fmla="*/ 67755 h 648"/>
                  <a:gd name="T90" fmla="*/ 180966 w 834"/>
                  <a:gd name="T91" fmla="*/ 80338 h 648"/>
                  <a:gd name="T92" fmla="*/ 191669 w 834"/>
                  <a:gd name="T93" fmla="*/ 78402 h 648"/>
                  <a:gd name="T94" fmla="*/ 195561 w 834"/>
                  <a:gd name="T95" fmla="*/ 83241 h 648"/>
                  <a:gd name="T96" fmla="*/ 197507 w 834"/>
                  <a:gd name="T97" fmla="*/ 95825 h 648"/>
                  <a:gd name="T98" fmla="*/ 206263 w 834"/>
                  <a:gd name="T99" fmla="*/ 108407 h 648"/>
                  <a:gd name="T100" fmla="*/ 216965 w 834"/>
                  <a:gd name="T101" fmla="*/ 115183 h 648"/>
                  <a:gd name="T102" fmla="*/ 231560 w 834"/>
                  <a:gd name="T103" fmla="*/ 123894 h 648"/>
                  <a:gd name="T104" fmla="*/ 251018 w 834"/>
                  <a:gd name="T105" fmla="*/ 129702 h 648"/>
                  <a:gd name="T106" fmla="*/ 268531 w 834"/>
                  <a:gd name="T107" fmla="*/ 135509 h 648"/>
                  <a:gd name="T108" fmla="*/ 286044 w 834"/>
                  <a:gd name="T109" fmla="*/ 138413 h 648"/>
                  <a:gd name="T110" fmla="*/ 286044 w 834"/>
                  <a:gd name="T111" fmla="*/ 152931 h 648"/>
                  <a:gd name="T112" fmla="*/ 238370 w 834"/>
                  <a:gd name="T113" fmla="*/ 199391 h 648"/>
                  <a:gd name="T114" fmla="*/ 208209 w 834"/>
                  <a:gd name="T115" fmla="*/ 202295 h 648"/>
                  <a:gd name="T116" fmla="*/ 197507 w 834"/>
                  <a:gd name="T117" fmla="*/ 210039 h 648"/>
                  <a:gd name="T118" fmla="*/ 184859 w 834"/>
                  <a:gd name="T119" fmla="*/ 214878 h 6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4" h="648">
                    <a:moveTo>
                      <a:pt x="498" y="618"/>
                    </a:moveTo>
                    <a:lnTo>
                      <a:pt x="492" y="618"/>
                    </a:lnTo>
                    <a:lnTo>
                      <a:pt x="486" y="618"/>
                    </a:lnTo>
                    <a:lnTo>
                      <a:pt x="480" y="618"/>
                    </a:lnTo>
                    <a:lnTo>
                      <a:pt x="474" y="618"/>
                    </a:lnTo>
                    <a:lnTo>
                      <a:pt x="468" y="618"/>
                    </a:lnTo>
                    <a:lnTo>
                      <a:pt x="462" y="618"/>
                    </a:lnTo>
                    <a:lnTo>
                      <a:pt x="456" y="618"/>
                    </a:lnTo>
                    <a:lnTo>
                      <a:pt x="450" y="618"/>
                    </a:lnTo>
                    <a:lnTo>
                      <a:pt x="450" y="612"/>
                    </a:lnTo>
                    <a:lnTo>
                      <a:pt x="444" y="612"/>
                    </a:lnTo>
                    <a:lnTo>
                      <a:pt x="444" y="606"/>
                    </a:lnTo>
                    <a:lnTo>
                      <a:pt x="438" y="606"/>
                    </a:lnTo>
                    <a:lnTo>
                      <a:pt x="438" y="600"/>
                    </a:lnTo>
                    <a:lnTo>
                      <a:pt x="432" y="600"/>
                    </a:lnTo>
                    <a:lnTo>
                      <a:pt x="432" y="606"/>
                    </a:lnTo>
                    <a:lnTo>
                      <a:pt x="426" y="606"/>
                    </a:lnTo>
                    <a:lnTo>
                      <a:pt x="420" y="606"/>
                    </a:lnTo>
                    <a:lnTo>
                      <a:pt x="414" y="606"/>
                    </a:lnTo>
                    <a:lnTo>
                      <a:pt x="414" y="612"/>
                    </a:lnTo>
                    <a:lnTo>
                      <a:pt x="408" y="612"/>
                    </a:lnTo>
                    <a:lnTo>
                      <a:pt x="402" y="612"/>
                    </a:lnTo>
                    <a:lnTo>
                      <a:pt x="402" y="618"/>
                    </a:lnTo>
                    <a:lnTo>
                      <a:pt x="396" y="618"/>
                    </a:lnTo>
                    <a:lnTo>
                      <a:pt x="390" y="618"/>
                    </a:lnTo>
                    <a:lnTo>
                      <a:pt x="384" y="624"/>
                    </a:lnTo>
                    <a:lnTo>
                      <a:pt x="378" y="630"/>
                    </a:lnTo>
                    <a:lnTo>
                      <a:pt x="378" y="636"/>
                    </a:lnTo>
                    <a:lnTo>
                      <a:pt x="372" y="636"/>
                    </a:lnTo>
                    <a:lnTo>
                      <a:pt x="372" y="642"/>
                    </a:lnTo>
                    <a:lnTo>
                      <a:pt x="366" y="648"/>
                    </a:lnTo>
                    <a:lnTo>
                      <a:pt x="360" y="648"/>
                    </a:lnTo>
                    <a:lnTo>
                      <a:pt x="354" y="648"/>
                    </a:lnTo>
                    <a:lnTo>
                      <a:pt x="354" y="642"/>
                    </a:lnTo>
                    <a:lnTo>
                      <a:pt x="354" y="648"/>
                    </a:lnTo>
                    <a:lnTo>
                      <a:pt x="348" y="648"/>
                    </a:lnTo>
                    <a:lnTo>
                      <a:pt x="348" y="642"/>
                    </a:lnTo>
                    <a:lnTo>
                      <a:pt x="342" y="642"/>
                    </a:lnTo>
                    <a:lnTo>
                      <a:pt x="336" y="642"/>
                    </a:lnTo>
                    <a:lnTo>
                      <a:pt x="330" y="642"/>
                    </a:lnTo>
                    <a:lnTo>
                      <a:pt x="324" y="642"/>
                    </a:lnTo>
                    <a:lnTo>
                      <a:pt x="318" y="642"/>
                    </a:lnTo>
                    <a:lnTo>
                      <a:pt x="318" y="636"/>
                    </a:lnTo>
                    <a:lnTo>
                      <a:pt x="312" y="636"/>
                    </a:lnTo>
                    <a:lnTo>
                      <a:pt x="306" y="636"/>
                    </a:lnTo>
                    <a:lnTo>
                      <a:pt x="300" y="636"/>
                    </a:lnTo>
                    <a:lnTo>
                      <a:pt x="294" y="636"/>
                    </a:lnTo>
                    <a:lnTo>
                      <a:pt x="288" y="636"/>
                    </a:lnTo>
                    <a:lnTo>
                      <a:pt x="282" y="636"/>
                    </a:lnTo>
                    <a:lnTo>
                      <a:pt x="282" y="630"/>
                    </a:lnTo>
                    <a:lnTo>
                      <a:pt x="276" y="630"/>
                    </a:lnTo>
                    <a:lnTo>
                      <a:pt x="270" y="630"/>
                    </a:lnTo>
                    <a:lnTo>
                      <a:pt x="270" y="624"/>
                    </a:lnTo>
                    <a:lnTo>
                      <a:pt x="264" y="624"/>
                    </a:lnTo>
                    <a:lnTo>
                      <a:pt x="258" y="618"/>
                    </a:lnTo>
                    <a:lnTo>
                      <a:pt x="252" y="618"/>
                    </a:lnTo>
                    <a:lnTo>
                      <a:pt x="252" y="612"/>
                    </a:lnTo>
                    <a:lnTo>
                      <a:pt x="246" y="606"/>
                    </a:lnTo>
                    <a:lnTo>
                      <a:pt x="240" y="606"/>
                    </a:lnTo>
                    <a:lnTo>
                      <a:pt x="234" y="600"/>
                    </a:lnTo>
                    <a:lnTo>
                      <a:pt x="228" y="600"/>
                    </a:lnTo>
                    <a:lnTo>
                      <a:pt x="228" y="594"/>
                    </a:lnTo>
                    <a:lnTo>
                      <a:pt x="222" y="594"/>
                    </a:lnTo>
                    <a:lnTo>
                      <a:pt x="216" y="594"/>
                    </a:lnTo>
                    <a:lnTo>
                      <a:pt x="210" y="594"/>
                    </a:lnTo>
                    <a:lnTo>
                      <a:pt x="204" y="594"/>
                    </a:lnTo>
                    <a:lnTo>
                      <a:pt x="198" y="594"/>
                    </a:lnTo>
                    <a:lnTo>
                      <a:pt x="192" y="594"/>
                    </a:lnTo>
                    <a:lnTo>
                      <a:pt x="186" y="594"/>
                    </a:lnTo>
                    <a:lnTo>
                      <a:pt x="180" y="588"/>
                    </a:lnTo>
                    <a:lnTo>
                      <a:pt x="180" y="594"/>
                    </a:lnTo>
                    <a:lnTo>
                      <a:pt x="174" y="594"/>
                    </a:lnTo>
                    <a:lnTo>
                      <a:pt x="168" y="594"/>
                    </a:lnTo>
                    <a:lnTo>
                      <a:pt x="168" y="588"/>
                    </a:lnTo>
                    <a:lnTo>
                      <a:pt x="168" y="582"/>
                    </a:lnTo>
                    <a:lnTo>
                      <a:pt x="162" y="576"/>
                    </a:lnTo>
                    <a:lnTo>
                      <a:pt x="156" y="576"/>
                    </a:lnTo>
                    <a:lnTo>
                      <a:pt x="156" y="570"/>
                    </a:lnTo>
                    <a:lnTo>
                      <a:pt x="156" y="564"/>
                    </a:lnTo>
                    <a:lnTo>
                      <a:pt x="156" y="558"/>
                    </a:lnTo>
                    <a:lnTo>
                      <a:pt x="156" y="552"/>
                    </a:lnTo>
                    <a:lnTo>
                      <a:pt x="162" y="552"/>
                    </a:lnTo>
                    <a:lnTo>
                      <a:pt x="162" y="546"/>
                    </a:lnTo>
                    <a:lnTo>
                      <a:pt x="156" y="546"/>
                    </a:lnTo>
                    <a:lnTo>
                      <a:pt x="162" y="546"/>
                    </a:lnTo>
                    <a:lnTo>
                      <a:pt x="162" y="540"/>
                    </a:lnTo>
                    <a:lnTo>
                      <a:pt x="156" y="540"/>
                    </a:lnTo>
                    <a:lnTo>
                      <a:pt x="150" y="540"/>
                    </a:lnTo>
                    <a:lnTo>
                      <a:pt x="144" y="540"/>
                    </a:lnTo>
                    <a:lnTo>
                      <a:pt x="138" y="540"/>
                    </a:lnTo>
                    <a:lnTo>
                      <a:pt x="132" y="540"/>
                    </a:lnTo>
                    <a:lnTo>
                      <a:pt x="132" y="534"/>
                    </a:lnTo>
                    <a:lnTo>
                      <a:pt x="126" y="534"/>
                    </a:lnTo>
                    <a:lnTo>
                      <a:pt x="126" y="528"/>
                    </a:lnTo>
                    <a:lnTo>
                      <a:pt x="120" y="528"/>
                    </a:lnTo>
                    <a:lnTo>
                      <a:pt x="120" y="522"/>
                    </a:lnTo>
                    <a:lnTo>
                      <a:pt x="114" y="516"/>
                    </a:lnTo>
                    <a:lnTo>
                      <a:pt x="114" y="510"/>
                    </a:lnTo>
                    <a:lnTo>
                      <a:pt x="114" y="504"/>
                    </a:lnTo>
                    <a:lnTo>
                      <a:pt x="114" y="498"/>
                    </a:lnTo>
                    <a:lnTo>
                      <a:pt x="108" y="498"/>
                    </a:lnTo>
                    <a:lnTo>
                      <a:pt x="114" y="498"/>
                    </a:lnTo>
                    <a:lnTo>
                      <a:pt x="114" y="492"/>
                    </a:lnTo>
                    <a:lnTo>
                      <a:pt x="108" y="492"/>
                    </a:lnTo>
                    <a:lnTo>
                      <a:pt x="108" y="486"/>
                    </a:lnTo>
                    <a:lnTo>
                      <a:pt x="114" y="486"/>
                    </a:lnTo>
                    <a:lnTo>
                      <a:pt x="114" y="480"/>
                    </a:lnTo>
                    <a:lnTo>
                      <a:pt x="114" y="474"/>
                    </a:lnTo>
                    <a:lnTo>
                      <a:pt x="108" y="474"/>
                    </a:lnTo>
                    <a:lnTo>
                      <a:pt x="102" y="468"/>
                    </a:lnTo>
                    <a:lnTo>
                      <a:pt x="102" y="474"/>
                    </a:lnTo>
                    <a:lnTo>
                      <a:pt x="96" y="468"/>
                    </a:lnTo>
                    <a:lnTo>
                      <a:pt x="96" y="462"/>
                    </a:lnTo>
                    <a:lnTo>
                      <a:pt x="90" y="462"/>
                    </a:lnTo>
                    <a:lnTo>
                      <a:pt x="84" y="462"/>
                    </a:lnTo>
                    <a:lnTo>
                      <a:pt x="90" y="462"/>
                    </a:lnTo>
                    <a:lnTo>
                      <a:pt x="84" y="462"/>
                    </a:lnTo>
                    <a:lnTo>
                      <a:pt x="90" y="462"/>
                    </a:lnTo>
                    <a:lnTo>
                      <a:pt x="90" y="456"/>
                    </a:lnTo>
                    <a:lnTo>
                      <a:pt x="84" y="456"/>
                    </a:lnTo>
                    <a:lnTo>
                      <a:pt x="84" y="450"/>
                    </a:lnTo>
                    <a:lnTo>
                      <a:pt x="78" y="450"/>
                    </a:lnTo>
                    <a:lnTo>
                      <a:pt x="72" y="450"/>
                    </a:lnTo>
                    <a:lnTo>
                      <a:pt x="66" y="444"/>
                    </a:lnTo>
                    <a:lnTo>
                      <a:pt x="66" y="438"/>
                    </a:lnTo>
                    <a:lnTo>
                      <a:pt x="60" y="438"/>
                    </a:lnTo>
                    <a:lnTo>
                      <a:pt x="60" y="432"/>
                    </a:lnTo>
                    <a:lnTo>
                      <a:pt x="60" y="426"/>
                    </a:lnTo>
                    <a:lnTo>
                      <a:pt x="54" y="426"/>
                    </a:lnTo>
                    <a:lnTo>
                      <a:pt x="54" y="420"/>
                    </a:lnTo>
                    <a:lnTo>
                      <a:pt x="48" y="420"/>
                    </a:lnTo>
                    <a:lnTo>
                      <a:pt x="48" y="414"/>
                    </a:lnTo>
                    <a:lnTo>
                      <a:pt x="42" y="414"/>
                    </a:lnTo>
                    <a:lnTo>
                      <a:pt x="42" y="408"/>
                    </a:lnTo>
                    <a:lnTo>
                      <a:pt x="36" y="408"/>
                    </a:lnTo>
                    <a:lnTo>
                      <a:pt x="30" y="408"/>
                    </a:lnTo>
                    <a:lnTo>
                      <a:pt x="24" y="408"/>
                    </a:lnTo>
                    <a:lnTo>
                      <a:pt x="18" y="408"/>
                    </a:lnTo>
                    <a:lnTo>
                      <a:pt x="12" y="408"/>
                    </a:lnTo>
                    <a:lnTo>
                      <a:pt x="12" y="402"/>
                    </a:lnTo>
                    <a:lnTo>
                      <a:pt x="6" y="402"/>
                    </a:lnTo>
                    <a:lnTo>
                      <a:pt x="6" y="408"/>
                    </a:lnTo>
                    <a:lnTo>
                      <a:pt x="6" y="402"/>
                    </a:lnTo>
                    <a:lnTo>
                      <a:pt x="0" y="402"/>
                    </a:lnTo>
                    <a:lnTo>
                      <a:pt x="0" y="396"/>
                    </a:lnTo>
                    <a:lnTo>
                      <a:pt x="6" y="396"/>
                    </a:lnTo>
                    <a:lnTo>
                      <a:pt x="6" y="390"/>
                    </a:lnTo>
                    <a:lnTo>
                      <a:pt x="6" y="384"/>
                    </a:lnTo>
                    <a:lnTo>
                      <a:pt x="12" y="384"/>
                    </a:lnTo>
                    <a:lnTo>
                      <a:pt x="12" y="378"/>
                    </a:lnTo>
                    <a:lnTo>
                      <a:pt x="12" y="372"/>
                    </a:lnTo>
                    <a:lnTo>
                      <a:pt x="12" y="366"/>
                    </a:lnTo>
                    <a:lnTo>
                      <a:pt x="18" y="366"/>
                    </a:lnTo>
                    <a:lnTo>
                      <a:pt x="24" y="366"/>
                    </a:lnTo>
                    <a:lnTo>
                      <a:pt x="30" y="366"/>
                    </a:lnTo>
                    <a:lnTo>
                      <a:pt x="36" y="366"/>
                    </a:lnTo>
                    <a:lnTo>
                      <a:pt x="42" y="366"/>
                    </a:lnTo>
                    <a:lnTo>
                      <a:pt x="42" y="372"/>
                    </a:lnTo>
                    <a:lnTo>
                      <a:pt x="48" y="372"/>
                    </a:lnTo>
                    <a:lnTo>
                      <a:pt x="48" y="366"/>
                    </a:lnTo>
                    <a:lnTo>
                      <a:pt x="54" y="366"/>
                    </a:lnTo>
                    <a:lnTo>
                      <a:pt x="60" y="366"/>
                    </a:lnTo>
                    <a:lnTo>
                      <a:pt x="60" y="360"/>
                    </a:lnTo>
                    <a:lnTo>
                      <a:pt x="66" y="360"/>
                    </a:lnTo>
                    <a:lnTo>
                      <a:pt x="66" y="354"/>
                    </a:lnTo>
                    <a:lnTo>
                      <a:pt x="66" y="348"/>
                    </a:lnTo>
                    <a:lnTo>
                      <a:pt x="66" y="342"/>
                    </a:lnTo>
                    <a:lnTo>
                      <a:pt x="66" y="336"/>
                    </a:lnTo>
                    <a:lnTo>
                      <a:pt x="66" y="330"/>
                    </a:lnTo>
                    <a:lnTo>
                      <a:pt x="66" y="324"/>
                    </a:lnTo>
                    <a:lnTo>
                      <a:pt x="66" y="318"/>
                    </a:lnTo>
                    <a:lnTo>
                      <a:pt x="66" y="312"/>
                    </a:lnTo>
                    <a:lnTo>
                      <a:pt x="66" y="306"/>
                    </a:lnTo>
                    <a:lnTo>
                      <a:pt x="66" y="300"/>
                    </a:lnTo>
                    <a:lnTo>
                      <a:pt x="66" y="294"/>
                    </a:lnTo>
                    <a:lnTo>
                      <a:pt x="66" y="288"/>
                    </a:lnTo>
                    <a:lnTo>
                      <a:pt x="72" y="288"/>
                    </a:lnTo>
                    <a:lnTo>
                      <a:pt x="72" y="282"/>
                    </a:lnTo>
                    <a:lnTo>
                      <a:pt x="72" y="276"/>
                    </a:lnTo>
                    <a:lnTo>
                      <a:pt x="78" y="276"/>
                    </a:lnTo>
                    <a:lnTo>
                      <a:pt x="78" y="270"/>
                    </a:lnTo>
                    <a:lnTo>
                      <a:pt x="78" y="264"/>
                    </a:lnTo>
                    <a:lnTo>
                      <a:pt x="72" y="264"/>
                    </a:lnTo>
                    <a:lnTo>
                      <a:pt x="72" y="258"/>
                    </a:lnTo>
                    <a:lnTo>
                      <a:pt x="72" y="252"/>
                    </a:lnTo>
                    <a:lnTo>
                      <a:pt x="78" y="252"/>
                    </a:lnTo>
                    <a:lnTo>
                      <a:pt x="72" y="252"/>
                    </a:lnTo>
                    <a:lnTo>
                      <a:pt x="72" y="246"/>
                    </a:lnTo>
                    <a:lnTo>
                      <a:pt x="78" y="246"/>
                    </a:lnTo>
                    <a:lnTo>
                      <a:pt x="78" y="240"/>
                    </a:lnTo>
                    <a:lnTo>
                      <a:pt x="84" y="234"/>
                    </a:lnTo>
                    <a:lnTo>
                      <a:pt x="90" y="234"/>
                    </a:lnTo>
                    <a:lnTo>
                      <a:pt x="90" y="228"/>
                    </a:lnTo>
                    <a:lnTo>
                      <a:pt x="96" y="234"/>
                    </a:lnTo>
                    <a:lnTo>
                      <a:pt x="102" y="234"/>
                    </a:lnTo>
                    <a:lnTo>
                      <a:pt x="102" y="240"/>
                    </a:lnTo>
                    <a:lnTo>
                      <a:pt x="108" y="234"/>
                    </a:lnTo>
                    <a:lnTo>
                      <a:pt x="108" y="228"/>
                    </a:lnTo>
                    <a:lnTo>
                      <a:pt x="114" y="228"/>
                    </a:lnTo>
                    <a:lnTo>
                      <a:pt x="108" y="228"/>
                    </a:lnTo>
                    <a:lnTo>
                      <a:pt x="114" y="222"/>
                    </a:lnTo>
                    <a:lnTo>
                      <a:pt x="114" y="216"/>
                    </a:lnTo>
                    <a:lnTo>
                      <a:pt x="114" y="210"/>
                    </a:lnTo>
                    <a:lnTo>
                      <a:pt x="108" y="210"/>
                    </a:lnTo>
                    <a:lnTo>
                      <a:pt x="114" y="204"/>
                    </a:lnTo>
                    <a:lnTo>
                      <a:pt x="114" y="198"/>
                    </a:lnTo>
                    <a:lnTo>
                      <a:pt x="120" y="192"/>
                    </a:lnTo>
                    <a:lnTo>
                      <a:pt x="120" y="186"/>
                    </a:lnTo>
                    <a:lnTo>
                      <a:pt x="114" y="186"/>
                    </a:lnTo>
                    <a:lnTo>
                      <a:pt x="114" y="180"/>
                    </a:lnTo>
                    <a:lnTo>
                      <a:pt x="120" y="180"/>
                    </a:lnTo>
                    <a:lnTo>
                      <a:pt x="120" y="174"/>
                    </a:lnTo>
                    <a:lnTo>
                      <a:pt x="126" y="174"/>
                    </a:lnTo>
                    <a:lnTo>
                      <a:pt x="126" y="168"/>
                    </a:lnTo>
                    <a:lnTo>
                      <a:pt x="132" y="168"/>
                    </a:lnTo>
                    <a:lnTo>
                      <a:pt x="132" y="162"/>
                    </a:lnTo>
                    <a:lnTo>
                      <a:pt x="132" y="156"/>
                    </a:lnTo>
                    <a:lnTo>
                      <a:pt x="138" y="156"/>
                    </a:lnTo>
                    <a:lnTo>
                      <a:pt x="138" y="150"/>
                    </a:lnTo>
                    <a:lnTo>
                      <a:pt x="138" y="144"/>
                    </a:lnTo>
                    <a:lnTo>
                      <a:pt x="144" y="144"/>
                    </a:lnTo>
                    <a:lnTo>
                      <a:pt x="144" y="138"/>
                    </a:lnTo>
                    <a:lnTo>
                      <a:pt x="150" y="132"/>
                    </a:lnTo>
                    <a:lnTo>
                      <a:pt x="150" y="126"/>
                    </a:lnTo>
                    <a:lnTo>
                      <a:pt x="156" y="126"/>
                    </a:lnTo>
                    <a:lnTo>
                      <a:pt x="162" y="126"/>
                    </a:lnTo>
                    <a:lnTo>
                      <a:pt x="168" y="126"/>
                    </a:lnTo>
                    <a:lnTo>
                      <a:pt x="174" y="126"/>
                    </a:lnTo>
                    <a:lnTo>
                      <a:pt x="180" y="126"/>
                    </a:lnTo>
                    <a:lnTo>
                      <a:pt x="180" y="120"/>
                    </a:lnTo>
                    <a:lnTo>
                      <a:pt x="180" y="114"/>
                    </a:lnTo>
                    <a:lnTo>
                      <a:pt x="174" y="114"/>
                    </a:lnTo>
                    <a:lnTo>
                      <a:pt x="180" y="114"/>
                    </a:lnTo>
                    <a:lnTo>
                      <a:pt x="180" y="108"/>
                    </a:lnTo>
                    <a:lnTo>
                      <a:pt x="180" y="102"/>
                    </a:lnTo>
                    <a:lnTo>
                      <a:pt x="180" y="96"/>
                    </a:lnTo>
                    <a:lnTo>
                      <a:pt x="186" y="90"/>
                    </a:lnTo>
                    <a:lnTo>
                      <a:pt x="186" y="84"/>
                    </a:lnTo>
                    <a:lnTo>
                      <a:pt x="186" y="78"/>
                    </a:lnTo>
                    <a:lnTo>
                      <a:pt x="192" y="78"/>
                    </a:lnTo>
                    <a:lnTo>
                      <a:pt x="192" y="72"/>
                    </a:lnTo>
                    <a:lnTo>
                      <a:pt x="192" y="66"/>
                    </a:lnTo>
                    <a:lnTo>
                      <a:pt x="198" y="66"/>
                    </a:lnTo>
                    <a:lnTo>
                      <a:pt x="198" y="60"/>
                    </a:lnTo>
                    <a:lnTo>
                      <a:pt x="192" y="60"/>
                    </a:lnTo>
                    <a:lnTo>
                      <a:pt x="192" y="54"/>
                    </a:lnTo>
                    <a:lnTo>
                      <a:pt x="198" y="48"/>
                    </a:lnTo>
                    <a:lnTo>
                      <a:pt x="198" y="42"/>
                    </a:lnTo>
                    <a:lnTo>
                      <a:pt x="198" y="36"/>
                    </a:lnTo>
                    <a:lnTo>
                      <a:pt x="204" y="36"/>
                    </a:lnTo>
                    <a:lnTo>
                      <a:pt x="210" y="36"/>
                    </a:lnTo>
                    <a:lnTo>
                      <a:pt x="216" y="36"/>
                    </a:lnTo>
                    <a:lnTo>
                      <a:pt x="222" y="36"/>
                    </a:lnTo>
                    <a:lnTo>
                      <a:pt x="228" y="36"/>
                    </a:lnTo>
                    <a:lnTo>
                      <a:pt x="228" y="30"/>
                    </a:lnTo>
                    <a:lnTo>
                      <a:pt x="234" y="30"/>
                    </a:lnTo>
                    <a:lnTo>
                      <a:pt x="234" y="24"/>
                    </a:lnTo>
                    <a:lnTo>
                      <a:pt x="240" y="24"/>
                    </a:lnTo>
                    <a:lnTo>
                      <a:pt x="240" y="30"/>
                    </a:lnTo>
                    <a:lnTo>
                      <a:pt x="240" y="24"/>
                    </a:lnTo>
                    <a:lnTo>
                      <a:pt x="240" y="30"/>
                    </a:lnTo>
                    <a:lnTo>
                      <a:pt x="246" y="30"/>
                    </a:lnTo>
                    <a:lnTo>
                      <a:pt x="246" y="36"/>
                    </a:lnTo>
                    <a:lnTo>
                      <a:pt x="252" y="36"/>
                    </a:lnTo>
                    <a:lnTo>
                      <a:pt x="252" y="42"/>
                    </a:lnTo>
                    <a:lnTo>
                      <a:pt x="252" y="48"/>
                    </a:lnTo>
                    <a:lnTo>
                      <a:pt x="258" y="48"/>
                    </a:lnTo>
                    <a:lnTo>
                      <a:pt x="258" y="42"/>
                    </a:lnTo>
                    <a:lnTo>
                      <a:pt x="258" y="36"/>
                    </a:lnTo>
                    <a:lnTo>
                      <a:pt x="264" y="30"/>
                    </a:lnTo>
                    <a:lnTo>
                      <a:pt x="264" y="24"/>
                    </a:lnTo>
                    <a:lnTo>
                      <a:pt x="270" y="18"/>
                    </a:lnTo>
                    <a:lnTo>
                      <a:pt x="270" y="12"/>
                    </a:lnTo>
                    <a:lnTo>
                      <a:pt x="270" y="6"/>
                    </a:lnTo>
                    <a:lnTo>
                      <a:pt x="276" y="0"/>
                    </a:lnTo>
                    <a:lnTo>
                      <a:pt x="276" y="6"/>
                    </a:lnTo>
                    <a:lnTo>
                      <a:pt x="282" y="6"/>
                    </a:lnTo>
                    <a:lnTo>
                      <a:pt x="282" y="12"/>
                    </a:lnTo>
                    <a:lnTo>
                      <a:pt x="288" y="12"/>
                    </a:lnTo>
                    <a:lnTo>
                      <a:pt x="294" y="12"/>
                    </a:lnTo>
                    <a:lnTo>
                      <a:pt x="294" y="18"/>
                    </a:lnTo>
                    <a:lnTo>
                      <a:pt x="300" y="18"/>
                    </a:lnTo>
                    <a:lnTo>
                      <a:pt x="300" y="24"/>
                    </a:lnTo>
                    <a:lnTo>
                      <a:pt x="306" y="24"/>
                    </a:lnTo>
                    <a:lnTo>
                      <a:pt x="306" y="30"/>
                    </a:lnTo>
                    <a:lnTo>
                      <a:pt x="312" y="30"/>
                    </a:lnTo>
                    <a:lnTo>
                      <a:pt x="318" y="30"/>
                    </a:lnTo>
                    <a:lnTo>
                      <a:pt x="318" y="24"/>
                    </a:lnTo>
                    <a:lnTo>
                      <a:pt x="324" y="24"/>
                    </a:lnTo>
                    <a:lnTo>
                      <a:pt x="330" y="24"/>
                    </a:lnTo>
                    <a:lnTo>
                      <a:pt x="336" y="24"/>
                    </a:lnTo>
                    <a:lnTo>
                      <a:pt x="336" y="18"/>
                    </a:lnTo>
                    <a:lnTo>
                      <a:pt x="342" y="18"/>
                    </a:lnTo>
                    <a:lnTo>
                      <a:pt x="348" y="18"/>
                    </a:lnTo>
                    <a:lnTo>
                      <a:pt x="348" y="24"/>
                    </a:lnTo>
                    <a:lnTo>
                      <a:pt x="348" y="30"/>
                    </a:lnTo>
                    <a:lnTo>
                      <a:pt x="348" y="24"/>
                    </a:lnTo>
                    <a:lnTo>
                      <a:pt x="354" y="24"/>
                    </a:lnTo>
                    <a:lnTo>
                      <a:pt x="360" y="24"/>
                    </a:lnTo>
                    <a:lnTo>
                      <a:pt x="366" y="24"/>
                    </a:lnTo>
                    <a:lnTo>
                      <a:pt x="366" y="18"/>
                    </a:lnTo>
                    <a:lnTo>
                      <a:pt x="366" y="24"/>
                    </a:lnTo>
                    <a:lnTo>
                      <a:pt x="372" y="24"/>
                    </a:lnTo>
                    <a:lnTo>
                      <a:pt x="378" y="24"/>
                    </a:lnTo>
                    <a:lnTo>
                      <a:pt x="384" y="24"/>
                    </a:lnTo>
                    <a:lnTo>
                      <a:pt x="384" y="30"/>
                    </a:lnTo>
                    <a:lnTo>
                      <a:pt x="390" y="30"/>
                    </a:lnTo>
                    <a:lnTo>
                      <a:pt x="390" y="24"/>
                    </a:lnTo>
                    <a:lnTo>
                      <a:pt x="396" y="24"/>
                    </a:lnTo>
                    <a:lnTo>
                      <a:pt x="402" y="24"/>
                    </a:lnTo>
                    <a:lnTo>
                      <a:pt x="402" y="30"/>
                    </a:lnTo>
                    <a:lnTo>
                      <a:pt x="408" y="30"/>
                    </a:lnTo>
                    <a:lnTo>
                      <a:pt x="414" y="30"/>
                    </a:lnTo>
                    <a:lnTo>
                      <a:pt x="414" y="36"/>
                    </a:lnTo>
                    <a:lnTo>
                      <a:pt x="420" y="36"/>
                    </a:lnTo>
                    <a:lnTo>
                      <a:pt x="420" y="42"/>
                    </a:lnTo>
                    <a:lnTo>
                      <a:pt x="426" y="42"/>
                    </a:lnTo>
                    <a:lnTo>
                      <a:pt x="432" y="42"/>
                    </a:lnTo>
                    <a:lnTo>
                      <a:pt x="438" y="42"/>
                    </a:lnTo>
                    <a:lnTo>
                      <a:pt x="438" y="48"/>
                    </a:lnTo>
                    <a:lnTo>
                      <a:pt x="444" y="48"/>
                    </a:lnTo>
                    <a:lnTo>
                      <a:pt x="444" y="54"/>
                    </a:lnTo>
                    <a:lnTo>
                      <a:pt x="450" y="54"/>
                    </a:lnTo>
                    <a:lnTo>
                      <a:pt x="450" y="60"/>
                    </a:lnTo>
                    <a:lnTo>
                      <a:pt x="456" y="66"/>
                    </a:lnTo>
                    <a:lnTo>
                      <a:pt x="456" y="72"/>
                    </a:lnTo>
                    <a:lnTo>
                      <a:pt x="462" y="72"/>
                    </a:lnTo>
                    <a:lnTo>
                      <a:pt x="462" y="78"/>
                    </a:lnTo>
                    <a:lnTo>
                      <a:pt x="468" y="78"/>
                    </a:lnTo>
                    <a:lnTo>
                      <a:pt x="468" y="84"/>
                    </a:lnTo>
                    <a:lnTo>
                      <a:pt x="474" y="84"/>
                    </a:lnTo>
                    <a:lnTo>
                      <a:pt x="480" y="90"/>
                    </a:lnTo>
                    <a:lnTo>
                      <a:pt x="486" y="90"/>
                    </a:lnTo>
                    <a:lnTo>
                      <a:pt x="486" y="96"/>
                    </a:lnTo>
                    <a:lnTo>
                      <a:pt x="492" y="96"/>
                    </a:lnTo>
                    <a:lnTo>
                      <a:pt x="492" y="102"/>
                    </a:lnTo>
                    <a:lnTo>
                      <a:pt x="498" y="108"/>
                    </a:lnTo>
                    <a:lnTo>
                      <a:pt x="498" y="114"/>
                    </a:lnTo>
                    <a:lnTo>
                      <a:pt x="504" y="120"/>
                    </a:lnTo>
                    <a:lnTo>
                      <a:pt x="510" y="120"/>
                    </a:lnTo>
                    <a:lnTo>
                      <a:pt x="510" y="126"/>
                    </a:lnTo>
                    <a:lnTo>
                      <a:pt x="516" y="126"/>
                    </a:lnTo>
                    <a:lnTo>
                      <a:pt x="516" y="132"/>
                    </a:lnTo>
                    <a:lnTo>
                      <a:pt x="522" y="132"/>
                    </a:lnTo>
                    <a:lnTo>
                      <a:pt x="522" y="138"/>
                    </a:lnTo>
                    <a:lnTo>
                      <a:pt x="528" y="138"/>
                    </a:lnTo>
                    <a:lnTo>
                      <a:pt x="522" y="144"/>
                    </a:lnTo>
                    <a:lnTo>
                      <a:pt x="522" y="150"/>
                    </a:lnTo>
                    <a:lnTo>
                      <a:pt x="516" y="150"/>
                    </a:lnTo>
                    <a:lnTo>
                      <a:pt x="516" y="156"/>
                    </a:lnTo>
                    <a:lnTo>
                      <a:pt x="510" y="156"/>
                    </a:lnTo>
                    <a:lnTo>
                      <a:pt x="510" y="162"/>
                    </a:lnTo>
                    <a:lnTo>
                      <a:pt x="510" y="168"/>
                    </a:lnTo>
                    <a:lnTo>
                      <a:pt x="504" y="168"/>
                    </a:lnTo>
                    <a:lnTo>
                      <a:pt x="504" y="174"/>
                    </a:lnTo>
                    <a:lnTo>
                      <a:pt x="498" y="174"/>
                    </a:lnTo>
                    <a:lnTo>
                      <a:pt x="498" y="180"/>
                    </a:lnTo>
                    <a:lnTo>
                      <a:pt x="492" y="180"/>
                    </a:lnTo>
                    <a:lnTo>
                      <a:pt x="492" y="186"/>
                    </a:lnTo>
                    <a:lnTo>
                      <a:pt x="492" y="192"/>
                    </a:lnTo>
                    <a:lnTo>
                      <a:pt x="492" y="198"/>
                    </a:lnTo>
                    <a:lnTo>
                      <a:pt x="492" y="204"/>
                    </a:lnTo>
                    <a:lnTo>
                      <a:pt x="492" y="210"/>
                    </a:lnTo>
                    <a:lnTo>
                      <a:pt x="492" y="216"/>
                    </a:lnTo>
                    <a:lnTo>
                      <a:pt x="492" y="222"/>
                    </a:lnTo>
                    <a:lnTo>
                      <a:pt x="492" y="228"/>
                    </a:lnTo>
                    <a:lnTo>
                      <a:pt x="498" y="228"/>
                    </a:lnTo>
                    <a:lnTo>
                      <a:pt x="504" y="228"/>
                    </a:lnTo>
                    <a:lnTo>
                      <a:pt x="510" y="228"/>
                    </a:lnTo>
                    <a:lnTo>
                      <a:pt x="510" y="222"/>
                    </a:lnTo>
                    <a:lnTo>
                      <a:pt x="516" y="222"/>
                    </a:lnTo>
                    <a:lnTo>
                      <a:pt x="516" y="228"/>
                    </a:lnTo>
                    <a:lnTo>
                      <a:pt x="516" y="222"/>
                    </a:lnTo>
                    <a:lnTo>
                      <a:pt x="522" y="222"/>
                    </a:lnTo>
                    <a:lnTo>
                      <a:pt x="528" y="222"/>
                    </a:lnTo>
                    <a:lnTo>
                      <a:pt x="534" y="222"/>
                    </a:lnTo>
                    <a:lnTo>
                      <a:pt x="540" y="216"/>
                    </a:lnTo>
                    <a:lnTo>
                      <a:pt x="540" y="222"/>
                    </a:lnTo>
                    <a:lnTo>
                      <a:pt x="546" y="222"/>
                    </a:lnTo>
                    <a:lnTo>
                      <a:pt x="552" y="222"/>
                    </a:lnTo>
                    <a:lnTo>
                      <a:pt x="558" y="222"/>
                    </a:lnTo>
                    <a:lnTo>
                      <a:pt x="552" y="228"/>
                    </a:lnTo>
                    <a:lnTo>
                      <a:pt x="552" y="234"/>
                    </a:lnTo>
                    <a:lnTo>
                      <a:pt x="546" y="234"/>
                    </a:lnTo>
                    <a:lnTo>
                      <a:pt x="546" y="240"/>
                    </a:lnTo>
                    <a:lnTo>
                      <a:pt x="540" y="246"/>
                    </a:lnTo>
                    <a:lnTo>
                      <a:pt x="540" y="252"/>
                    </a:lnTo>
                    <a:lnTo>
                      <a:pt x="546" y="252"/>
                    </a:lnTo>
                    <a:lnTo>
                      <a:pt x="546" y="258"/>
                    </a:lnTo>
                    <a:lnTo>
                      <a:pt x="546" y="264"/>
                    </a:lnTo>
                    <a:lnTo>
                      <a:pt x="552" y="264"/>
                    </a:lnTo>
                    <a:lnTo>
                      <a:pt x="552" y="270"/>
                    </a:lnTo>
                    <a:lnTo>
                      <a:pt x="558" y="276"/>
                    </a:lnTo>
                    <a:lnTo>
                      <a:pt x="558" y="282"/>
                    </a:lnTo>
                    <a:lnTo>
                      <a:pt x="564" y="282"/>
                    </a:lnTo>
                    <a:lnTo>
                      <a:pt x="564" y="288"/>
                    </a:lnTo>
                    <a:lnTo>
                      <a:pt x="570" y="288"/>
                    </a:lnTo>
                    <a:lnTo>
                      <a:pt x="576" y="294"/>
                    </a:lnTo>
                    <a:lnTo>
                      <a:pt x="576" y="300"/>
                    </a:lnTo>
                    <a:lnTo>
                      <a:pt x="576" y="306"/>
                    </a:lnTo>
                    <a:lnTo>
                      <a:pt x="582" y="306"/>
                    </a:lnTo>
                    <a:lnTo>
                      <a:pt x="582" y="312"/>
                    </a:lnTo>
                    <a:lnTo>
                      <a:pt x="588" y="312"/>
                    </a:lnTo>
                    <a:lnTo>
                      <a:pt x="588" y="318"/>
                    </a:lnTo>
                    <a:lnTo>
                      <a:pt x="594" y="318"/>
                    </a:lnTo>
                    <a:lnTo>
                      <a:pt x="600" y="318"/>
                    </a:lnTo>
                    <a:lnTo>
                      <a:pt x="600" y="324"/>
                    </a:lnTo>
                    <a:lnTo>
                      <a:pt x="606" y="324"/>
                    </a:lnTo>
                    <a:lnTo>
                      <a:pt x="606" y="330"/>
                    </a:lnTo>
                    <a:lnTo>
                      <a:pt x="612" y="336"/>
                    </a:lnTo>
                    <a:lnTo>
                      <a:pt x="618" y="336"/>
                    </a:lnTo>
                    <a:lnTo>
                      <a:pt x="624" y="342"/>
                    </a:lnTo>
                    <a:lnTo>
                      <a:pt x="630" y="342"/>
                    </a:lnTo>
                    <a:lnTo>
                      <a:pt x="636" y="342"/>
                    </a:lnTo>
                    <a:lnTo>
                      <a:pt x="642" y="348"/>
                    </a:lnTo>
                    <a:lnTo>
                      <a:pt x="648" y="348"/>
                    </a:lnTo>
                    <a:lnTo>
                      <a:pt x="654" y="348"/>
                    </a:lnTo>
                    <a:lnTo>
                      <a:pt x="660" y="354"/>
                    </a:lnTo>
                    <a:lnTo>
                      <a:pt x="666" y="354"/>
                    </a:lnTo>
                    <a:lnTo>
                      <a:pt x="672" y="354"/>
                    </a:lnTo>
                    <a:lnTo>
                      <a:pt x="678" y="360"/>
                    </a:lnTo>
                    <a:lnTo>
                      <a:pt x="684" y="360"/>
                    </a:lnTo>
                    <a:lnTo>
                      <a:pt x="696" y="366"/>
                    </a:lnTo>
                    <a:lnTo>
                      <a:pt x="702" y="366"/>
                    </a:lnTo>
                    <a:lnTo>
                      <a:pt x="708" y="366"/>
                    </a:lnTo>
                    <a:lnTo>
                      <a:pt x="714" y="372"/>
                    </a:lnTo>
                    <a:lnTo>
                      <a:pt x="720" y="372"/>
                    </a:lnTo>
                    <a:lnTo>
                      <a:pt x="726" y="372"/>
                    </a:lnTo>
                    <a:lnTo>
                      <a:pt x="732" y="378"/>
                    </a:lnTo>
                    <a:lnTo>
                      <a:pt x="738" y="378"/>
                    </a:lnTo>
                    <a:lnTo>
                      <a:pt x="744" y="378"/>
                    </a:lnTo>
                    <a:lnTo>
                      <a:pt x="750" y="384"/>
                    </a:lnTo>
                    <a:lnTo>
                      <a:pt x="756" y="384"/>
                    </a:lnTo>
                    <a:lnTo>
                      <a:pt x="762" y="384"/>
                    </a:lnTo>
                    <a:lnTo>
                      <a:pt x="768" y="390"/>
                    </a:lnTo>
                    <a:lnTo>
                      <a:pt x="774" y="390"/>
                    </a:lnTo>
                    <a:lnTo>
                      <a:pt x="780" y="390"/>
                    </a:lnTo>
                    <a:lnTo>
                      <a:pt x="786" y="390"/>
                    </a:lnTo>
                    <a:lnTo>
                      <a:pt x="792" y="390"/>
                    </a:lnTo>
                    <a:lnTo>
                      <a:pt x="798" y="390"/>
                    </a:lnTo>
                    <a:lnTo>
                      <a:pt x="804" y="390"/>
                    </a:lnTo>
                    <a:lnTo>
                      <a:pt x="810" y="390"/>
                    </a:lnTo>
                    <a:lnTo>
                      <a:pt x="816" y="390"/>
                    </a:lnTo>
                    <a:lnTo>
                      <a:pt x="822" y="390"/>
                    </a:lnTo>
                    <a:lnTo>
                      <a:pt x="828" y="390"/>
                    </a:lnTo>
                    <a:lnTo>
                      <a:pt x="834" y="390"/>
                    </a:lnTo>
                    <a:lnTo>
                      <a:pt x="810" y="420"/>
                    </a:lnTo>
                    <a:lnTo>
                      <a:pt x="798" y="432"/>
                    </a:lnTo>
                    <a:lnTo>
                      <a:pt x="774" y="456"/>
                    </a:lnTo>
                    <a:lnTo>
                      <a:pt x="768" y="462"/>
                    </a:lnTo>
                    <a:lnTo>
                      <a:pt x="756" y="474"/>
                    </a:lnTo>
                    <a:lnTo>
                      <a:pt x="750" y="480"/>
                    </a:lnTo>
                    <a:lnTo>
                      <a:pt x="702" y="534"/>
                    </a:lnTo>
                    <a:lnTo>
                      <a:pt x="672" y="558"/>
                    </a:lnTo>
                    <a:lnTo>
                      <a:pt x="672" y="564"/>
                    </a:lnTo>
                    <a:lnTo>
                      <a:pt x="666" y="564"/>
                    </a:lnTo>
                    <a:lnTo>
                      <a:pt x="648" y="564"/>
                    </a:lnTo>
                    <a:lnTo>
                      <a:pt x="630" y="564"/>
                    </a:lnTo>
                    <a:lnTo>
                      <a:pt x="618" y="564"/>
                    </a:lnTo>
                    <a:lnTo>
                      <a:pt x="612" y="564"/>
                    </a:lnTo>
                    <a:lnTo>
                      <a:pt x="606" y="564"/>
                    </a:lnTo>
                    <a:lnTo>
                      <a:pt x="594" y="570"/>
                    </a:lnTo>
                    <a:lnTo>
                      <a:pt x="588" y="570"/>
                    </a:lnTo>
                    <a:lnTo>
                      <a:pt x="582" y="570"/>
                    </a:lnTo>
                    <a:lnTo>
                      <a:pt x="576" y="576"/>
                    </a:lnTo>
                    <a:lnTo>
                      <a:pt x="570" y="576"/>
                    </a:lnTo>
                    <a:lnTo>
                      <a:pt x="570" y="582"/>
                    </a:lnTo>
                    <a:lnTo>
                      <a:pt x="564" y="582"/>
                    </a:lnTo>
                    <a:lnTo>
                      <a:pt x="558" y="582"/>
                    </a:lnTo>
                    <a:lnTo>
                      <a:pt x="558" y="588"/>
                    </a:lnTo>
                    <a:lnTo>
                      <a:pt x="558" y="594"/>
                    </a:lnTo>
                    <a:lnTo>
                      <a:pt x="552" y="594"/>
                    </a:lnTo>
                    <a:lnTo>
                      <a:pt x="552" y="600"/>
                    </a:lnTo>
                    <a:lnTo>
                      <a:pt x="546" y="600"/>
                    </a:lnTo>
                    <a:lnTo>
                      <a:pt x="540" y="600"/>
                    </a:lnTo>
                    <a:lnTo>
                      <a:pt x="540" y="606"/>
                    </a:lnTo>
                    <a:lnTo>
                      <a:pt x="534" y="606"/>
                    </a:lnTo>
                    <a:lnTo>
                      <a:pt x="528" y="606"/>
                    </a:lnTo>
                    <a:lnTo>
                      <a:pt x="522" y="606"/>
                    </a:lnTo>
                    <a:lnTo>
                      <a:pt x="516" y="606"/>
                    </a:lnTo>
                    <a:lnTo>
                      <a:pt x="510" y="606"/>
                    </a:lnTo>
                    <a:lnTo>
                      <a:pt x="504" y="606"/>
                    </a:lnTo>
                    <a:lnTo>
                      <a:pt x="504" y="612"/>
                    </a:lnTo>
                    <a:lnTo>
                      <a:pt x="498" y="612"/>
                    </a:lnTo>
                    <a:lnTo>
                      <a:pt x="498" y="618"/>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5" name="Freeform 33"/>
              <p:cNvSpPr>
                <a:spLocks/>
              </p:cNvSpPr>
              <p:nvPr>
                <p:custDataLst>
                  <p:tags r:id="rId32"/>
                </p:custDataLst>
              </p:nvPr>
            </p:nvSpPr>
            <p:spPr bwMode="gray">
              <a:xfrm>
                <a:off x="4059091" y="1860154"/>
                <a:ext cx="383739" cy="375164"/>
              </a:xfrm>
              <a:custGeom>
                <a:avLst/>
                <a:gdLst>
                  <a:gd name="T0" fmla="*/ 79935 w 306"/>
                  <a:gd name="T1" fmla="*/ 103219 h 318"/>
                  <a:gd name="T2" fmla="*/ 71268 w 306"/>
                  <a:gd name="T3" fmla="*/ 103219 h 318"/>
                  <a:gd name="T4" fmla="*/ 63563 w 306"/>
                  <a:gd name="T5" fmla="*/ 103219 h 318"/>
                  <a:gd name="T6" fmla="*/ 54896 w 306"/>
                  <a:gd name="T7" fmla="*/ 103219 h 318"/>
                  <a:gd name="T8" fmla="*/ 46227 w 306"/>
                  <a:gd name="T9" fmla="*/ 103219 h 318"/>
                  <a:gd name="T10" fmla="*/ 37560 w 306"/>
                  <a:gd name="T11" fmla="*/ 103219 h 318"/>
                  <a:gd name="T12" fmla="*/ 29855 w 306"/>
                  <a:gd name="T13" fmla="*/ 103219 h 318"/>
                  <a:gd name="T14" fmla="*/ 23114 w 306"/>
                  <a:gd name="T15" fmla="*/ 105167 h 318"/>
                  <a:gd name="T16" fmla="*/ 14446 w 306"/>
                  <a:gd name="T17" fmla="*/ 105167 h 318"/>
                  <a:gd name="T18" fmla="*/ 12520 w 306"/>
                  <a:gd name="T19" fmla="*/ 111983 h 318"/>
                  <a:gd name="T20" fmla="*/ 8668 w 306"/>
                  <a:gd name="T21" fmla="*/ 111983 h 318"/>
                  <a:gd name="T22" fmla="*/ 3852 w 306"/>
                  <a:gd name="T23" fmla="*/ 111983 h 318"/>
                  <a:gd name="T24" fmla="*/ 1926 w 306"/>
                  <a:gd name="T25" fmla="*/ 107115 h 318"/>
                  <a:gd name="T26" fmla="*/ 1926 w 306"/>
                  <a:gd name="T27" fmla="*/ 105167 h 318"/>
                  <a:gd name="T28" fmla="*/ 1926 w 306"/>
                  <a:gd name="T29" fmla="*/ 97377 h 318"/>
                  <a:gd name="T30" fmla="*/ 3852 w 306"/>
                  <a:gd name="T31" fmla="*/ 87639 h 318"/>
                  <a:gd name="T32" fmla="*/ 3852 w 306"/>
                  <a:gd name="T33" fmla="*/ 79849 h 318"/>
                  <a:gd name="T34" fmla="*/ 8668 w 306"/>
                  <a:gd name="T35" fmla="*/ 74980 h 318"/>
                  <a:gd name="T36" fmla="*/ 8668 w 306"/>
                  <a:gd name="T37" fmla="*/ 67190 h 318"/>
                  <a:gd name="T38" fmla="*/ 14446 w 306"/>
                  <a:gd name="T39" fmla="*/ 64269 h 318"/>
                  <a:gd name="T40" fmla="*/ 17335 w 306"/>
                  <a:gd name="T41" fmla="*/ 60374 h 318"/>
                  <a:gd name="T42" fmla="*/ 23114 w 306"/>
                  <a:gd name="T43" fmla="*/ 56478 h 318"/>
                  <a:gd name="T44" fmla="*/ 26966 w 306"/>
                  <a:gd name="T45" fmla="*/ 49662 h 318"/>
                  <a:gd name="T46" fmla="*/ 33707 w 306"/>
                  <a:gd name="T47" fmla="*/ 42846 h 318"/>
                  <a:gd name="T48" fmla="*/ 31782 w 306"/>
                  <a:gd name="T49" fmla="*/ 38950 h 318"/>
                  <a:gd name="T50" fmla="*/ 26003 w 306"/>
                  <a:gd name="T51" fmla="*/ 37003 h 318"/>
                  <a:gd name="T52" fmla="*/ 26003 w 306"/>
                  <a:gd name="T53" fmla="*/ 32134 h 318"/>
                  <a:gd name="T54" fmla="*/ 26966 w 306"/>
                  <a:gd name="T55" fmla="*/ 26291 h 318"/>
                  <a:gd name="T56" fmla="*/ 26003 w 306"/>
                  <a:gd name="T57" fmla="*/ 23371 h 318"/>
                  <a:gd name="T58" fmla="*/ 26966 w 306"/>
                  <a:gd name="T59" fmla="*/ 17528 h 318"/>
                  <a:gd name="T60" fmla="*/ 26003 w 306"/>
                  <a:gd name="T61" fmla="*/ 14606 h 318"/>
                  <a:gd name="T62" fmla="*/ 29855 w 306"/>
                  <a:gd name="T63" fmla="*/ 8764 h 318"/>
                  <a:gd name="T64" fmla="*/ 37560 w 306"/>
                  <a:gd name="T65" fmla="*/ 8764 h 318"/>
                  <a:gd name="T66" fmla="*/ 42375 w 306"/>
                  <a:gd name="T67" fmla="*/ 8764 h 318"/>
                  <a:gd name="T68" fmla="*/ 46227 w 306"/>
                  <a:gd name="T69" fmla="*/ 8764 h 318"/>
                  <a:gd name="T70" fmla="*/ 51043 w 306"/>
                  <a:gd name="T71" fmla="*/ 12659 h 318"/>
                  <a:gd name="T72" fmla="*/ 56821 w 306"/>
                  <a:gd name="T73" fmla="*/ 8764 h 318"/>
                  <a:gd name="T74" fmla="*/ 65489 w 306"/>
                  <a:gd name="T75" fmla="*/ 8764 h 318"/>
                  <a:gd name="T76" fmla="*/ 71268 w 306"/>
                  <a:gd name="T77" fmla="*/ 8764 h 318"/>
                  <a:gd name="T78" fmla="*/ 79935 w 306"/>
                  <a:gd name="T79" fmla="*/ 8764 h 318"/>
                  <a:gd name="T80" fmla="*/ 86676 w 306"/>
                  <a:gd name="T81" fmla="*/ 0 h 318"/>
                  <a:gd name="T82" fmla="*/ 90529 w 306"/>
                  <a:gd name="T83" fmla="*/ 3895 h 318"/>
                  <a:gd name="T84" fmla="*/ 93418 w 306"/>
                  <a:gd name="T85" fmla="*/ 6816 h 318"/>
                  <a:gd name="T86" fmla="*/ 93418 w 306"/>
                  <a:gd name="T87" fmla="*/ 10712 h 318"/>
                  <a:gd name="T88" fmla="*/ 97270 w 306"/>
                  <a:gd name="T89" fmla="*/ 10712 h 318"/>
                  <a:gd name="T90" fmla="*/ 95345 w 306"/>
                  <a:gd name="T91" fmla="*/ 17528 h 318"/>
                  <a:gd name="T92" fmla="*/ 99197 w 306"/>
                  <a:gd name="T93" fmla="*/ 21423 h 318"/>
                  <a:gd name="T94" fmla="*/ 101123 w 306"/>
                  <a:gd name="T95" fmla="*/ 28240 h 318"/>
                  <a:gd name="T96" fmla="*/ 104975 w 306"/>
                  <a:gd name="T97" fmla="*/ 32134 h 318"/>
                  <a:gd name="T98" fmla="*/ 104975 w 306"/>
                  <a:gd name="T99" fmla="*/ 40898 h 318"/>
                  <a:gd name="T100" fmla="*/ 107865 w 306"/>
                  <a:gd name="T101" fmla="*/ 49662 h 318"/>
                  <a:gd name="T102" fmla="*/ 104012 w 306"/>
                  <a:gd name="T103" fmla="*/ 53557 h 318"/>
                  <a:gd name="T104" fmla="*/ 101123 w 306"/>
                  <a:gd name="T105" fmla="*/ 60374 h 318"/>
                  <a:gd name="T106" fmla="*/ 97270 w 306"/>
                  <a:gd name="T107" fmla="*/ 64269 h 318"/>
                  <a:gd name="T108" fmla="*/ 93418 w 306"/>
                  <a:gd name="T109" fmla="*/ 69137 h 318"/>
                  <a:gd name="T110" fmla="*/ 90529 w 306"/>
                  <a:gd name="T111" fmla="*/ 74980 h 318"/>
                  <a:gd name="T112" fmla="*/ 88603 w 306"/>
                  <a:gd name="T113" fmla="*/ 77902 h 318"/>
                  <a:gd name="T114" fmla="*/ 86676 w 306"/>
                  <a:gd name="T115" fmla="*/ 83744 h 318"/>
                  <a:gd name="T116" fmla="*/ 86676 w 306"/>
                  <a:gd name="T117" fmla="*/ 92508 h 318"/>
                  <a:gd name="T118" fmla="*/ 86676 w 306"/>
                  <a:gd name="T119" fmla="*/ 101272 h 3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 h="318">
                    <a:moveTo>
                      <a:pt x="246" y="288"/>
                    </a:moveTo>
                    <a:lnTo>
                      <a:pt x="240" y="288"/>
                    </a:lnTo>
                    <a:lnTo>
                      <a:pt x="234" y="288"/>
                    </a:lnTo>
                    <a:lnTo>
                      <a:pt x="228" y="288"/>
                    </a:lnTo>
                    <a:lnTo>
                      <a:pt x="222" y="288"/>
                    </a:lnTo>
                    <a:lnTo>
                      <a:pt x="216" y="288"/>
                    </a:lnTo>
                    <a:lnTo>
                      <a:pt x="210" y="288"/>
                    </a:lnTo>
                    <a:lnTo>
                      <a:pt x="204" y="288"/>
                    </a:lnTo>
                    <a:lnTo>
                      <a:pt x="198" y="288"/>
                    </a:lnTo>
                    <a:lnTo>
                      <a:pt x="192" y="288"/>
                    </a:lnTo>
                    <a:lnTo>
                      <a:pt x="186" y="288"/>
                    </a:lnTo>
                    <a:lnTo>
                      <a:pt x="180" y="288"/>
                    </a:lnTo>
                    <a:lnTo>
                      <a:pt x="174" y="288"/>
                    </a:lnTo>
                    <a:lnTo>
                      <a:pt x="168" y="288"/>
                    </a:lnTo>
                    <a:lnTo>
                      <a:pt x="162" y="288"/>
                    </a:lnTo>
                    <a:lnTo>
                      <a:pt x="156" y="288"/>
                    </a:lnTo>
                    <a:lnTo>
                      <a:pt x="150" y="288"/>
                    </a:lnTo>
                    <a:lnTo>
                      <a:pt x="144" y="288"/>
                    </a:lnTo>
                    <a:lnTo>
                      <a:pt x="138" y="288"/>
                    </a:lnTo>
                    <a:lnTo>
                      <a:pt x="132" y="288"/>
                    </a:lnTo>
                    <a:lnTo>
                      <a:pt x="126" y="288"/>
                    </a:lnTo>
                    <a:lnTo>
                      <a:pt x="120" y="288"/>
                    </a:lnTo>
                    <a:lnTo>
                      <a:pt x="114" y="288"/>
                    </a:lnTo>
                    <a:lnTo>
                      <a:pt x="108" y="288"/>
                    </a:lnTo>
                    <a:lnTo>
                      <a:pt x="102" y="288"/>
                    </a:lnTo>
                    <a:lnTo>
                      <a:pt x="96" y="288"/>
                    </a:lnTo>
                    <a:lnTo>
                      <a:pt x="90" y="288"/>
                    </a:lnTo>
                    <a:lnTo>
                      <a:pt x="84" y="288"/>
                    </a:lnTo>
                    <a:lnTo>
                      <a:pt x="78" y="288"/>
                    </a:lnTo>
                    <a:lnTo>
                      <a:pt x="72" y="288"/>
                    </a:lnTo>
                    <a:lnTo>
                      <a:pt x="66" y="288"/>
                    </a:lnTo>
                    <a:lnTo>
                      <a:pt x="66" y="294"/>
                    </a:lnTo>
                    <a:lnTo>
                      <a:pt x="60" y="294"/>
                    </a:lnTo>
                    <a:lnTo>
                      <a:pt x="54" y="294"/>
                    </a:lnTo>
                    <a:lnTo>
                      <a:pt x="48" y="294"/>
                    </a:lnTo>
                    <a:lnTo>
                      <a:pt x="42" y="294"/>
                    </a:lnTo>
                    <a:lnTo>
                      <a:pt x="42" y="300"/>
                    </a:lnTo>
                    <a:lnTo>
                      <a:pt x="42" y="306"/>
                    </a:lnTo>
                    <a:lnTo>
                      <a:pt x="36" y="306"/>
                    </a:lnTo>
                    <a:lnTo>
                      <a:pt x="36" y="312"/>
                    </a:lnTo>
                    <a:lnTo>
                      <a:pt x="36" y="306"/>
                    </a:lnTo>
                    <a:lnTo>
                      <a:pt x="36" y="312"/>
                    </a:lnTo>
                    <a:lnTo>
                      <a:pt x="30" y="312"/>
                    </a:lnTo>
                    <a:lnTo>
                      <a:pt x="24" y="312"/>
                    </a:lnTo>
                    <a:lnTo>
                      <a:pt x="24" y="318"/>
                    </a:lnTo>
                    <a:lnTo>
                      <a:pt x="18" y="312"/>
                    </a:lnTo>
                    <a:lnTo>
                      <a:pt x="18" y="306"/>
                    </a:lnTo>
                    <a:lnTo>
                      <a:pt x="12" y="312"/>
                    </a:lnTo>
                    <a:lnTo>
                      <a:pt x="12" y="306"/>
                    </a:lnTo>
                    <a:lnTo>
                      <a:pt x="6" y="312"/>
                    </a:lnTo>
                    <a:lnTo>
                      <a:pt x="6" y="306"/>
                    </a:lnTo>
                    <a:lnTo>
                      <a:pt x="6" y="300"/>
                    </a:lnTo>
                    <a:lnTo>
                      <a:pt x="0" y="300"/>
                    </a:lnTo>
                    <a:lnTo>
                      <a:pt x="6" y="300"/>
                    </a:lnTo>
                    <a:lnTo>
                      <a:pt x="0" y="294"/>
                    </a:lnTo>
                    <a:lnTo>
                      <a:pt x="6" y="294"/>
                    </a:lnTo>
                    <a:lnTo>
                      <a:pt x="6" y="288"/>
                    </a:lnTo>
                    <a:lnTo>
                      <a:pt x="6" y="282"/>
                    </a:lnTo>
                    <a:lnTo>
                      <a:pt x="6" y="276"/>
                    </a:lnTo>
                    <a:lnTo>
                      <a:pt x="6" y="270"/>
                    </a:lnTo>
                    <a:lnTo>
                      <a:pt x="6" y="264"/>
                    </a:lnTo>
                    <a:lnTo>
                      <a:pt x="6" y="258"/>
                    </a:lnTo>
                    <a:lnTo>
                      <a:pt x="6" y="252"/>
                    </a:lnTo>
                    <a:lnTo>
                      <a:pt x="12" y="246"/>
                    </a:lnTo>
                    <a:lnTo>
                      <a:pt x="12" y="240"/>
                    </a:lnTo>
                    <a:lnTo>
                      <a:pt x="12" y="234"/>
                    </a:lnTo>
                    <a:lnTo>
                      <a:pt x="12" y="228"/>
                    </a:lnTo>
                    <a:lnTo>
                      <a:pt x="12" y="222"/>
                    </a:lnTo>
                    <a:lnTo>
                      <a:pt x="18" y="222"/>
                    </a:lnTo>
                    <a:lnTo>
                      <a:pt x="18" y="216"/>
                    </a:lnTo>
                    <a:lnTo>
                      <a:pt x="18" y="210"/>
                    </a:lnTo>
                    <a:lnTo>
                      <a:pt x="24" y="210"/>
                    </a:lnTo>
                    <a:lnTo>
                      <a:pt x="24" y="204"/>
                    </a:lnTo>
                    <a:lnTo>
                      <a:pt x="24" y="198"/>
                    </a:lnTo>
                    <a:lnTo>
                      <a:pt x="24" y="192"/>
                    </a:lnTo>
                    <a:lnTo>
                      <a:pt x="24" y="186"/>
                    </a:lnTo>
                    <a:lnTo>
                      <a:pt x="30" y="186"/>
                    </a:lnTo>
                    <a:lnTo>
                      <a:pt x="36" y="186"/>
                    </a:lnTo>
                    <a:lnTo>
                      <a:pt x="36" y="180"/>
                    </a:lnTo>
                    <a:lnTo>
                      <a:pt x="42" y="180"/>
                    </a:lnTo>
                    <a:lnTo>
                      <a:pt x="36" y="180"/>
                    </a:lnTo>
                    <a:lnTo>
                      <a:pt x="42" y="174"/>
                    </a:lnTo>
                    <a:lnTo>
                      <a:pt x="42" y="168"/>
                    </a:lnTo>
                    <a:lnTo>
                      <a:pt x="48" y="168"/>
                    </a:lnTo>
                    <a:lnTo>
                      <a:pt x="54" y="168"/>
                    </a:lnTo>
                    <a:lnTo>
                      <a:pt x="54" y="162"/>
                    </a:lnTo>
                    <a:lnTo>
                      <a:pt x="60" y="156"/>
                    </a:lnTo>
                    <a:lnTo>
                      <a:pt x="66" y="156"/>
                    </a:lnTo>
                    <a:lnTo>
                      <a:pt x="66" y="150"/>
                    </a:lnTo>
                    <a:lnTo>
                      <a:pt x="72" y="144"/>
                    </a:lnTo>
                    <a:lnTo>
                      <a:pt x="78" y="144"/>
                    </a:lnTo>
                    <a:lnTo>
                      <a:pt x="78" y="138"/>
                    </a:lnTo>
                    <a:lnTo>
                      <a:pt x="84" y="138"/>
                    </a:lnTo>
                    <a:lnTo>
                      <a:pt x="84" y="132"/>
                    </a:lnTo>
                    <a:lnTo>
                      <a:pt x="90" y="126"/>
                    </a:lnTo>
                    <a:lnTo>
                      <a:pt x="96" y="120"/>
                    </a:lnTo>
                    <a:lnTo>
                      <a:pt x="102" y="114"/>
                    </a:lnTo>
                    <a:lnTo>
                      <a:pt x="96" y="114"/>
                    </a:lnTo>
                    <a:lnTo>
                      <a:pt x="96" y="108"/>
                    </a:lnTo>
                    <a:lnTo>
                      <a:pt x="90" y="108"/>
                    </a:lnTo>
                    <a:lnTo>
                      <a:pt x="84" y="108"/>
                    </a:lnTo>
                    <a:lnTo>
                      <a:pt x="84" y="102"/>
                    </a:lnTo>
                    <a:lnTo>
                      <a:pt x="78" y="102"/>
                    </a:lnTo>
                    <a:lnTo>
                      <a:pt x="72" y="102"/>
                    </a:lnTo>
                    <a:lnTo>
                      <a:pt x="72" y="96"/>
                    </a:lnTo>
                    <a:lnTo>
                      <a:pt x="66" y="96"/>
                    </a:lnTo>
                    <a:lnTo>
                      <a:pt x="66" y="90"/>
                    </a:lnTo>
                    <a:lnTo>
                      <a:pt x="72" y="90"/>
                    </a:lnTo>
                    <a:lnTo>
                      <a:pt x="72" y="84"/>
                    </a:lnTo>
                    <a:lnTo>
                      <a:pt x="72" y="78"/>
                    </a:lnTo>
                    <a:lnTo>
                      <a:pt x="78" y="78"/>
                    </a:lnTo>
                    <a:lnTo>
                      <a:pt x="78" y="72"/>
                    </a:lnTo>
                    <a:lnTo>
                      <a:pt x="72" y="72"/>
                    </a:lnTo>
                    <a:lnTo>
                      <a:pt x="72" y="66"/>
                    </a:lnTo>
                    <a:lnTo>
                      <a:pt x="66" y="66"/>
                    </a:lnTo>
                    <a:lnTo>
                      <a:pt x="72" y="66"/>
                    </a:lnTo>
                    <a:lnTo>
                      <a:pt x="72" y="60"/>
                    </a:lnTo>
                    <a:lnTo>
                      <a:pt x="72" y="54"/>
                    </a:lnTo>
                    <a:lnTo>
                      <a:pt x="72" y="48"/>
                    </a:lnTo>
                    <a:lnTo>
                      <a:pt x="78" y="48"/>
                    </a:lnTo>
                    <a:lnTo>
                      <a:pt x="78" y="42"/>
                    </a:lnTo>
                    <a:lnTo>
                      <a:pt x="78" y="36"/>
                    </a:lnTo>
                    <a:lnTo>
                      <a:pt x="78" y="42"/>
                    </a:lnTo>
                    <a:lnTo>
                      <a:pt x="72" y="42"/>
                    </a:lnTo>
                    <a:lnTo>
                      <a:pt x="78" y="36"/>
                    </a:lnTo>
                    <a:lnTo>
                      <a:pt x="78" y="30"/>
                    </a:lnTo>
                    <a:lnTo>
                      <a:pt x="84" y="30"/>
                    </a:lnTo>
                    <a:lnTo>
                      <a:pt x="84" y="24"/>
                    </a:lnTo>
                    <a:lnTo>
                      <a:pt x="90" y="24"/>
                    </a:lnTo>
                    <a:lnTo>
                      <a:pt x="96" y="24"/>
                    </a:lnTo>
                    <a:lnTo>
                      <a:pt x="102" y="24"/>
                    </a:lnTo>
                    <a:lnTo>
                      <a:pt x="108" y="24"/>
                    </a:lnTo>
                    <a:lnTo>
                      <a:pt x="108" y="30"/>
                    </a:lnTo>
                    <a:lnTo>
                      <a:pt x="114" y="30"/>
                    </a:lnTo>
                    <a:lnTo>
                      <a:pt x="120" y="30"/>
                    </a:lnTo>
                    <a:lnTo>
                      <a:pt x="120" y="24"/>
                    </a:lnTo>
                    <a:lnTo>
                      <a:pt x="126" y="24"/>
                    </a:lnTo>
                    <a:lnTo>
                      <a:pt x="126" y="18"/>
                    </a:lnTo>
                    <a:lnTo>
                      <a:pt x="126" y="24"/>
                    </a:lnTo>
                    <a:lnTo>
                      <a:pt x="132" y="24"/>
                    </a:lnTo>
                    <a:lnTo>
                      <a:pt x="132" y="30"/>
                    </a:lnTo>
                    <a:lnTo>
                      <a:pt x="138" y="30"/>
                    </a:lnTo>
                    <a:lnTo>
                      <a:pt x="138" y="36"/>
                    </a:lnTo>
                    <a:lnTo>
                      <a:pt x="144" y="36"/>
                    </a:lnTo>
                    <a:lnTo>
                      <a:pt x="150" y="36"/>
                    </a:lnTo>
                    <a:lnTo>
                      <a:pt x="150" y="30"/>
                    </a:lnTo>
                    <a:lnTo>
                      <a:pt x="156" y="30"/>
                    </a:lnTo>
                    <a:lnTo>
                      <a:pt x="162" y="24"/>
                    </a:lnTo>
                    <a:lnTo>
                      <a:pt x="168" y="24"/>
                    </a:lnTo>
                    <a:lnTo>
                      <a:pt x="174" y="24"/>
                    </a:lnTo>
                    <a:lnTo>
                      <a:pt x="180" y="24"/>
                    </a:lnTo>
                    <a:lnTo>
                      <a:pt x="186" y="24"/>
                    </a:lnTo>
                    <a:lnTo>
                      <a:pt x="186" y="18"/>
                    </a:lnTo>
                    <a:lnTo>
                      <a:pt x="192" y="18"/>
                    </a:lnTo>
                    <a:lnTo>
                      <a:pt x="198" y="18"/>
                    </a:lnTo>
                    <a:lnTo>
                      <a:pt x="204" y="24"/>
                    </a:lnTo>
                    <a:lnTo>
                      <a:pt x="210" y="24"/>
                    </a:lnTo>
                    <a:lnTo>
                      <a:pt x="216" y="24"/>
                    </a:lnTo>
                    <a:lnTo>
                      <a:pt x="222" y="24"/>
                    </a:lnTo>
                    <a:lnTo>
                      <a:pt x="228" y="24"/>
                    </a:lnTo>
                    <a:lnTo>
                      <a:pt x="228" y="18"/>
                    </a:lnTo>
                    <a:lnTo>
                      <a:pt x="234" y="12"/>
                    </a:lnTo>
                    <a:lnTo>
                      <a:pt x="240" y="6"/>
                    </a:lnTo>
                    <a:lnTo>
                      <a:pt x="246" y="0"/>
                    </a:lnTo>
                    <a:lnTo>
                      <a:pt x="252" y="0"/>
                    </a:lnTo>
                    <a:lnTo>
                      <a:pt x="252" y="6"/>
                    </a:lnTo>
                    <a:lnTo>
                      <a:pt x="252" y="12"/>
                    </a:lnTo>
                    <a:lnTo>
                      <a:pt x="258" y="12"/>
                    </a:lnTo>
                    <a:lnTo>
                      <a:pt x="258" y="18"/>
                    </a:lnTo>
                    <a:lnTo>
                      <a:pt x="252" y="18"/>
                    </a:lnTo>
                    <a:lnTo>
                      <a:pt x="258" y="18"/>
                    </a:lnTo>
                    <a:lnTo>
                      <a:pt x="264" y="18"/>
                    </a:lnTo>
                    <a:lnTo>
                      <a:pt x="258" y="18"/>
                    </a:lnTo>
                    <a:lnTo>
                      <a:pt x="258" y="24"/>
                    </a:lnTo>
                    <a:lnTo>
                      <a:pt x="264" y="24"/>
                    </a:lnTo>
                    <a:lnTo>
                      <a:pt x="264" y="30"/>
                    </a:lnTo>
                    <a:lnTo>
                      <a:pt x="264" y="24"/>
                    </a:lnTo>
                    <a:lnTo>
                      <a:pt x="270" y="24"/>
                    </a:lnTo>
                    <a:lnTo>
                      <a:pt x="270" y="30"/>
                    </a:lnTo>
                    <a:lnTo>
                      <a:pt x="276" y="30"/>
                    </a:lnTo>
                    <a:lnTo>
                      <a:pt x="276" y="36"/>
                    </a:lnTo>
                    <a:lnTo>
                      <a:pt x="270" y="36"/>
                    </a:lnTo>
                    <a:lnTo>
                      <a:pt x="270" y="42"/>
                    </a:lnTo>
                    <a:lnTo>
                      <a:pt x="270" y="48"/>
                    </a:lnTo>
                    <a:lnTo>
                      <a:pt x="276" y="48"/>
                    </a:lnTo>
                    <a:lnTo>
                      <a:pt x="276" y="54"/>
                    </a:lnTo>
                    <a:lnTo>
                      <a:pt x="276" y="60"/>
                    </a:lnTo>
                    <a:lnTo>
                      <a:pt x="282" y="60"/>
                    </a:lnTo>
                    <a:lnTo>
                      <a:pt x="282" y="66"/>
                    </a:lnTo>
                    <a:lnTo>
                      <a:pt x="282" y="72"/>
                    </a:lnTo>
                    <a:lnTo>
                      <a:pt x="288" y="72"/>
                    </a:lnTo>
                    <a:lnTo>
                      <a:pt x="288" y="78"/>
                    </a:lnTo>
                    <a:lnTo>
                      <a:pt x="294" y="78"/>
                    </a:lnTo>
                    <a:lnTo>
                      <a:pt x="294" y="84"/>
                    </a:lnTo>
                    <a:lnTo>
                      <a:pt x="294" y="90"/>
                    </a:lnTo>
                    <a:lnTo>
                      <a:pt x="300" y="90"/>
                    </a:lnTo>
                    <a:lnTo>
                      <a:pt x="300" y="96"/>
                    </a:lnTo>
                    <a:lnTo>
                      <a:pt x="300" y="102"/>
                    </a:lnTo>
                    <a:lnTo>
                      <a:pt x="300" y="108"/>
                    </a:lnTo>
                    <a:lnTo>
                      <a:pt x="300" y="114"/>
                    </a:lnTo>
                    <a:lnTo>
                      <a:pt x="306" y="120"/>
                    </a:lnTo>
                    <a:lnTo>
                      <a:pt x="306" y="126"/>
                    </a:lnTo>
                    <a:lnTo>
                      <a:pt x="306" y="132"/>
                    </a:lnTo>
                    <a:lnTo>
                      <a:pt x="306" y="138"/>
                    </a:lnTo>
                    <a:lnTo>
                      <a:pt x="306" y="144"/>
                    </a:lnTo>
                    <a:lnTo>
                      <a:pt x="300" y="144"/>
                    </a:lnTo>
                    <a:lnTo>
                      <a:pt x="300" y="150"/>
                    </a:lnTo>
                    <a:lnTo>
                      <a:pt x="294" y="150"/>
                    </a:lnTo>
                    <a:lnTo>
                      <a:pt x="294" y="156"/>
                    </a:lnTo>
                    <a:lnTo>
                      <a:pt x="294" y="162"/>
                    </a:lnTo>
                    <a:lnTo>
                      <a:pt x="294" y="168"/>
                    </a:lnTo>
                    <a:lnTo>
                      <a:pt x="288" y="168"/>
                    </a:lnTo>
                    <a:lnTo>
                      <a:pt x="282" y="168"/>
                    </a:lnTo>
                    <a:lnTo>
                      <a:pt x="282" y="174"/>
                    </a:lnTo>
                    <a:lnTo>
                      <a:pt x="276" y="174"/>
                    </a:lnTo>
                    <a:lnTo>
                      <a:pt x="276" y="180"/>
                    </a:lnTo>
                    <a:lnTo>
                      <a:pt x="276" y="186"/>
                    </a:lnTo>
                    <a:lnTo>
                      <a:pt x="270" y="186"/>
                    </a:lnTo>
                    <a:lnTo>
                      <a:pt x="270" y="192"/>
                    </a:lnTo>
                    <a:lnTo>
                      <a:pt x="264" y="192"/>
                    </a:lnTo>
                    <a:lnTo>
                      <a:pt x="264" y="198"/>
                    </a:lnTo>
                    <a:lnTo>
                      <a:pt x="258" y="198"/>
                    </a:lnTo>
                    <a:lnTo>
                      <a:pt x="258" y="204"/>
                    </a:lnTo>
                    <a:lnTo>
                      <a:pt x="258" y="210"/>
                    </a:lnTo>
                    <a:lnTo>
                      <a:pt x="252" y="210"/>
                    </a:lnTo>
                    <a:lnTo>
                      <a:pt x="258" y="210"/>
                    </a:lnTo>
                    <a:lnTo>
                      <a:pt x="252" y="210"/>
                    </a:lnTo>
                    <a:lnTo>
                      <a:pt x="252" y="216"/>
                    </a:lnTo>
                    <a:lnTo>
                      <a:pt x="252" y="222"/>
                    </a:lnTo>
                    <a:lnTo>
                      <a:pt x="246" y="222"/>
                    </a:lnTo>
                    <a:lnTo>
                      <a:pt x="246" y="228"/>
                    </a:lnTo>
                    <a:lnTo>
                      <a:pt x="246" y="234"/>
                    </a:lnTo>
                    <a:lnTo>
                      <a:pt x="246" y="240"/>
                    </a:lnTo>
                    <a:lnTo>
                      <a:pt x="246" y="246"/>
                    </a:lnTo>
                    <a:lnTo>
                      <a:pt x="246" y="252"/>
                    </a:lnTo>
                    <a:lnTo>
                      <a:pt x="246" y="258"/>
                    </a:lnTo>
                    <a:lnTo>
                      <a:pt x="246" y="264"/>
                    </a:lnTo>
                    <a:lnTo>
                      <a:pt x="246" y="270"/>
                    </a:lnTo>
                    <a:lnTo>
                      <a:pt x="246" y="276"/>
                    </a:lnTo>
                    <a:lnTo>
                      <a:pt x="246" y="282"/>
                    </a:lnTo>
                    <a:lnTo>
                      <a:pt x="246" y="288"/>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6" name="Freeform 34"/>
              <p:cNvSpPr>
                <a:spLocks noEditPoints="1"/>
              </p:cNvSpPr>
              <p:nvPr>
                <p:custDataLst>
                  <p:tags r:id="rId33"/>
                </p:custDataLst>
              </p:nvPr>
            </p:nvSpPr>
            <p:spPr bwMode="gray">
              <a:xfrm>
                <a:off x="4858816" y="1344869"/>
                <a:ext cx="735233" cy="896474"/>
              </a:xfrm>
              <a:custGeom>
                <a:avLst/>
                <a:gdLst>
                  <a:gd name="T0" fmla="*/ 1946 w 582"/>
                  <a:gd name="T1" fmla="*/ 255544 h 762"/>
                  <a:gd name="T2" fmla="*/ 0 w 582"/>
                  <a:gd name="T3" fmla="*/ 238120 h 762"/>
                  <a:gd name="T4" fmla="*/ 0 w 582"/>
                  <a:gd name="T5" fmla="*/ 218761 h 762"/>
                  <a:gd name="T6" fmla="*/ 0 w 582"/>
                  <a:gd name="T7" fmla="*/ 199402 h 762"/>
                  <a:gd name="T8" fmla="*/ 3893 w 582"/>
                  <a:gd name="T9" fmla="*/ 179074 h 762"/>
                  <a:gd name="T10" fmla="*/ 17519 w 582"/>
                  <a:gd name="T11" fmla="*/ 163587 h 762"/>
                  <a:gd name="T12" fmla="*/ 30172 w 582"/>
                  <a:gd name="T13" fmla="*/ 154875 h 762"/>
                  <a:gd name="T14" fmla="*/ 40879 w 582"/>
                  <a:gd name="T15" fmla="*/ 146163 h 762"/>
                  <a:gd name="T16" fmla="*/ 60345 w 582"/>
                  <a:gd name="T17" fmla="*/ 140355 h 762"/>
                  <a:gd name="T18" fmla="*/ 111930 w 582"/>
                  <a:gd name="T19" fmla="*/ 108413 h 762"/>
                  <a:gd name="T20" fmla="*/ 131395 w 582"/>
                  <a:gd name="T21" fmla="*/ 78406 h 762"/>
                  <a:gd name="T22" fmla="*/ 111930 w 582"/>
                  <a:gd name="T23" fmla="*/ 76469 h 762"/>
                  <a:gd name="T24" fmla="*/ 92464 w 582"/>
                  <a:gd name="T25" fmla="*/ 70662 h 762"/>
                  <a:gd name="T26" fmla="*/ 71051 w 582"/>
                  <a:gd name="T27" fmla="*/ 63886 h 762"/>
                  <a:gd name="T28" fmla="*/ 56452 w 582"/>
                  <a:gd name="T29" fmla="*/ 53238 h 762"/>
                  <a:gd name="T30" fmla="*/ 44772 w 582"/>
                  <a:gd name="T31" fmla="*/ 42591 h 762"/>
                  <a:gd name="T32" fmla="*/ 36985 w 582"/>
                  <a:gd name="T33" fmla="*/ 30007 h 762"/>
                  <a:gd name="T34" fmla="*/ 42826 w 582"/>
                  <a:gd name="T35" fmla="*/ 17424 h 762"/>
                  <a:gd name="T36" fmla="*/ 51585 w 582"/>
                  <a:gd name="T37" fmla="*/ 12583 h 762"/>
                  <a:gd name="T38" fmla="*/ 56452 w 582"/>
                  <a:gd name="T39" fmla="*/ 23232 h 762"/>
                  <a:gd name="T40" fmla="*/ 71051 w 582"/>
                  <a:gd name="T41" fmla="*/ 31943 h 762"/>
                  <a:gd name="T42" fmla="*/ 83704 w 582"/>
                  <a:gd name="T43" fmla="*/ 30007 h 762"/>
                  <a:gd name="T44" fmla="*/ 96357 w 582"/>
                  <a:gd name="T45" fmla="*/ 23232 h 762"/>
                  <a:gd name="T46" fmla="*/ 113876 w 582"/>
                  <a:gd name="T47" fmla="*/ 23232 h 762"/>
                  <a:gd name="T48" fmla="*/ 126529 w 582"/>
                  <a:gd name="T49" fmla="*/ 17424 h 762"/>
                  <a:gd name="T50" fmla="*/ 144049 w 582"/>
                  <a:gd name="T51" fmla="*/ 14520 h 762"/>
                  <a:gd name="T52" fmla="*/ 158648 w 582"/>
                  <a:gd name="T53" fmla="*/ 14520 h 762"/>
                  <a:gd name="T54" fmla="*/ 176168 w 582"/>
                  <a:gd name="T55" fmla="*/ 10648 h 762"/>
                  <a:gd name="T56" fmla="*/ 188821 w 582"/>
                  <a:gd name="T57" fmla="*/ 3872 h 762"/>
                  <a:gd name="T58" fmla="*/ 199527 w 582"/>
                  <a:gd name="T59" fmla="*/ 1936 h 762"/>
                  <a:gd name="T60" fmla="*/ 201474 w 582"/>
                  <a:gd name="T61" fmla="*/ 10648 h 762"/>
                  <a:gd name="T62" fmla="*/ 204394 w 582"/>
                  <a:gd name="T63" fmla="*/ 26135 h 762"/>
                  <a:gd name="T64" fmla="*/ 204394 w 582"/>
                  <a:gd name="T65" fmla="*/ 30007 h 762"/>
                  <a:gd name="T66" fmla="*/ 199527 w 582"/>
                  <a:gd name="T67" fmla="*/ 31943 h 762"/>
                  <a:gd name="T68" fmla="*/ 195633 w 582"/>
                  <a:gd name="T69" fmla="*/ 48399 h 762"/>
                  <a:gd name="T70" fmla="*/ 191740 w 582"/>
                  <a:gd name="T71" fmla="*/ 60014 h 762"/>
                  <a:gd name="T72" fmla="*/ 184928 w 582"/>
                  <a:gd name="T73" fmla="*/ 71630 h 762"/>
                  <a:gd name="T74" fmla="*/ 178114 w 582"/>
                  <a:gd name="T75" fmla="*/ 80341 h 762"/>
                  <a:gd name="T76" fmla="*/ 172275 w 582"/>
                  <a:gd name="T77" fmla="*/ 95829 h 762"/>
                  <a:gd name="T78" fmla="*/ 163514 w 582"/>
                  <a:gd name="T79" fmla="*/ 106477 h 762"/>
                  <a:gd name="T80" fmla="*/ 158648 w 582"/>
                  <a:gd name="T81" fmla="*/ 120996 h 762"/>
                  <a:gd name="T82" fmla="*/ 147942 w 582"/>
                  <a:gd name="T83" fmla="*/ 135516 h 762"/>
                  <a:gd name="T84" fmla="*/ 140156 w 582"/>
                  <a:gd name="T85" fmla="*/ 151004 h 762"/>
                  <a:gd name="T86" fmla="*/ 128476 w 582"/>
                  <a:gd name="T87" fmla="*/ 161651 h 762"/>
                  <a:gd name="T88" fmla="*/ 113876 w 582"/>
                  <a:gd name="T89" fmla="*/ 176170 h 762"/>
                  <a:gd name="T90" fmla="*/ 105117 w 582"/>
                  <a:gd name="T91" fmla="*/ 186818 h 762"/>
                  <a:gd name="T92" fmla="*/ 92464 w 582"/>
                  <a:gd name="T93" fmla="*/ 195529 h 762"/>
                  <a:gd name="T94" fmla="*/ 79811 w 582"/>
                  <a:gd name="T95" fmla="*/ 202305 h 762"/>
                  <a:gd name="T96" fmla="*/ 67158 w 582"/>
                  <a:gd name="T97" fmla="*/ 210049 h 762"/>
                  <a:gd name="T98" fmla="*/ 56452 w 582"/>
                  <a:gd name="T99" fmla="*/ 218761 h 762"/>
                  <a:gd name="T100" fmla="*/ 44772 w 582"/>
                  <a:gd name="T101" fmla="*/ 229408 h 762"/>
                  <a:gd name="T102" fmla="*/ 32119 w 582"/>
                  <a:gd name="T103" fmla="*/ 241992 h 762"/>
                  <a:gd name="T104" fmla="*/ 23359 w 582"/>
                  <a:gd name="T105" fmla="*/ 255544 h 762"/>
                  <a:gd name="T106" fmla="*/ 19466 w 582"/>
                  <a:gd name="T107" fmla="*/ 257480 h 762"/>
                  <a:gd name="T108" fmla="*/ 17519 w 582"/>
                  <a:gd name="T109" fmla="*/ 261352 h 762"/>
                  <a:gd name="T110" fmla="*/ 23359 w 582"/>
                  <a:gd name="T111" fmla="*/ 252640 h 762"/>
                  <a:gd name="T112" fmla="*/ 26279 w 582"/>
                  <a:gd name="T113" fmla="*/ 250704 h 762"/>
                  <a:gd name="T114" fmla="*/ 32119 w 582"/>
                  <a:gd name="T115" fmla="*/ 246832 h 76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82" h="762">
                    <a:moveTo>
                      <a:pt x="36" y="762"/>
                    </a:moveTo>
                    <a:lnTo>
                      <a:pt x="30" y="756"/>
                    </a:lnTo>
                    <a:lnTo>
                      <a:pt x="30" y="750"/>
                    </a:lnTo>
                    <a:lnTo>
                      <a:pt x="24" y="750"/>
                    </a:lnTo>
                    <a:lnTo>
                      <a:pt x="24" y="744"/>
                    </a:lnTo>
                    <a:lnTo>
                      <a:pt x="18" y="738"/>
                    </a:lnTo>
                    <a:lnTo>
                      <a:pt x="12" y="732"/>
                    </a:lnTo>
                    <a:lnTo>
                      <a:pt x="6" y="726"/>
                    </a:lnTo>
                    <a:lnTo>
                      <a:pt x="6" y="720"/>
                    </a:lnTo>
                    <a:lnTo>
                      <a:pt x="0" y="720"/>
                    </a:lnTo>
                    <a:lnTo>
                      <a:pt x="0" y="714"/>
                    </a:lnTo>
                    <a:lnTo>
                      <a:pt x="0" y="708"/>
                    </a:lnTo>
                    <a:lnTo>
                      <a:pt x="0" y="702"/>
                    </a:lnTo>
                    <a:lnTo>
                      <a:pt x="0" y="696"/>
                    </a:lnTo>
                    <a:lnTo>
                      <a:pt x="0" y="690"/>
                    </a:lnTo>
                    <a:lnTo>
                      <a:pt x="0" y="684"/>
                    </a:lnTo>
                    <a:lnTo>
                      <a:pt x="0" y="678"/>
                    </a:lnTo>
                    <a:lnTo>
                      <a:pt x="0" y="672"/>
                    </a:lnTo>
                    <a:lnTo>
                      <a:pt x="0" y="666"/>
                    </a:lnTo>
                    <a:lnTo>
                      <a:pt x="0" y="660"/>
                    </a:lnTo>
                    <a:lnTo>
                      <a:pt x="0" y="654"/>
                    </a:lnTo>
                    <a:lnTo>
                      <a:pt x="0" y="648"/>
                    </a:lnTo>
                    <a:lnTo>
                      <a:pt x="0" y="642"/>
                    </a:lnTo>
                    <a:lnTo>
                      <a:pt x="0" y="636"/>
                    </a:lnTo>
                    <a:lnTo>
                      <a:pt x="0" y="630"/>
                    </a:lnTo>
                    <a:lnTo>
                      <a:pt x="0" y="624"/>
                    </a:lnTo>
                    <a:lnTo>
                      <a:pt x="0" y="618"/>
                    </a:lnTo>
                    <a:lnTo>
                      <a:pt x="0" y="612"/>
                    </a:lnTo>
                    <a:lnTo>
                      <a:pt x="0" y="606"/>
                    </a:lnTo>
                    <a:lnTo>
                      <a:pt x="0" y="600"/>
                    </a:lnTo>
                    <a:lnTo>
                      <a:pt x="0" y="594"/>
                    </a:lnTo>
                    <a:lnTo>
                      <a:pt x="0" y="588"/>
                    </a:lnTo>
                    <a:lnTo>
                      <a:pt x="0" y="582"/>
                    </a:lnTo>
                    <a:lnTo>
                      <a:pt x="0" y="576"/>
                    </a:lnTo>
                    <a:lnTo>
                      <a:pt x="0" y="570"/>
                    </a:lnTo>
                    <a:lnTo>
                      <a:pt x="0" y="564"/>
                    </a:lnTo>
                    <a:lnTo>
                      <a:pt x="0" y="558"/>
                    </a:lnTo>
                    <a:lnTo>
                      <a:pt x="0" y="552"/>
                    </a:lnTo>
                    <a:lnTo>
                      <a:pt x="0" y="546"/>
                    </a:lnTo>
                    <a:lnTo>
                      <a:pt x="0" y="540"/>
                    </a:lnTo>
                    <a:lnTo>
                      <a:pt x="0" y="528"/>
                    </a:lnTo>
                    <a:lnTo>
                      <a:pt x="0" y="522"/>
                    </a:lnTo>
                    <a:lnTo>
                      <a:pt x="0" y="516"/>
                    </a:lnTo>
                    <a:lnTo>
                      <a:pt x="6" y="510"/>
                    </a:lnTo>
                    <a:lnTo>
                      <a:pt x="12" y="504"/>
                    </a:lnTo>
                    <a:lnTo>
                      <a:pt x="18" y="498"/>
                    </a:lnTo>
                    <a:lnTo>
                      <a:pt x="24" y="498"/>
                    </a:lnTo>
                    <a:lnTo>
                      <a:pt x="24" y="492"/>
                    </a:lnTo>
                    <a:lnTo>
                      <a:pt x="30" y="486"/>
                    </a:lnTo>
                    <a:lnTo>
                      <a:pt x="30" y="480"/>
                    </a:lnTo>
                    <a:lnTo>
                      <a:pt x="36" y="474"/>
                    </a:lnTo>
                    <a:lnTo>
                      <a:pt x="42" y="468"/>
                    </a:lnTo>
                    <a:lnTo>
                      <a:pt x="42" y="462"/>
                    </a:lnTo>
                    <a:lnTo>
                      <a:pt x="48" y="462"/>
                    </a:lnTo>
                    <a:lnTo>
                      <a:pt x="48" y="456"/>
                    </a:lnTo>
                    <a:lnTo>
                      <a:pt x="54" y="450"/>
                    </a:lnTo>
                    <a:lnTo>
                      <a:pt x="54" y="444"/>
                    </a:lnTo>
                    <a:lnTo>
                      <a:pt x="60" y="444"/>
                    </a:lnTo>
                    <a:lnTo>
                      <a:pt x="60" y="438"/>
                    </a:lnTo>
                    <a:lnTo>
                      <a:pt x="66" y="438"/>
                    </a:lnTo>
                    <a:lnTo>
                      <a:pt x="72" y="438"/>
                    </a:lnTo>
                    <a:lnTo>
                      <a:pt x="78" y="438"/>
                    </a:lnTo>
                    <a:lnTo>
                      <a:pt x="84" y="438"/>
                    </a:lnTo>
                    <a:lnTo>
                      <a:pt x="90" y="438"/>
                    </a:lnTo>
                    <a:lnTo>
                      <a:pt x="96" y="438"/>
                    </a:lnTo>
                    <a:lnTo>
                      <a:pt x="96" y="432"/>
                    </a:lnTo>
                    <a:lnTo>
                      <a:pt x="102" y="432"/>
                    </a:lnTo>
                    <a:lnTo>
                      <a:pt x="108" y="432"/>
                    </a:lnTo>
                    <a:lnTo>
                      <a:pt x="108" y="426"/>
                    </a:lnTo>
                    <a:lnTo>
                      <a:pt x="114" y="426"/>
                    </a:lnTo>
                    <a:lnTo>
                      <a:pt x="114" y="420"/>
                    </a:lnTo>
                    <a:lnTo>
                      <a:pt x="114" y="414"/>
                    </a:lnTo>
                    <a:lnTo>
                      <a:pt x="120" y="414"/>
                    </a:lnTo>
                    <a:lnTo>
                      <a:pt x="126" y="414"/>
                    </a:lnTo>
                    <a:lnTo>
                      <a:pt x="126" y="408"/>
                    </a:lnTo>
                    <a:lnTo>
                      <a:pt x="132" y="408"/>
                    </a:lnTo>
                    <a:lnTo>
                      <a:pt x="138" y="402"/>
                    </a:lnTo>
                    <a:lnTo>
                      <a:pt x="144" y="402"/>
                    </a:lnTo>
                    <a:lnTo>
                      <a:pt x="150" y="402"/>
                    </a:lnTo>
                    <a:lnTo>
                      <a:pt x="162" y="396"/>
                    </a:lnTo>
                    <a:lnTo>
                      <a:pt x="168" y="396"/>
                    </a:lnTo>
                    <a:lnTo>
                      <a:pt x="174" y="396"/>
                    </a:lnTo>
                    <a:lnTo>
                      <a:pt x="186" y="396"/>
                    </a:lnTo>
                    <a:lnTo>
                      <a:pt x="204" y="396"/>
                    </a:lnTo>
                    <a:lnTo>
                      <a:pt x="222" y="396"/>
                    </a:lnTo>
                    <a:lnTo>
                      <a:pt x="228" y="396"/>
                    </a:lnTo>
                    <a:lnTo>
                      <a:pt x="228" y="390"/>
                    </a:lnTo>
                    <a:lnTo>
                      <a:pt x="258" y="366"/>
                    </a:lnTo>
                    <a:lnTo>
                      <a:pt x="306" y="312"/>
                    </a:lnTo>
                    <a:lnTo>
                      <a:pt x="312" y="306"/>
                    </a:lnTo>
                    <a:lnTo>
                      <a:pt x="324" y="294"/>
                    </a:lnTo>
                    <a:lnTo>
                      <a:pt x="330" y="288"/>
                    </a:lnTo>
                    <a:lnTo>
                      <a:pt x="354" y="264"/>
                    </a:lnTo>
                    <a:lnTo>
                      <a:pt x="366" y="252"/>
                    </a:lnTo>
                    <a:lnTo>
                      <a:pt x="390" y="222"/>
                    </a:lnTo>
                    <a:lnTo>
                      <a:pt x="384" y="222"/>
                    </a:lnTo>
                    <a:lnTo>
                      <a:pt x="378" y="222"/>
                    </a:lnTo>
                    <a:lnTo>
                      <a:pt x="372" y="222"/>
                    </a:lnTo>
                    <a:lnTo>
                      <a:pt x="366" y="222"/>
                    </a:lnTo>
                    <a:lnTo>
                      <a:pt x="360" y="222"/>
                    </a:lnTo>
                    <a:lnTo>
                      <a:pt x="354" y="222"/>
                    </a:lnTo>
                    <a:lnTo>
                      <a:pt x="348" y="222"/>
                    </a:lnTo>
                    <a:lnTo>
                      <a:pt x="342" y="222"/>
                    </a:lnTo>
                    <a:lnTo>
                      <a:pt x="336" y="222"/>
                    </a:lnTo>
                    <a:lnTo>
                      <a:pt x="330" y="222"/>
                    </a:lnTo>
                    <a:lnTo>
                      <a:pt x="324" y="222"/>
                    </a:lnTo>
                    <a:lnTo>
                      <a:pt x="318" y="216"/>
                    </a:lnTo>
                    <a:lnTo>
                      <a:pt x="312" y="216"/>
                    </a:lnTo>
                    <a:lnTo>
                      <a:pt x="306" y="216"/>
                    </a:lnTo>
                    <a:lnTo>
                      <a:pt x="300" y="210"/>
                    </a:lnTo>
                    <a:lnTo>
                      <a:pt x="294" y="210"/>
                    </a:lnTo>
                    <a:lnTo>
                      <a:pt x="288" y="210"/>
                    </a:lnTo>
                    <a:lnTo>
                      <a:pt x="282" y="204"/>
                    </a:lnTo>
                    <a:lnTo>
                      <a:pt x="276" y="204"/>
                    </a:lnTo>
                    <a:lnTo>
                      <a:pt x="270" y="204"/>
                    </a:lnTo>
                    <a:lnTo>
                      <a:pt x="264" y="198"/>
                    </a:lnTo>
                    <a:lnTo>
                      <a:pt x="258" y="198"/>
                    </a:lnTo>
                    <a:lnTo>
                      <a:pt x="252" y="198"/>
                    </a:lnTo>
                    <a:lnTo>
                      <a:pt x="240" y="192"/>
                    </a:lnTo>
                    <a:lnTo>
                      <a:pt x="234" y="192"/>
                    </a:lnTo>
                    <a:lnTo>
                      <a:pt x="228" y="186"/>
                    </a:lnTo>
                    <a:lnTo>
                      <a:pt x="222" y="186"/>
                    </a:lnTo>
                    <a:lnTo>
                      <a:pt x="216" y="186"/>
                    </a:lnTo>
                    <a:lnTo>
                      <a:pt x="210" y="180"/>
                    </a:lnTo>
                    <a:lnTo>
                      <a:pt x="204" y="180"/>
                    </a:lnTo>
                    <a:lnTo>
                      <a:pt x="198" y="180"/>
                    </a:lnTo>
                    <a:lnTo>
                      <a:pt x="192" y="174"/>
                    </a:lnTo>
                    <a:lnTo>
                      <a:pt x="186" y="174"/>
                    </a:lnTo>
                    <a:lnTo>
                      <a:pt x="180" y="174"/>
                    </a:lnTo>
                    <a:lnTo>
                      <a:pt x="174" y="168"/>
                    </a:lnTo>
                    <a:lnTo>
                      <a:pt x="168" y="168"/>
                    </a:lnTo>
                    <a:lnTo>
                      <a:pt x="162" y="162"/>
                    </a:lnTo>
                    <a:lnTo>
                      <a:pt x="162" y="156"/>
                    </a:lnTo>
                    <a:lnTo>
                      <a:pt x="156" y="156"/>
                    </a:lnTo>
                    <a:lnTo>
                      <a:pt x="156" y="150"/>
                    </a:lnTo>
                    <a:lnTo>
                      <a:pt x="150" y="150"/>
                    </a:lnTo>
                    <a:lnTo>
                      <a:pt x="144" y="150"/>
                    </a:lnTo>
                    <a:lnTo>
                      <a:pt x="144" y="144"/>
                    </a:lnTo>
                    <a:lnTo>
                      <a:pt x="138" y="144"/>
                    </a:lnTo>
                    <a:lnTo>
                      <a:pt x="138" y="138"/>
                    </a:lnTo>
                    <a:lnTo>
                      <a:pt x="132" y="138"/>
                    </a:lnTo>
                    <a:lnTo>
                      <a:pt x="132" y="132"/>
                    </a:lnTo>
                    <a:lnTo>
                      <a:pt x="132" y="126"/>
                    </a:lnTo>
                    <a:lnTo>
                      <a:pt x="126" y="120"/>
                    </a:lnTo>
                    <a:lnTo>
                      <a:pt x="120" y="120"/>
                    </a:lnTo>
                    <a:lnTo>
                      <a:pt x="120" y="114"/>
                    </a:lnTo>
                    <a:lnTo>
                      <a:pt x="114" y="114"/>
                    </a:lnTo>
                    <a:lnTo>
                      <a:pt x="114" y="108"/>
                    </a:lnTo>
                    <a:lnTo>
                      <a:pt x="108" y="102"/>
                    </a:lnTo>
                    <a:lnTo>
                      <a:pt x="108" y="96"/>
                    </a:lnTo>
                    <a:lnTo>
                      <a:pt x="102" y="96"/>
                    </a:lnTo>
                    <a:lnTo>
                      <a:pt x="102" y="90"/>
                    </a:lnTo>
                    <a:lnTo>
                      <a:pt x="102" y="84"/>
                    </a:lnTo>
                    <a:lnTo>
                      <a:pt x="96" y="84"/>
                    </a:lnTo>
                    <a:lnTo>
                      <a:pt x="96" y="78"/>
                    </a:lnTo>
                    <a:lnTo>
                      <a:pt x="102" y="72"/>
                    </a:lnTo>
                    <a:lnTo>
                      <a:pt x="102" y="66"/>
                    </a:lnTo>
                    <a:lnTo>
                      <a:pt x="108" y="66"/>
                    </a:lnTo>
                    <a:lnTo>
                      <a:pt x="108" y="60"/>
                    </a:lnTo>
                    <a:lnTo>
                      <a:pt x="114" y="54"/>
                    </a:lnTo>
                    <a:lnTo>
                      <a:pt x="114" y="48"/>
                    </a:lnTo>
                    <a:lnTo>
                      <a:pt x="120" y="48"/>
                    </a:lnTo>
                    <a:lnTo>
                      <a:pt x="120" y="42"/>
                    </a:lnTo>
                    <a:lnTo>
                      <a:pt x="120" y="36"/>
                    </a:lnTo>
                    <a:lnTo>
                      <a:pt x="126" y="36"/>
                    </a:lnTo>
                    <a:lnTo>
                      <a:pt x="126" y="30"/>
                    </a:lnTo>
                    <a:lnTo>
                      <a:pt x="132" y="30"/>
                    </a:lnTo>
                    <a:lnTo>
                      <a:pt x="138" y="36"/>
                    </a:lnTo>
                    <a:lnTo>
                      <a:pt x="144" y="36"/>
                    </a:lnTo>
                    <a:lnTo>
                      <a:pt x="138" y="36"/>
                    </a:lnTo>
                    <a:lnTo>
                      <a:pt x="144" y="36"/>
                    </a:lnTo>
                    <a:lnTo>
                      <a:pt x="144" y="42"/>
                    </a:lnTo>
                    <a:lnTo>
                      <a:pt x="144" y="48"/>
                    </a:lnTo>
                    <a:lnTo>
                      <a:pt x="144" y="42"/>
                    </a:lnTo>
                    <a:lnTo>
                      <a:pt x="144" y="48"/>
                    </a:lnTo>
                    <a:lnTo>
                      <a:pt x="150" y="48"/>
                    </a:lnTo>
                    <a:lnTo>
                      <a:pt x="150" y="54"/>
                    </a:lnTo>
                    <a:lnTo>
                      <a:pt x="150" y="60"/>
                    </a:lnTo>
                    <a:lnTo>
                      <a:pt x="156" y="60"/>
                    </a:lnTo>
                    <a:lnTo>
                      <a:pt x="156" y="66"/>
                    </a:lnTo>
                    <a:lnTo>
                      <a:pt x="162" y="66"/>
                    </a:lnTo>
                    <a:lnTo>
                      <a:pt x="168" y="72"/>
                    </a:lnTo>
                    <a:lnTo>
                      <a:pt x="174" y="78"/>
                    </a:lnTo>
                    <a:lnTo>
                      <a:pt x="180" y="78"/>
                    </a:lnTo>
                    <a:lnTo>
                      <a:pt x="180" y="84"/>
                    </a:lnTo>
                    <a:lnTo>
                      <a:pt x="186" y="84"/>
                    </a:lnTo>
                    <a:lnTo>
                      <a:pt x="186" y="90"/>
                    </a:lnTo>
                    <a:lnTo>
                      <a:pt x="192" y="90"/>
                    </a:lnTo>
                    <a:lnTo>
                      <a:pt x="198" y="90"/>
                    </a:lnTo>
                    <a:lnTo>
                      <a:pt x="204" y="90"/>
                    </a:lnTo>
                    <a:lnTo>
                      <a:pt x="210" y="90"/>
                    </a:lnTo>
                    <a:lnTo>
                      <a:pt x="216" y="90"/>
                    </a:lnTo>
                    <a:lnTo>
                      <a:pt x="222" y="90"/>
                    </a:lnTo>
                    <a:lnTo>
                      <a:pt x="228" y="90"/>
                    </a:lnTo>
                    <a:lnTo>
                      <a:pt x="228" y="84"/>
                    </a:lnTo>
                    <a:lnTo>
                      <a:pt x="222" y="84"/>
                    </a:lnTo>
                    <a:lnTo>
                      <a:pt x="228" y="84"/>
                    </a:lnTo>
                    <a:lnTo>
                      <a:pt x="234" y="84"/>
                    </a:lnTo>
                    <a:lnTo>
                      <a:pt x="240" y="78"/>
                    </a:lnTo>
                    <a:lnTo>
                      <a:pt x="246" y="72"/>
                    </a:lnTo>
                    <a:lnTo>
                      <a:pt x="252" y="72"/>
                    </a:lnTo>
                    <a:lnTo>
                      <a:pt x="258" y="72"/>
                    </a:lnTo>
                    <a:lnTo>
                      <a:pt x="258" y="66"/>
                    </a:lnTo>
                    <a:lnTo>
                      <a:pt x="264" y="66"/>
                    </a:lnTo>
                    <a:lnTo>
                      <a:pt x="270" y="66"/>
                    </a:lnTo>
                    <a:lnTo>
                      <a:pt x="270" y="60"/>
                    </a:lnTo>
                    <a:lnTo>
                      <a:pt x="270" y="66"/>
                    </a:lnTo>
                    <a:lnTo>
                      <a:pt x="276" y="66"/>
                    </a:lnTo>
                    <a:lnTo>
                      <a:pt x="282" y="66"/>
                    </a:lnTo>
                    <a:lnTo>
                      <a:pt x="288" y="66"/>
                    </a:lnTo>
                    <a:lnTo>
                      <a:pt x="294" y="66"/>
                    </a:lnTo>
                    <a:lnTo>
                      <a:pt x="300" y="72"/>
                    </a:lnTo>
                    <a:lnTo>
                      <a:pt x="306" y="72"/>
                    </a:lnTo>
                    <a:lnTo>
                      <a:pt x="312" y="72"/>
                    </a:lnTo>
                    <a:lnTo>
                      <a:pt x="318" y="72"/>
                    </a:lnTo>
                    <a:lnTo>
                      <a:pt x="318" y="66"/>
                    </a:lnTo>
                    <a:lnTo>
                      <a:pt x="324" y="66"/>
                    </a:lnTo>
                    <a:lnTo>
                      <a:pt x="330" y="66"/>
                    </a:lnTo>
                    <a:lnTo>
                      <a:pt x="330" y="60"/>
                    </a:lnTo>
                    <a:lnTo>
                      <a:pt x="336" y="60"/>
                    </a:lnTo>
                    <a:lnTo>
                      <a:pt x="342" y="60"/>
                    </a:lnTo>
                    <a:lnTo>
                      <a:pt x="342" y="54"/>
                    </a:lnTo>
                    <a:lnTo>
                      <a:pt x="348" y="54"/>
                    </a:lnTo>
                    <a:lnTo>
                      <a:pt x="348" y="48"/>
                    </a:lnTo>
                    <a:lnTo>
                      <a:pt x="354" y="48"/>
                    </a:lnTo>
                    <a:lnTo>
                      <a:pt x="360" y="48"/>
                    </a:lnTo>
                    <a:lnTo>
                      <a:pt x="366" y="48"/>
                    </a:lnTo>
                    <a:lnTo>
                      <a:pt x="372" y="48"/>
                    </a:lnTo>
                    <a:lnTo>
                      <a:pt x="378" y="48"/>
                    </a:lnTo>
                    <a:lnTo>
                      <a:pt x="384" y="48"/>
                    </a:lnTo>
                    <a:lnTo>
                      <a:pt x="390" y="48"/>
                    </a:lnTo>
                    <a:lnTo>
                      <a:pt x="396" y="48"/>
                    </a:lnTo>
                    <a:lnTo>
                      <a:pt x="402" y="48"/>
                    </a:lnTo>
                    <a:lnTo>
                      <a:pt x="402" y="42"/>
                    </a:lnTo>
                    <a:lnTo>
                      <a:pt x="408" y="42"/>
                    </a:lnTo>
                    <a:lnTo>
                      <a:pt x="414" y="42"/>
                    </a:lnTo>
                    <a:lnTo>
                      <a:pt x="420" y="42"/>
                    </a:lnTo>
                    <a:lnTo>
                      <a:pt x="420" y="36"/>
                    </a:lnTo>
                    <a:lnTo>
                      <a:pt x="426" y="36"/>
                    </a:lnTo>
                    <a:lnTo>
                      <a:pt x="432" y="36"/>
                    </a:lnTo>
                    <a:lnTo>
                      <a:pt x="438" y="36"/>
                    </a:lnTo>
                    <a:lnTo>
                      <a:pt x="438" y="42"/>
                    </a:lnTo>
                    <a:lnTo>
                      <a:pt x="444" y="42"/>
                    </a:lnTo>
                    <a:lnTo>
                      <a:pt x="450" y="42"/>
                    </a:lnTo>
                    <a:lnTo>
                      <a:pt x="456" y="42"/>
                    </a:lnTo>
                    <a:lnTo>
                      <a:pt x="456" y="36"/>
                    </a:lnTo>
                    <a:lnTo>
                      <a:pt x="462" y="36"/>
                    </a:lnTo>
                    <a:lnTo>
                      <a:pt x="468" y="36"/>
                    </a:lnTo>
                    <a:lnTo>
                      <a:pt x="474" y="36"/>
                    </a:lnTo>
                    <a:lnTo>
                      <a:pt x="480" y="30"/>
                    </a:lnTo>
                    <a:lnTo>
                      <a:pt x="486" y="30"/>
                    </a:lnTo>
                    <a:lnTo>
                      <a:pt x="492" y="30"/>
                    </a:lnTo>
                    <a:lnTo>
                      <a:pt x="498" y="30"/>
                    </a:lnTo>
                    <a:lnTo>
                      <a:pt x="498" y="24"/>
                    </a:lnTo>
                    <a:lnTo>
                      <a:pt x="504" y="24"/>
                    </a:lnTo>
                    <a:lnTo>
                      <a:pt x="510" y="24"/>
                    </a:lnTo>
                    <a:lnTo>
                      <a:pt x="516" y="24"/>
                    </a:lnTo>
                    <a:lnTo>
                      <a:pt x="522" y="24"/>
                    </a:lnTo>
                    <a:lnTo>
                      <a:pt x="522" y="18"/>
                    </a:lnTo>
                    <a:lnTo>
                      <a:pt x="528" y="18"/>
                    </a:lnTo>
                    <a:lnTo>
                      <a:pt x="528" y="12"/>
                    </a:lnTo>
                    <a:lnTo>
                      <a:pt x="534" y="12"/>
                    </a:lnTo>
                    <a:lnTo>
                      <a:pt x="534" y="6"/>
                    </a:lnTo>
                    <a:lnTo>
                      <a:pt x="534" y="12"/>
                    </a:lnTo>
                    <a:lnTo>
                      <a:pt x="534" y="6"/>
                    </a:lnTo>
                    <a:lnTo>
                      <a:pt x="540" y="0"/>
                    </a:lnTo>
                    <a:lnTo>
                      <a:pt x="546" y="0"/>
                    </a:lnTo>
                    <a:lnTo>
                      <a:pt x="552" y="0"/>
                    </a:lnTo>
                    <a:lnTo>
                      <a:pt x="558" y="0"/>
                    </a:lnTo>
                    <a:lnTo>
                      <a:pt x="558" y="6"/>
                    </a:lnTo>
                    <a:lnTo>
                      <a:pt x="564" y="6"/>
                    </a:lnTo>
                    <a:lnTo>
                      <a:pt x="570" y="6"/>
                    </a:lnTo>
                    <a:lnTo>
                      <a:pt x="576" y="6"/>
                    </a:lnTo>
                    <a:lnTo>
                      <a:pt x="576" y="12"/>
                    </a:lnTo>
                    <a:lnTo>
                      <a:pt x="576" y="18"/>
                    </a:lnTo>
                    <a:lnTo>
                      <a:pt x="570" y="18"/>
                    </a:lnTo>
                    <a:lnTo>
                      <a:pt x="570" y="24"/>
                    </a:lnTo>
                    <a:lnTo>
                      <a:pt x="564" y="24"/>
                    </a:lnTo>
                    <a:lnTo>
                      <a:pt x="564" y="30"/>
                    </a:lnTo>
                    <a:lnTo>
                      <a:pt x="564" y="36"/>
                    </a:lnTo>
                    <a:lnTo>
                      <a:pt x="564" y="42"/>
                    </a:lnTo>
                    <a:lnTo>
                      <a:pt x="564" y="48"/>
                    </a:lnTo>
                    <a:lnTo>
                      <a:pt x="570" y="48"/>
                    </a:lnTo>
                    <a:lnTo>
                      <a:pt x="564" y="54"/>
                    </a:lnTo>
                    <a:lnTo>
                      <a:pt x="564" y="60"/>
                    </a:lnTo>
                    <a:lnTo>
                      <a:pt x="564" y="66"/>
                    </a:lnTo>
                    <a:lnTo>
                      <a:pt x="564" y="72"/>
                    </a:lnTo>
                    <a:lnTo>
                      <a:pt x="570" y="72"/>
                    </a:lnTo>
                    <a:lnTo>
                      <a:pt x="570" y="78"/>
                    </a:lnTo>
                    <a:lnTo>
                      <a:pt x="564" y="78"/>
                    </a:lnTo>
                    <a:lnTo>
                      <a:pt x="564" y="84"/>
                    </a:lnTo>
                    <a:lnTo>
                      <a:pt x="558" y="84"/>
                    </a:lnTo>
                    <a:lnTo>
                      <a:pt x="564" y="90"/>
                    </a:lnTo>
                    <a:lnTo>
                      <a:pt x="558" y="90"/>
                    </a:lnTo>
                    <a:lnTo>
                      <a:pt x="564" y="90"/>
                    </a:lnTo>
                    <a:lnTo>
                      <a:pt x="570" y="90"/>
                    </a:lnTo>
                    <a:lnTo>
                      <a:pt x="570" y="84"/>
                    </a:lnTo>
                    <a:lnTo>
                      <a:pt x="570" y="78"/>
                    </a:lnTo>
                    <a:lnTo>
                      <a:pt x="570" y="84"/>
                    </a:lnTo>
                    <a:lnTo>
                      <a:pt x="576" y="84"/>
                    </a:lnTo>
                    <a:lnTo>
                      <a:pt x="582" y="84"/>
                    </a:lnTo>
                    <a:lnTo>
                      <a:pt x="582" y="90"/>
                    </a:lnTo>
                    <a:lnTo>
                      <a:pt x="576" y="90"/>
                    </a:lnTo>
                    <a:lnTo>
                      <a:pt x="570" y="90"/>
                    </a:lnTo>
                    <a:lnTo>
                      <a:pt x="564" y="90"/>
                    </a:lnTo>
                    <a:lnTo>
                      <a:pt x="558" y="90"/>
                    </a:lnTo>
                    <a:lnTo>
                      <a:pt x="552" y="96"/>
                    </a:lnTo>
                    <a:lnTo>
                      <a:pt x="552" y="102"/>
                    </a:lnTo>
                    <a:lnTo>
                      <a:pt x="552" y="108"/>
                    </a:lnTo>
                    <a:lnTo>
                      <a:pt x="552" y="114"/>
                    </a:lnTo>
                    <a:lnTo>
                      <a:pt x="552" y="120"/>
                    </a:lnTo>
                    <a:lnTo>
                      <a:pt x="552" y="126"/>
                    </a:lnTo>
                    <a:lnTo>
                      <a:pt x="552" y="132"/>
                    </a:lnTo>
                    <a:lnTo>
                      <a:pt x="546" y="132"/>
                    </a:lnTo>
                    <a:lnTo>
                      <a:pt x="546" y="138"/>
                    </a:lnTo>
                    <a:lnTo>
                      <a:pt x="552" y="138"/>
                    </a:lnTo>
                    <a:lnTo>
                      <a:pt x="552" y="144"/>
                    </a:lnTo>
                    <a:lnTo>
                      <a:pt x="546" y="144"/>
                    </a:lnTo>
                    <a:lnTo>
                      <a:pt x="546" y="150"/>
                    </a:lnTo>
                    <a:lnTo>
                      <a:pt x="546" y="156"/>
                    </a:lnTo>
                    <a:lnTo>
                      <a:pt x="540" y="156"/>
                    </a:lnTo>
                    <a:lnTo>
                      <a:pt x="540" y="162"/>
                    </a:lnTo>
                    <a:lnTo>
                      <a:pt x="540" y="168"/>
                    </a:lnTo>
                    <a:lnTo>
                      <a:pt x="534" y="168"/>
                    </a:lnTo>
                    <a:lnTo>
                      <a:pt x="534" y="174"/>
                    </a:lnTo>
                    <a:lnTo>
                      <a:pt x="528" y="174"/>
                    </a:lnTo>
                    <a:lnTo>
                      <a:pt x="528" y="180"/>
                    </a:lnTo>
                    <a:lnTo>
                      <a:pt x="528" y="186"/>
                    </a:lnTo>
                    <a:lnTo>
                      <a:pt x="522" y="186"/>
                    </a:lnTo>
                    <a:lnTo>
                      <a:pt x="522" y="192"/>
                    </a:lnTo>
                    <a:lnTo>
                      <a:pt x="522" y="198"/>
                    </a:lnTo>
                    <a:lnTo>
                      <a:pt x="516" y="198"/>
                    </a:lnTo>
                    <a:lnTo>
                      <a:pt x="516" y="204"/>
                    </a:lnTo>
                    <a:lnTo>
                      <a:pt x="510" y="204"/>
                    </a:lnTo>
                    <a:lnTo>
                      <a:pt x="510" y="210"/>
                    </a:lnTo>
                    <a:lnTo>
                      <a:pt x="510" y="216"/>
                    </a:lnTo>
                    <a:lnTo>
                      <a:pt x="504" y="216"/>
                    </a:lnTo>
                    <a:lnTo>
                      <a:pt x="504" y="222"/>
                    </a:lnTo>
                    <a:lnTo>
                      <a:pt x="498" y="222"/>
                    </a:lnTo>
                    <a:lnTo>
                      <a:pt x="498" y="228"/>
                    </a:lnTo>
                    <a:lnTo>
                      <a:pt x="492" y="228"/>
                    </a:lnTo>
                    <a:lnTo>
                      <a:pt x="498" y="228"/>
                    </a:lnTo>
                    <a:lnTo>
                      <a:pt x="492" y="228"/>
                    </a:lnTo>
                    <a:lnTo>
                      <a:pt x="492" y="234"/>
                    </a:lnTo>
                    <a:lnTo>
                      <a:pt x="492" y="240"/>
                    </a:lnTo>
                    <a:lnTo>
                      <a:pt x="492" y="246"/>
                    </a:lnTo>
                    <a:lnTo>
                      <a:pt x="492" y="252"/>
                    </a:lnTo>
                    <a:lnTo>
                      <a:pt x="486" y="252"/>
                    </a:lnTo>
                    <a:lnTo>
                      <a:pt x="486" y="258"/>
                    </a:lnTo>
                    <a:lnTo>
                      <a:pt x="480" y="264"/>
                    </a:lnTo>
                    <a:lnTo>
                      <a:pt x="480" y="270"/>
                    </a:lnTo>
                    <a:lnTo>
                      <a:pt x="474" y="270"/>
                    </a:lnTo>
                    <a:lnTo>
                      <a:pt x="474" y="276"/>
                    </a:lnTo>
                    <a:lnTo>
                      <a:pt x="468" y="276"/>
                    </a:lnTo>
                    <a:lnTo>
                      <a:pt x="468" y="282"/>
                    </a:lnTo>
                    <a:lnTo>
                      <a:pt x="468" y="288"/>
                    </a:lnTo>
                    <a:lnTo>
                      <a:pt x="462" y="288"/>
                    </a:lnTo>
                    <a:lnTo>
                      <a:pt x="462" y="294"/>
                    </a:lnTo>
                    <a:lnTo>
                      <a:pt x="462" y="300"/>
                    </a:lnTo>
                    <a:lnTo>
                      <a:pt x="456" y="300"/>
                    </a:lnTo>
                    <a:lnTo>
                      <a:pt x="456" y="306"/>
                    </a:lnTo>
                    <a:lnTo>
                      <a:pt x="456" y="312"/>
                    </a:lnTo>
                    <a:lnTo>
                      <a:pt x="450" y="312"/>
                    </a:lnTo>
                    <a:lnTo>
                      <a:pt x="450" y="318"/>
                    </a:lnTo>
                    <a:lnTo>
                      <a:pt x="450" y="324"/>
                    </a:lnTo>
                    <a:lnTo>
                      <a:pt x="450" y="330"/>
                    </a:lnTo>
                    <a:lnTo>
                      <a:pt x="450" y="336"/>
                    </a:lnTo>
                    <a:lnTo>
                      <a:pt x="444" y="336"/>
                    </a:lnTo>
                    <a:lnTo>
                      <a:pt x="444" y="342"/>
                    </a:lnTo>
                    <a:lnTo>
                      <a:pt x="438" y="348"/>
                    </a:lnTo>
                    <a:lnTo>
                      <a:pt x="438" y="354"/>
                    </a:lnTo>
                    <a:lnTo>
                      <a:pt x="432" y="360"/>
                    </a:lnTo>
                    <a:lnTo>
                      <a:pt x="432" y="366"/>
                    </a:lnTo>
                    <a:lnTo>
                      <a:pt x="426" y="366"/>
                    </a:lnTo>
                    <a:lnTo>
                      <a:pt x="426" y="372"/>
                    </a:lnTo>
                    <a:lnTo>
                      <a:pt x="420" y="372"/>
                    </a:lnTo>
                    <a:lnTo>
                      <a:pt x="420" y="378"/>
                    </a:lnTo>
                    <a:lnTo>
                      <a:pt x="414" y="384"/>
                    </a:lnTo>
                    <a:lnTo>
                      <a:pt x="408" y="390"/>
                    </a:lnTo>
                    <a:lnTo>
                      <a:pt x="408" y="396"/>
                    </a:lnTo>
                    <a:lnTo>
                      <a:pt x="402" y="396"/>
                    </a:lnTo>
                    <a:lnTo>
                      <a:pt x="402" y="402"/>
                    </a:lnTo>
                    <a:lnTo>
                      <a:pt x="396" y="408"/>
                    </a:lnTo>
                    <a:lnTo>
                      <a:pt x="396" y="414"/>
                    </a:lnTo>
                    <a:lnTo>
                      <a:pt x="396" y="420"/>
                    </a:lnTo>
                    <a:lnTo>
                      <a:pt x="390" y="420"/>
                    </a:lnTo>
                    <a:lnTo>
                      <a:pt x="390" y="426"/>
                    </a:lnTo>
                    <a:lnTo>
                      <a:pt x="384" y="426"/>
                    </a:lnTo>
                    <a:lnTo>
                      <a:pt x="384" y="432"/>
                    </a:lnTo>
                    <a:lnTo>
                      <a:pt x="378" y="432"/>
                    </a:lnTo>
                    <a:lnTo>
                      <a:pt x="378" y="438"/>
                    </a:lnTo>
                    <a:lnTo>
                      <a:pt x="372" y="438"/>
                    </a:lnTo>
                    <a:lnTo>
                      <a:pt x="372" y="444"/>
                    </a:lnTo>
                    <a:lnTo>
                      <a:pt x="366" y="444"/>
                    </a:lnTo>
                    <a:lnTo>
                      <a:pt x="366" y="450"/>
                    </a:lnTo>
                    <a:lnTo>
                      <a:pt x="360" y="456"/>
                    </a:lnTo>
                    <a:lnTo>
                      <a:pt x="354" y="462"/>
                    </a:lnTo>
                    <a:lnTo>
                      <a:pt x="348" y="468"/>
                    </a:lnTo>
                    <a:lnTo>
                      <a:pt x="342" y="474"/>
                    </a:lnTo>
                    <a:lnTo>
                      <a:pt x="336" y="480"/>
                    </a:lnTo>
                    <a:lnTo>
                      <a:pt x="330" y="486"/>
                    </a:lnTo>
                    <a:lnTo>
                      <a:pt x="330" y="492"/>
                    </a:lnTo>
                    <a:lnTo>
                      <a:pt x="324" y="492"/>
                    </a:lnTo>
                    <a:lnTo>
                      <a:pt x="324" y="498"/>
                    </a:lnTo>
                    <a:lnTo>
                      <a:pt x="318" y="498"/>
                    </a:lnTo>
                    <a:lnTo>
                      <a:pt x="318" y="504"/>
                    </a:lnTo>
                    <a:lnTo>
                      <a:pt x="312" y="504"/>
                    </a:lnTo>
                    <a:lnTo>
                      <a:pt x="312" y="510"/>
                    </a:lnTo>
                    <a:lnTo>
                      <a:pt x="306" y="510"/>
                    </a:lnTo>
                    <a:lnTo>
                      <a:pt x="306" y="516"/>
                    </a:lnTo>
                    <a:lnTo>
                      <a:pt x="300" y="516"/>
                    </a:lnTo>
                    <a:lnTo>
                      <a:pt x="300" y="522"/>
                    </a:lnTo>
                    <a:lnTo>
                      <a:pt x="294" y="522"/>
                    </a:lnTo>
                    <a:lnTo>
                      <a:pt x="294" y="528"/>
                    </a:lnTo>
                    <a:lnTo>
                      <a:pt x="288" y="528"/>
                    </a:lnTo>
                    <a:lnTo>
                      <a:pt x="288" y="534"/>
                    </a:lnTo>
                    <a:lnTo>
                      <a:pt x="282" y="534"/>
                    </a:lnTo>
                    <a:lnTo>
                      <a:pt x="282" y="540"/>
                    </a:lnTo>
                    <a:lnTo>
                      <a:pt x="276" y="540"/>
                    </a:lnTo>
                    <a:lnTo>
                      <a:pt x="270" y="540"/>
                    </a:lnTo>
                    <a:lnTo>
                      <a:pt x="270" y="546"/>
                    </a:lnTo>
                    <a:lnTo>
                      <a:pt x="264" y="546"/>
                    </a:lnTo>
                    <a:lnTo>
                      <a:pt x="258" y="552"/>
                    </a:lnTo>
                    <a:lnTo>
                      <a:pt x="252" y="552"/>
                    </a:lnTo>
                    <a:lnTo>
                      <a:pt x="252" y="558"/>
                    </a:lnTo>
                    <a:lnTo>
                      <a:pt x="246" y="558"/>
                    </a:lnTo>
                    <a:lnTo>
                      <a:pt x="240" y="558"/>
                    </a:lnTo>
                    <a:lnTo>
                      <a:pt x="240" y="564"/>
                    </a:lnTo>
                    <a:lnTo>
                      <a:pt x="234" y="564"/>
                    </a:lnTo>
                    <a:lnTo>
                      <a:pt x="228" y="564"/>
                    </a:lnTo>
                    <a:lnTo>
                      <a:pt x="228" y="570"/>
                    </a:lnTo>
                    <a:lnTo>
                      <a:pt x="222" y="570"/>
                    </a:lnTo>
                    <a:lnTo>
                      <a:pt x="216" y="570"/>
                    </a:lnTo>
                    <a:lnTo>
                      <a:pt x="216" y="576"/>
                    </a:lnTo>
                    <a:lnTo>
                      <a:pt x="210" y="576"/>
                    </a:lnTo>
                    <a:lnTo>
                      <a:pt x="210" y="582"/>
                    </a:lnTo>
                    <a:lnTo>
                      <a:pt x="204" y="582"/>
                    </a:lnTo>
                    <a:lnTo>
                      <a:pt x="198" y="588"/>
                    </a:lnTo>
                    <a:lnTo>
                      <a:pt x="192" y="588"/>
                    </a:lnTo>
                    <a:lnTo>
                      <a:pt x="192" y="594"/>
                    </a:lnTo>
                    <a:lnTo>
                      <a:pt x="186" y="594"/>
                    </a:lnTo>
                    <a:lnTo>
                      <a:pt x="186" y="600"/>
                    </a:lnTo>
                    <a:lnTo>
                      <a:pt x="180" y="600"/>
                    </a:lnTo>
                    <a:lnTo>
                      <a:pt x="180" y="606"/>
                    </a:lnTo>
                    <a:lnTo>
                      <a:pt x="174" y="606"/>
                    </a:lnTo>
                    <a:lnTo>
                      <a:pt x="174" y="612"/>
                    </a:lnTo>
                    <a:lnTo>
                      <a:pt x="168" y="612"/>
                    </a:lnTo>
                    <a:lnTo>
                      <a:pt x="168" y="618"/>
                    </a:lnTo>
                    <a:lnTo>
                      <a:pt x="162" y="618"/>
                    </a:lnTo>
                    <a:lnTo>
                      <a:pt x="156" y="618"/>
                    </a:lnTo>
                    <a:lnTo>
                      <a:pt x="156" y="624"/>
                    </a:lnTo>
                    <a:lnTo>
                      <a:pt x="150" y="624"/>
                    </a:lnTo>
                    <a:lnTo>
                      <a:pt x="150" y="630"/>
                    </a:lnTo>
                    <a:lnTo>
                      <a:pt x="144" y="630"/>
                    </a:lnTo>
                    <a:lnTo>
                      <a:pt x="144" y="636"/>
                    </a:lnTo>
                    <a:lnTo>
                      <a:pt x="138" y="636"/>
                    </a:lnTo>
                    <a:lnTo>
                      <a:pt x="138" y="642"/>
                    </a:lnTo>
                    <a:lnTo>
                      <a:pt x="132" y="648"/>
                    </a:lnTo>
                    <a:lnTo>
                      <a:pt x="126" y="648"/>
                    </a:lnTo>
                    <a:lnTo>
                      <a:pt x="126" y="654"/>
                    </a:lnTo>
                    <a:lnTo>
                      <a:pt x="120" y="654"/>
                    </a:lnTo>
                    <a:lnTo>
                      <a:pt x="120" y="660"/>
                    </a:lnTo>
                    <a:lnTo>
                      <a:pt x="114" y="660"/>
                    </a:lnTo>
                    <a:lnTo>
                      <a:pt x="114" y="666"/>
                    </a:lnTo>
                    <a:lnTo>
                      <a:pt x="108" y="672"/>
                    </a:lnTo>
                    <a:lnTo>
                      <a:pt x="102" y="678"/>
                    </a:lnTo>
                    <a:lnTo>
                      <a:pt x="96" y="684"/>
                    </a:lnTo>
                    <a:lnTo>
                      <a:pt x="90" y="684"/>
                    </a:lnTo>
                    <a:lnTo>
                      <a:pt x="90" y="690"/>
                    </a:lnTo>
                    <a:lnTo>
                      <a:pt x="84" y="696"/>
                    </a:lnTo>
                    <a:lnTo>
                      <a:pt x="84" y="702"/>
                    </a:lnTo>
                    <a:lnTo>
                      <a:pt x="78" y="702"/>
                    </a:lnTo>
                    <a:lnTo>
                      <a:pt x="78" y="708"/>
                    </a:lnTo>
                    <a:lnTo>
                      <a:pt x="72" y="708"/>
                    </a:lnTo>
                    <a:lnTo>
                      <a:pt x="72" y="714"/>
                    </a:lnTo>
                    <a:lnTo>
                      <a:pt x="66" y="714"/>
                    </a:lnTo>
                    <a:lnTo>
                      <a:pt x="66" y="720"/>
                    </a:lnTo>
                    <a:lnTo>
                      <a:pt x="60" y="720"/>
                    </a:lnTo>
                    <a:lnTo>
                      <a:pt x="60" y="714"/>
                    </a:lnTo>
                    <a:lnTo>
                      <a:pt x="66" y="714"/>
                    </a:lnTo>
                    <a:lnTo>
                      <a:pt x="60" y="714"/>
                    </a:lnTo>
                    <a:lnTo>
                      <a:pt x="60" y="720"/>
                    </a:lnTo>
                    <a:lnTo>
                      <a:pt x="66" y="720"/>
                    </a:lnTo>
                    <a:lnTo>
                      <a:pt x="60" y="720"/>
                    </a:lnTo>
                    <a:lnTo>
                      <a:pt x="60" y="726"/>
                    </a:lnTo>
                    <a:lnTo>
                      <a:pt x="54" y="726"/>
                    </a:lnTo>
                    <a:lnTo>
                      <a:pt x="60" y="726"/>
                    </a:lnTo>
                    <a:lnTo>
                      <a:pt x="54" y="726"/>
                    </a:lnTo>
                    <a:lnTo>
                      <a:pt x="60" y="720"/>
                    </a:lnTo>
                    <a:lnTo>
                      <a:pt x="54" y="720"/>
                    </a:lnTo>
                    <a:lnTo>
                      <a:pt x="54" y="726"/>
                    </a:lnTo>
                    <a:lnTo>
                      <a:pt x="60" y="726"/>
                    </a:lnTo>
                    <a:lnTo>
                      <a:pt x="54" y="732"/>
                    </a:lnTo>
                    <a:lnTo>
                      <a:pt x="54" y="738"/>
                    </a:lnTo>
                    <a:lnTo>
                      <a:pt x="48" y="738"/>
                    </a:lnTo>
                    <a:lnTo>
                      <a:pt x="48" y="732"/>
                    </a:lnTo>
                    <a:lnTo>
                      <a:pt x="48" y="738"/>
                    </a:lnTo>
                    <a:lnTo>
                      <a:pt x="42" y="738"/>
                    </a:lnTo>
                    <a:lnTo>
                      <a:pt x="48" y="738"/>
                    </a:lnTo>
                    <a:lnTo>
                      <a:pt x="48" y="744"/>
                    </a:lnTo>
                    <a:lnTo>
                      <a:pt x="42" y="750"/>
                    </a:lnTo>
                    <a:lnTo>
                      <a:pt x="42" y="756"/>
                    </a:lnTo>
                    <a:lnTo>
                      <a:pt x="36" y="762"/>
                    </a:lnTo>
                    <a:close/>
                    <a:moveTo>
                      <a:pt x="66" y="714"/>
                    </a:moveTo>
                    <a:lnTo>
                      <a:pt x="72" y="714"/>
                    </a:lnTo>
                    <a:lnTo>
                      <a:pt x="72" y="720"/>
                    </a:lnTo>
                    <a:lnTo>
                      <a:pt x="66" y="720"/>
                    </a:lnTo>
                    <a:lnTo>
                      <a:pt x="66" y="714"/>
                    </a:lnTo>
                    <a:close/>
                    <a:moveTo>
                      <a:pt x="54" y="732"/>
                    </a:moveTo>
                    <a:lnTo>
                      <a:pt x="54" y="738"/>
                    </a:lnTo>
                    <a:lnTo>
                      <a:pt x="55" y="738"/>
                    </a:lnTo>
                    <a:lnTo>
                      <a:pt x="54" y="732"/>
                    </a:lnTo>
                    <a:close/>
                    <a:moveTo>
                      <a:pt x="72" y="708"/>
                    </a:moveTo>
                    <a:lnTo>
                      <a:pt x="78" y="708"/>
                    </a:lnTo>
                    <a:lnTo>
                      <a:pt x="78" y="714"/>
                    </a:lnTo>
                    <a:lnTo>
                      <a:pt x="72" y="714"/>
                    </a:lnTo>
                    <a:lnTo>
                      <a:pt x="72" y="708"/>
                    </a:lnTo>
                    <a:close/>
                    <a:moveTo>
                      <a:pt x="54" y="732"/>
                    </a:moveTo>
                    <a:lnTo>
                      <a:pt x="60" y="732"/>
                    </a:lnTo>
                    <a:lnTo>
                      <a:pt x="54" y="732"/>
                    </a:lnTo>
                    <a:close/>
                    <a:moveTo>
                      <a:pt x="90" y="690"/>
                    </a:moveTo>
                    <a:lnTo>
                      <a:pt x="90" y="696"/>
                    </a:lnTo>
                    <a:lnTo>
                      <a:pt x="91" y="696"/>
                    </a:lnTo>
                    <a:lnTo>
                      <a:pt x="90" y="690"/>
                    </a:lnTo>
                    <a:close/>
                    <a:moveTo>
                      <a:pt x="138" y="24"/>
                    </a:moveTo>
                    <a:lnTo>
                      <a:pt x="138" y="30"/>
                    </a:lnTo>
                    <a:lnTo>
                      <a:pt x="139" y="30"/>
                    </a:lnTo>
                    <a:lnTo>
                      <a:pt x="138" y="2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7" name="Freeform 35"/>
              <p:cNvSpPr>
                <a:spLocks noEditPoints="1"/>
              </p:cNvSpPr>
              <p:nvPr>
                <p:custDataLst>
                  <p:tags r:id="rId34"/>
                </p:custDataLst>
              </p:nvPr>
            </p:nvSpPr>
            <p:spPr bwMode="gray">
              <a:xfrm>
                <a:off x="3718884" y="-54835"/>
                <a:ext cx="778766" cy="726219"/>
              </a:xfrm>
              <a:custGeom>
                <a:avLst/>
                <a:gdLst>
                  <a:gd name="T0" fmla="*/ 199555 w 618"/>
                  <a:gd name="T1" fmla="*/ 44489 h 618"/>
                  <a:gd name="T2" fmla="*/ 198586 w 618"/>
                  <a:gd name="T3" fmla="*/ 61898 h 618"/>
                  <a:gd name="T4" fmla="*/ 193742 w 618"/>
                  <a:gd name="T5" fmla="*/ 81241 h 618"/>
                  <a:gd name="T6" fmla="*/ 185024 w 618"/>
                  <a:gd name="T7" fmla="*/ 87044 h 618"/>
                  <a:gd name="T8" fmla="*/ 172431 w 618"/>
                  <a:gd name="T9" fmla="*/ 71569 h 618"/>
                  <a:gd name="T10" fmla="*/ 163713 w 618"/>
                  <a:gd name="T11" fmla="*/ 55127 h 618"/>
                  <a:gd name="T12" fmla="*/ 154995 w 618"/>
                  <a:gd name="T13" fmla="*/ 37719 h 618"/>
                  <a:gd name="T14" fmla="*/ 154995 w 618"/>
                  <a:gd name="T15" fmla="*/ 53193 h 618"/>
                  <a:gd name="T16" fmla="*/ 163713 w 618"/>
                  <a:gd name="T17" fmla="*/ 70602 h 618"/>
                  <a:gd name="T18" fmla="*/ 172431 w 618"/>
                  <a:gd name="T19" fmla="*/ 83175 h 618"/>
                  <a:gd name="T20" fmla="*/ 174368 w 618"/>
                  <a:gd name="T21" fmla="*/ 89945 h 618"/>
                  <a:gd name="T22" fmla="*/ 183087 w 618"/>
                  <a:gd name="T23" fmla="*/ 104453 h 618"/>
                  <a:gd name="T24" fmla="*/ 187931 w 618"/>
                  <a:gd name="T25" fmla="*/ 118960 h 618"/>
                  <a:gd name="T26" fmla="*/ 198586 w 618"/>
                  <a:gd name="T27" fmla="*/ 138303 h 618"/>
                  <a:gd name="T28" fmla="*/ 204399 w 618"/>
                  <a:gd name="T29" fmla="*/ 152810 h 618"/>
                  <a:gd name="T30" fmla="*/ 215055 w 618"/>
                  <a:gd name="T31" fmla="*/ 168284 h 618"/>
                  <a:gd name="T32" fmla="*/ 213117 w 618"/>
                  <a:gd name="T33" fmla="*/ 174088 h 618"/>
                  <a:gd name="T34" fmla="*/ 215055 w 618"/>
                  <a:gd name="T35" fmla="*/ 180858 h 618"/>
                  <a:gd name="T36" fmla="*/ 213117 w 618"/>
                  <a:gd name="T37" fmla="*/ 191496 h 618"/>
                  <a:gd name="T38" fmla="*/ 199555 w 618"/>
                  <a:gd name="T39" fmla="*/ 199234 h 618"/>
                  <a:gd name="T40" fmla="*/ 185024 w 618"/>
                  <a:gd name="T41" fmla="*/ 214708 h 618"/>
                  <a:gd name="T42" fmla="*/ 134651 w 618"/>
                  <a:gd name="T43" fmla="*/ 212773 h 618"/>
                  <a:gd name="T44" fmla="*/ 6781 w 618"/>
                  <a:gd name="T45" fmla="*/ 76405 h 618"/>
                  <a:gd name="T46" fmla="*/ 3875 w 618"/>
                  <a:gd name="T47" fmla="*/ 51259 h 618"/>
                  <a:gd name="T48" fmla="*/ 3875 w 618"/>
                  <a:gd name="T49" fmla="*/ 27080 h 618"/>
                  <a:gd name="T50" fmla="*/ 3875 w 618"/>
                  <a:gd name="T51" fmla="*/ 6770 h 618"/>
                  <a:gd name="T52" fmla="*/ 21311 w 618"/>
                  <a:gd name="T53" fmla="*/ 1934 h 618"/>
                  <a:gd name="T54" fmla="*/ 42624 w 618"/>
                  <a:gd name="T55" fmla="*/ 3868 h 618"/>
                  <a:gd name="T56" fmla="*/ 63935 w 618"/>
                  <a:gd name="T57" fmla="*/ 8704 h 618"/>
                  <a:gd name="T58" fmla="*/ 81372 w 618"/>
                  <a:gd name="T59" fmla="*/ 17409 h 618"/>
                  <a:gd name="T60" fmla="*/ 97840 w 618"/>
                  <a:gd name="T61" fmla="*/ 12573 h 618"/>
                  <a:gd name="T62" fmla="*/ 115277 w 618"/>
                  <a:gd name="T63" fmla="*/ 3868 h 618"/>
                  <a:gd name="T64" fmla="*/ 119152 w 618"/>
                  <a:gd name="T65" fmla="*/ 6770 h 618"/>
                  <a:gd name="T66" fmla="*/ 125932 w 618"/>
                  <a:gd name="T67" fmla="*/ 3868 h 618"/>
                  <a:gd name="T68" fmla="*/ 138526 w 618"/>
                  <a:gd name="T69" fmla="*/ 3868 h 618"/>
                  <a:gd name="T70" fmla="*/ 149182 w 618"/>
                  <a:gd name="T71" fmla="*/ 8704 h 618"/>
                  <a:gd name="T72" fmla="*/ 142401 w 618"/>
                  <a:gd name="T73" fmla="*/ 6770 h 618"/>
                  <a:gd name="T74" fmla="*/ 140464 w 618"/>
                  <a:gd name="T75" fmla="*/ 8704 h 618"/>
                  <a:gd name="T76" fmla="*/ 147245 w 618"/>
                  <a:gd name="T77" fmla="*/ 12573 h 618"/>
                  <a:gd name="T78" fmla="*/ 151120 w 618"/>
                  <a:gd name="T79" fmla="*/ 8704 h 618"/>
                  <a:gd name="T80" fmla="*/ 154995 w 618"/>
                  <a:gd name="T81" fmla="*/ 12573 h 618"/>
                  <a:gd name="T82" fmla="*/ 159838 w 618"/>
                  <a:gd name="T83" fmla="*/ 14508 h 618"/>
                  <a:gd name="T84" fmla="*/ 165650 w 618"/>
                  <a:gd name="T85" fmla="*/ 10638 h 618"/>
                  <a:gd name="T86" fmla="*/ 170494 w 618"/>
                  <a:gd name="T87" fmla="*/ 12573 h 618"/>
                  <a:gd name="T88" fmla="*/ 185024 w 618"/>
                  <a:gd name="T89" fmla="*/ 10638 h 618"/>
                  <a:gd name="T90" fmla="*/ 168556 w 618"/>
                  <a:gd name="T91" fmla="*/ 10638 h 618"/>
                  <a:gd name="T92" fmla="*/ 144338 w 618"/>
                  <a:gd name="T93" fmla="*/ 8704 h 618"/>
                  <a:gd name="T94" fmla="*/ 174368 w 618"/>
                  <a:gd name="T95" fmla="*/ 10638 h 618"/>
                  <a:gd name="T96" fmla="*/ 179212 w 618"/>
                  <a:gd name="T97" fmla="*/ 89945 h 618"/>
                  <a:gd name="T98" fmla="*/ 143370 w 618"/>
                  <a:gd name="T99" fmla="*/ 3868 h 618"/>
                  <a:gd name="T100" fmla="*/ 176306 w 618"/>
                  <a:gd name="T101" fmla="*/ 89945 h 618"/>
                  <a:gd name="T102" fmla="*/ 176306 w 618"/>
                  <a:gd name="T103" fmla="*/ 89945 h 618"/>
                  <a:gd name="T104" fmla="*/ 147245 w 618"/>
                  <a:gd name="T105" fmla="*/ 8704 h 618"/>
                  <a:gd name="T106" fmla="*/ 144338 w 618"/>
                  <a:gd name="T107" fmla="*/ 8704 h 618"/>
                  <a:gd name="T108" fmla="*/ 181149 w 618"/>
                  <a:gd name="T109" fmla="*/ 89945 h 618"/>
                  <a:gd name="T110" fmla="*/ 179212 w 618"/>
                  <a:gd name="T111" fmla="*/ 89945 h 618"/>
                  <a:gd name="T112" fmla="*/ 179212 w 618"/>
                  <a:gd name="T113" fmla="*/ 93814 h 618"/>
                  <a:gd name="T114" fmla="*/ 213117 w 618"/>
                  <a:gd name="T115" fmla="*/ 174088 h 618"/>
                  <a:gd name="T116" fmla="*/ 147245 w 618"/>
                  <a:gd name="T117" fmla="*/ 8704 h 6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18" h="618">
                    <a:moveTo>
                      <a:pt x="534" y="24"/>
                    </a:moveTo>
                    <a:lnTo>
                      <a:pt x="534" y="30"/>
                    </a:lnTo>
                    <a:lnTo>
                      <a:pt x="540" y="42"/>
                    </a:lnTo>
                    <a:lnTo>
                      <a:pt x="540" y="54"/>
                    </a:lnTo>
                    <a:lnTo>
                      <a:pt x="546" y="66"/>
                    </a:lnTo>
                    <a:lnTo>
                      <a:pt x="546" y="72"/>
                    </a:lnTo>
                    <a:lnTo>
                      <a:pt x="552" y="78"/>
                    </a:lnTo>
                    <a:lnTo>
                      <a:pt x="552" y="84"/>
                    </a:lnTo>
                    <a:lnTo>
                      <a:pt x="552" y="90"/>
                    </a:lnTo>
                    <a:lnTo>
                      <a:pt x="558" y="102"/>
                    </a:lnTo>
                    <a:lnTo>
                      <a:pt x="564" y="108"/>
                    </a:lnTo>
                    <a:lnTo>
                      <a:pt x="564" y="126"/>
                    </a:lnTo>
                    <a:lnTo>
                      <a:pt x="570" y="132"/>
                    </a:lnTo>
                    <a:lnTo>
                      <a:pt x="570" y="138"/>
                    </a:lnTo>
                    <a:lnTo>
                      <a:pt x="570" y="144"/>
                    </a:lnTo>
                    <a:lnTo>
                      <a:pt x="564" y="144"/>
                    </a:lnTo>
                    <a:lnTo>
                      <a:pt x="564" y="150"/>
                    </a:lnTo>
                    <a:lnTo>
                      <a:pt x="558" y="150"/>
                    </a:lnTo>
                    <a:lnTo>
                      <a:pt x="558" y="156"/>
                    </a:lnTo>
                    <a:lnTo>
                      <a:pt x="558" y="162"/>
                    </a:lnTo>
                    <a:lnTo>
                      <a:pt x="558" y="168"/>
                    </a:lnTo>
                    <a:lnTo>
                      <a:pt x="558" y="174"/>
                    </a:lnTo>
                    <a:lnTo>
                      <a:pt x="552" y="174"/>
                    </a:lnTo>
                    <a:lnTo>
                      <a:pt x="558" y="174"/>
                    </a:lnTo>
                    <a:lnTo>
                      <a:pt x="558" y="180"/>
                    </a:lnTo>
                    <a:lnTo>
                      <a:pt x="552" y="180"/>
                    </a:lnTo>
                    <a:lnTo>
                      <a:pt x="552" y="186"/>
                    </a:lnTo>
                    <a:lnTo>
                      <a:pt x="552" y="192"/>
                    </a:lnTo>
                    <a:lnTo>
                      <a:pt x="552" y="198"/>
                    </a:lnTo>
                    <a:lnTo>
                      <a:pt x="546" y="198"/>
                    </a:lnTo>
                    <a:lnTo>
                      <a:pt x="546" y="204"/>
                    </a:lnTo>
                    <a:lnTo>
                      <a:pt x="546" y="210"/>
                    </a:lnTo>
                    <a:lnTo>
                      <a:pt x="540" y="216"/>
                    </a:lnTo>
                    <a:lnTo>
                      <a:pt x="540" y="222"/>
                    </a:lnTo>
                    <a:lnTo>
                      <a:pt x="546" y="222"/>
                    </a:lnTo>
                    <a:lnTo>
                      <a:pt x="546" y="228"/>
                    </a:lnTo>
                    <a:lnTo>
                      <a:pt x="546" y="234"/>
                    </a:lnTo>
                    <a:lnTo>
                      <a:pt x="540" y="234"/>
                    </a:lnTo>
                    <a:lnTo>
                      <a:pt x="546" y="234"/>
                    </a:lnTo>
                    <a:lnTo>
                      <a:pt x="540" y="234"/>
                    </a:lnTo>
                    <a:lnTo>
                      <a:pt x="540" y="240"/>
                    </a:lnTo>
                    <a:lnTo>
                      <a:pt x="540" y="246"/>
                    </a:lnTo>
                    <a:lnTo>
                      <a:pt x="534" y="246"/>
                    </a:lnTo>
                    <a:lnTo>
                      <a:pt x="528" y="246"/>
                    </a:lnTo>
                    <a:lnTo>
                      <a:pt x="534" y="252"/>
                    </a:lnTo>
                    <a:lnTo>
                      <a:pt x="528" y="252"/>
                    </a:lnTo>
                    <a:lnTo>
                      <a:pt x="528" y="246"/>
                    </a:lnTo>
                    <a:lnTo>
                      <a:pt x="522" y="246"/>
                    </a:lnTo>
                    <a:lnTo>
                      <a:pt x="516" y="240"/>
                    </a:lnTo>
                    <a:lnTo>
                      <a:pt x="510" y="240"/>
                    </a:lnTo>
                    <a:lnTo>
                      <a:pt x="510" y="234"/>
                    </a:lnTo>
                    <a:lnTo>
                      <a:pt x="504" y="234"/>
                    </a:lnTo>
                    <a:lnTo>
                      <a:pt x="504" y="228"/>
                    </a:lnTo>
                    <a:lnTo>
                      <a:pt x="498" y="228"/>
                    </a:lnTo>
                    <a:lnTo>
                      <a:pt x="498" y="222"/>
                    </a:lnTo>
                    <a:lnTo>
                      <a:pt x="498" y="216"/>
                    </a:lnTo>
                    <a:lnTo>
                      <a:pt x="492" y="216"/>
                    </a:lnTo>
                    <a:lnTo>
                      <a:pt x="492" y="210"/>
                    </a:lnTo>
                    <a:lnTo>
                      <a:pt x="486" y="210"/>
                    </a:lnTo>
                    <a:lnTo>
                      <a:pt x="486" y="204"/>
                    </a:lnTo>
                    <a:lnTo>
                      <a:pt x="480" y="204"/>
                    </a:lnTo>
                    <a:lnTo>
                      <a:pt x="480" y="198"/>
                    </a:lnTo>
                    <a:lnTo>
                      <a:pt x="474" y="198"/>
                    </a:lnTo>
                    <a:lnTo>
                      <a:pt x="474" y="192"/>
                    </a:lnTo>
                    <a:lnTo>
                      <a:pt x="474" y="186"/>
                    </a:lnTo>
                    <a:lnTo>
                      <a:pt x="474" y="180"/>
                    </a:lnTo>
                    <a:lnTo>
                      <a:pt x="474" y="174"/>
                    </a:lnTo>
                    <a:lnTo>
                      <a:pt x="474" y="168"/>
                    </a:lnTo>
                    <a:lnTo>
                      <a:pt x="468" y="168"/>
                    </a:lnTo>
                    <a:lnTo>
                      <a:pt x="468" y="162"/>
                    </a:lnTo>
                    <a:lnTo>
                      <a:pt x="462" y="162"/>
                    </a:lnTo>
                    <a:lnTo>
                      <a:pt x="462" y="156"/>
                    </a:lnTo>
                    <a:lnTo>
                      <a:pt x="456" y="156"/>
                    </a:lnTo>
                    <a:lnTo>
                      <a:pt x="456" y="150"/>
                    </a:lnTo>
                    <a:lnTo>
                      <a:pt x="456" y="144"/>
                    </a:lnTo>
                    <a:lnTo>
                      <a:pt x="450" y="144"/>
                    </a:lnTo>
                    <a:lnTo>
                      <a:pt x="450" y="138"/>
                    </a:lnTo>
                    <a:lnTo>
                      <a:pt x="450" y="132"/>
                    </a:lnTo>
                    <a:lnTo>
                      <a:pt x="444" y="132"/>
                    </a:lnTo>
                    <a:lnTo>
                      <a:pt x="444" y="126"/>
                    </a:lnTo>
                    <a:lnTo>
                      <a:pt x="444" y="120"/>
                    </a:lnTo>
                    <a:lnTo>
                      <a:pt x="444" y="114"/>
                    </a:lnTo>
                    <a:lnTo>
                      <a:pt x="438" y="114"/>
                    </a:lnTo>
                    <a:lnTo>
                      <a:pt x="438" y="108"/>
                    </a:lnTo>
                    <a:lnTo>
                      <a:pt x="432" y="114"/>
                    </a:lnTo>
                    <a:lnTo>
                      <a:pt x="438" y="114"/>
                    </a:lnTo>
                    <a:lnTo>
                      <a:pt x="438" y="120"/>
                    </a:lnTo>
                    <a:lnTo>
                      <a:pt x="432" y="120"/>
                    </a:lnTo>
                    <a:lnTo>
                      <a:pt x="432" y="126"/>
                    </a:lnTo>
                    <a:lnTo>
                      <a:pt x="426" y="126"/>
                    </a:lnTo>
                    <a:lnTo>
                      <a:pt x="426" y="132"/>
                    </a:lnTo>
                    <a:lnTo>
                      <a:pt x="426" y="138"/>
                    </a:lnTo>
                    <a:lnTo>
                      <a:pt x="432" y="138"/>
                    </a:lnTo>
                    <a:lnTo>
                      <a:pt x="432" y="144"/>
                    </a:lnTo>
                    <a:lnTo>
                      <a:pt x="438" y="144"/>
                    </a:lnTo>
                    <a:lnTo>
                      <a:pt x="438" y="150"/>
                    </a:lnTo>
                    <a:lnTo>
                      <a:pt x="444" y="150"/>
                    </a:lnTo>
                    <a:lnTo>
                      <a:pt x="444" y="156"/>
                    </a:lnTo>
                    <a:lnTo>
                      <a:pt x="444" y="162"/>
                    </a:lnTo>
                    <a:lnTo>
                      <a:pt x="444" y="168"/>
                    </a:lnTo>
                    <a:lnTo>
                      <a:pt x="444" y="174"/>
                    </a:lnTo>
                    <a:lnTo>
                      <a:pt x="444" y="180"/>
                    </a:lnTo>
                    <a:lnTo>
                      <a:pt x="450" y="180"/>
                    </a:lnTo>
                    <a:lnTo>
                      <a:pt x="450" y="186"/>
                    </a:lnTo>
                    <a:lnTo>
                      <a:pt x="456" y="186"/>
                    </a:lnTo>
                    <a:lnTo>
                      <a:pt x="456" y="192"/>
                    </a:lnTo>
                    <a:lnTo>
                      <a:pt x="456" y="198"/>
                    </a:lnTo>
                    <a:lnTo>
                      <a:pt x="462" y="198"/>
                    </a:lnTo>
                    <a:lnTo>
                      <a:pt x="462" y="204"/>
                    </a:lnTo>
                    <a:lnTo>
                      <a:pt x="468" y="204"/>
                    </a:lnTo>
                    <a:lnTo>
                      <a:pt x="468" y="210"/>
                    </a:lnTo>
                    <a:lnTo>
                      <a:pt x="468" y="216"/>
                    </a:lnTo>
                    <a:lnTo>
                      <a:pt x="474" y="216"/>
                    </a:lnTo>
                    <a:lnTo>
                      <a:pt x="474" y="222"/>
                    </a:lnTo>
                    <a:lnTo>
                      <a:pt x="480" y="222"/>
                    </a:lnTo>
                    <a:lnTo>
                      <a:pt x="474" y="222"/>
                    </a:lnTo>
                    <a:lnTo>
                      <a:pt x="474" y="228"/>
                    </a:lnTo>
                    <a:lnTo>
                      <a:pt x="480" y="228"/>
                    </a:lnTo>
                    <a:lnTo>
                      <a:pt x="480" y="234"/>
                    </a:lnTo>
                    <a:lnTo>
                      <a:pt x="486" y="234"/>
                    </a:lnTo>
                    <a:lnTo>
                      <a:pt x="492" y="234"/>
                    </a:lnTo>
                    <a:lnTo>
                      <a:pt x="492" y="240"/>
                    </a:lnTo>
                    <a:lnTo>
                      <a:pt x="492" y="246"/>
                    </a:lnTo>
                    <a:lnTo>
                      <a:pt x="498" y="246"/>
                    </a:lnTo>
                    <a:lnTo>
                      <a:pt x="492" y="246"/>
                    </a:lnTo>
                    <a:lnTo>
                      <a:pt x="492" y="252"/>
                    </a:lnTo>
                    <a:lnTo>
                      <a:pt x="498" y="252"/>
                    </a:lnTo>
                    <a:lnTo>
                      <a:pt x="498" y="258"/>
                    </a:lnTo>
                    <a:lnTo>
                      <a:pt x="492" y="258"/>
                    </a:lnTo>
                    <a:lnTo>
                      <a:pt x="498" y="258"/>
                    </a:lnTo>
                    <a:lnTo>
                      <a:pt x="492" y="258"/>
                    </a:lnTo>
                    <a:lnTo>
                      <a:pt x="492" y="252"/>
                    </a:lnTo>
                    <a:lnTo>
                      <a:pt x="492" y="258"/>
                    </a:lnTo>
                    <a:lnTo>
                      <a:pt x="498" y="264"/>
                    </a:lnTo>
                    <a:lnTo>
                      <a:pt x="492" y="264"/>
                    </a:lnTo>
                    <a:lnTo>
                      <a:pt x="498" y="264"/>
                    </a:lnTo>
                    <a:lnTo>
                      <a:pt x="498" y="270"/>
                    </a:lnTo>
                    <a:lnTo>
                      <a:pt x="504" y="270"/>
                    </a:lnTo>
                    <a:lnTo>
                      <a:pt x="504" y="276"/>
                    </a:lnTo>
                    <a:lnTo>
                      <a:pt x="504" y="282"/>
                    </a:lnTo>
                    <a:lnTo>
                      <a:pt x="510" y="282"/>
                    </a:lnTo>
                    <a:lnTo>
                      <a:pt x="510" y="288"/>
                    </a:lnTo>
                    <a:lnTo>
                      <a:pt x="510" y="294"/>
                    </a:lnTo>
                    <a:lnTo>
                      <a:pt x="516" y="294"/>
                    </a:lnTo>
                    <a:lnTo>
                      <a:pt x="510" y="294"/>
                    </a:lnTo>
                    <a:lnTo>
                      <a:pt x="516" y="294"/>
                    </a:lnTo>
                    <a:lnTo>
                      <a:pt x="516" y="300"/>
                    </a:lnTo>
                    <a:lnTo>
                      <a:pt x="516" y="306"/>
                    </a:lnTo>
                    <a:lnTo>
                      <a:pt x="522" y="306"/>
                    </a:lnTo>
                    <a:lnTo>
                      <a:pt x="516" y="306"/>
                    </a:lnTo>
                    <a:lnTo>
                      <a:pt x="516" y="312"/>
                    </a:lnTo>
                    <a:lnTo>
                      <a:pt x="516" y="318"/>
                    </a:lnTo>
                    <a:lnTo>
                      <a:pt x="522" y="324"/>
                    </a:lnTo>
                    <a:lnTo>
                      <a:pt x="522" y="330"/>
                    </a:lnTo>
                    <a:lnTo>
                      <a:pt x="522" y="336"/>
                    </a:lnTo>
                    <a:lnTo>
                      <a:pt x="528" y="336"/>
                    </a:lnTo>
                    <a:lnTo>
                      <a:pt x="528" y="342"/>
                    </a:lnTo>
                    <a:lnTo>
                      <a:pt x="534" y="348"/>
                    </a:lnTo>
                    <a:lnTo>
                      <a:pt x="534" y="354"/>
                    </a:lnTo>
                    <a:lnTo>
                      <a:pt x="540" y="360"/>
                    </a:lnTo>
                    <a:lnTo>
                      <a:pt x="540" y="366"/>
                    </a:lnTo>
                    <a:lnTo>
                      <a:pt x="546" y="366"/>
                    </a:lnTo>
                    <a:lnTo>
                      <a:pt x="546" y="372"/>
                    </a:lnTo>
                    <a:lnTo>
                      <a:pt x="552" y="378"/>
                    </a:lnTo>
                    <a:lnTo>
                      <a:pt x="552" y="384"/>
                    </a:lnTo>
                    <a:lnTo>
                      <a:pt x="558" y="390"/>
                    </a:lnTo>
                    <a:lnTo>
                      <a:pt x="552" y="390"/>
                    </a:lnTo>
                    <a:lnTo>
                      <a:pt x="558" y="390"/>
                    </a:lnTo>
                    <a:lnTo>
                      <a:pt x="558" y="396"/>
                    </a:lnTo>
                    <a:lnTo>
                      <a:pt x="558" y="402"/>
                    </a:lnTo>
                    <a:lnTo>
                      <a:pt x="564" y="402"/>
                    </a:lnTo>
                    <a:lnTo>
                      <a:pt x="564" y="408"/>
                    </a:lnTo>
                    <a:lnTo>
                      <a:pt x="564" y="414"/>
                    </a:lnTo>
                    <a:lnTo>
                      <a:pt x="570" y="414"/>
                    </a:lnTo>
                    <a:lnTo>
                      <a:pt x="570" y="420"/>
                    </a:lnTo>
                    <a:lnTo>
                      <a:pt x="570" y="426"/>
                    </a:lnTo>
                    <a:lnTo>
                      <a:pt x="576" y="426"/>
                    </a:lnTo>
                    <a:lnTo>
                      <a:pt x="570" y="426"/>
                    </a:lnTo>
                    <a:lnTo>
                      <a:pt x="576" y="426"/>
                    </a:lnTo>
                    <a:lnTo>
                      <a:pt x="576" y="432"/>
                    </a:lnTo>
                    <a:lnTo>
                      <a:pt x="576" y="438"/>
                    </a:lnTo>
                    <a:lnTo>
                      <a:pt x="582" y="438"/>
                    </a:lnTo>
                    <a:lnTo>
                      <a:pt x="582" y="444"/>
                    </a:lnTo>
                    <a:lnTo>
                      <a:pt x="582" y="450"/>
                    </a:lnTo>
                    <a:lnTo>
                      <a:pt x="582" y="456"/>
                    </a:lnTo>
                    <a:lnTo>
                      <a:pt x="588" y="456"/>
                    </a:lnTo>
                    <a:lnTo>
                      <a:pt x="588" y="462"/>
                    </a:lnTo>
                    <a:lnTo>
                      <a:pt x="594" y="462"/>
                    </a:lnTo>
                    <a:lnTo>
                      <a:pt x="594" y="468"/>
                    </a:lnTo>
                    <a:lnTo>
                      <a:pt x="600" y="468"/>
                    </a:lnTo>
                    <a:lnTo>
                      <a:pt x="600" y="474"/>
                    </a:lnTo>
                    <a:lnTo>
                      <a:pt x="606" y="474"/>
                    </a:lnTo>
                    <a:lnTo>
                      <a:pt x="600" y="474"/>
                    </a:lnTo>
                    <a:lnTo>
                      <a:pt x="606" y="474"/>
                    </a:lnTo>
                    <a:lnTo>
                      <a:pt x="606" y="480"/>
                    </a:lnTo>
                    <a:lnTo>
                      <a:pt x="612" y="480"/>
                    </a:lnTo>
                    <a:lnTo>
                      <a:pt x="612" y="486"/>
                    </a:lnTo>
                    <a:lnTo>
                      <a:pt x="618" y="486"/>
                    </a:lnTo>
                    <a:lnTo>
                      <a:pt x="618" y="492"/>
                    </a:lnTo>
                    <a:lnTo>
                      <a:pt x="618" y="486"/>
                    </a:lnTo>
                    <a:lnTo>
                      <a:pt x="612" y="486"/>
                    </a:lnTo>
                    <a:lnTo>
                      <a:pt x="606" y="486"/>
                    </a:lnTo>
                    <a:lnTo>
                      <a:pt x="600" y="486"/>
                    </a:lnTo>
                    <a:lnTo>
                      <a:pt x="600" y="492"/>
                    </a:lnTo>
                    <a:lnTo>
                      <a:pt x="600" y="498"/>
                    </a:lnTo>
                    <a:lnTo>
                      <a:pt x="600" y="492"/>
                    </a:lnTo>
                    <a:lnTo>
                      <a:pt x="600" y="498"/>
                    </a:lnTo>
                    <a:lnTo>
                      <a:pt x="606" y="498"/>
                    </a:lnTo>
                    <a:lnTo>
                      <a:pt x="600" y="498"/>
                    </a:lnTo>
                    <a:lnTo>
                      <a:pt x="606" y="498"/>
                    </a:lnTo>
                    <a:lnTo>
                      <a:pt x="606" y="504"/>
                    </a:lnTo>
                    <a:lnTo>
                      <a:pt x="600" y="504"/>
                    </a:lnTo>
                    <a:lnTo>
                      <a:pt x="600" y="510"/>
                    </a:lnTo>
                    <a:lnTo>
                      <a:pt x="606" y="510"/>
                    </a:lnTo>
                    <a:lnTo>
                      <a:pt x="606" y="504"/>
                    </a:lnTo>
                    <a:lnTo>
                      <a:pt x="606" y="510"/>
                    </a:lnTo>
                    <a:lnTo>
                      <a:pt x="600" y="510"/>
                    </a:lnTo>
                    <a:lnTo>
                      <a:pt x="606" y="510"/>
                    </a:lnTo>
                    <a:lnTo>
                      <a:pt x="600" y="510"/>
                    </a:lnTo>
                    <a:lnTo>
                      <a:pt x="600" y="516"/>
                    </a:lnTo>
                    <a:lnTo>
                      <a:pt x="606" y="516"/>
                    </a:lnTo>
                    <a:lnTo>
                      <a:pt x="606" y="522"/>
                    </a:lnTo>
                    <a:lnTo>
                      <a:pt x="606" y="528"/>
                    </a:lnTo>
                    <a:lnTo>
                      <a:pt x="606" y="534"/>
                    </a:lnTo>
                    <a:lnTo>
                      <a:pt x="612" y="534"/>
                    </a:lnTo>
                    <a:lnTo>
                      <a:pt x="606" y="534"/>
                    </a:lnTo>
                    <a:lnTo>
                      <a:pt x="606" y="540"/>
                    </a:lnTo>
                    <a:lnTo>
                      <a:pt x="600" y="540"/>
                    </a:lnTo>
                    <a:lnTo>
                      <a:pt x="600" y="546"/>
                    </a:lnTo>
                    <a:lnTo>
                      <a:pt x="594" y="546"/>
                    </a:lnTo>
                    <a:lnTo>
                      <a:pt x="594" y="552"/>
                    </a:lnTo>
                    <a:lnTo>
                      <a:pt x="588" y="552"/>
                    </a:lnTo>
                    <a:lnTo>
                      <a:pt x="588" y="558"/>
                    </a:lnTo>
                    <a:lnTo>
                      <a:pt x="582" y="558"/>
                    </a:lnTo>
                    <a:lnTo>
                      <a:pt x="582" y="552"/>
                    </a:lnTo>
                    <a:lnTo>
                      <a:pt x="576" y="552"/>
                    </a:lnTo>
                    <a:lnTo>
                      <a:pt x="570" y="552"/>
                    </a:lnTo>
                    <a:lnTo>
                      <a:pt x="570" y="558"/>
                    </a:lnTo>
                    <a:lnTo>
                      <a:pt x="570" y="564"/>
                    </a:lnTo>
                    <a:lnTo>
                      <a:pt x="564" y="564"/>
                    </a:lnTo>
                    <a:lnTo>
                      <a:pt x="564" y="570"/>
                    </a:lnTo>
                    <a:lnTo>
                      <a:pt x="564" y="576"/>
                    </a:lnTo>
                    <a:lnTo>
                      <a:pt x="558" y="582"/>
                    </a:lnTo>
                    <a:lnTo>
                      <a:pt x="558" y="588"/>
                    </a:lnTo>
                    <a:lnTo>
                      <a:pt x="552" y="588"/>
                    </a:lnTo>
                    <a:lnTo>
                      <a:pt x="546" y="588"/>
                    </a:lnTo>
                    <a:lnTo>
                      <a:pt x="540" y="588"/>
                    </a:lnTo>
                    <a:lnTo>
                      <a:pt x="534" y="588"/>
                    </a:lnTo>
                    <a:lnTo>
                      <a:pt x="528" y="588"/>
                    </a:lnTo>
                    <a:lnTo>
                      <a:pt x="528" y="594"/>
                    </a:lnTo>
                    <a:lnTo>
                      <a:pt x="528" y="600"/>
                    </a:lnTo>
                    <a:lnTo>
                      <a:pt x="522" y="606"/>
                    </a:lnTo>
                    <a:lnTo>
                      <a:pt x="522" y="612"/>
                    </a:lnTo>
                    <a:lnTo>
                      <a:pt x="522" y="618"/>
                    </a:lnTo>
                    <a:lnTo>
                      <a:pt x="516" y="618"/>
                    </a:lnTo>
                    <a:lnTo>
                      <a:pt x="510" y="618"/>
                    </a:lnTo>
                    <a:lnTo>
                      <a:pt x="504" y="618"/>
                    </a:lnTo>
                    <a:lnTo>
                      <a:pt x="498" y="618"/>
                    </a:lnTo>
                    <a:lnTo>
                      <a:pt x="492" y="618"/>
                    </a:lnTo>
                    <a:lnTo>
                      <a:pt x="474" y="600"/>
                    </a:lnTo>
                    <a:lnTo>
                      <a:pt x="432" y="606"/>
                    </a:lnTo>
                    <a:lnTo>
                      <a:pt x="378" y="606"/>
                    </a:lnTo>
                    <a:lnTo>
                      <a:pt x="372" y="600"/>
                    </a:lnTo>
                    <a:lnTo>
                      <a:pt x="378" y="600"/>
                    </a:lnTo>
                    <a:lnTo>
                      <a:pt x="378" y="594"/>
                    </a:lnTo>
                    <a:lnTo>
                      <a:pt x="378" y="588"/>
                    </a:lnTo>
                    <a:lnTo>
                      <a:pt x="378" y="594"/>
                    </a:lnTo>
                    <a:lnTo>
                      <a:pt x="372" y="594"/>
                    </a:lnTo>
                    <a:lnTo>
                      <a:pt x="372" y="600"/>
                    </a:lnTo>
                    <a:lnTo>
                      <a:pt x="372" y="606"/>
                    </a:lnTo>
                    <a:lnTo>
                      <a:pt x="18" y="606"/>
                    </a:lnTo>
                    <a:lnTo>
                      <a:pt x="18" y="258"/>
                    </a:lnTo>
                    <a:lnTo>
                      <a:pt x="18" y="234"/>
                    </a:lnTo>
                    <a:lnTo>
                      <a:pt x="18" y="228"/>
                    </a:lnTo>
                    <a:lnTo>
                      <a:pt x="18" y="222"/>
                    </a:lnTo>
                    <a:lnTo>
                      <a:pt x="18" y="216"/>
                    </a:lnTo>
                    <a:lnTo>
                      <a:pt x="18" y="210"/>
                    </a:lnTo>
                    <a:lnTo>
                      <a:pt x="18" y="204"/>
                    </a:lnTo>
                    <a:lnTo>
                      <a:pt x="18" y="198"/>
                    </a:lnTo>
                    <a:lnTo>
                      <a:pt x="18" y="192"/>
                    </a:lnTo>
                    <a:lnTo>
                      <a:pt x="18" y="186"/>
                    </a:lnTo>
                    <a:lnTo>
                      <a:pt x="18" y="180"/>
                    </a:lnTo>
                    <a:lnTo>
                      <a:pt x="18" y="174"/>
                    </a:lnTo>
                    <a:lnTo>
                      <a:pt x="18" y="168"/>
                    </a:lnTo>
                    <a:lnTo>
                      <a:pt x="18" y="162"/>
                    </a:lnTo>
                    <a:lnTo>
                      <a:pt x="18" y="156"/>
                    </a:lnTo>
                    <a:lnTo>
                      <a:pt x="18" y="150"/>
                    </a:lnTo>
                    <a:lnTo>
                      <a:pt x="12" y="144"/>
                    </a:lnTo>
                    <a:lnTo>
                      <a:pt x="12" y="138"/>
                    </a:lnTo>
                    <a:lnTo>
                      <a:pt x="12" y="132"/>
                    </a:lnTo>
                    <a:lnTo>
                      <a:pt x="12" y="126"/>
                    </a:lnTo>
                    <a:lnTo>
                      <a:pt x="6" y="120"/>
                    </a:lnTo>
                    <a:lnTo>
                      <a:pt x="6" y="114"/>
                    </a:lnTo>
                    <a:lnTo>
                      <a:pt x="6" y="108"/>
                    </a:lnTo>
                    <a:lnTo>
                      <a:pt x="6" y="102"/>
                    </a:lnTo>
                    <a:lnTo>
                      <a:pt x="0" y="96"/>
                    </a:lnTo>
                    <a:lnTo>
                      <a:pt x="6" y="90"/>
                    </a:lnTo>
                    <a:lnTo>
                      <a:pt x="6" y="84"/>
                    </a:lnTo>
                    <a:lnTo>
                      <a:pt x="12" y="84"/>
                    </a:lnTo>
                    <a:lnTo>
                      <a:pt x="12" y="78"/>
                    </a:lnTo>
                    <a:lnTo>
                      <a:pt x="12" y="72"/>
                    </a:lnTo>
                    <a:lnTo>
                      <a:pt x="18" y="72"/>
                    </a:lnTo>
                    <a:lnTo>
                      <a:pt x="18" y="66"/>
                    </a:lnTo>
                    <a:lnTo>
                      <a:pt x="18" y="60"/>
                    </a:lnTo>
                    <a:lnTo>
                      <a:pt x="18" y="54"/>
                    </a:lnTo>
                    <a:lnTo>
                      <a:pt x="18" y="48"/>
                    </a:lnTo>
                    <a:lnTo>
                      <a:pt x="18" y="42"/>
                    </a:lnTo>
                    <a:lnTo>
                      <a:pt x="12" y="42"/>
                    </a:lnTo>
                    <a:lnTo>
                      <a:pt x="12" y="36"/>
                    </a:lnTo>
                    <a:lnTo>
                      <a:pt x="12" y="30"/>
                    </a:lnTo>
                    <a:lnTo>
                      <a:pt x="12" y="24"/>
                    </a:lnTo>
                    <a:lnTo>
                      <a:pt x="12" y="18"/>
                    </a:lnTo>
                    <a:lnTo>
                      <a:pt x="12" y="12"/>
                    </a:lnTo>
                    <a:lnTo>
                      <a:pt x="18" y="12"/>
                    </a:lnTo>
                    <a:lnTo>
                      <a:pt x="24" y="6"/>
                    </a:lnTo>
                    <a:lnTo>
                      <a:pt x="24" y="0"/>
                    </a:lnTo>
                    <a:lnTo>
                      <a:pt x="30" y="6"/>
                    </a:lnTo>
                    <a:lnTo>
                      <a:pt x="30" y="12"/>
                    </a:lnTo>
                    <a:lnTo>
                      <a:pt x="36" y="12"/>
                    </a:lnTo>
                    <a:lnTo>
                      <a:pt x="42" y="12"/>
                    </a:lnTo>
                    <a:lnTo>
                      <a:pt x="48" y="12"/>
                    </a:lnTo>
                    <a:lnTo>
                      <a:pt x="48" y="6"/>
                    </a:lnTo>
                    <a:lnTo>
                      <a:pt x="54" y="6"/>
                    </a:lnTo>
                    <a:lnTo>
                      <a:pt x="60" y="6"/>
                    </a:lnTo>
                    <a:lnTo>
                      <a:pt x="66" y="0"/>
                    </a:lnTo>
                    <a:lnTo>
                      <a:pt x="72" y="0"/>
                    </a:lnTo>
                    <a:lnTo>
                      <a:pt x="72" y="6"/>
                    </a:lnTo>
                    <a:lnTo>
                      <a:pt x="78" y="6"/>
                    </a:lnTo>
                    <a:lnTo>
                      <a:pt x="84" y="6"/>
                    </a:lnTo>
                    <a:lnTo>
                      <a:pt x="90" y="6"/>
                    </a:lnTo>
                    <a:lnTo>
                      <a:pt x="96" y="6"/>
                    </a:lnTo>
                    <a:lnTo>
                      <a:pt x="96" y="12"/>
                    </a:lnTo>
                    <a:lnTo>
                      <a:pt x="102" y="12"/>
                    </a:lnTo>
                    <a:lnTo>
                      <a:pt x="108" y="12"/>
                    </a:lnTo>
                    <a:lnTo>
                      <a:pt x="114" y="12"/>
                    </a:lnTo>
                    <a:lnTo>
                      <a:pt x="120" y="12"/>
                    </a:lnTo>
                    <a:lnTo>
                      <a:pt x="126" y="12"/>
                    </a:lnTo>
                    <a:lnTo>
                      <a:pt x="132" y="18"/>
                    </a:lnTo>
                    <a:lnTo>
                      <a:pt x="138" y="18"/>
                    </a:lnTo>
                    <a:lnTo>
                      <a:pt x="144" y="18"/>
                    </a:lnTo>
                    <a:lnTo>
                      <a:pt x="150" y="18"/>
                    </a:lnTo>
                    <a:lnTo>
                      <a:pt x="150" y="24"/>
                    </a:lnTo>
                    <a:lnTo>
                      <a:pt x="150" y="30"/>
                    </a:lnTo>
                    <a:lnTo>
                      <a:pt x="156" y="30"/>
                    </a:lnTo>
                    <a:lnTo>
                      <a:pt x="162" y="30"/>
                    </a:lnTo>
                    <a:lnTo>
                      <a:pt x="168" y="30"/>
                    </a:lnTo>
                    <a:lnTo>
                      <a:pt x="174" y="30"/>
                    </a:lnTo>
                    <a:lnTo>
                      <a:pt x="180" y="24"/>
                    </a:lnTo>
                    <a:lnTo>
                      <a:pt x="180" y="30"/>
                    </a:lnTo>
                    <a:lnTo>
                      <a:pt x="180" y="36"/>
                    </a:lnTo>
                    <a:lnTo>
                      <a:pt x="186" y="36"/>
                    </a:lnTo>
                    <a:lnTo>
                      <a:pt x="192" y="36"/>
                    </a:lnTo>
                    <a:lnTo>
                      <a:pt x="198" y="36"/>
                    </a:lnTo>
                    <a:lnTo>
                      <a:pt x="204" y="36"/>
                    </a:lnTo>
                    <a:lnTo>
                      <a:pt x="210" y="36"/>
                    </a:lnTo>
                    <a:lnTo>
                      <a:pt x="210" y="42"/>
                    </a:lnTo>
                    <a:lnTo>
                      <a:pt x="216" y="42"/>
                    </a:lnTo>
                    <a:lnTo>
                      <a:pt x="222" y="42"/>
                    </a:lnTo>
                    <a:lnTo>
                      <a:pt x="228" y="42"/>
                    </a:lnTo>
                    <a:lnTo>
                      <a:pt x="228" y="48"/>
                    </a:lnTo>
                    <a:lnTo>
                      <a:pt x="234" y="48"/>
                    </a:lnTo>
                    <a:lnTo>
                      <a:pt x="234" y="54"/>
                    </a:lnTo>
                    <a:lnTo>
                      <a:pt x="240" y="54"/>
                    </a:lnTo>
                    <a:lnTo>
                      <a:pt x="246" y="54"/>
                    </a:lnTo>
                    <a:lnTo>
                      <a:pt x="252" y="54"/>
                    </a:lnTo>
                    <a:lnTo>
                      <a:pt x="258" y="54"/>
                    </a:lnTo>
                    <a:lnTo>
                      <a:pt x="258" y="48"/>
                    </a:lnTo>
                    <a:lnTo>
                      <a:pt x="264" y="48"/>
                    </a:lnTo>
                    <a:lnTo>
                      <a:pt x="270" y="48"/>
                    </a:lnTo>
                    <a:lnTo>
                      <a:pt x="270" y="42"/>
                    </a:lnTo>
                    <a:lnTo>
                      <a:pt x="276" y="42"/>
                    </a:lnTo>
                    <a:lnTo>
                      <a:pt x="276" y="36"/>
                    </a:lnTo>
                    <a:lnTo>
                      <a:pt x="282" y="36"/>
                    </a:lnTo>
                    <a:lnTo>
                      <a:pt x="288" y="36"/>
                    </a:lnTo>
                    <a:lnTo>
                      <a:pt x="288" y="30"/>
                    </a:lnTo>
                    <a:lnTo>
                      <a:pt x="294" y="30"/>
                    </a:lnTo>
                    <a:lnTo>
                      <a:pt x="294" y="24"/>
                    </a:lnTo>
                    <a:lnTo>
                      <a:pt x="300" y="24"/>
                    </a:lnTo>
                    <a:lnTo>
                      <a:pt x="306" y="24"/>
                    </a:lnTo>
                    <a:lnTo>
                      <a:pt x="312" y="24"/>
                    </a:lnTo>
                    <a:lnTo>
                      <a:pt x="312" y="18"/>
                    </a:lnTo>
                    <a:lnTo>
                      <a:pt x="318" y="18"/>
                    </a:lnTo>
                    <a:lnTo>
                      <a:pt x="318" y="12"/>
                    </a:lnTo>
                    <a:lnTo>
                      <a:pt x="324" y="12"/>
                    </a:lnTo>
                    <a:lnTo>
                      <a:pt x="330" y="12"/>
                    </a:lnTo>
                    <a:lnTo>
                      <a:pt x="336" y="12"/>
                    </a:lnTo>
                    <a:lnTo>
                      <a:pt x="342" y="6"/>
                    </a:lnTo>
                    <a:lnTo>
                      <a:pt x="348" y="6"/>
                    </a:lnTo>
                    <a:lnTo>
                      <a:pt x="342" y="6"/>
                    </a:lnTo>
                    <a:lnTo>
                      <a:pt x="342" y="12"/>
                    </a:lnTo>
                    <a:lnTo>
                      <a:pt x="336" y="12"/>
                    </a:lnTo>
                    <a:lnTo>
                      <a:pt x="330" y="12"/>
                    </a:lnTo>
                    <a:lnTo>
                      <a:pt x="330" y="18"/>
                    </a:lnTo>
                    <a:lnTo>
                      <a:pt x="324" y="18"/>
                    </a:lnTo>
                    <a:lnTo>
                      <a:pt x="330" y="18"/>
                    </a:lnTo>
                    <a:lnTo>
                      <a:pt x="336" y="18"/>
                    </a:lnTo>
                    <a:lnTo>
                      <a:pt x="342" y="18"/>
                    </a:lnTo>
                    <a:lnTo>
                      <a:pt x="342" y="12"/>
                    </a:lnTo>
                    <a:lnTo>
                      <a:pt x="342" y="18"/>
                    </a:lnTo>
                    <a:lnTo>
                      <a:pt x="342" y="12"/>
                    </a:lnTo>
                    <a:lnTo>
                      <a:pt x="342" y="18"/>
                    </a:lnTo>
                    <a:lnTo>
                      <a:pt x="342" y="12"/>
                    </a:lnTo>
                    <a:lnTo>
                      <a:pt x="342" y="18"/>
                    </a:lnTo>
                    <a:lnTo>
                      <a:pt x="342" y="12"/>
                    </a:lnTo>
                    <a:lnTo>
                      <a:pt x="348" y="12"/>
                    </a:lnTo>
                    <a:lnTo>
                      <a:pt x="348" y="18"/>
                    </a:lnTo>
                    <a:lnTo>
                      <a:pt x="348" y="12"/>
                    </a:lnTo>
                    <a:lnTo>
                      <a:pt x="354" y="12"/>
                    </a:lnTo>
                    <a:lnTo>
                      <a:pt x="360" y="12"/>
                    </a:lnTo>
                    <a:lnTo>
                      <a:pt x="360" y="6"/>
                    </a:lnTo>
                    <a:lnTo>
                      <a:pt x="354" y="6"/>
                    </a:lnTo>
                    <a:lnTo>
                      <a:pt x="348" y="6"/>
                    </a:lnTo>
                    <a:lnTo>
                      <a:pt x="354" y="6"/>
                    </a:lnTo>
                    <a:lnTo>
                      <a:pt x="360" y="6"/>
                    </a:lnTo>
                    <a:lnTo>
                      <a:pt x="366" y="6"/>
                    </a:lnTo>
                    <a:lnTo>
                      <a:pt x="372" y="6"/>
                    </a:lnTo>
                    <a:lnTo>
                      <a:pt x="372" y="12"/>
                    </a:lnTo>
                    <a:lnTo>
                      <a:pt x="378" y="12"/>
                    </a:lnTo>
                    <a:lnTo>
                      <a:pt x="384" y="12"/>
                    </a:lnTo>
                    <a:lnTo>
                      <a:pt x="390" y="12"/>
                    </a:lnTo>
                    <a:lnTo>
                      <a:pt x="396" y="12"/>
                    </a:lnTo>
                    <a:lnTo>
                      <a:pt x="396" y="6"/>
                    </a:lnTo>
                    <a:lnTo>
                      <a:pt x="396" y="12"/>
                    </a:lnTo>
                    <a:lnTo>
                      <a:pt x="396" y="6"/>
                    </a:lnTo>
                    <a:lnTo>
                      <a:pt x="402" y="12"/>
                    </a:lnTo>
                    <a:lnTo>
                      <a:pt x="402" y="6"/>
                    </a:lnTo>
                    <a:lnTo>
                      <a:pt x="402" y="12"/>
                    </a:lnTo>
                    <a:lnTo>
                      <a:pt x="408" y="12"/>
                    </a:lnTo>
                    <a:lnTo>
                      <a:pt x="408" y="18"/>
                    </a:lnTo>
                    <a:lnTo>
                      <a:pt x="414" y="18"/>
                    </a:lnTo>
                    <a:lnTo>
                      <a:pt x="414" y="24"/>
                    </a:lnTo>
                    <a:lnTo>
                      <a:pt x="420" y="24"/>
                    </a:lnTo>
                    <a:lnTo>
                      <a:pt x="414" y="24"/>
                    </a:lnTo>
                    <a:lnTo>
                      <a:pt x="414" y="18"/>
                    </a:lnTo>
                    <a:lnTo>
                      <a:pt x="408" y="18"/>
                    </a:lnTo>
                    <a:lnTo>
                      <a:pt x="408" y="12"/>
                    </a:lnTo>
                    <a:lnTo>
                      <a:pt x="402" y="12"/>
                    </a:lnTo>
                    <a:lnTo>
                      <a:pt x="402" y="6"/>
                    </a:lnTo>
                    <a:lnTo>
                      <a:pt x="402" y="12"/>
                    </a:lnTo>
                    <a:lnTo>
                      <a:pt x="402" y="18"/>
                    </a:lnTo>
                    <a:lnTo>
                      <a:pt x="402" y="12"/>
                    </a:lnTo>
                    <a:lnTo>
                      <a:pt x="396" y="12"/>
                    </a:lnTo>
                    <a:lnTo>
                      <a:pt x="402" y="12"/>
                    </a:lnTo>
                    <a:lnTo>
                      <a:pt x="402" y="18"/>
                    </a:lnTo>
                    <a:lnTo>
                      <a:pt x="396" y="18"/>
                    </a:lnTo>
                    <a:lnTo>
                      <a:pt x="402" y="18"/>
                    </a:lnTo>
                    <a:lnTo>
                      <a:pt x="396" y="18"/>
                    </a:lnTo>
                    <a:lnTo>
                      <a:pt x="402" y="18"/>
                    </a:lnTo>
                    <a:lnTo>
                      <a:pt x="396" y="18"/>
                    </a:lnTo>
                    <a:lnTo>
                      <a:pt x="402" y="18"/>
                    </a:lnTo>
                    <a:lnTo>
                      <a:pt x="396" y="18"/>
                    </a:lnTo>
                    <a:lnTo>
                      <a:pt x="396" y="24"/>
                    </a:lnTo>
                    <a:lnTo>
                      <a:pt x="402" y="24"/>
                    </a:lnTo>
                    <a:lnTo>
                      <a:pt x="396" y="24"/>
                    </a:lnTo>
                    <a:lnTo>
                      <a:pt x="402" y="24"/>
                    </a:lnTo>
                    <a:lnTo>
                      <a:pt x="396" y="24"/>
                    </a:lnTo>
                    <a:lnTo>
                      <a:pt x="402" y="30"/>
                    </a:lnTo>
                    <a:lnTo>
                      <a:pt x="402" y="24"/>
                    </a:lnTo>
                    <a:lnTo>
                      <a:pt x="402" y="30"/>
                    </a:lnTo>
                    <a:lnTo>
                      <a:pt x="408" y="30"/>
                    </a:lnTo>
                    <a:lnTo>
                      <a:pt x="408" y="24"/>
                    </a:lnTo>
                    <a:lnTo>
                      <a:pt x="408" y="30"/>
                    </a:lnTo>
                    <a:lnTo>
                      <a:pt x="408" y="36"/>
                    </a:lnTo>
                    <a:lnTo>
                      <a:pt x="414" y="36"/>
                    </a:lnTo>
                    <a:lnTo>
                      <a:pt x="408" y="36"/>
                    </a:lnTo>
                    <a:lnTo>
                      <a:pt x="414" y="36"/>
                    </a:lnTo>
                    <a:lnTo>
                      <a:pt x="414" y="42"/>
                    </a:lnTo>
                    <a:lnTo>
                      <a:pt x="414" y="36"/>
                    </a:lnTo>
                    <a:lnTo>
                      <a:pt x="420" y="36"/>
                    </a:lnTo>
                    <a:lnTo>
                      <a:pt x="414" y="36"/>
                    </a:lnTo>
                    <a:lnTo>
                      <a:pt x="414" y="30"/>
                    </a:lnTo>
                    <a:lnTo>
                      <a:pt x="420" y="30"/>
                    </a:lnTo>
                    <a:lnTo>
                      <a:pt x="420" y="36"/>
                    </a:lnTo>
                    <a:lnTo>
                      <a:pt x="426" y="36"/>
                    </a:lnTo>
                    <a:lnTo>
                      <a:pt x="420" y="30"/>
                    </a:lnTo>
                    <a:lnTo>
                      <a:pt x="426" y="30"/>
                    </a:lnTo>
                    <a:lnTo>
                      <a:pt x="420" y="24"/>
                    </a:lnTo>
                    <a:lnTo>
                      <a:pt x="426" y="24"/>
                    </a:lnTo>
                    <a:lnTo>
                      <a:pt x="420" y="24"/>
                    </a:lnTo>
                    <a:lnTo>
                      <a:pt x="426" y="24"/>
                    </a:lnTo>
                    <a:lnTo>
                      <a:pt x="420" y="24"/>
                    </a:lnTo>
                    <a:lnTo>
                      <a:pt x="426" y="24"/>
                    </a:lnTo>
                    <a:lnTo>
                      <a:pt x="426" y="30"/>
                    </a:lnTo>
                    <a:lnTo>
                      <a:pt x="426" y="36"/>
                    </a:lnTo>
                    <a:lnTo>
                      <a:pt x="426" y="30"/>
                    </a:lnTo>
                    <a:lnTo>
                      <a:pt x="432" y="30"/>
                    </a:lnTo>
                    <a:lnTo>
                      <a:pt x="426" y="30"/>
                    </a:lnTo>
                    <a:lnTo>
                      <a:pt x="432" y="30"/>
                    </a:lnTo>
                    <a:lnTo>
                      <a:pt x="426" y="30"/>
                    </a:lnTo>
                    <a:lnTo>
                      <a:pt x="432" y="30"/>
                    </a:lnTo>
                    <a:lnTo>
                      <a:pt x="432" y="36"/>
                    </a:lnTo>
                    <a:lnTo>
                      <a:pt x="438" y="36"/>
                    </a:lnTo>
                    <a:lnTo>
                      <a:pt x="438" y="42"/>
                    </a:lnTo>
                    <a:lnTo>
                      <a:pt x="444" y="42"/>
                    </a:lnTo>
                    <a:lnTo>
                      <a:pt x="450" y="36"/>
                    </a:lnTo>
                    <a:lnTo>
                      <a:pt x="456" y="36"/>
                    </a:lnTo>
                    <a:lnTo>
                      <a:pt x="462" y="36"/>
                    </a:lnTo>
                    <a:lnTo>
                      <a:pt x="456" y="36"/>
                    </a:lnTo>
                    <a:lnTo>
                      <a:pt x="450" y="36"/>
                    </a:lnTo>
                    <a:lnTo>
                      <a:pt x="450" y="42"/>
                    </a:lnTo>
                    <a:lnTo>
                      <a:pt x="444" y="42"/>
                    </a:lnTo>
                    <a:lnTo>
                      <a:pt x="450" y="42"/>
                    </a:lnTo>
                    <a:lnTo>
                      <a:pt x="444" y="42"/>
                    </a:lnTo>
                    <a:lnTo>
                      <a:pt x="450" y="42"/>
                    </a:lnTo>
                    <a:lnTo>
                      <a:pt x="456" y="36"/>
                    </a:lnTo>
                    <a:lnTo>
                      <a:pt x="462" y="36"/>
                    </a:lnTo>
                    <a:lnTo>
                      <a:pt x="456" y="36"/>
                    </a:lnTo>
                    <a:lnTo>
                      <a:pt x="462" y="36"/>
                    </a:lnTo>
                    <a:lnTo>
                      <a:pt x="456" y="36"/>
                    </a:lnTo>
                    <a:lnTo>
                      <a:pt x="462" y="36"/>
                    </a:lnTo>
                    <a:lnTo>
                      <a:pt x="462" y="42"/>
                    </a:lnTo>
                    <a:lnTo>
                      <a:pt x="462" y="36"/>
                    </a:lnTo>
                    <a:lnTo>
                      <a:pt x="468" y="36"/>
                    </a:lnTo>
                    <a:lnTo>
                      <a:pt x="462" y="36"/>
                    </a:lnTo>
                    <a:lnTo>
                      <a:pt x="468" y="36"/>
                    </a:lnTo>
                    <a:lnTo>
                      <a:pt x="468" y="30"/>
                    </a:lnTo>
                    <a:lnTo>
                      <a:pt x="468" y="36"/>
                    </a:lnTo>
                    <a:lnTo>
                      <a:pt x="474" y="36"/>
                    </a:lnTo>
                    <a:lnTo>
                      <a:pt x="468" y="36"/>
                    </a:lnTo>
                    <a:lnTo>
                      <a:pt x="474" y="36"/>
                    </a:lnTo>
                    <a:lnTo>
                      <a:pt x="468" y="42"/>
                    </a:lnTo>
                    <a:lnTo>
                      <a:pt x="474" y="42"/>
                    </a:lnTo>
                    <a:lnTo>
                      <a:pt x="474" y="36"/>
                    </a:lnTo>
                    <a:lnTo>
                      <a:pt x="480" y="36"/>
                    </a:lnTo>
                    <a:lnTo>
                      <a:pt x="474" y="36"/>
                    </a:lnTo>
                    <a:lnTo>
                      <a:pt x="480" y="36"/>
                    </a:lnTo>
                    <a:lnTo>
                      <a:pt x="480" y="42"/>
                    </a:lnTo>
                    <a:lnTo>
                      <a:pt x="480" y="36"/>
                    </a:lnTo>
                    <a:lnTo>
                      <a:pt x="486" y="36"/>
                    </a:lnTo>
                    <a:lnTo>
                      <a:pt x="480" y="36"/>
                    </a:lnTo>
                    <a:lnTo>
                      <a:pt x="486" y="36"/>
                    </a:lnTo>
                    <a:lnTo>
                      <a:pt x="492" y="36"/>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close/>
                    <a:moveTo>
                      <a:pt x="516" y="264"/>
                    </a:moveTo>
                    <a:lnTo>
                      <a:pt x="522" y="264"/>
                    </a:lnTo>
                    <a:lnTo>
                      <a:pt x="522" y="270"/>
                    </a:lnTo>
                    <a:lnTo>
                      <a:pt x="516" y="270"/>
                    </a:lnTo>
                    <a:lnTo>
                      <a:pt x="516" y="264"/>
                    </a:lnTo>
                    <a:close/>
                    <a:moveTo>
                      <a:pt x="462" y="36"/>
                    </a:moveTo>
                    <a:lnTo>
                      <a:pt x="462" y="30"/>
                    </a:lnTo>
                    <a:lnTo>
                      <a:pt x="468" y="30"/>
                    </a:lnTo>
                    <a:lnTo>
                      <a:pt x="474" y="30"/>
                    </a:lnTo>
                    <a:lnTo>
                      <a:pt x="480" y="30"/>
                    </a:lnTo>
                    <a:lnTo>
                      <a:pt x="474" y="30"/>
                    </a:lnTo>
                    <a:lnTo>
                      <a:pt x="468" y="30"/>
                    </a:lnTo>
                    <a:lnTo>
                      <a:pt x="462" y="30"/>
                    </a:lnTo>
                    <a:lnTo>
                      <a:pt x="462" y="36"/>
                    </a:lnTo>
                    <a:close/>
                    <a:moveTo>
                      <a:pt x="504" y="258"/>
                    </a:moveTo>
                    <a:lnTo>
                      <a:pt x="510" y="258"/>
                    </a:lnTo>
                    <a:lnTo>
                      <a:pt x="510" y="264"/>
                    </a:lnTo>
                    <a:lnTo>
                      <a:pt x="504" y="264"/>
                    </a:lnTo>
                    <a:lnTo>
                      <a:pt x="504" y="258"/>
                    </a:lnTo>
                    <a:close/>
                    <a:moveTo>
                      <a:pt x="402" y="24"/>
                    </a:moveTo>
                    <a:lnTo>
                      <a:pt x="408" y="24"/>
                    </a:lnTo>
                    <a:lnTo>
                      <a:pt x="402" y="24"/>
                    </a:lnTo>
                    <a:close/>
                    <a:moveTo>
                      <a:pt x="516" y="282"/>
                    </a:moveTo>
                    <a:lnTo>
                      <a:pt x="516" y="288"/>
                    </a:lnTo>
                    <a:lnTo>
                      <a:pt x="517" y="288"/>
                    </a:lnTo>
                    <a:lnTo>
                      <a:pt x="516" y="282"/>
                    </a:lnTo>
                    <a:close/>
                    <a:moveTo>
                      <a:pt x="606" y="528"/>
                    </a:moveTo>
                    <a:lnTo>
                      <a:pt x="618" y="528"/>
                    </a:lnTo>
                    <a:lnTo>
                      <a:pt x="618" y="534"/>
                    </a:lnTo>
                    <a:lnTo>
                      <a:pt x="606" y="534"/>
                    </a:lnTo>
                    <a:lnTo>
                      <a:pt x="606" y="528"/>
                    </a:lnTo>
                    <a:close/>
                    <a:moveTo>
                      <a:pt x="480" y="30"/>
                    </a:moveTo>
                    <a:lnTo>
                      <a:pt x="492" y="30"/>
                    </a:lnTo>
                    <a:lnTo>
                      <a:pt x="492" y="36"/>
                    </a:lnTo>
                    <a:lnTo>
                      <a:pt x="480" y="36"/>
                    </a:lnTo>
                    <a:lnTo>
                      <a:pt x="480" y="30"/>
                    </a:lnTo>
                    <a:close/>
                    <a:moveTo>
                      <a:pt x="516" y="312"/>
                    </a:moveTo>
                    <a:lnTo>
                      <a:pt x="522" y="312"/>
                    </a:lnTo>
                    <a:lnTo>
                      <a:pt x="522" y="318"/>
                    </a:lnTo>
                    <a:lnTo>
                      <a:pt x="516" y="318"/>
                    </a:lnTo>
                    <a:lnTo>
                      <a:pt x="516" y="312"/>
                    </a:lnTo>
                    <a:close/>
                    <a:moveTo>
                      <a:pt x="504" y="252"/>
                    </a:moveTo>
                    <a:lnTo>
                      <a:pt x="504" y="258"/>
                    </a:lnTo>
                    <a:lnTo>
                      <a:pt x="505" y="258"/>
                    </a:lnTo>
                    <a:lnTo>
                      <a:pt x="504" y="252"/>
                    </a:lnTo>
                    <a:close/>
                    <a:moveTo>
                      <a:pt x="402" y="12"/>
                    </a:moveTo>
                    <a:lnTo>
                      <a:pt x="408" y="12"/>
                    </a:lnTo>
                    <a:lnTo>
                      <a:pt x="408" y="18"/>
                    </a:lnTo>
                    <a:lnTo>
                      <a:pt x="402" y="18"/>
                    </a:lnTo>
                    <a:lnTo>
                      <a:pt x="402" y="12"/>
                    </a:lnTo>
                    <a:close/>
                    <a:moveTo>
                      <a:pt x="426" y="24"/>
                    </a:moveTo>
                    <a:lnTo>
                      <a:pt x="426" y="30"/>
                    </a:lnTo>
                    <a:lnTo>
                      <a:pt x="427" y="30"/>
                    </a:lnTo>
                    <a:lnTo>
                      <a:pt x="426" y="24"/>
                    </a:lnTo>
                    <a:close/>
                    <a:moveTo>
                      <a:pt x="402" y="6"/>
                    </a:moveTo>
                    <a:lnTo>
                      <a:pt x="402" y="12"/>
                    </a:lnTo>
                    <a:lnTo>
                      <a:pt x="403" y="12"/>
                    </a:lnTo>
                    <a:lnTo>
                      <a:pt x="402" y="6"/>
                    </a:lnTo>
                    <a:close/>
                    <a:moveTo>
                      <a:pt x="420" y="30"/>
                    </a:moveTo>
                    <a:lnTo>
                      <a:pt x="426" y="30"/>
                    </a:lnTo>
                    <a:lnTo>
                      <a:pt x="420" y="30"/>
                    </a:lnTo>
                    <a:close/>
                    <a:moveTo>
                      <a:pt x="594" y="456"/>
                    </a:moveTo>
                    <a:lnTo>
                      <a:pt x="594" y="462"/>
                    </a:lnTo>
                    <a:lnTo>
                      <a:pt x="595" y="462"/>
                    </a:lnTo>
                    <a:lnTo>
                      <a:pt x="594" y="456"/>
                    </a:lnTo>
                    <a:close/>
                    <a:moveTo>
                      <a:pt x="402" y="18"/>
                    </a:moveTo>
                    <a:lnTo>
                      <a:pt x="408" y="18"/>
                    </a:lnTo>
                    <a:lnTo>
                      <a:pt x="402" y="18"/>
                    </a:lnTo>
                    <a:close/>
                    <a:moveTo>
                      <a:pt x="498" y="252"/>
                    </a:moveTo>
                    <a:lnTo>
                      <a:pt x="504" y="252"/>
                    </a:lnTo>
                    <a:lnTo>
                      <a:pt x="498" y="252"/>
                    </a:lnTo>
                    <a:close/>
                    <a:moveTo>
                      <a:pt x="414" y="24"/>
                    </a:moveTo>
                    <a:lnTo>
                      <a:pt x="420" y="24"/>
                    </a:lnTo>
                    <a:lnTo>
                      <a:pt x="420" y="30"/>
                    </a:lnTo>
                    <a:lnTo>
                      <a:pt x="414" y="30"/>
                    </a:lnTo>
                    <a:lnTo>
                      <a:pt x="414" y="24"/>
                    </a:lnTo>
                    <a:close/>
                    <a:moveTo>
                      <a:pt x="582" y="444"/>
                    </a:moveTo>
                    <a:lnTo>
                      <a:pt x="588" y="444"/>
                    </a:lnTo>
                    <a:lnTo>
                      <a:pt x="582" y="444"/>
                    </a:lnTo>
                    <a:close/>
                    <a:moveTo>
                      <a:pt x="498" y="246"/>
                    </a:moveTo>
                    <a:lnTo>
                      <a:pt x="498" y="252"/>
                    </a:lnTo>
                    <a:lnTo>
                      <a:pt x="499" y="252"/>
                    </a:lnTo>
                    <a:lnTo>
                      <a:pt x="498" y="246"/>
                    </a:lnTo>
                    <a:close/>
                    <a:moveTo>
                      <a:pt x="516" y="282"/>
                    </a:moveTo>
                    <a:lnTo>
                      <a:pt x="516" y="288"/>
                    </a:lnTo>
                    <a:lnTo>
                      <a:pt x="517" y="288"/>
                    </a:lnTo>
                    <a:lnTo>
                      <a:pt x="516" y="282"/>
                    </a:lnTo>
                    <a:close/>
                    <a:moveTo>
                      <a:pt x="414" y="30"/>
                    </a:moveTo>
                    <a:lnTo>
                      <a:pt x="420" y="30"/>
                    </a:lnTo>
                    <a:lnTo>
                      <a:pt x="414" y="30"/>
                    </a:lnTo>
                    <a:close/>
                    <a:moveTo>
                      <a:pt x="408" y="18"/>
                    </a:moveTo>
                    <a:lnTo>
                      <a:pt x="414" y="18"/>
                    </a:lnTo>
                    <a:lnTo>
                      <a:pt x="414" y="24"/>
                    </a:lnTo>
                    <a:lnTo>
                      <a:pt x="408" y="24"/>
                    </a:lnTo>
                    <a:lnTo>
                      <a:pt x="408" y="18"/>
                    </a:lnTo>
                    <a:close/>
                    <a:moveTo>
                      <a:pt x="414" y="24"/>
                    </a:moveTo>
                    <a:lnTo>
                      <a:pt x="414" y="30"/>
                    </a:lnTo>
                    <a:lnTo>
                      <a:pt x="415" y="30"/>
                    </a:lnTo>
                    <a:lnTo>
                      <a:pt x="414" y="24"/>
                    </a:lnTo>
                    <a:close/>
                    <a:moveTo>
                      <a:pt x="498" y="252"/>
                    </a:moveTo>
                    <a:lnTo>
                      <a:pt x="498" y="258"/>
                    </a:lnTo>
                    <a:lnTo>
                      <a:pt x="499" y="258"/>
                    </a:lnTo>
                    <a:lnTo>
                      <a:pt x="498" y="252"/>
                    </a:lnTo>
                    <a:close/>
                    <a:moveTo>
                      <a:pt x="402" y="24"/>
                    </a:moveTo>
                    <a:lnTo>
                      <a:pt x="408" y="24"/>
                    </a:lnTo>
                    <a:lnTo>
                      <a:pt x="402" y="24"/>
                    </a:lnTo>
                    <a:close/>
                    <a:moveTo>
                      <a:pt x="594" y="462"/>
                    </a:moveTo>
                    <a:lnTo>
                      <a:pt x="600" y="462"/>
                    </a:lnTo>
                    <a:lnTo>
                      <a:pt x="594" y="462"/>
                    </a:lnTo>
                    <a:close/>
                    <a:moveTo>
                      <a:pt x="510" y="258"/>
                    </a:moveTo>
                    <a:lnTo>
                      <a:pt x="510" y="264"/>
                    </a:lnTo>
                    <a:lnTo>
                      <a:pt x="511" y="264"/>
                    </a:lnTo>
                    <a:lnTo>
                      <a:pt x="510" y="258"/>
                    </a:lnTo>
                    <a:close/>
                    <a:moveTo>
                      <a:pt x="510" y="252"/>
                    </a:moveTo>
                    <a:lnTo>
                      <a:pt x="510" y="258"/>
                    </a:lnTo>
                    <a:lnTo>
                      <a:pt x="511" y="258"/>
                    </a:lnTo>
                    <a:lnTo>
                      <a:pt x="510" y="252"/>
                    </a:lnTo>
                    <a:close/>
                    <a:moveTo>
                      <a:pt x="498" y="258"/>
                    </a:moveTo>
                    <a:lnTo>
                      <a:pt x="504" y="258"/>
                    </a:lnTo>
                    <a:lnTo>
                      <a:pt x="498" y="258"/>
                    </a:lnTo>
                    <a:close/>
                    <a:moveTo>
                      <a:pt x="594" y="462"/>
                    </a:moveTo>
                    <a:lnTo>
                      <a:pt x="600" y="462"/>
                    </a:lnTo>
                    <a:lnTo>
                      <a:pt x="594" y="462"/>
                    </a:lnTo>
                    <a:close/>
                    <a:moveTo>
                      <a:pt x="402" y="18"/>
                    </a:moveTo>
                    <a:lnTo>
                      <a:pt x="402" y="24"/>
                    </a:lnTo>
                    <a:lnTo>
                      <a:pt x="403" y="24"/>
                    </a:lnTo>
                    <a:lnTo>
                      <a:pt x="402" y="18"/>
                    </a:lnTo>
                    <a:close/>
                    <a:moveTo>
                      <a:pt x="504" y="246"/>
                    </a:moveTo>
                    <a:lnTo>
                      <a:pt x="504" y="252"/>
                    </a:lnTo>
                    <a:lnTo>
                      <a:pt x="505" y="252"/>
                    </a:lnTo>
                    <a:lnTo>
                      <a:pt x="504" y="246"/>
                    </a:lnTo>
                    <a:close/>
                    <a:moveTo>
                      <a:pt x="504" y="246"/>
                    </a:moveTo>
                    <a:lnTo>
                      <a:pt x="504" y="252"/>
                    </a:lnTo>
                    <a:lnTo>
                      <a:pt x="505" y="252"/>
                    </a:lnTo>
                    <a:lnTo>
                      <a:pt x="504" y="246"/>
                    </a:lnTo>
                    <a:close/>
                    <a:moveTo>
                      <a:pt x="348" y="6"/>
                    </a:moveTo>
                    <a:lnTo>
                      <a:pt x="354" y="6"/>
                    </a:lnTo>
                    <a:lnTo>
                      <a:pt x="348" y="6"/>
                    </a:lnTo>
                    <a:close/>
                    <a:moveTo>
                      <a:pt x="504" y="264"/>
                    </a:moveTo>
                    <a:lnTo>
                      <a:pt x="510" y="264"/>
                    </a:lnTo>
                    <a:lnTo>
                      <a:pt x="504" y="264"/>
                    </a:lnTo>
                    <a:close/>
                    <a:moveTo>
                      <a:pt x="414" y="24"/>
                    </a:moveTo>
                    <a:lnTo>
                      <a:pt x="420" y="24"/>
                    </a:lnTo>
                    <a:lnTo>
                      <a:pt x="414" y="24"/>
                    </a:lnTo>
                    <a:close/>
                    <a:moveTo>
                      <a:pt x="408" y="18"/>
                    </a:moveTo>
                    <a:lnTo>
                      <a:pt x="408" y="24"/>
                    </a:lnTo>
                    <a:lnTo>
                      <a:pt x="409" y="24"/>
                    </a:lnTo>
                    <a:lnTo>
                      <a:pt x="408" y="18"/>
                    </a:lnTo>
                    <a:close/>
                    <a:moveTo>
                      <a:pt x="576" y="420"/>
                    </a:moveTo>
                    <a:lnTo>
                      <a:pt x="576" y="426"/>
                    </a:lnTo>
                    <a:lnTo>
                      <a:pt x="577" y="426"/>
                    </a:lnTo>
                    <a:lnTo>
                      <a:pt x="576" y="420"/>
                    </a:lnTo>
                    <a:close/>
                    <a:moveTo>
                      <a:pt x="600" y="492"/>
                    </a:moveTo>
                    <a:lnTo>
                      <a:pt x="606" y="492"/>
                    </a:lnTo>
                    <a:lnTo>
                      <a:pt x="600" y="492"/>
                    </a:lnTo>
                    <a:close/>
                    <a:moveTo>
                      <a:pt x="408" y="24"/>
                    </a:moveTo>
                    <a:lnTo>
                      <a:pt x="408" y="30"/>
                    </a:lnTo>
                    <a:lnTo>
                      <a:pt x="409" y="30"/>
                    </a:lnTo>
                    <a:lnTo>
                      <a:pt x="408" y="24"/>
                    </a:lnTo>
                    <a:close/>
                    <a:moveTo>
                      <a:pt x="348" y="6"/>
                    </a:moveTo>
                    <a:lnTo>
                      <a:pt x="348" y="12"/>
                    </a:lnTo>
                    <a:lnTo>
                      <a:pt x="349" y="12"/>
                    </a:lnTo>
                    <a:lnTo>
                      <a:pt x="348" y="6"/>
                    </a:lnTo>
                    <a:close/>
                    <a:moveTo>
                      <a:pt x="408" y="24"/>
                    </a:moveTo>
                    <a:lnTo>
                      <a:pt x="414" y="24"/>
                    </a:lnTo>
                    <a:lnTo>
                      <a:pt x="408" y="2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8" name="Freeform 36"/>
              <p:cNvSpPr>
                <a:spLocks/>
              </p:cNvSpPr>
              <p:nvPr>
                <p:custDataLst>
                  <p:tags r:id="rId35"/>
                </p:custDataLst>
              </p:nvPr>
            </p:nvSpPr>
            <p:spPr bwMode="gray">
              <a:xfrm>
                <a:off x="2643447" y="-175370"/>
                <a:ext cx="1106073" cy="1003449"/>
              </a:xfrm>
              <a:custGeom>
                <a:avLst/>
                <a:gdLst>
                  <a:gd name="T0" fmla="*/ 14583 w 876"/>
                  <a:gd name="T1" fmla="*/ 62083 h 852"/>
                  <a:gd name="T2" fmla="*/ 17500 w 876"/>
                  <a:gd name="T3" fmla="*/ 49473 h 852"/>
                  <a:gd name="T4" fmla="*/ 17500 w 876"/>
                  <a:gd name="T5" fmla="*/ 37832 h 852"/>
                  <a:gd name="T6" fmla="*/ 26250 w 876"/>
                  <a:gd name="T7" fmla="*/ 30072 h 852"/>
                  <a:gd name="T8" fmla="*/ 37916 w 876"/>
                  <a:gd name="T9" fmla="*/ 21341 h 852"/>
                  <a:gd name="T10" fmla="*/ 42778 w 876"/>
                  <a:gd name="T11" fmla="*/ 12611 h 852"/>
                  <a:gd name="T12" fmla="*/ 46667 w 876"/>
                  <a:gd name="T13" fmla="*/ 1940 h 852"/>
                  <a:gd name="T14" fmla="*/ 56389 w 876"/>
                  <a:gd name="T15" fmla="*/ 6791 h 852"/>
                  <a:gd name="T16" fmla="*/ 68056 w 876"/>
                  <a:gd name="T17" fmla="*/ 10671 h 852"/>
                  <a:gd name="T18" fmla="*/ 81666 w 876"/>
                  <a:gd name="T19" fmla="*/ 8731 h 852"/>
                  <a:gd name="T20" fmla="*/ 92361 w 876"/>
                  <a:gd name="T21" fmla="*/ 10671 h 852"/>
                  <a:gd name="T22" fmla="*/ 105000 w 876"/>
                  <a:gd name="T23" fmla="*/ 17461 h 852"/>
                  <a:gd name="T24" fmla="*/ 117639 w 876"/>
                  <a:gd name="T25" fmla="*/ 21341 h 852"/>
                  <a:gd name="T26" fmla="*/ 121528 w 876"/>
                  <a:gd name="T27" fmla="*/ 33952 h 852"/>
                  <a:gd name="T28" fmla="*/ 131250 w 876"/>
                  <a:gd name="T29" fmla="*/ 44623 h 852"/>
                  <a:gd name="T30" fmla="*/ 147777 w 876"/>
                  <a:gd name="T31" fmla="*/ 46563 h 852"/>
                  <a:gd name="T32" fmla="*/ 160416 w 876"/>
                  <a:gd name="T33" fmla="*/ 51413 h 852"/>
                  <a:gd name="T34" fmla="*/ 174027 w 876"/>
                  <a:gd name="T35" fmla="*/ 55294 h 852"/>
                  <a:gd name="T36" fmla="*/ 181805 w 876"/>
                  <a:gd name="T37" fmla="*/ 64024 h 852"/>
                  <a:gd name="T38" fmla="*/ 197360 w 876"/>
                  <a:gd name="T39" fmla="*/ 67904 h 852"/>
                  <a:gd name="T40" fmla="*/ 206111 w 876"/>
                  <a:gd name="T41" fmla="*/ 62083 h 852"/>
                  <a:gd name="T42" fmla="*/ 214861 w 876"/>
                  <a:gd name="T43" fmla="*/ 53353 h 852"/>
                  <a:gd name="T44" fmla="*/ 210000 w 876"/>
                  <a:gd name="T45" fmla="*/ 37832 h 852"/>
                  <a:gd name="T46" fmla="*/ 211944 w 876"/>
                  <a:gd name="T47" fmla="*/ 23281 h 852"/>
                  <a:gd name="T48" fmla="*/ 222638 w 876"/>
                  <a:gd name="T49" fmla="*/ 14551 h 852"/>
                  <a:gd name="T50" fmla="*/ 238194 w 876"/>
                  <a:gd name="T51" fmla="*/ 10671 h 852"/>
                  <a:gd name="T52" fmla="*/ 250832 w 876"/>
                  <a:gd name="T53" fmla="*/ 6791 h 852"/>
                  <a:gd name="T54" fmla="*/ 263472 w 876"/>
                  <a:gd name="T55" fmla="*/ 10671 h 852"/>
                  <a:gd name="T56" fmla="*/ 272221 w 876"/>
                  <a:gd name="T57" fmla="*/ 14551 h 852"/>
                  <a:gd name="T58" fmla="*/ 274166 w 876"/>
                  <a:gd name="T59" fmla="*/ 21341 h 852"/>
                  <a:gd name="T60" fmla="*/ 280972 w 876"/>
                  <a:gd name="T61" fmla="*/ 23281 h 852"/>
                  <a:gd name="T62" fmla="*/ 291666 w 876"/>
                  <a:gd name="T63" fmla="*/ 26191 h 852"/>
                  <a:gd name="T64" fmla="*/ 306249 w 876"/>
                  <a:gd name="T65" fmla="*/ 27161 h 852"/>
                  <a:gd name="T66" fmla="*/ 313055 w 876"/>
                  <a:gd name="T67" fmla="*/ 33952 h 852"/>
                  <a:gd name="T68" fmla="*/ 309166 w 876"/>
                  <a:gd name="T69" fmla="*/ 49473 h 852"/>
                  <a:gd name="T70" fmla="*/ 309166 w 876"/>
                  <a:gd name="T71" fmla="*/ 62083 h 852"/>
                  <a:gd name="T72" fmla="*/ 306249 w 876"/>
                  <a:gd name="T73" fmla="*/ 76635 h 852"/>
                  <a:gd name="T74" fmla="*/ 310138 w 876"/>
                  <a:gd name="T75" fmla="*/ 94096 h 852"/>
                  <a:gd name="T76" fmla="*/ 310138 w 876"/>
                  <a:gd name="T77" fmla="*/ 110586 h 852"/>
                  <a:gd name="T78" fmla="*/ 291666 w 876"/>
                  <a:gd name="T79" fmla="*/ 292958 h 852"/>
                  <a:gd name="T80" fmla="*/ 184722 w 876"/>
                  <a:gd name="T81" fmla="*/ 245425 h 852"/>
                  <a:gd name="T82" fmla="*/ 171111 w 876"/>
                  <a:gd name="T83" fmla="*/ 238634 h 852"/>
                  <a:gd name="T84" fmla="*/ 154583 w 876"/>
                  <a:gd name="T85" fmla="*/ 229904 h 852"/>
                  <a:gd name="T86" fmla="*/ 137083 w 876"/>
                  <a:gd name="T87" fmla="*/ 222143 h 852"/>
                  <a:gd name="T88" fmla="*/ 121528 w 876"/>
                  <a:gd name="T89" fmla="*/ 224083 h 852"/>
                  <a:gd name="T90" fmla="*/ 96250 w 876"/>
                  <a:gd name="T91" fmla="*/ 236694 h 852"/>
                  <a:gd name="T92" fmla="*/ 87499 w 876"/>
                  <a:gd name="T93" fmla="*/ 228934 h 852"/>
                  <a:gd name="T94" fmla="*/ 74861 w 876"/>
                  <a:gd name="T95" fmla="*/ 224083 h 852"/>
                  <a:gd name="T96" fmla="*/ 57361 w 876"/>
                  <a:gd name="T97" fmla="*/ 220203 h 852"/>
                  <a:gd name="T98" fmla="*/ 46667 w 876"/>
                  <a:gd name="T99" fmla="*/ 211473 h 852"/>
                  <a:gd name="T100" fmla="*/ 36945 w 876"/>
                  <a:gd name="T101" fmla="*/ 200802 h 852"/>
                  <a:gd name="T102" fmla="*/ 19444 w 876"/>
                  <a:gd name="T103" fmla="*/ 195952 h 852"/>
                  <a:gd name="T104" fmla="*/ 12639 w 876"/>
                  <a:gd name="T105" fmla="*/ 185281 h 852"/>
                  <a:gd name="T106" fmla="*/ 8750 w 876"/>
                  <a:gd name="T107" fmla="*/ 172671 h 852"/>
                  <a:gd name="T108" fmla="*/ 1944 w 876"/>
                  <a:gd name="T109" fmla="*/ 158120 h 852"/>
                  <a:gd name="T110" fmla="*/ 10694 w 876"/>
                  <a:gd name="T111" fmla="*/ 147449 h 852"/>
                  <a:gd name="T112" fmla="*/ 8750 w 876"/>
                  <a:gd name="T113" fmla="*/ 131928 h 852"/>
                  <a:gd name="T114" fmla="*/ 10694 w 876"/>
                  <a:gd name="T115" fmla="*/ 121257 h 852"/>
                  <a:gd name="T116" fmla="*/ 10694 w 876"/>
                  <a:gd name="T117" fmla="*/ 101856 h 852"/>
                  <a:gd name="T118" fmla="*/ 8750 w 876"/>
                  <a:gd name="T119" fmla="*/ 85365 h 852"/>
                  <a:gd name="T120" fmla="*/ 0 w 876"/>
                  <a:gd name="T121" fmla="*/ 72754 h 8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852">
                    <a:moveTo>
                      <a:pt x="12" y="192"/>
                    </a:moveTo>
                    <a:lnTo>
                      <a:pt x="18" y="192"/>
                    </a:lnTo>
                    <a:lnTo>
                      <a:pt x="24" y="186"/>
                    </a:lnTo>
                    <a:lnTo>
                      <a:pt x="30" y="186"/>
                    </a:lnTo>
                    <a:lnTo>
                      <a:pt x="30" y="180"/>
                    </a:lnTo>
                    <a:lnTo>
                      <a:pt x="36" y="180"/>
                    </a:lnTo>
                    <a:lnTo>
                      <a:pt x="36" y="174"/>
                    </a:lnTo>
                    <a:lnTo>
                      <a:pt x="42" y="174"/>
                    </a:lnTo>
                    <a:lnTo>
                      <a:pt x="42" y="168"/>
                    </a:lnTo>
                    <a:lnTo>
                      <a:pt x="48" y="162"/>
                    </a:lnTo>
                    <a:lnTo>
                      <a:pt x="48" y="156"/>
                    </a:lnTo>
                    <a:lnTo>
                      <a:pt x="54" y="156"/>
                    </a:lnTo>
                    <a:lnTo>
                      <a:pt x="54" y="150"/>
                    </a:lnTo>
                    <a:lnTo>
                      <a:pt x="54" y="144"/>
                    </a:lnTo>
                    <a:lnTo>
                      <a:pt x="48" y="144"/>
                    </a:lnTo>
                    <a:lnTo>
                      <a:pt x="48" y="138"/>
                    </a:lnTo>
                    <a:lnTo>
                      <a:pt x="54" y="138"/>
                    </a:lnTo>
                    <a:lnTo>
                      <a:pt x="48" y="138"/>
                    </a:lnTo>
                    <a:lnTo>
                      <a:pt x="48" y="132"/>
                    </a:lnTo>
                    <a:lnTo>
                      <a:pt x="48" y="126"/>
                    </a:lnTo>
                    <a:lnTo>
                      <a:pt x="42" y="120"/>
                    </a:lnTo>
                    <a:lnTo>
                      <a:pt x="42" y="114"/>
                    </a:lnTo>
                    <a:lnTo>
                      <a:pt x="42" y="108"/>
                    </a:lnTo>
                    <a:lnTo>
                      <a:pt x="48" y="108"/>
                    </a:lnTo>
                    <a:lnTo>
                      <a:pt x="48" y="102"/>
                    </a:lnTo>
                    <a:lnTo>
                      <a:pt x="54" y="102"/>
                    </a:lnTo>
                    <a:lnTo>
                      <a:pt x="54" y="96"/>
                    </a:lnTo>
                    <a:lnTo>
                      <a:pt x="60" y="96"/>
                    </a:lnTo>
                    <a:lnTo>
                      <a:pt x="66" y="96"/>
                    </a:lnTo>
                    <a:lnTo>
                      <a:pt x="66" y="90"/>
                    </a:lnTo>
                    <a:lnTo>
                      <a:pt x="72" y="90"/>
                    </a:lnTo>
                    <a:lnTo>
                      <a:pt x="72" y="84"/>
                    </a:lnTo>
                    <a:lnTo>
                      <a:pt x="72" y="78"/>
                    </a:lnTo>
                    <a:lnTo>
                      <a:pt x="78" y="78"/>
                    </a:lnTo>
                    <a:lnTo>
                      <a:pt x="84" y="78"/>
                    </a:lnTo>
                    <a:lnTo>
                      <a:pt x="84" y="72"/>
                    </a:lnTo>
                    <a:lnTo>
                      <a:pt x="90" y="66"/>
                    </a:lnTo>
                    <a:lnTo>
                      <a:pt x="96" y="66"/>
                    </a:lnTo>
                    <a:lnTo>
                      <a:pt x="102" y="60"/>
                    </a:lnTo>
                    <a:lnTo>
                      <a:pt x="108" y="60"/>
                    </a:lnTo>
                    <a:lnTo>
                      <a:pt x="114" y="60"/>
                    </a:lnTo>
                    <a:lnTo>
                      <a:pt x="114" y="54"/>
                    </a:lnTo>
                    <a:lnTo>
                      <a:pt x="120" y="54"/>
                    </a:lnTo>
                    <a:lnTo>
                      <a:pt x="120" y="48"/>
                    </a:lnTo>
                    <a:lnTo>
                      <a:pt x="126" y="48"/>
                    </a:lnTo>
                    <a:lnTo>
                      <a:pt x="126" y="42"/>
                    </a:lnTo>
                    <a:lnTo>
                      <a:pt x="120" y="42"/>
                    </a:lnTo>
                    <a:lnTo>
                      <a:pt x="120" y="36"/>
                    </a:lnTo>
                    <a:lnTo>
                      <a:pt x="120" y="30"/>
                    </a:lnTo>
                    <a:lnTo>
                      <a:pt x="120" y="24"/>
                    </a:lnTo>
                    <a:lnTo>
                      <a:pt x="120" y="18"/>
                    </a:lnTo>
                    <a:lnTo>
                      <a:pt x="120" y="12"/>
                    </a:lnTo>
                    <a:lnTo>
                      <a:pt x="120" y="6"/>
                    </a:lnTo>
                    <a:lnTo>
                      <a:pt x="120" y="0"/>
                    </a:lnTo>
                    <a:lnTo>
                      <a:pt x="126" y="6"/>
                    </a:lnTo>
                    <a:lnTo>
                      <a:pt x="132" y="6"/>
                    </a:lnTo>
                    <a:lnTo>
                      <a:pt x="138" y="6"/>
                    </a:lnTo>
                    <a:lnTo>
                      <a:pt x="132" y="6"/>
                    </a:lnTo>
                    <a:lnTo>
                      <a:pt x="138" y="6"/>
                    </a:lnTo>
                    <a:lnTo>
                      <a:pt x="138" y="12"/>
                    </a:lnTo>
                    <a:lnTo>
                      <a:pt x="144" y="12"/>
                    </a:lnTo>
                    <a:lnTo>
                      <a:pt x="150" y="12"/>
                    </a:lnTo>
                    <a:lnTo>
                      <a:pt x="150" y="18"/>
                    </a:lnTo>
                    <a:lnTo>
                      <a:pt x="156" y="18"/>
                    </a:lnTo>
                    <a:lnTo>
                      <a:pt x="156" y="24"/>
                    </a:lnTo>
                    <a:lnTo>
                      <a:pt x="162" y="24"/>
                    </a:lnTo>
                    <a:lnTo>
                      <a:pt x="168" y="24"/>
                    </a:lnTo>
                    <a:lnTo>
                      <a:pt x="174" y="24"/>
                    </a:lnTo>
                    <a:lnTo>
                      <a:pt x="180" y="24"/>
                    </a:lnTo>
                    <a:lnTo>
                      <a:pt x="180" y="30"/>
                    </a:lnTo>
                    <a:lnTo>
                      <a:pt x="186" y="30"/>
                    </a:lnTo>
                    <a:lnTo>
                      <a:pt x="192" y="30"/>
                    </a:lnTo>
                    <a:lnTo>
                      <a:pt x="192" y="24"/>
                    </a:lnTo>
                    <a:lnTo>
                      <a:pt x="198" y="24"/>
                    </a:lnTo>
                    <a:lnTo>
                      <a:pt x="204" y="24"/>
                    </a:lnTo>
                    <a:lnTo>
                      <a:pt x="210" y="24"/>
                    </a:lnTo>
                    <a:lnTo>
                      <a:pt x="210" y="18"/>
                    </a:lnTo>
                    <a:lnTo>
                      <a:pt x="216" y="18"/>
                    </a:lnTo>
                    <a:lnTo>
                      <a:pt x="222" y="18"/>
                    </a:lnTo>
                    <a:lnTo>
                      <a:pt x="228" y="24"/>
                    </a:lnTo>
                    <a:lnTo>
                      <a:pt x="234" y="24"/>
                    </a:lnTo>
                    <a:lnTo>
                      <a:pt x="234" y="30"/>
                    </a:lnTo>
                    <a:lnTo>
                      <a:pt x="240" y="30"/>
                    </a:lnTo>
                    <a:lnTo>
                      <a:pt x="246" y="30"/>
                    </a:lnTo>
                    <a:lnTo>
                      <a:pt x="246" y="24"/>
                    </a:lnTo>
                    <a:lnTo>
                      <a:pt x="246" y="30"/>
                    </a:lnTo>
                    <a:lnTo>
                      <a:pt x="252" y="30"/>
                    </a:lnTo>
                    <a:lnTo>
                      <a:pt x="258" y="30"/>
                    </a:lnTo>
                    <a:lnTo>
                      <a:pt x="264" y="30"/>
                    </a:lnTo>
                    <a:lnTo>
                      <a:pt x="270" y="30"/>
                    </a:lnTo>
                    <a:lnTo>
                      <a:pt x="270" y="36"/>
                    </a:lnTo>
                    <a:lnTo>
                      <a:pt x="276" y="36"/>
                    </a:lnTo>
                    <a:lnTo>
                      <a:pt x="276" y="42"/>
                    </a:lnTo>
                    <a:lnTo>
                      <a:pt x="282" y="42"/>
                    </a:lnTo>
                    <a:lnTo>
                      <a:pt x="288" y="48"/>
                    </a:lnTo>
                    <a:lnTo>
                      <a:pt x="294" y="48"/>
                    </a:lnTo>
                    <a:lnTo>
                      <a:pt x="300" y="48"/>
                    </a:lnTo>
                    <a:lnTo>
                      <a:pt x="306" y="48"/>
                    </a:lnTo>
                    <a:lnTo>
                      <a:pt x="312" y="48"/>
                    </a:lnTo>
                    <a:lnTo>
                      <a:pt x="312" y="54"/>
                    </a:lnTo>
                    <a:lnTo>
                      <a:pt x="318" y="54"/>
                    </a:lnTo>
                    <a:lnTo>
                      <a:pt x="324" y="54"/>
                    </a:lnTo>
                    <a:lnTo>
                      <a:pt x="330" y="54"/>
                    </a:lnTo>
                    <a:lnTo>
                      <a:pt x="330" y="60"/>
                    </a:lnTo>
                    <a:lnTo>
                      <a:pt x="330" y="66"/>
                    </a:lnTo>
                    <a:lnTo>
                      <a:pt x="336" y="66"/>
                    </a:lnTo>
                    <a:lnTo>
                      <a:pt x="336" y="72"/>
                    </a:lnTo>
                    <a:lnTo>
                      <a:pt x="336" y="78"/>
                    </a:lnTo>
                    <a:lnTo>
                      <a:pt x="336" y="84"/>
                    </a:lnTo>
                    <a:lnTo>
                      <a:pt x="336" y="90"/>
                    </a:lnTo>
                    <a:lnTo>
                      <a:pt x="336" y="96"/>
                    </a:lnTo>
                    <a:lnTo>
                      <a:pt x="342" y="96"/>
                    </a:lnTo>
                    <a:lnTo>
                      <a:pt x="342" y="102"/>
                    </a:lnTo>
                    <a:lnTo>
                      <a:pt x="342" y="108"/>
                    </a:lnTo>
                    <a:lnTo>
                      <a:pt x="348" y="108"/>
                    </a:lnTo>
                    <a:lnTo>
                      <a:pt x="348" y="114"/>
                    </a:lnTo>
                    <a:lnTo>
                      <a:pt x="354" y="114"/>
                    </a:lnTo>
                    <a:lnTo>
                      <a:pt x="354" y="120"/>
                    </a:lnTo>
                    <a:lnTo>
                      <a:pt x="360" y="120"/>
                    </a:lnTo>
                    <a:lnTo>
                      <a:pt x="366" y="126"/>
                    </a:lnTo>
                    <a:lnTo>
                      <a:pt x="372" y="126"/>
                    </a:lnTo>
                    <a:lnTo>
                      <a:pt x="378" y="126"/>
                    </a:lnTo>
                    <a:lnTo>
                      <a:pt x="384" y="132"/>
                    </a:lnTo>
                    <a:lnTo>
                      <a:pt x="390" y="132"/>
                    </a:lnTo>
                    <a:lnTo>
                      <a:pt x="396" y="132"/>
                    </a:lnTo>
                    <a:lnTo>
                      <a:pt x="402" y="132"/>
                    </a:lnTo>
                    <a:lnTo>
                      <a:pt x="408" y="132"/>
                    </a:lnTo>
                    <a:lnTo>
                      <a:pt x="414" y="132"/>
                    </a:lnTo>
                    <a:lnTo>
                      <a:pt x="420" y="132"/>
                    </a:lnTo>
                    <a:lnTo>
                      <a:pt x="426" y="132"/>
                    </a:lnTo>
                    <a:lnTo>
                      <a:pt x="426" y="138"/>
                    </a:lnTo>
                    <a:lnTo>
                      <a:pt x="432" y="138"/>
                    </a:lnTo>
                    <a:lnTo>
                      <a:pt x="438" y="138"/>
                    </a:lnTo>
                    <a:lnTo>
                      <a:pt x="444" y="138"/>
                    </a:lnTo>
                    <a:lnTo>
                      <a:pt x="450" y="138"/>
                    </a:lnTo>
                    <a:lnTo>
                      <a:pt x="450" y="144"/>
                    </a:lnTo>
                    <a:lnTo>
                      <a:pt x="456" y="144"/>
                    </a:lnTo>
                    <a:lnTo>
                      <a:pt x="462" y="144"/>
                    </a:lnTo>
                    <a:lnTo>
                      <a:pt x="462" y="150"/>
                    </a:lnTo>
                    <a:lnTo>
                      <a:pt x="468" y="150"/>
                    </a:lnTo>
                    <a:lnTo>
                      <a:pt x="474" y="150"/>
                    </a:lnTo>
                    <a:lnTo>
                      <a:pt x="474" y="156"/>
                    </a:lnTo>
                    <a:lnTo>
                      <a:pt x="480" y="156"/>
                    </a:lnTo>
                    <a:lnTo>
                      <a:pt x="486" y="156"/>
                    </a:lnTo>
                    <a:lnTo>
                      <a:pt x="492" y="156"/>
                    </a:lnTo>
                    <a:lnTo>
                      <a:pt x="492" y="162"/>
                    </a:lnTo>
                    <a:lnTo>
                      <a:pt x="498" y="162"/>
                    </a:lnTo>
                    <a:lnTo>
                      <a:pt x="498" y="168"/>
                    </a:lnTo>
                    <a:lnTo>
                      <a:pt x="504" y="168"/>
                    </a:lnTo>
                    <a:lnTo>
                      <a:pt x="504" y="174"/>
                    </a:lnTo>
                    <a:lnTo>
                      <a:pt x="510" y="174"/>
                    </a:lnTo>
                    <a:lnTo>
                      <a:pt x="510" y="180"/>
                    </a:lnTo>
                    <a:lnTo>
                      <a:pt x="516" y="180"/>
                    </a:lnTo>
                    <a:lnTo>
                      <a:pt x="516" y="186"/>
                    </a:lnTo>
                    <a:lnTo>
                      <a:pt x="522" y="186"/>
                    </a:lnTo>
                    <a:lnTo>
                      <a:pt x="528" y="186"/>
                    </a:lnTo>
                    <a:lnTo>
                      <a:pt x="534" y="192"/>
                    </a:lnTo>
                    <a:lnTo>
                      <a:pt x="540" y="192"/>
                    </a:lnTo>
                    <a:lnTo>
                      <a:pt x="546" y="192"/>
                    </a:lnTo>
                    <a:lnTo>
                      <a:pt x="552" y="192"/>
                    </a:lnTo>
                    <a:lnTo>
                      <a:pt x="558" y="192"/>
                    </a:lnTo>
                    <a:lnTo>
                      <a:pt x="558" y="186"/>
                    </a:lnTo>
                    <a:lnTo>
                      <a:pt x="564" y="186"/>
                    </a:lnTo>
                    <a:lnTo>
                      <a:pt x="570" y="180"/>
                    </a:lnTo>
                    <a:lnTo>
                      <a:pt x="570" y="186"/>
                    </a:lnTo>
                    <a:lnTo>
                      <a:pt x="570" y="180"/>
                    </a:lnTo>
                    <a:lnTo>
                      <a:pt x="576" y="180"/>
                    </a:lnTo>
                    <a:lnTo>
                      <a:pt x="576" y="174"/>
                    </a:lnTo>
                    <a:lnTo>
                      <a:pt x="582" y="174"/>
                    </a:lnTo>
                    <a:lnTo>
                      <a:pt x="582" y="168"/>
                    </a:lnTo>
                    <a:lnTo>
                      <a:pt x="588" y="168"/>
                    </a:lnTo>
                    <a:lnTo>
                      <a:pt x="588" y="162"/>
                    </a:lnTo>
                    <a:lnTo>
                      <a:pt x="594" y="162"/>
                    </a:lnTo>
                    <a:lnTo>
                      <a:pt x="594" y="156"/>
                    </a:lnTo>
                    <a:lnTo>
                      <a:pt x="594" y="150"/>
                    </a:lnTo>
                    <a:lnTo>
                      <a:pt x="600" y="150"/>
                    </a:lnTo>
                    <a:lnTo>
                      <a:pt x="600" y="144"/>
                    </a:lnTo>
                    <a:lnTo>
                      <a:pt x="600" y="138"/>
                    </a:lnTo>
                    <a:lnTo>
                      <a:pt x="600" y="132"/>
                    </a:lnTo>
                    <a:lnTo>
                      <a:pt x="600" y="126"/>
                    </a:lnTo>
                    <a:lnTo>
                      <a:pt x="594" y="120"/>
                    </a:lnTo>
                    <a:lnTo>
                      <a:pt x="594" y="114"/>
                    </a:lnTo>
                    <a:lnTo>
                      <a:pt x="594" y="108"/>
                    </a:lnTo>
                    <a:lnTo>
                      <a:pt x="588" y="108"/>
                    </a:lnTo>
                    <a:lnTo>
                      <a:pt x="588" y="102"/>
                    </a:lnTo>
                    <a:lnTo>
                      <a:pt x="588" y="96"/>
                    </a:lnTo>
                    <a:lnTo>
                      <a:pt x="588" y="90"/>
                    </a:lnTo>
                    <a:lnTo>
                      <a:pt x="588" y="84"/>
                    </a:lnTo>
                    <a:lnTo>
                      <a:pt x="588" y="78"/>
                    </a:lnTo>
                    <a:lnTo>
                      <a:pt x="594" y="78"/>
                    </a:lnTo>
                    <a:lnTo>
                      <a:pt x="594" y="72"/>
                    </a:lnTo>
                    <a:lnTo>
                      <a:pt x="594" y="66"/>
                    </a:lnTo>
                    <a:lnTo>
                      <a:pt x="600" y="66"/>
                    </a:lnTo>
                    <a:lnTo>
                      <a:pt x="600" y="60"/>
                    </a:lnTo>
                    <a:lnTo>
                      <a:pt x="606" y="60"/>
                    </a:lnTo>
                    <a:lnTo>
                      <a:pt x="606" y="54"/>
                    </a:lnTo>
                    <a:lnTo>
                      <a:pt x="612" y="54"/>
                    </a:lnTo>
                    <a:lnTo>
                      <a:pt x="612" y="48"/>
                    </a:lnTo>
                    <a:lnTo>
                      <a:pt x="618" y="48"/>
                    </a:lnTo>
                    <a:lnTo>
                      <a:pt x="624" y="42"/>
                    </a:lnTo>
                    <a:lnTo>
                      <a:pt x="630" y="42"/>
                    </a:lnTo>
                    <a:lnTo>
                      <a:pt x="636" y="36"/>
                    </a:lnTo>
                    <a:lnTo>
                      <a:pt x="642" y="36"/>
                    </a:lnTo>
                    <a:lnTo>
                      <a:pt x="642" y="30"/>
                    </a:lnTo>
                    <a:lnTo>
                      <a:pt x="648" y="30"/>
                    </a:lnTo>
                    <a:lnTo>
                      <a:pt x="654" y="30"/>
                    </a:lnTo>
                    <a:lnTo>
                      <a:pt x="660" y="30"/>
                    </a:lnTo>
                    <a:lnTo>
                      <a:pt x="666" y="30"/>
                    </a:lnTo>
                    <a:lnTo>
                      <a:pt x="672" y="30"/>
                    </a:lnTo>
                    <a:lnTo>
                      <a:pt x="672" y="24"/>
                    </a:lnTo>
                    <a:lnTo>
                      <a:pt x="678" y="24"/>
                    </a:lnTo>
                    <a:lnTo>
                      <a:pt x="678" y="18"/>
                    </a:lnTo>
                    <a:lnTo>
                      <a:pt x="684" y="18"/>
                    </a:lnTo>
                    <a:lnTo>
                      <a:pt x="690" y="18"/>
                    </a:lnTo>
                    <a:lnTo>
                      <a:pt x="696" y="18"/>
                    </a:lnTo>
                    <a:lnTo>
                      <a:pt x="702" y="18"/>
                    </a:lnTo>
                    <a:lnTo>
                      <a:pt x="708" y="18"/>
                    </a:lnTo>
                    <a:lnTo>
                      <a:pt x="714" y="18"/>
                    </a:lnTo>
                    <a:lnTo>
                      <a:pt x="714" y="24"/>
                    </a:lnTo>
                    <a:lnTo>
                      <a:pt x="720" y="24"/>
                    </a:lnTo>
                    <a:lnTo>
                      <a:pt x="726" y="24"/>
                    </a:lnTo>
                    <a:lnTo>
                      <a:pt x="732" y="24"/>
                    </a:lnTo>
                    <a:lnTo>
                      <a:pt x="732" y="30"/>
                    </a:lnTo>
                    <a:lnTo>
                      <a:pt x="738" y="30"/>
                    </a:lnTo>
                    <a:lnTo>
                      <a:pt x="744" y="30"/>
                    </a:lnTo>
                    <a:lnTo>
                      <a:pt x="750" y="30"/>
                    </a:lnTo>
                    <a:lnTo>
                      <a:pt x="750" y="36"/>
                    </a:lnTo>
                    <a:lnTo>
                      <a:pt x="756" y="36"/>
                    </a:lnTo>
                    <a:lnTo>
                      <a:pt x="762" y="36"/>
                    </a:lnTo>
                    <a:lnTo>
                      <a:pt x="768" y="36"/>
                    </a:lnTo>
                    <a:lnTo>
                      <a:pt x="768" y="42"/>
                    </a:lnTo>
                    <a:lnTo>
                      <a:pt x="762" y="42"/>
                    </a:lnTo>
                    <a:lnTo>
                      <a:pt x="762" y="48"/>
                    </a:lnTo>
                    <a:lnTo>
                      <a:pt x="768" y="48"/>
                    </a:lnTo>
                    <a:lnTo>
                      <a:pt x="768" y="54"/>
                    </a:lnTo>
                    <a:lnTo>
                      <a:pt x="762" y="54"/>
                    </a:lnTo>
                    <a:lnTo>
                      <a:pt x="762" y="48"/>
                    </a:lnTo>
                    <a:lnTo>
                      <a:pt x="762" y="54"/>
                    </a:lnTo>
                    <a:lnTo>
                      <a:pt x="762" y="60"/>
                    </a:lnTo>
                    <a:lnTo>
                      <a:pt x="768" y="60"/>
                    </a:lnTo>
                    <a:lnTo>
                      <a:pt x="774" y="60"/>
                    </a:lnTo>
                    <a:lnTo>
                      <a:pt x="774" y="66"/>
                    </a:lnTo>
                    <a:lnTo>
                      <a:pt x="774" y="72"/>
                    </a:lnTo>
                    <a:lnTo>
                      <a:pt x="780" y="72"/>
                    </a:lnTo>
                    <a:lnTo>
                      <a:pt x="780" y="66"/>
                    </a:lnTo>
                    <a:lnTo>
                      <a:pt x="774" y="66"/>
                    </a:lnTo>
                    <a:lnTo>
                      <a:pt x="780" y="66"/>
                    </a:lnTo>
                    <a:lnTo>
                      <a:pt x="786" y="66"/>
                    </a:lnTo>
                    <a:lnTo>
                      <a:pt x="792" y="66"/>
                    </a:lnTo>
                    <a:lnTo>
                      <a:pt x="798" y="66"/>
                    </a:lnTo>
                    <a:lnTo>
                      <a:pt x="804" y="66"/>
                    </a:lnTo>
                    <a:lnTo>
                      <a:pt x="804" y="72"/>
                    </a:lnTo>
                    <a:lnTo>
                      <a:pt x="810" y="72"/>
                    </a:lnTo>
                    <a:lnTo>
                      <a:pt x="816" y="72"/>
                    </a:lnTo>
                    <a:lnTo>
                      <a:pt x="810" y="72"/>
                    </a:lnTo>
                    <a:lnTo>
                      <a:pt x="816" y="72"/>
                    </a:lnTo>
                    <a:lnTo>
                      <a:pt x="816" y="78"/>
                    </a:lnTo>
                    <a:lnTo>
                      <a:pt x="822" y="78"/>
                    </a:lnTo>
                    <a:lnTo>
                      <a:pt x="828" y="78"/>
                    </a:lnTo>
                    <a:lnTo>
                      <a:pt x="834" y="78"/>
                    </a:lnTo>
                    <a:lnTo>
                      <a:pt x="840" y="78"/>
                    </a:lnTo>
                    <a:lnTo>
                      <a:pt x="846" y="78"/>
                    </a:lnTo>
                    <a:lnTo>
                      <a:pt x="852" y="78"/>
                    </a:lnTo>
                    <a:lnTo>
                      <a:pt x="858" y="78"/>
                    </a:lnTo>
                    <a:lnTo>
                      <a:pt x="864" y="78"/>
                    </a:lnTo>
                    <a:lnTo>
                      <a:pt x="864" y="84"/>
                    </a:lnTo>
                    <a:lnTo>
                      <a:pt x="864" y="78"/>
                    </a:lnTo>
                    <a:lnTo>
                      <a:pt x="864" y="84"/>
                    </a:lnTo>
                    <a:lnTo>
                      <a:pt x="870" y="84"/>
                    </a:lnTo>
                    <a:lnTo>
                      <a:pt x="870" y="90"/>
                    </a:lnTo>
                    <a:lnTo>
                      <a:pt x="876" y="90"/>
                    </a:lnTo>
                    <a:lnTo>
                      <a:pt x="876" y="96"/>
                    </a:lnTo>
                    <a:lnTo>
                      <a:pt x="876" y="102"/>
                    </a:lnTo>
                    <a:lnTo>
                      <a:pt x="876" y="108"/>
                    </a:lnTo>
                    <a:lnTo>
                      <a:pt x="870" y="114"/>
                    </a:lnTo>
                    <a:lnTo>
                      <a:pt x="864" y="114"/>
                    </a:lnTo>
                    <a:lnTo>
                      <a:pt x="864" y="120"/>
                    </a:lnTo>
                    <a:lnTo>
                      <a:pt x="864" y="126"/>
                    </a:lnTo>
                    <a:lnTo>
                      <a:pt x="864" y="132"/>
                    </a:lnTo>
                    <a:lnTo>
                      <a:pt x="864" y="138"/>
                    </a:lnTo>
                    <a:lnTo>
                      <a:pt x="864" y="144"/>
                    </a:lnTo>
                    <a:lnTo>
                      <a:pt x="870" y="144"/>
                    </a:lnTo>
                    <a:lnTo>
                      <a:pt x="870" y="150"/>
                    </a:lnTo>
                    <a:lnTo>
                      <a:pt x="870" y="156"/>
                    </a:lnTo>
                    <a:lnTo>
                      <a:pt x="870" y="162"/>
                    </a:lnTo>
                    <a:lnTo>
                      <a:pt x="870" y="168"/>
                    </a:lnTo>
                    <a:lnTo>
                      <a:pt x="870" y="174"/>
                    </a:lnTo>
                    <a:lnTo>
                      <a:pt x="864" y="174"/>
                    </a:lnTo>
                    <a:lnTo>
                      <a:pt x="864" y="180"/>
                    </a:lnTo>
                    <a:lnTo>
                      <a:pt x="864" y="186"/>
                    </a:lnTo>
                    <a:lnTo>
                      <a:pt x="858" y="186"/>
                    </a:lnTo>
                    <a:lnTo>
                      <a:pt x="858" y="192"/>
                    </a:lnTo>
                    <a:lnTo>
                      <a:pt x="852" y="198"/>
                    </a:lnTo>
                    <a:lnTo>
                      <a:pt x="858" y="204"/>
                    </a:lnTo>
                    <a:lnTo>
                      <a:pt x="858" y="210"/>
                    </a:lnTo>
                    <a:lnTo>
                      <a:pt x="858" y="216"/>
                    </a:lnTo>
                    <a:lnTo>
                      <a:pt x="858" y="222"/>
                    </a:lnTo>
                    <a:lnTo>
                      <a:pt x="864" y="228"/>
                    </a:lnTo>
                    <a:lnTo>
                      <a:pt x="864" y="234"/>
                    </a:lnTo>
                    <a:lnTo>
                      <a:pt x="864" y="240"/>
                    </a:lnTo>
                    <a:lnTo>
                      <a:pt x="864" y="246"/>
                    </a:lnTo>
                    <a:lnTo>
                      <a:pt x="870" y="252"/>
                    </a:lnTo>
                    <a:lnTo>
                      <a:pt x="870" y="258"/>
                    </a:lnTo>
                    <a:lnTo>
                      <a:pt x="870" y="264"/>
                    </a:lnTo>
                    <a:lnTo>
                      <a:pt x="870" y="270"/>
                    </a:lnTo>
                    <a:lnTo>
                      <a:pt x="870" y="276"/>
                    </a:lnTo>
                    <a:lnTo>
                      <a:pt x="870" y="282"/>
                    </a:lnTo>
                    <a:lnTo>
                      <a:pt x="870" y="288"/>
                    </a:lnTo>
                    <a:lnTo>
                      <a:pt x="870" y="294"/>
                    </a:lnTo>
                    <a:lnTo>
                      <a:pt x="870" y="300"/>
                    </a:lnTo>
                    <a:lnTo>
                      <a:pt x="870" y="306"/>
                    </a:lnTo>
                    <a:lnTo>
                      <a:pt x="870" y="312"/>
                    </a:lnTo>
                    <a:lnTo>
                      <a:pt x="870" y="318"/>
                    </a:lnTo>
                    <a:lnTo>
                      <a:pt x="870" y="324"/>
                    </a:lnTo>
                    <a:lnTo>
                      <a:pt x="870" y="330"/>
                    </a:lnTo>
                    <a:lnTo>
                      <a:pt x="870" y="336"/>
                    </a:lnTo>
                    <a:lnTo>
                      <a:pt x="870" y="360"/>
                    </a:lnTo>
                    <a:lnTo>
                      <a:pt x="870" y="708"/>
                    </a:lnTo>
                    <a:lnTo>
                      <a:pt x="870" y="822"/>
                    </a:lnTo>
                    <a:lnTo>
                      <a:pt x="816" y="822"/>
                    </a:lnTo>
                    <a:lnTo>
                      <a:pt x="816" y="828"/>
                    </a:lnTo>
                    <a:lnTo>
                      <a:pt x="816" y="834"/>
                    </a:lnTo>
                    <a:lnTo>
                      <a:pt x="816" y="840"/>
                    </a:lnTo>
                    <a:lnTo>
                      <a:pt x="816" y="846"/>
                    </a:lnTo>
                    <a:lnTo>
                      <a:pt x="816" y="852"/>
                    </a:lnTo>
                    <a:lnTo>
                      <a:pt x="534" y="702"/>
                    </a:lnTo>
                    <a:lnTo>
                      <a:pt x="516" y="696"/>
                    </a:lnTo>
                    <a:lnTo>
                      <a:pt x="516" y="690"/>
                    </a:lnTo>
                    <a:lnTo>
                      <a:pt x="510" y="690"/>
                    </a:lnTo>
                    <a:lnTo>
                      <a:pt x="504" y="684"/>
                    </a:lnTo>
                    <a:lnTo>
                      <a:pt x="498" y="684"/>
                    </a:lnTo>
                    <a:lnTo>
                      <a:pt x="492" y="684"/>
                    </a:lnTo>
                    <a:lnTo>
                      <a:pt x="492" y="678"/>
                    </a:lnTo>
                    <a:lnTo>
                      <a:pt x="486" y="678"/>
                    </a:lnTo>
                    <a:lnTo>
                      <a:pt x="480" y="678"/>
                    </a:lnTo>
                    <a:lnTo>
                      <a:pt x="480" y="672"/>
                    </a:lnTo>
                    <a:lnTo>
                      <a:pt x="474" y="672"/>
                    </a:lnTo>
                    <a:lnTo>
                      <a:pt x="468" y="666"/>
                    </a:lnTo>
                    <a:lnTo>
                      <a:pt x="462" y="666"/>
                    </a:lnTo>
                    <a:lnTo>
                      <a:pt x="456" y="660"/>
                    </a:lnTo>
                    <a:lnTo>
                      <a:pt x="450" y="660"/>
                    </a:lnTo>
                    <a:lnTo>
                      <a:pt x="444" y="654"/>
                    </a:lnTo>
                    <a:lnTo>
                      <a:pt x="438" y="654"/>
                    </a:lnTo>
                    <a:lnTo>
                      <a:pt x="432" y="648"/>
                    </a:lnTo>
                    <a:lnTo>
                      <a:pt x="426" y="648"/>
                    </a:lnTo>
                    <a:lnTo>
                      <a:pt x="420" y="642"/>
                    </a:lnTo>
                    <a:lnTo>
                      <a:pt x="414" y="642"/>
                    </a:lnTo>
                    <a:lnTo>
                      <a:pt x="408" y="636"/>
                    </a:lnTo>
                    <a:lnTo>
                      <a:pt x="402" y="636"/>
                    </a:lnTo>
                    <a:lnTo>
                      <a:pt x="396" y="630"/>
                    </a:lnTo>
                    <a:lnTo>
                      <a:pt x="390" y="630"/>
                    </a:lnTo>
                    <a:lnTo>
                      <a:pt x="384" y="624"/>
                    </a:lnTo>
                    <a:lnTo>
                      <a:pt x="378" y="624"/>
                    </a:lnTo>
                    <a:lnTo>
                      <a:pt x="372" y="618"/>
                    </a:lnTo>
                    <a:lnTo>
                      <a:pt x="366" y="618"/>
                    </a:lnTo>
                    <a:lnTo>
                      <a:pt x="360" y="624"/>
                    </a:lnTo>
                    <a:lnTo>
                      <a:pt x="354" y="624"/>
                    </a:lnTo>
                    <a:lnTo>
                      <a:pt x="348" y="624"/>
                    </a:lnTo>
                    <a:lnTo>
                      <a:pt x="348" y="630"/>
                    </a:lnTo>
                    <a:lnTo>
                      <a:pt x="342" y="630"/>
                    </a:lnTo>
                    <a:lnTo>
                      <a:pt x="336" y="630"/>
                    </a:lnTo>
                    <a:lnTo>
                      <a:pt x="336" y="636"/>
                    </a:lnTo>
                    <a:lnTo>
                      <a:pt x="330" y="636"/>
                    </a:lnTo>
                    <a:lnTo>
                      <a:pt x="324" y="636"/>
                    </a:lnTo>
                    <a:lnTo>
                      <a:pt x="324" y="642"/>
                    </a:lnTo>
                    <a:lnTo>
                      <a:pt x="318" y="642"/>
                    </a:lnTo>
                    <a:lnTo>
                      <a:pt x="312" y="642"/>
                    </a:lnTo>
                    <a:lnTo>
                      <a:pt x="270" y="666"/>
                    </a:lnTo>
                    <a:lnTo>
                      <a:pt x="264" y="666"/>
                    </a:lnTo>
                    <a:lnTo>
                      <a:pt x="264" y="660"/>
                    </a:lnTo>
                    <a:lnTo>
                      <a:pt x="258" y="660"/>
                    </a:lnTo>
                    <a:lnTo>
                      <a:pt x="258" y="654"/>
                    </a:lnTo>
                    <a:lnTo>
                      <a:pt x="252" y="654"/>
                    </a:lnTo>
                    <a:lnTo>
                      <a:pt x="252" y="648"/>
                    </a:lnTo>
                    <a:lnTo>
                      <a:pt x="246" y="648"/>
                    </a:lnTo>
                    <a:lnTo>
                      <a:pt x="246" y="642"/>
                    </a:lnTo>
                    <a:lnTo>
                      <a:pt x="240" y="642"/>
                    </a:lnTo>
                    <a:lnTo>
                      <a:pt x="240" y="636"/>
                    </a:lnTo>
                    <a:lnTo>
                      <a:pt x="234" y="636"/>
                    </a:lnTo>
                    <a:lnTo>
                      <a:pt x="228" y="636"/>
                    </a:lnTo>
                    <a:lnTo>
                      <a:pt x="228" y="630"/>
                    </a:lnTo>
                    <a:lnTo>
                      <a:pt x="222" y="630"/>
                    </a:lnTo>
                    <a:lnTo>
                      <a:pt x="216" y="630"/>
                    </a:lnTo>
                    <a:lnTo>
                      <a:pt x="210" y="630"/>
                    </a:lnTo>
                    <a:lnTo>
                      <a:pt x="204" y="630"/>
                    </a:lnTo>
                    <a:lnTo>
                      <a:pt x="198" y="624"/>
                    </a:lnTo>
                    <a:lnTo>
                      <a:pt x="192" y="624"/>
                    </a:lnTo>
                    <a:lnTo>
                      <a:pt x="186" y="624"/>
                    </a:lnTo>
                    <a:lnTo>
                      <a:pt x="180" y="624"/>
                    </a:lnTo>
                    <a:lnTo>
                      <a:pt x="174" y="618"/>
                    </a:lnTo>
                    <a:lnTo>
                      <a:pt x="168" y="618"/>
                    </a:lnTo>
                    <a:lnTo>
                      <a:pt x="162" y="618"/>
                    </a:lnTo>
                    <a:lnTo>
                      <a:pt x="156" y="618"/>
                    </a:lnTo>
                    <a:lnTo>
                      <a:pt x="150" y="618"/>
                    </a:lnTo>
                    <a:lnTo>
                      <a:pt x="144" y="612"/>
                    </a:lnTo>
                    <a:lnTo>
                      <a:pt x="144" y="606"/>
                    </a:lnTo>
                    <a:lnTo>
                      <a:pt x="138" y="606"/>
                    </a:lnTo>
                    <a:lnTo>
                      <a:pt x="138" y="600"/>
                    </a:lnTo>
                    <a:lnTo>
                      <a:pt x="138" y="594"/>
                    </a:lnTo>
                    <a:lnTo>
                      <a:pt x="132" y="594"/>
                    </a:lnTo>
                    <a:lnTo>
                      <a:pt x="132" y="588"/>
                    </a:lnTo>
                    <a:lnTo>
                      <a:pt x="132" y="582"/>
                    </a:lnTo>
                    <a:lnTo>
                      <a:pt x="126" y="576"/>
                    </a:lnTo>
                    <a:lnTo>
                      <a:pt x="126" y="570"/>
                    </a:lnTo>
                    <a:lnTo>
                      <a:pt x="120" y="570"/>
                    </a:lnTo>
                    <a:lnTo>
                      <a:pt x="114" y="570"/>
                    </a:lnTo>
                    <a:lnTo>
                      <a:pt x="108" y="570"/>
                    </a:lnTo>
                    <a:lnTo>
                      <a:pt x="102" y="564"/>
                    </a:lnTo>
                    <a:lnTo>
                      <a:pt x="96" y="558"/>
                    </a:lnTo>
                    <a:lnTo>
                      <a:pt x="90" y="558"/>
                    </a:lnTo>
                    <a:lnTo>
                      <a:pt x="84" y="552"/>
                    </a:lnTo>
                    <a:lnTo>
                      <a:pt x="78" y="552"/>
                    </a:lnTo>
                    <a:lnTo>
                      <a:pt x="72" y="552"/>
                    </a:lnTo>
                    <a:lnTo>
                      <a:pt x="66" y="552"/>
                    </a:lnTo>
                    <a:lnTo>
                      <a:pt x="60" y="552"/>
                    </a:lnTo>
                    <a:lnTo>
                      <a:pt x="54" y="552"/>
                    </a:lnTo>
                    <a:lnTo>
                      <a:pt x="48" y="552"/>
                    </a:lnTo>
                    <a:lnTo>
                      <a:pt x="48" y="546"/>
                    </a:lnTo>
                    <a:lnTo>
                      <a:pt x="48" y="540"/>
                    </a:lnTo>
                    <a:lnTo>
                      <a:pt x="48" y="534"/>
                    </a:lnTo>
                    <a:lnTo>
                      <a:pt x="42" y="534"/>
                    </a:lnTo>
                    <a:lnTo>
                      <a:pt x="36" y="534"/>
                    </a:lnTo>
                    <a:lnTo>
                      <a:pt x="36" y="528"/>
                    </a:lnTo>
                    <a:lnTo>
                      <a:pt x="36" y="522"/>
                    </a:lnTo>
                    <a:lnTo>
                      <a:pt x="36" y="516"/>
                    </a:lnTo>
                    <a:lnTo>
                      <a:pt x="36" y="510"/>
                    </a:lnTo>
                    <a:lnTo>
                      <a:pt x="36" y="504"/>
                    </a:lnTo>
                    <a:lnTo>
                      <a:pt x="36" y="498"/>
                    </a:lnTo>
                    <a:lnTo>
                      <a:pt x="30" y="498"/>
                    </a:lnTo>
                    <a:lnTo>
                      <a:pt x="30" y="492"/>
                    </a:lnTo>
                    <a:lnTo>
                      <a:pt x="30" y="486"/>
                    </a:lnTo>
                    <a:lnTo>
                      <a:pt x="24" y="486"/>
                    </a:lnTo>
                    <a:lnTo>
                      <a:pt x="24" y="480"/>
                    </a:lnTo>
                    <a:lnTo>
                      <a:pt x="18" y="474"/>
                    </a:lnTo>
                    <a:lnTo>
                      <a:pt x="12" y="468"/>
                    </a:lnTo>
                    <a:lnTo>
                      <a:pt x="12" y="462"/>
                    </a:lnTo>
                    <a:lnTo>
                      <a:pt x="6" y="462"/>
                    </a:lnTo>
                    <a:lnTo>
                      <a:pt x="6" y="456"/>
                    </a:lnTo>
                    <a:lnTo>
                      <a:pt x="0" y="450"/>
                    </a:lnTo>
                    <a:lnTo>
                      <a:pt x="6" y="444"/>
                    </a:lnTo>
                    <a:lnTo>
                      <a:pt x="6" y="438"/>
                    </a:lnTo>
                    <a:lnTo>
                      <a:pt x="12" y="438"/>
                    </a:lnTo>
                    <a:lnTo>
                      <a:pt x="18" y="432"/>
                    </a:lnTo>
                    <a:lnTo>
                      <a:pt x="24" y="432"/>
                    </a:lnTo>
                    <a:lnTo>
                      <a:pt x="30" y="432"/>
                    </a:lnTo>
                    <a:lnTo>
                      <a:pt x="30" y="426"/>
                    </a:lnTo>
                    <a:lnTo>
                      <a:pt x="30" y="420"/>
                    </a:lnTo>
                    <a:lnTo>
                      <a:pt x="30" y="414"/>
                    </a:lnTo>
                    <a:lnTo>
                      <a:pt x="30" y="408"/>
                    </a:lnTo>
                    <a:lnTo>
                      <a:pt x="30" y="402"/>
                    </a:lnTo>
                    <a:lnTo>
                      <a:pt x="24" y="402"/>
                    </a:lnTo>
                    <a:lnTo>
                      <a:pt x="24" y="396"/>
                    </a:lnTo>
                    <a:lnTo>
                      <a:pt x="24" y="390"/>
                    </a:lnTo>
                    <a:lnTo>
                      <a:pt x="24" y="384"/>
                    </a:lnTo>
                    <a:lnTo>
                      <a:pt x="24" y="378"/>
                    </a:lnTo>
                    <a:lnTo>
                      <a:pt x="24" y="372"/>
                    </a:lnTo>
                    <a:lnTo>
                      <a:pt x="24" y="366"/>
                    </a:lnTo>
                    <a:lnTo>
                      <a:pt x="30" y="366"/>
                    </a:lnTo>
                    <a:lnTo>
                      <a:pt x="24" y="366"/>
                    </a:lnTo>
                    <a:lnTo>
                      <a:pt x="24" y="360"/>
                    </a:lnTo>
                    <a:lnTo>
                      <a:pt x="30" y="360"/>
                    </a:lnTo>
                    <a:lnTo>
                      <a:pt x="30" y="354"/>
                    </a:lnTo>
                    <a:lnTo>
                      <a:pt x="30" y="348"/>
                    </a:lnTo>
                    <a:lnTo>
                      <a:pt x="30" y="342"/>
                    </a:lnTo>
                    <a:lnTo>
                      <a:pt x="30" y="336"/>
                    </a:lnTo>
                    <a:lnTo>
                      <a:pt x="30" y="330"/>
                    </a:lnTo>
                    <a:lnTo>
                      <a:pt x="24" y="318"/>
                    </a:lnTo>
                    <a:lnTo>
                      <a:pt x="24" y="312"/>
                    </a:lnTo>
                    <a:lnTo>
                      <a:pt x="30" y="306"/>
                    </a:lnTo>
                    <a:lnTo>
                      <a:pt x="30" y="300"/>
                    </a:lnTo>
                    <a:lnTo>
                      <a:pt x="30" y="294"/>
                    </a:lnTo>
                    <a:lnTo>
                      <a:pt x="30" y="288"/>
                    </a:lnTo>
                    <a:lnTo>
                      <a:pt x="30" y="282"/>
                    </a:lnTo>
                    <a:lnTo>
                      <a:pt x="30" y="276"/>
                    </a:lnTo>
                    <a:lnTo>
                      <a:pt x="30" y="270"/>
                    </a:lnTo>
                    <a:lnTo>
                      <a:pt x="30" y="264"/>
                    </a:lnTo>
                    <a:lnTo>
                      <a:pt x="24" y="264"/>
                    </a:lnTo>
                    <a:lnTo>
                      <a:pt x="24" y="258"/>
                    </a:lnTo>
                    <a:lnTo>
                      <a:pt x="24" y="246"/>
                    </a:lnTo>
                    <a:lnTo>
                      <a:pt x="24" y="240"/>
                    </a:lnTo>
                    <a:lnTo>
                      <a:pt x="18" y="240"/>
                    </a:lnTo>
                    <a:lnTo>
                      <a:pt x="18" y="234"/>
                    </a:lnTo>
                    <a:lnTo>
                      <a:pt x="18" y="228"/>
                    </a:lnTo>
                    <a:lnTo>
                      <a:pt x="12" y="228"/>
                    </a:lnTo>
                    <a:lnTo>
                      <a:pt x="12" y="222"/>
                    </a:lnTo>
                    <a:lnTo>
                      <a:pt x="12" y="216"/>
                    </a:lnTo>
                    <a:lnTo>
                      <a:pt x="6" y="210"/>
                    </a:lnTo>
                    <a:lnTo>
                      <a:pt x="0" y="204"/>
                    </a:lnTo>
                    <a:lnTo>
                      <a:pt x="0" y="198"/>
                    </a:lnTo>
                    <a:lnTo>
                      <a:pt x="6" y="198"/>
                    </a:lnTo>
                    <a:lnTo>
                      <a:pt x="6" y="192"/>
                    </a:lnTo>
                    <a:lnTo>
                      <a:pt x="12" y="19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89" name="Freeform 37"/>
              <p:cNvSpPr>
                <a:spLocks/>
              </p:cNvSpPr>
              <p:nvPr>
                <p:custDataLst>
                  <p:tags r:id="rId36"/>
                </p:custDataLst>
              </p:nvPr>
            </p:nvSpPr>
            <p:spPr bwMode="gray">
              <a:xfrm>
                <a:off x="1380975" y="-487253"/>
                <a:ext cx="1446279" cy="1357518"/>
              </a:xfrm>
              <a:custGeom>
                <a:avLst/>
                <a:gdLst>
                  <a:gd name="T0" fmla="*/ 236248 w 1146"/>
                  <a:gd name="T1" fmla="*/ 407828 h 1152"/>
                  <a:gd name="T2" fmla="*/ 229443 w 1146"/>
                  <a:gd name="T3" fmla="*/ 389379 h 1152"/>
                  <a:gd name="T4" fmla="*/ 208054 w 1146"/>
                  <a:gd name="T5" fmla="*/ 382582 h 1152"/>
                  <a:gd name="T6" fmla="*/ 195415 w 1146"/>
                  <a:gd name="T7" fmla="*/ 372872 h 1152"/>
                  <a:gd name="T8" fmla="*/ 177915 w 1146"/>
                  <a:gd name="T9" fmla="*/ 353452 h 1152"/>
                  <a:gd name="T10" fmla="*/ 161387 w 1146"/>
                  <a:gd name="T11" fmla="*/ 339857 h 1152"/>
                  <a:gd name="T12" fmla="*/ 141944 w 1146"/>
                  <a:gd name="T13" fmla="*/ 327234 h 1152"/>
                  <a:gd name="T14" fmla="*/ 122499 w 1146"/>
                  <a:gd name="T15" fmla="*/ 314611 h 1152"/>
                  <a:gd name="T16" fmla="*/ 103055 w 1146"/>
                  <a:gd name="T17" fmla="*/ 299074 h 1152"/>
                  <a:gd name="T18" fmla="*/ 79722 w 1146"/>
                  <a:gd name="T19" fmla="*/ 284509 h 1152"/>
                  <a:gd name="T20" fmla="*/ 57361 w 1146"/>
                  <a:gd name="T21" fmla="*/ 267031 h 1152"/>
                  <a:gd name="T22" fmla="*/ 28194 w 1146"/>
                  <a:gd name="T23" fmla="*/ 248581 h 1152"/>
                  <a:gd name="T24" fmla="*/ 0 w 1146"/>
                  <a:gd name="T25" fmla="*/ 231103 h 1152"/>
                  <a:gd name="T26" fmla="*/ 12639 w 1146"/>
                  <a:gd name="T27" fmla="*/ 188378 h 1152"/>
                  <a:gd name="T28" fmla="*/ 30139 w 1146"/>
                  <a:gd name="T29" fmla="*/ 177696 h 1152"/>
                  <a:gd name="T30" fmla="*/ 56388 w 1146"/>
                  <a:gd name="T31" fmla="*/ 172842 h 1152"/>
                  <a:gd name="T32" fmla="*/ 72916 w 1146"/>
                  <a:gd name="T33" fmla="*/ 160218 h 1152"/>
                  <a:gd name="T34" fmla="*/ 90416 w 1146"/>
                  <a:gd name="T35" fmla="*/ 149537 h 1152"/>
                  <a:gd name="T36" fmla="*/ 96249 w 1146"/>
                  <a:gd name="T37" fmla="*/ 138856 h 1152"/>
                  <a:gd name="T38" fmla="*/ 113749 w 1146"/>
                  <a:gd name="T39" fmla="*/ 128175 h 1152"/>
                  <a:gd name="T40" fmla="*/ 128332 w 1146"/>
                  <a:gd name="T41" fmla="*/ 117494 h 1152"/>
                  <a:gd name="T42" fmla="*/ 147776 w 1146"/>
                  <a:gd name="T43" fmla="*/ 115552 h 1152"/>
                  <a:gd name="T44" fmla="*/ 143888 w 1146"/>
                  <a:gd name="T45" fmla="*/ 102928 h 1152"/>
                  <a:gd name="T46" fmla="*/ 137082 w 1146"/>
                  <a:gd name="T47" fmla="*/ 79624 h 1152"/>
                  <a:gd name="T48" fmla="*/ 131249 w 1146"/>
                  <a:gd name="T49" fmla="*/ 53406 h 1152"/>
                  <a:gd name="T50" fmla="*/ 143888 w 1146"/>
                  <a:gd name="T51" fmla="*/ 42725 h 1152"/>
                  <a:gd name="T52" fmla="*/ 158471 w 1146"/>
                  <a:gd name="T53" fmla="*/ 33985 h 1152"/>
                  <a:gd name="T54" fmla="*/ 177915 w 1146"/>
                  <a:gd name="T55" fmla="*/ 23305 h 1152"/>
                  <a:gd name="T56" fmla="*/ 197360 w 1146"/>
                  <a:gd name="T57" fmla="*/ 14565 h 1152"/>
                  <a:gd name="T58" fmla="*/ 218748 w 1146"/>
                  <a:gd name="T59" fmla="*/ 12623 h 1152"/>
                  <a:gd name="T60" fmla="*/ 236248 w 1146"/>
                  <a:gd name="T61" fmla="*/ 6797 h 1152"/>
                  <a:gd name="T62" fmla="*/ 255693 w 1146"/>
                  <a:gd name="T63" fmla="*/ 3884 h 1152"/>
                  <a:gd name="T64" fmla="*/ 275136 w 1146"/>
                  <a:gd name="T65" fmla="*/ 10681 h 1152"/>
                  <a:gd name="T66" fmla="*/ 295553 w 1146"/>
                  <a:gd name="T67" fmla="*/ 3884 h 1152"/>
                  <a:gd name="T68" fmla="*/ 313053 w 1146"/>
                  <a:gd name="T69" fmla="*/ 3884 h 1152"/>
                  <a:gd name="T70" fmla="*/ 330553 w 1146"/>
                  <a:gd name="T71" fmla="*/ 6797 h 1152"/>
                  <a:gd name="T72" fmla="*/ 341247 w 1146"/>
                  <a:gd name="T73" fmla="*/ 8739 h 1152"/>
                  <a:gd name="T74" fmla="*/ 336386 w 1146"/>
                  <a:gd name="T75" fmla="*/ 19421 h 1152"/>
                  <a:gd name="T76" fmla="*/ 339303 w 1146"/>
                  <a:gd name="T77" fmla="*/ 37870 h 1152"/>
                  <a:gd name="T78" fmla="*/ 336386 w 1146"/>
                  <a:gd name="T79" fmla="*/ 56320 h 1152"/>
                  <a:gd name="T80" fmla="*/ 323747 w 1146"/>
                  <a:gd name="T81" fmla="*/ 72827 h 1152"/>
                  <a:gd name="T82" fmla="*/ 332497 w 1146"/>
                  <a:gd name="T83" fmla="*/ 96131 h 1152"/>
                  <a:gd name="T84" fmla="*/ 353886 w 1146"/>
                  <a:gd name="T85" fmla="*/ 121378 h 1152"/>
                  <a:gd name="T86" fmla="*/ 360692 w 1146"/>
                  <a:gd name="T87" fmla="*/ 151479 h 1152"/>
                  <a:gd name="T88" fmla="*/ 362636 w 1146"/>
                  <a:gd name="T89" fmla="*/ 175754 h 1152"/>
                  <a:gd name="T90" fmla="*/ 369441 w 1146"/>
                  <a:gd name="T91" fmla="*/ 199059 h 1152"/>
                  <a:gd name="T92" fmla="*/ 369441 w 1146"/>
                  <a:gd name="T93" fmla="*/ 224306 h 1152"/>
                  <a:gd name="T94" fmla="*/ 369441 w 1146"/>
                  <a:gd name="T95" fmla="*/ 248581 h 1152"/>
                  <a:gd name="T96" fmla="*/ 366525 w 1146"/>
                  <a:gd name="T97" fmla="*/ 267031 h 1152"/>
                  <a:gd name="T98" fmla="*/ 375275 w 1146"/>
                  <a:gd name="T99" fmla="*/ 286451 h 1152"/>
                  <a:gd name="T100" fmla="*/ 399580 w 1146"/>
                  <a:gd name="T101" fmla="*/ 297132 h 1152"/>
                  <a:gd name="T102" fmla="*/ 407358 w 1146"/>
                  <a:gd name="T103" fmla="*/ 314611 h 1152"/>
                  <a:gd name="T104" fmla="*/ 385969 w 1146"/>
                  <a:gd name="T105" fmla="*/ 327234 h 1152"/>
                  <a:gd name="T106" fmla="*/ 366525 w 1146"/>
                  <a:gd name="T107" fmla="*/ 339857 h 1152"/>
                  <a:gd name="T108" fmla="*/ 345136 w 1146"/>
                  <a:gd name="T109" fmla="*/ 353452 h 1152"/>
                  <a:gd name="T110" fmla="*/ 328609 w 1146"/>
                  <a:gd name="T111" fmla="*/ 366075 h 1152"/>
                  <a:gd name="T112" fmla="*/ 309164 w 1146"/>
                  <a:gd name="T113" fmla="*/ 380640 h 1152"/>
                  <a:gd name="T114" fmla="*/ 289720 w 1146"/>
                  <a:gd name="T115" fmla="*/ 398118 h 1152"/>
                  <a:gd name="T116" fmla="*/ 261526 w 1146"/>
                  <a:gd name="T117" fmla="*/ 403944 h 11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152">
                    <a:moveTo>
                      <a:pt x="714" y="1140"/>
                    </a:moveTo>
                    <a:lnTo>
                      <a:pt x="708" y="1140"/>
                    </a:lnTo>
                    <a:lnTo>
                      <a:pt x="702" y="1140"/>
                    </a:lnTo>
                    <a:lnTo>
                      <a:pt x="702" y="1146"/>
                    </a:lnTo>
                    <a:lnTo>
                      <a:pt x="696" y="1146"/>
                    </a:lnTo>
                    <a:lnTo>
                      <a:pt x="690" y="1146"/>
                    </a:lnTo>
                    <a:lnTo>
                      <a:pt x="684" y="1146"/>
                    </a:lnTo>
                    <a:lnTo>
                      <a:pt x="678" y="1146"/>
                    </a:lnTo>
                    <a:lnTo>
                      <a:pt x="672" y="1146"/>
                    </a:lnTo>
                    <a:lnTo>
                      <a:pt x="672" y="1152"/>
                    </a:lnTo>
                    <a:lnTo>
                      <a:pt x="666" y="1152"/>
                    </a:lnTo>
                    <a:lnTo>
                      <a:pt x="666" y="1146"/>
                    </a:lnTo>
                    <a:lnTo>
                      <a:pt x="660" y="1146"/>
                    </a:lnTo>
                    <a:lnTo>
                      <a:pt x="654" y="1140"/>
                    </a:lnTo>
                    <a:lnTo>
                      <a:pt x="654" y="1134"/>
                    </a:lnTo>
                    <a:lnTo>
                      <a:pt x="660" y="1134"/>
                    </a:lnTo>
                    <a:lnTo>
                      <a:pt x="660" y="1128"/>
                    </a:lnTo>
                    <a:lnTo>
                      <a:pt x="660" y="1122"/>
                    </a:lnTo>
                    <a:lnTo>
                      <a:pt x="660" y="1116"/>
                    </a:lnTo>
                    <a:lnTo>
                      <a:pt x="660" y="1110"/>
                    </a:lnTo>
                    <a:lnTo>
                      <a:pt x="660" y="1104"/>
                    </a:lnTo>
                    <a:lnTo>
                      <a:pt x="660" y="1098"/>
                    </a:lnTo>
                    <a:lnTo>
                      <a:pt x="654" y="1098"/>
                    </a:lnTo>
                    <a:lnTo>
                      <a:pt x="654" y="1092"/>
                    </a:lnTo>
                    <a:lnTo>
                      <a:pt x="648" y="1092"/>
                    </a:lnTo>
                    <a:lnTo>
                      <a:pt x="642" y="1092"/>
                    </a:lnTo>
                    <a:lnTo>
                      <a:pt x="636" y="1092"/>
                    </a:lnTo>
                    <a:lnTo>
                      <a:pt x="636" y="1086"/>
                    </a:lnTo>
                    <a:lnTo>
                      <a:pt x="630" y="1086"/>
                    </a:lnTo>
                    <a:lnTo>
                      <a:pt x="624" y="1086"/>
                    </a:lnTo>
                    <a:lnTo>
                      <a:pt x="618" y="1086"/>
                    </a:lnTo>
                    <a:lnTo>
                      <a:pt x="612" y="1086"/>
                    </a:lnTo>
                    <a:lnTo>
                      <a:pt x="612" y="1080"/>
                    </a:lnTo>
                    <a:lnTo>
                      <a:pt x="612" y="1074"/>
                    </a:lnTo>
                    <a:lnTo>
                      <a:pt x="606" y="1074"/>
                    </a:lnTo>
                    <a:lnTo>
                      <a:pt x="600" y="1074"/>
                    </a:lnTo>
                    <a:lnTo>
                      <a:pt x="594" y="1074"/>
                    </a:lnTo>
                    <a:lnTo>
                      <a:pt x="588" y="1074"/>
                    </a:lnTo>
                    <a:lnTo>
                      <a:pt x="582" y="1074"/>
                    </a:lnTo>
                    <a:lnTo>
                      <a:pt x="582" y="1068"/>
                    </a:lnTo>
                    <a:lnTo>
                      <a:pt x="582" y="1074"/>
                    </a:lnTo>
                    <a:lnTo>
                      <a:pt x="582" y="1068"/>
                    </a:lnTo>
                    <a:lnTo>
                      <a:pt x="576" y="1068"/>
                    </a:lnTo>
                    <a:lnTo>
                      <a:pt x="576" y="1062"/>
                    </a:lnTo>
                    <a:lnTo>
                      <a:pt x="570" y="1062"/>
                    </a:lnTo>
                    <a:lnTo>
                      <a:pt x="570" y="1056"/>
                    </a:lnTo>
                    <a:lnTo>
                      <a:pt x="570" y="1050"/>
                    </a:lnTo>
                    <a:lnTo>
                      <a:pt x="564" y="1050"/>
                    </a:lnTo>
                    <a:lnTo>
                      <a:pt x="558" y="1050"/>
                    </a:lnTo>
                    <a:lnTo>
                      <a:pt x="558" y="1044"/>
                    </a:lnTo>
                    <a:lnTo>
                      <a:pt x="552" y="1044"/>
                    </a:lnTo>
                    <a:lnTo>
                      <a:pt x="546" y="1044"/>
                    </a:lnTo>
                    <a:lnTo>
                      <a:pt x="546" y="1038"/>
                    </a:lnTo>
                    <a:lnTo>
                      <a:pt x="546" y="1032"/>
                    </a:lnTo>
                    <a:lnTo>
                      <a:pt x="546" y="1026"/>
                    </a:lnTo>
                    <a:lnTo>
                      <a:pt x="546" y="1020"/>
                    </a:lnTo>
                    <a:lnTo>
                      <a:pt x="540" y="1020"/>
                    </a:lnTo>
                    <a:lnTo>
                      <a:pt x="534" y="1014"/>
                    </a:lnTo>
                    <a:lnTo>
                      <a:pt x="528" y="1008"/>
                    </a:lnTo>
                    <a:lnTo>
                      <a:pt x="522" y="1008"/>
                    </a:lnTo>
                    <a:lnTo>
                      <a:pt x="516" y="1002"/>
                    </a:lnTo>
                    <a:lnTo>
                      <a:pt x="510" y="1002"/>
                    </a:lnTo>
                    <a:lnTo>
                      <a:pt x="510" y="996"/>
                    </a:lnTo>
                    <a:lnTo>
                      <a:pt x="504" y="996"/>
                    </a:lnTo>
                    <a:lnTo>
                      <a:pt x="498" y="990"/>
                    </a:lnTo>
                    <a:lnTo>
                      <a:pt x="492" y="990"/>
                    </a:lnTo>
                    <a:lnTo>
                      <a:pt x="492" y="984"/>
                    </a:lnTo>
                    <a:lnTo>
                      <a:pt x="486" y="984"/>
                    </a:lnTo>
                    <a:lnTo>
                      <a:pt x="480" y="978"/>
                    </a:lnTo>
                    <a:lnTo>
                      <a:pt x="480" y="972"/>
                    </a:lnTo>
                    <a:lnTo>
                      <a:pt x="474" y="972"/>
                    </a:lnTo>
                    <a:lnTo>
                      <a:pt x="474" y="966"/>
                    </a:lnTo>
                    <a:lnTo>
                      <a:pt x="468" y="966"/>
                    </a:lnTo>
                    <a:lnTo>
                      <a:pt x="462" y="966"/>
                    </a:lnTo>
                    <a:lnTo>
                      <a:pt x="462" y="960"/>
                    </a:lnTo>
                    <a:lnTo>
                      <a:pt x="456" y="960"/>
                    </a:lnTo>
                    <a:lnTo>
                      <a:pt x="456" y="954"/>
                    </a:lnTo>
                    <a:lnTo>
                      <a:pt x="450" y="954"/>
                    </a:lnTo>
                    <a:lnTo>
                      <a:pt x="444" y="954"/>
                    </a:lnTo>
                    <a:lnTo>
                      <a:pt x="444" y="948"/>
                    </a:lnTo>
                    <a:lnTo>
                      <a:pt x="438" y="948"/>
                    </a:lnTo>
                    <a:lnTo>
                      <a:pt x="438" y="942"/>
                    </a:lnTo>
                    <a:lnTo>
                      <a:pt x="432" y="942"/>
                    </a:lnTo>
                    <a:lnTo>
                      <a:pt x="426" y="936"/>
                    </a:lnTo>
                    <a:lnTo>
                      <a:pt x="420" y="936"/>
                    </a:lnTo>
                    <a:lnTo>
                      <a:pt x="420" y="930"/>
                    </a:lnTo>
                    <a:lnTo>
                      <a:pt x="414" y="930"/>
                    </a:lnTo>
                    <a:lnTo>
                      <a:pt x="408" y="924"/>
                    </a:lnTo>
                    <a:lnTo>
                      <a:pt x="402" y="924"/>
                    </a:lnTo>
                    <a:lnTo>
                      <a:pt x="402" y="918"/>
                    </a:lnTo>
                    <a:lnTo>
                      <a:pt x="396" y="918"/>
                    </a:lnTo>
                    <a:lnTo>
                      <a:pt x="390" y="912"/>
                    </a:lnTo>
                    <a:lnTo>
                      <a:pt x="384" y="912"/>
                    </a:lnTo>
                    <a:lnTo>
                      <a:pt x="384" y="906"/>
                    </a:lnTo>
                    <a:lnTo>
                      <a:pt x="378" y="906"/>
                    </a:lnTo>
                    <a:lnTo>
                      <a:pt x="378" y="900"/>
                    </a:lnTo>
                    <a:lnTo>
                      <a:pt x="372" y="900"/>
                    </a:lnTo>
                    <a:lnTo>
                      <a:pt x="366" y="894"/>
                    </a:lnTo>
                    <a:lnTo>
                      <a:pt x="360" y="894"/>
                    </a:lnTo>
                    <a:lnTo>
                      <a:pt x="360" y="888"/>
                    </a:lnTo>
                    <a:lnTo>
                      <a:pt x="354" y="888"/>
                    </a:lnTo>
                    <a:lnTo>
                      <a:pt x="354" y="882"/>
                    </a:lnTo>
                    <a:lnTo>
                      <a:pt x="348" y="882"/>
                    </a:lnTo>
                    <a:lnTo>
                      <a:pt x="342" y="882"/>
                    </a:lnTo>
                    <a:lnTo>
                      <a:pt x="342" y="876"/>
                    </a:lnTo>
                    <a:lnTo>
                      <a:pt x="336" y="876"/>
                    </a:lnTo>
                    <a:lnTo>
                      <a:pt x="336" y="870"/>
                    </a:lnTo>
                    <a:lnTo>
                      <a:pt x="330" y="870"/>
                    </a:lnTo>
                    <a:lnTo>
                      <a:pt x="324" y="864"/>
                    </a:lnTo>
                    <a:lnTo>
                      <a:pt x="318" y="864"/>
                    </a:lnTo>
                    <a:lnTo>
                      <a:pt x="318" y="858"/>
                    </a:lnTo>
                    <a:lnTo>
                      <a:pt x="312" y="858"/>
                    </a:lnTo>
                    <a:lnTo>
                      <a:pt x="306" y="852"/>
                    </a:lnTo>
                    <a:lnTo>
                      <a:pt x="300" y="852"/>
                    </a:lnTo>
                    <a:lnTo>
                      <a:pt x="300" y="846"/>
                    </a:lnTo>
                    <a:lnTo>
                      <a:pt x="294" y="846"/>
                    </a:lnTo>
                    <a:lnTo>
                      <a:pt x="288" y="840"/>
                    </a:lnTo>
                    <a:lnTo>
                      <a:pt x="282" y="840"/>
                    </a:lnTo>
                    <a:lnTo>
                      <a:pt x="282" y="834"/>
                    </a:lnTo>
                    <a:lnTo>
                      <a:pt x="276" y="834"/>
                    </a:lnTo>
                    <a:lnTo>
                      <a:pt x="276" y="828"/>
                    </a:lnTo>
                    <a:lnTo>
                      <a:pt x="270" y="828"/>
                    </a:lnTo>
                    <a:lnTo>
                      <a:pt x="264" y="822"/>
                    </a:lnTo>
                    <a:lnTo>
                      <a:pt x="258" y="822"/>
                    </a:lnTo>
                    <a:lnTo>
                      <a:pt x="252" y="816"/>
                    </a:lnTo>
                    <a:lnTo>
                      <a:pt x="246" y="810"/>
                    </a:lnTo>
                    <a:lnTo>
                      <a:pt x="240" y="810"/>
                    </a:lnTo>
                    <a:lnTo>
                      <a:pt x="234" y="804"/>
                    </a:lnTo>
                    <a:lnTo>
                      <a:pt x="228" y="798"/>
                    </a:lnTo>
                    <a:lnTo>
                      <a:pt x="222" y="798"/>
                    </a:lnTo>
                    <a:lnTo>
                      <a:pt x="222" y="792"/>
                    </a:lnTo>
                    <a:lnTo>
                      <a:pt x="216" y="792"/>
                    </a:lnTo>
                    <a:lnTo>
                      <a:pt x="210" y="786"/>
                    </a:lnTo>
                    <a:lnTo>
                      <a:pt x="204" y="786"/>
                    </a:lnTo>
                    <a:lnTo>
                      <a:pt x="204" y="780"/>
                    </a:lnTo>
                    <a:lnTo>
                      <a:pt x="198" y="780"/>
                    </a:lnTo>
                    <a:lnTo>
                      <a:pt x="192" y="774"/>
                    </a:lnTo>
                    <a:lnTo>
                      <a:pt x="186" y="768"/>
                    </a:lnTo>
                    <a:lnTo>
                      <a:pt x="180" y="768"/>
                    </a:lnTo>
                    <a:lnTo>
                      <a:pt x="180" y="762"/>
                    </a:lnTo>
                    <a:lnTo>
                      <a:pt x="174" y="762"/>
                    </a:lnTo>
                    <a:lnTo>
                      <a:pt x="168" y="756"/>
                    </a:lnTo>
                    <a:lnTo>
                      <a:pt x="162" y="750"/>
                    </a:lnTo>
                    <a:lnTo>
                      <a:pt x="156" y="750"/>
                    </a:lnTo>
                    <a:lnTo>
                      <a:pt x="150" y="744"/>
                    </a:lnTo>
                    <a:lnTo>
                      <a:pt x="144" y="738"/>
                    </a:lnTo>
                    <a:lnTo>
                      <a:pt x="138" y="738"/>
                    </a:lnTo>
                    <a:lnTo>
                      <a:pt x="126" y="732"/>
                    </a:lnTo>
                    <a:lnTo>
                      <a:pt x="126" y="726"/>
                    </a:lnTo>
                    <a:lnTo>
                      <a:pt x="120" y="726"/>
                    </a:lnTo>
                    <a:lnTo>
                      <a:pt x="114" y="720"/>
                    </a:lnTo>
                    <a:lnTo>
                      <a:pt x="108" y="714"/>
                    </a:lnTo>
                    <a:lnTo>
                      <a:pt x="96" y="708"/>
                    </a:lnTo>
                    <a:lnTo>
                      <a:pt x="90" y="702"/>
                    </a:lnTo>
                    <a:lnTo>
                      <a:pt x="84" y="702"/>
                    </a:lnTo>
                    <a:lnTo>
                      <a:pt x="78" y="696"/>
                    </a:lnTo>
                    <a:lnTo>
                      <a:pt x="72" y="690"/>
                    </a:lnTo>
                    <a:lnTo>
                      <a:pt x="66" y="690"/>
                    </a:lnTo>
                    <a:lnTo>
                      <a:pt x="60" y="684"/>
                    </a:lnTo>
                    <a:lnTo>
                      <a:pt x="48" y="678"/>
                    </a:lnTo>
                    <a:lnTo>
                      <a:pt x="42" y="672"/>
                    </a:lnTo>
                    <a:lnTo>
                      <a:pt x="36" y="672"/>
                    </a:lnTo>
                    <a:lnTo>
                      <a:pt x="30" y="666"/>
                    </a:lnTo>
                    <a:lnTo>
                      <a:pt x="24" y="660"/>
                    </a:lnTo>
                    <a:lnTo>
                      <a:pt x="18" y="660"/>
                    </a:lnTo>
                    <a:lnTo>
                      <a:pt x="18" y="654"/>
                    </a:lnTo>
                    <a:lnTo>
                      <a:pt x="12" y="654"/>
                    </a:lnTo>
                    <a:lnTo>
                      <a:pt x="6" y="648"/>
                    </a:lnTo>
                    <a:lnTo>
                      <a:pt x="0" y="648"/>
                    </a:lnTo>
                    <a:lnTo>
                      <a:pt x="0" y="618"/>
                    </a:lnTo>
                    <a:lnTo>
                      <a:pt x="0" y="582"/>
                    </a:lnTo>
                    <a:lnTo>
                      <a:pt x="0" y="576"/>
                    </a:lnTo>
                    <a:lnTo>
                      <a:pt x="0" y="564"/>
                    </a:lnTo>
                    <a:lnTo>
                      <a:pt x="0" y="558"/>
                    </a:lnTo>
                    <a:lnTo>
                      <a:pt x="0" y="552"/>
                    </a:lnTo>
                    <a:lnTo>
                      <a:pt x="6" y="552"/>
                    </a:lnTo>
                    <a:lnTo>
                      <a:pt x="6" y="546"/>
                    </a:lnTo>
                    <a:lnTo>
                      <a:pt x="12" y="546"/>
                    </a:lnTo>
                    <a:lnTo>
                      <a:pt x="18" y="540"/>
                    </a:lnTo>
                    <a:lnTo>
                      <a:pt x="24" y="534"/>
                    </a:lnTo>
                    <a:lnTo>
                      <a:pt x="30" y="534"/>
                    </a:lnTo>
                    <a:lnTo>
                      <a:pt x="36" y="528"/>
                    </a:lnTo>
                    <a:lnTo>
                      <a:pt x="42" y="528"/>
                    </a:lnTo>
                    <a:lnTo>
                      <a:pt x="42" y="522"/>
                    </a:lnTo>
                    <a:lnTo>
                      <a:pt x="48" y="522"/>
                    </a:lnTo>
                    <a:lnTo>
                      <a:pt x="48" y="516"/>
                    </a:lnTo>
                    <a:lnTo>
                      <a:pt x="54" y="516"/>
                    </a:lnTo>
                    <a:lnTo>
                      <a:pt x="60" y="510"/>
                    </a:lnTo>
                    <a:lnTo>
                      <a:pt x="66" y="516"/>
                    </a:lnTo>
                    <a:lnTo>
                      <a:pt x="66" y="510"/>
                    </a:lnTo>
                    <a:lnTo>
                      <a:pt x="72" y="510"/>
                    </a:lnTo>
                    <a:lnTo>
                      <a:pt x="72" y="504"/>
                    </a:lnTo>
                    <a:lnTo>
                      <a:pt x="78" y="504"/>
                    </a:lnTo>
                    <a:lnTo>
                      <a:pt x="78" y="498"/>
                    </a:lnTo>
                    <a:lnTo>
                      <a:pt x="84" y="498"/>
                    </a:lnTo>
                    <a:lnTo>
                      <a:pt x="90" y="498"/>
                    </a:lnTo>
                    <a:lnTo>
                      <a:pt x="96" y="498"/>
                    </a:lnTo>
                    <a:lnTo>
                      <a:pt x="102" y="498"/>
                    </a:lnTo>
                    <a:lnTo>
                      <a:pt x="108" y="498"/>
                    </a:lnTo>
                    <a:lnTo>
                      <a:pt x="114" y="498"/>
                    </a:lnTo>
                    <a:lnTo>
                      <a:pt x="120" y="498"/>
                    </a:lnTo>
                    <a:lnTo>
                      <a:pt x="120" y="492"/>
                    </a:lnTo>
                    <a:lnTo>
                      <a:pt x="126" y="492"/>
                    </a:lnTo>
                    <a:lnTo>
                      <a:pt x="132" y="492"/>
                    </a:lnTo>
                    <a:lnTo>
                      <a:pt x="138" y="492"/>
                    </a:lnTo>
                    <a:lnTo>
                      <a:pt x="144" y="492"/>
                    </a:lnTo>
                    <a:lnTo>
                      <a:pt x="150" y="486"/>
                    </a:lnTo>
                    <a:lnTo>
                      <a:pt x="156" y="486"/>
                    </a:lnTo>
                    <a:lnTo>
                      <a:pt x="162" y="486"/>
                    </a:lnTo>
                    <a:lnTo>
                      <a:pt x="168" y="486"/>
                    </a:lnTo>
                    <a:lnTo>
                      <a:pt x="174" y="480"/>
                    </a:lnTo>
                    <a:lnTo>
                      <a:pt x="180" y="480"/>
                    </a:lnTo>
                    <a:lnTo>
                      <a:pt x="186" y="480"/>
                    </a:lnTo>
                    <a:lnTo>
                      <a:pt x="186" y="474"/>
                    </a:lnTo>
                    <a:lnTo>
                      <a:pt x="192" y="474"/>
                    </a:lnTo>
                    <a:lnTo>
                      <a:pt x="198" y="474"/>
                    </a:lnTo>
                    <a:lnTo>
                      <a:pt x="198" y="468"/>
                    </a:lnTo>
                    <a:lnTo>
                      <a:pt x="198" y="462"/>
                    </a:lnTo>
                    <a:lnTo>
                      <a:pt x="204" y="462"/>
                    </a:lnTo>
                    <a:lnTo>
                      <a:pt x="204" y="456"/>
                    </a:lnTo>
                    <a:lnTo>
                      <a:pt x="204" y="450"/>
                    </a:lnTo>
                    <a:lnTo>
                      <a:pt x="204" y="444"/>
                    </a:lnTo>
                    <a:lnTo>
                      <a:pt x="210" y="444"/>
                    </a:lnTo>
                    <a:lnTo>
                      <a:pt x="210" y="438"/>
                    </a:lnTo>
                    <a:lnTo>
                      <a:pt x="210" y="432"/>
                    </a:lnTo>
                    <a:lnTo>
                      <a:pt x="216" y="432"/>
                    </a:lnTo>
                    <a:lnTo>
                      <a:pt x="222" y="432"/>
                    </a:lnTo>
                    <a:lnTo>
                      <a:pt x="222" y="426"/>
                    </a:lnTo>
                    <a:lnTo>
                      <a:pt x="228" y="426"/>
                    </a:lnTo>
                    <a:lnTo>
                      <a:pt x="234" y="426"/>
                    </a:lnTo>
                    <a:lnTo>
                      <a:pt x="240" y="426"/>
                    </a:lnTo>
                    <a:lnTo>
                      <a:pt x="246" y="426"/>
                    </a:lnTo>
                    <a:lnTo>
                      <a:pt x="252" y="426"/>
                    </a:lnTo>
                    <a:lnTo>
                      <a:pt x="252" y="420"/>
                    </a:lnTo>
                    <a:lnTo>
                      <a:pt x="258" y="420"/>
                    </a:lnTo>
                    <a:lnTo>
                      <a:pt x="264" y="414"/>
                    </a:lnTo>
                    <a:lnTo>
                      <a:pt x="270" y="414"/>
                    </a:lnTo>
                    <a:lnTo>
                      <a:pt x="270" y="420"/>
                    </a:lnTo>
                    <a:lnTo>
                      <a:pt x="270" y="414"/>
                    </a:lnTo>
                    <a:lnTo>
                      <a:pt x="276" y="414"/>
                    </a:lnTo>
                    <a:lnTo>
                      <a:pt x="282" y="414"/>
                    </a:lnTo>
                    <a:lnTo>
                      <a:pt x="282" y="408"/>
                    </a:lnTo>
                    <a:lnTo>
                      <a:pt x="282" y="402"/>
                    </a:lnTo>
                    <a:lnTo>
                      <a:pt x="276" y="402"/>
                    </a:lnTo>
                    <a:lnTo>
                      <a:pt x="270" y="402"/>
                    </a:lnTo>
                    <a:lnTo>
                      <a:pt x="270" y="396"/>
                    </a:lnTo>
                    <a:lnTo>
                      <a:pt x="270" y="390"/>
                    </a:lnTo>
                    <a:lnTo>
                      <a:pt x="270" y="384"/>
                    </a:lnTo>
                    <a:lnTo>
                      <a:pt x="276" y="384"/>
                    </a:lnTo>
                    <a:lnTo>
                      <a:pt x="276" y="378"/>
                    </a:lnTo>
                    <a:lnTo>
                      <a:pt x="276" y="372"/>
                    </a:lnTo>
                    <a:lnTo>
                      <a:pt x="276" y="366"/>
                    </a:lnTo>
                    <a:lnTo>
                      <a:pt x="282" y="366"/>
                    </a:lnTo>
                    <a:lnTo>
                      <a:pt x="288" y="366"/>
                    </a:lnTo>
                    <a:lnTo>
                      <a:pt x="294" y="366"/>
                    </a:lnTo>
                    <a:lnTo>
                      <a:pt x="300" y="366"/>
                    </a:lnTo>
                    <a:lnTo>
                      <a:pt x="300" y="360"/>
                    </a:lnTo>
                    <a:lnTo>
                      <a:pt x="306" y="360"/>
                    </a:lnTo>
                    <a:lnTo>
                      <a:pt x="312" y="360"/>
                    </a:lnTo>
                    <a:lnTo>
                      <a:pt x="318" y="360"/>
                    </a:lnTo>
                    <a:lnTo>
                      <a:pt x="324" y="360"/>
                    </a:lnTo>
                    <a:lnTo>
                      <a:pt x="324" y="354"/>
                    </a:lnTo>
                    <a:lnTo>
                      <a:pt x="324" y="348"/>
                    </a:lnTo>
                    <a:lnTo>
                      <a:pt x="318" y="348"/>
                    </a:lnTo>
                    <a:lnTo>
                      <a:pt x="318" y="342"/>
                    </a:lnTo>
                    <a:lnTo>
                      <a:pt x="318" y="336"/>
                    </a:lnTo>
                    <a:lnTo>
                      <a:pt x="324" y="336"/>
                    </a:lnTo>
                    <a:lnTo>
                      <a:pt x="330" y="336"/>
                    </a:lnTo>
                    <a:lnTo>
                      <a:pt x="336" y="336"/>
                    </a:lnTo>
                    <a:lnTo>
                      <a:pt x="342" y="330"/>
                    </a:lnTo>
                    <a:lnTo>
                      <a:pt x="348" y="330"/>
                    </a:lnTo>
                    <a:lnTo>
                      <a:pt x="354" y="330"/>
                    </a:lnTo>
                    <a:lnTo>
                      <a:pt x="360" y="330"/>
                    </a:lnTo>
                    <a:lnTo>
                      <a:pt x="366" y="336"/>
                    </a:lnTo>
                    <a:lnTo>
                      <a:pt x="372" y="336"/>
                    </a:lnTo>
                    <a:lnTo>
                      <a:pt x="378" y="336"/>
                    </a:lnTo>
                    <a:lnTo>
                      <a:pt x="384" y="336"/>
                    </a:lnTo>
                    <a:lnTo>
                      <a:pt x="390" y="336"/>
                    </a:lnTo>
                    <a:lnTo>
                      <a:pt x="396" y="336"/>
                    </a:lnTo>
                    <a:lnTo>
                      <a:pt x="402" y="336"/>
                    </a:lnTo>
                    <a:lnTo>
                      <a:pt x="408" y="336"/>
                    </a:lnTo>
                    <a:lnTo>
                      <a:pt x="414" y="336"/>
                    </a:lnTo>
                    <a:lnTo>
                      <a:pt x="414" y="330"/>
                    </a:lnTo>
                    <a:lnTo>
                      <a:pt x="408" y="330"/>
                    </a:lnTo>
                    <a:lnTo>
                      <a:pt x="408" y="324"/>
                    </a:lnTo>
                    <a:lnTo>
                      <a:pt x="414" y="324"/>
                    </a:lnTo>
                    <a:lnTo>
                      <a:pt x="408" y="324"/>
                    </a:lnTo>
                    <a:lnTo>
                      <a:pt x="414" y="324"/>
                    </a:lnTo>
                    <a:lnTo>
                      <a:pt x="414" y="318"/>
                    </a:lnTo>
                    <a:lnTo>
                      <a:pt x="420" y="318"/>
                    </a:lnTo>
                    <a:lnTo>
                      <a:pt x="420" y="312"/>
                    </a:lnTo>
                    <a:lnTo>
                      <a:pt x="426" y="312"/>
                    </a:lnTo>
                    <a:lnTo>
                      <a:pt x="426" y="306"/>
                    </a:lnTo>
                    <a:lnTo>
                      <a:pt x="420" y="306"/>
                    </a:lnTo>
                    <a:lnTo>
                      <a:pt x="414" y="300"/>
                    </a:lnTo>
                    <a:lnTo>
                      <a:pt x="408" y="300"/>
                    </a:lnTo>
                    <a:lnTo>
                      <a:pt x="408" y="294"/>
                    </a:lnTo>
                    <a:lnTo>
                      <a:pt x="402" y="294"/>
                    </a:lnTo>
                    <a:lnTo>
                      <a:pt x="402" y="288"/>
                    </a:lnTo>
                    <a:lnTo>
                      <a:pt x="396" y="282"/>
                    </a:lnTo>
                    <a:lnTo>
                      <a:pt x="396" y="276"/>
                    </a:lnTo>
                    <a:lnTo>
                      <a:pt x="396" y="270"/>
                    </a:lnTo>
                    <a:lnTo>
                      <a:pt x="390" y="264"/>
                    </a:lnTo>
                    <a:lnTo>
                      <a:pt x="390" y="258"/>
                    </a:lnTo>
                    <a:lnTo>
                      <a:pt x="390" y="252"/>
                    </a:lnTo>
                    <a:lnTo>
                      <a:pt x="390" y="246"/>
                    </a:lnTo>
                    <a:lnTo>
                      <a:pt x="390" y="240"/>
                    </a:lnTo>
                    <a:lnTo>
                      <a:pt x="390" y="234"/>
                    </a:lnTo>
                    <a:lnTo>
                      <a:pt x="384" y="234"/>
                    </a:lnTo>
                    <a:lnTo>
                      <a:pt x="384" y="228"/>
                    </a:lnTo>
                    <a:lnTo>
                      <a:pt x="390" y="228"/>
                    </a:lnTo>
                    <a:lnTo>
                      <a:pt x="384" y="222"/>
                    </a:lnTo>
                    <a:lnTo>
                      <a:pt x="384" y="210"/>
                    </a:lnTo>
                    <a:lnTo>
                      <a:pt x="390" y="210"/>
                    </a:lnTo>
                    <a:lnTo>
                      <a:pt x="390" y="204"/>
                    </a:lnTo>
                    <a:lnTo>
                      <a:pt x="384" y="198"/>
                    </a:lnTo>
                    <a:lnTo>
                      <a:pt x="384" y="186"/>
                    </a:lnTo>
                    <a:lnTo>
                      <a:pt x="384" y="180"/>
                    </a:lnTo>
                    <a:lnTo>
                      <a:pt x="384" y="174"/>
                    </a:lnTo>
                    <a:lnTo>
                      <a:pt x="378" y="168"/>
                    </a:lnTo>
                    <a:lnTo>
                      <a:pt x="384" y="162"/>
                    </a:lnTo>
                    <a:lnTo>
                      <a:pt x="378" y="156"/>
                    </a:lnTo>
                    <a:lnTo>
                      <a:pt x="372" y="156"/>
                    </a:lnTo>
                    <a:lnTo>
                      <a:pt x="372" y="150"/>
                    </a:lnTo>
                    <a:lnTo>
                      <a:pt x="366" y="150"/>
                    </a:lnTo>
                    <a:lnTo>
                      <a:pt x="366" y="144"/>
                    </a:lnTo>
                    <a:lnTo>
                      <a:pt x="360" y="144"/>
                    </a:lnTo>
                    <a:lnTo>
                      <a:pt x="360" y="138"/>
                    </a:lnTo>
                    <a:lnTo>
                      <a:pt x="366" y="138"/>
                    </a:lnTo>
                    <a:lnTo>
                      <a:pt x="372" y="138"/>
                    </a:lnTo>
                    <a:lnTo>
                      <a:pt x="378" y="138"/>
                    </a:lnTo>
                    <a:lnTo>
                      <a:pt x="378" y="132"/>
                    </a:lnTo>
                    <a:lnTo>
                      <a:pt x="384" y="132"/>
                    </a:lnTo>
                    <a:lnTo>
                      <a:pt x="390" y="132"/>
                    </a:lnTo>
                    <a:lnTo>
                      <a:pt x="390" y="126"/>
                    </a:lnTo>
                    <a:lnTo>
                      <a:pt x="396" y="126"/>
                    </a:lnTo>
                    <a:lnTo>
                      <a:pt x="396" y="120"/>
                    </a:lnTo>
                    <a:lnTo>
                      <a:pt x="402" y="120"/>
                    </a:lnTo>
                    <a:lnTo>
                      <a:pt x="408" y="120"/>
                    </a:lnTo>
                    <a:lnTo>
                      <a:pt x="408" y="114"/>
                    </a:lnTo>
                    <a:lnTo>
                      <a:pt x="414" y="114"/>
                    </a:lnTo>
                    <a:lnTo>
                      <a:pt x="414" y="108"/>
                    </a:lnTo>
                    <a:lnTo>
                      <a:pt x="414" y="102"/>
                    </a:lnTo>
                    <a:lnTo>
                      <a:pt x="420" y="102"/>
                    </a:lnTo>
                    <a:lnTo>
                      <a:pt x="420" y="96"/>
                    </a:lnTo>
                    <a:lnTo>
                      <a:pt x="426" y="96"/>
                    </a:lnTo>
                    <a:lnTo>
                      <a:pt x="432" y="96"/>
                    </a:lnTo>
                    <a:lnTo>
                      <a:pt x="432" y="90"/>
                    </a:lnTo>
                    <a:lnTo>
                      <a:pt x="438" y="90"/>
                    </a:lnTo>
                    <a:lnTo>
                      <a:pt x="444" y="90"/>
                    </a:lnTo>
                    <a:lnTo>
                      <a:pt x="444" y="96"/>
                    </a:lnTo>
                    <a:lnTo>
                      <a:pt x="450" y="90"/>
                    </a:lnTo>
                    <a:lnTo>
                      <a:pt x="456" y="84"/>
                    </a:lnTo>
                    <a:lnTo>
                      <a:pt x="462" y="84"/>
                    </a:lnTo>
                    <a:lnTo>
                      <a:pt x="462" y="78"/>
                    </a:lnTo>
                    <a:lnTo>
                      <a:pt x="462" y="84"/>
                    </a:lnTo>
                    <a:lnTo>
                      <a:pt x="468" y="90"/>
                    </a:lnTo>
                    <a:lnTo>
                      <a:pt x="474" y="90"/>
                    </a:lnTo>
                    <a:lnTo>
                      <a:pt x="480" y="84"/>
                    </a:lnTo>
                    <a:lnTo>
                      <a:pt x="486" y="78"/>
                    </a:lnTo>
                    <a:lnTo>
                      <a:pt x="486" y="72"/>
                    </a:lnTo>
                    <a:lnTo>
                      <a:pt x="492" y="72"/>
                    </a:lnTo>
                    <a:lnTo>
                      <a:pt x="492" y="66"/>
                    </a:lnTo>
                    <a:lnTo>
                      <a:pt x="498" y="66"/>
                    </a:lnTo>
                    <a:lnTo>
                      <a:pt x="498" y="60"/>
                    </a:lnTo>
                    <a:lnTo>
                      <a:pt x="504" y="60"/>
                    </a:lnTo>
                    <a:lnTo>
                      <a:pt x="510" y="60"/>
                    </a:lnTo>
                    <a:lnTo>
                      <a:pt x="510" y="54"/>
                    </a:lnTo>
                    <a:lnTo>
                      <a:pt x="516" y="54"/>
                    </a:lnTo>
                    <a:lnTo>
                      <a:pt x="522" y="54"/>
                    </a:lnTo>
                    <a:lnTo>
                      <a:pt x="522" y="48"/>
                    </a:lnTo>
                    <a:lnTo>
                      <a:pt x="528" y="48"/>
                    </a:lnTo>
                    <a:lnTo>
                      <a:pt x="534" y="48"/>
                    </a:lnTo>
                    <a:lnTo>
                      <a:pt x="534" y="42"/>
                    </a:lnTo>
                    <a:lnTo>
                      <a:pt x="540" y="42"/>
                    </a:lnTo>
                    <a:lnTo>
                      <a:pt x="546" y="42"/>
                    </a:lnTo>
                    <a:lnTo>
                      <a:pt x="552" y="42"/>
                    </a:lnTo>
                    <a:lnTo>
                      <a:pt x="552" y="36"/>
                    </a:lnTo>
                    <a:lnTo>
                      <a:pt x="558" y="36"/>
                    </a:lnTo>
                    <a:lnTo>
                      <a:pt x="564" y="36"/>
                    </a:lnTo>
                    <a:lnTo>
                      <a:pt x="570" y="36"/>
                    </a:lnTo>
                    <a:lnTo>
                      <a:pt x="576" y="36"/>
                    </a:lnTo>
                    <a:lnTo>
                      <a:pt x="582" y="36"/>
                    </a:lnTo>
                    <a:lnTo>
                      <a:pt x="588" y="36"/>
                    </a:lnTo>
                    <a:lnTo>
                      <a:pt x="594" y="36"/>
                    </a:lnTo>
                    <a:lnTo>
                      <a:pt x="600" y="36"/>
                    </a:lnTo>
                    <a:lnTo>
                      <a:pt x="600" y="30"/>
                    </a:lnTo>
                    <a:lnTo>
                      <a:pt x="606" y="30"/>
                    </a:lnTo>
                    <a:lnTo>
                      <a:pt x="612" y="30"/>
                    </a:lnTo>
                    <a:lnTo>
                      <a:pt x="612" y="36"/>
                    </a:lnTo>
                    <a:lnTo>
                      <a:pt x="618" y="36"/>
                    </a:lnTo>
                    <a:lnTo>
                      <a:pt x="624" y="36"/>
                    </a:lnTo>
                    <a:lnTo>
                      <a:pt x="624" y="30"/>
                    </a:lnTo>
                    <a:lnTo>
                      <a:pt x="630" y="30"/>
                    </a:lnTo>
                    <a:lnTo>
                      <a:pt x="636" y="30"/>
                    </a:lnTo>
                    <a:lnTo>
                      <a:pt x="636" y="24"/>
                    </a:lnTo>
                    <a:lnTo>
                      <a:pt x="642" y="24"/>
                    </a:lnTo>
                    <a:lnTo>
                      <a:pt x="642" y="18"/>
                    </a:lnTo>
                    <a:lnTo>
                      <a:pt x="648" y="18"/>
                    </a:lnTo>
                    <a:lnTo>
                      <a:pt x="648" y="24"/>
                    </a:lnTo>
                    <a:lnTo>
                      <a:pt x="654" y="24"/>
                    </a:lnTo>
                    <a:lnTo>
                      <a:pt x="660" y="24"/>
                    </a:lnTo>
                    <a:lnTo>
                      <a:pt x="660" y="18"/>
                    </a:lnTo>
                    <a:lnTo>
                      <a:pt x="666" y="18"/>
                    </a:lnTo>
                    <a:lnTo>
                      <a:pt x="666" y="24"/>
                    </a:lnTo>
                    <a:lnTo>
                      <a:pt x="666" y="18"/>
                    </a:lnTo>
                    <a:lnTo>
                      <a:pt x="666" y="24"/>
                    </a:lnTo>
                    <a:lnTo>
                      <a:pt x="672" y="24"/>
                    </a:lnTo>
                    <a:lnTo>
                      <a:pt x="678" y="18"/>
                    </a:lnTo>
                    <a:lnTo>
                      <a:pt x="684" y="18"/>
                    </a:lnTo>
                    <a:lnTo>
                      <a:pt x="684" y="12"/>
                    </a:lnTo>
                    <a:lnTo>
                      <a:pt x="690" y="12"/>
                    </a:lnTo>
                    <a:lnTo>
                      <a:pt x="696" y="12"/>
                    </a:lnTo>
                    <a:lnTo>
                      <a:pt x="702" y="12"/>
                    </a:lnTo>
                    <a:lnTo>
                      <a:pt x="708" y="12"/>
                    </a:lnTo>
                    <a:lnTo>
                      <a:pt x="714" y="12"/>
                    </a:lnTo>
                    <a:lnTo>
                      <a:pt x="720" y="12"/>
                    </a:lnTo>
                    <a:lnTo>
                      <a:pt x="726" y="12"/>
                    </a:lnTo>
                    <a:lnTo>
                      <a:pt x="732" y="12"/>
                    </a:lnTo>
                    <a:lnTo>
                      <a:pt x="738" y="12"/>
                    </a:lnTo>
                    <a:lnTo>
                      <a:pt x="744" y="12"/>
                    </a:lnTo>
                    <a:lnTo>
                      <a:pt x="750" y="12"/>
                    </a:lnTo>
                    <a:lnTo>
                      <a:pt x="750" y="18"/>
                    </a:lnTo>
                    <a:lnTo>
                      <a:pt x="756" y="18"/>
                    </a:lnTo>
                    <a:lnTo>
                      <a:pt x="762" y="18"/>
                    </a:lnTo>
                    <a:lnTo>
                      <a:pt x="762" y="24"/>
                    </a:lnTo>
                    <a:lnTo>
                      <a:pt x="762" y="18"/>
                    </a:lnTo>
                    <a:lnTo>
                      <a:pt x="762" y="24"/>
                    </a:lnTo>
                    <a:lnTo>
                      <a:pt x="768" y="30"/>
                    </a:lnTo>
                    <a:lnTo>
                      <a:pt x="774" y="30"/>
                    </a:lnTo>
                    <a:lnTo>
                      <a:pt x="780" y="30"/>
                    </a:lnTo>
                    <a:lnTo>
                      <a:pt x="786" y="30"/>
                    </a:lnTo>
                    <a:lnTo>
                      <a:pt x="786" y="24"/>
                    </a:lnTo>
                    <a:lnTo>
                      <a:pt x="792" y="24"/>
                    </a:lnTo>
                    <a:lnTo>
                      <a:pt x="792" y="18"/>
                    </a:lnTo>
                    <a:lnTo>
                      <a:pt x="798" y="18"/>
                    </a:lnTo>
                    <a:lnTo>
                      <a:pt x="804" y="18"/>
                    </a:lnTo>
                    <a:lnTo>
                      <a:pt x="810" y="18"/>
                    </a:lnTo>
                    <a:lnTo>
                      <a:pt x="816" y="18"/>
                    </a:lnTo>
                    <a:lnTo>
                      <a:pt x="816" y="12"/>
                    </a:lnTo>
                    <a:lnTo>
                      <a:pt x="822" y="12"/>
                    </a:lnTo>
                    <a:lnTo>
                      <a:pt x="828" y="12"/>
                    </a:lnTo>
                    <a:lnTo>
                      <a:pt x="828" y="6"/>
                    </a:lnTo>
                    <a:lnTo>
                      <a:pt x="834" y="0"/>
                    </a:lnTo>
                    <a:lnTo>
                      <a:pt x="840" y="0"/>
                    </a:lnTo>
                    <a:lnTo>
                      <a:pt x="846" y="0"/>
                    </a:lnTo>
                    <a:lnTo>
                      <a:pt x="846" y="6"/>
                    </a:lnTo>
                    <a:lnTo>
                      <a:pt x="852" y="6"/>
                    </a:lnTo>
                    <a:lnTo>
                      <a:pt x="858" y="6"/>
                    </a:lnTo>
                    <a:lnTo>
                      <a:pt x="858" y="12"/>
                    </a:lnTo>
                    <a:lnTo>
                      <a:pt x="858" y="6"/>
                    </a:lnTo>
                    <a:lnTo>
                      <a:pt x="864" y="6"/>
                    </a:lnTo>
                    <a:lnTo>
                      <a:pt x="864" y="12"/>
                    </a:lnTo>
                    <a:lnTo>
                      <a:pt x="870" y="12"/>
                    </a:lnTo>
                    <a:lnTo>
                      <a:pt x="876" y="12"/>
                    </a:lnTo>
                    <a:lnTo>
                      <a:pt x="882" y="12"/>
                    </a:lnTo>
                    <a:lnTo>
                      <a:pt x="882" y="6"/>
                    </a:lnTo>
                    <a:lnTo>
                      <a:pt x="882" y="0"/>
                    </a:lnTo>
                    <a:lnTo>
                      <a:pt x="888" y="0"/>
                    </a:lnTo>
                    <a:lnTo>
                      <a:pt x="894" y="0"/>
                    </a:lnTo>
                    <a:lnTo>
                      <a:pt x="900" y="0"/>
                    </a:lnTo>
                    <a:lnTo>
                      <a:pt x="900" y="6"/>
                    </a:lnTo>
                    <a:lnTo>
                      <a:pt x="906" y="6"/>
                    </a:lnTo>
                    <a:lnTo>
                      <a:pt x="912" y="6"/>
                    </a:lnTo>
                    <a:lnTo>
                      <a:pt x="912" y="12"/>
                    </a:lnTo>
                    <a:lnTo>
                      <a:pt x="912" y="18"/>
                    </a:lnTo>
                    <a:lnTo>
                      <a:pt x="918" y="18"/>
                    </a:lnTo>
                    <a:lnTo>
                      <a:pt x="924" y="18"/>
                    </a:lnTo>
                    <a:lnTo>
                      <a:pt x="930" y="12"/>
                    </a:lnTo>
                    <a:lnTo>
                      <a:pt x="936" y="12"/>
                    </a:lnTo>
                    <a:lnTo>
                      <a:pt x="936" y="6"/>
                    </a:lnTo>
                    <a:lnTo>
                      <a:pt x="942" y="6"/>
                    </a:lnTo>
                    <a:lnTo>
                      <a:pt x="942" y="12"/>
                    </a:lnTo>
                    <a:lnTo>
                      <a:pt x="948" y="12"/>
                    </a:lnTo>
                    <a:lnTo>
                      <a:pt x="954" y="12"/>
                    </a:lnTo>
                    <a:lnTo>
                      <a:pt x="960" y="12"/>
                    </a:lnTo>
                    <a:lnTo>
                      <a:pt x="960" y="18"/>
                    </a:lnTo>
                    <a:lnTo>
                      <a:pt x="966" y="18"/>
                    </a:lnTo>
                    <a:lnTo>
                      <a:pt x="960" y="18"/>
                    </a:lnTo>
                    <a:lnTo>
                      <a:pt x="954" y="18"/>
                    </a:lnTo>
                    <a:lnTo>
                      <a:pt x="954" y="24"/>
                    </a:lnTo>
                    <a:lnTo>
                      <a:pt x="948" y="24"/>
                    </a:lnTo>
                    <a:lnTo>
                      <a:pt x="954" y="24"/>
                    </a:lnTo>
                    <a:lnTo>
                      <a:pt x="954" y="30"/>
                    </a:lnTo>
                    <a:lnTo>
                      <a:pt x="948" y="30"/>
                    </a:lnTo>
                    <a:lnTo>
                      <a:pt x="948" y="36"/>
                    </a:lnTo>
                    <a:lnTo>
                      <a:pt x="942" y="36"/>
                    </a:lnTo>
                    <a:lnTo>
                      <a:pt x="936" y="36"/>
                    </a:lnTo>
                    <a:lnTo>
                      <a:pt x="936" y="42"/>
                    </a:lnTo>
                    <a:lnTo>
                      <a:pt x="942" y="42"/>
                    </a:lnTo>
                    <a:lnTo>
                      <a:pt x="948" y="42"/>
                    </a:lnTo>
                    <a:lnTo>
                      <a:pt x="948" y="48"/>
                    </a:lnTo>
                    <a:lnTo>
                      <a:pt x="948" y="54"/>
                    </a:lnTo>
                    <a:lnTo>
                      <a:pt x="942" y="54"/>
                    </a:lnTo>
                    <a:lnTo>
                      <a:pt x="948" y="60"/>
                    </a:lnTo>
                    <a:lnTo>
                      <a:pt x="942" y="60"/>
                    </a:lnTo>
                    <a:lnTo>
                      <a:pt x="942" y="66"/>
                    </a:lnTo>
                    <a:lnTo>
                      <a:pt x="948" y="66"/>
                    </a:lnTo>
                    <a:lnTo>
                      <a:pt x="942" y="66"/>
                    </a:lnTo>
                    <a:lnTo>
                      <a:pt x="942" y="72"/>
                    </a:lnTo>
                    <a:lnTo>
                      <a:pt x="942" y="78"/>
                    </a:lnTo>
                    <a:lnTo>
                      <a:pt x="942" y="84"/>
                    </a:lnTo>
                    <a:lnTo>
                      <a:pt x="942" y="90"/>
                    </a:lnTo>
                    <a:lnTo>
                      <a:pt x="942" y="96"/>
                    </a:lnTo>
                    <a:lnTo>
                      <a:pt x="948" y="96"/>
                    </a:lnTo>
                    <a:lnTo>
                      <a:pt x="948" y="102"/>
                    </a:lnTo>
                    <a:lnTo>
                      <a:pt x="948" y="108"/>
                    </a:lnTo>
                    <a:lnTo>
                      <a:pt x="948" y="114"/>
                    </a:lnTo>
                    <a:lnTo>
                      <a:pt x="942" y="114"/>
                    </a:lnTo>
                    <a:lnTo>
                      <a:pt x="942" y="120"/>
                    </a:lnTo>
                    <a:lnTo>
                      <a:pt x="942" y="126"/>
                    </a:lnTo>
                    <a:lnTo>
                      <a:pt x="948" y="126"/>
                    </a:lnTo>
                    <a:lnTo>
                      <a:pt x="954" y="126"/>
                    </a:lnTo>
                    <a:lnTo>
                      <a:pt x="948" y="126"/>
                    </a:lnTo>
                    <a:lnTo>
                      <a:pt x="948" y="132"/>
                    </a:lnTo>
                    <a:lnTo>
                      <a:pt x="948" y="138"/>
                    </a:lnTo>
                    <a:lnTo>
                      <a:pt x="942" y="138"/>
                    </a:lnTo>
                    <a:lnTo>
                      <a:pt x="942" y="144"/>
                    </a:lnTo>
                    <a:lnTo>
                      <a:pt x="942" y="150"/>
                    </a:lnTo>
                    <a:lnTo>
                      <a:pt x="942" y="156"/>
                    </a:lnTo>
                    <a:lnTo>
                      <a:pt x="942" y="162"/>
                    </a:lnTo>
                    <a:lnTo>
                      <a:pt x="942" y="168"/>
                    </a:lnTo>
                    <a:lnTo>
                      <a:pt x="936" y="168"/>
                    </a:lnTo>
                    <a:lnTo>
                      <a:pt x="936" y="174"/>
                    </a:lnTo>
                    <a:lnTo>
                      <a:pt x="930" y="174"/>
                    </a:lnTo>
                    <a:lnTo>
                      <a:pt x="930" y="180"/>
                    </a:lnTo>
                    <a:lnTo>
                      <a:pt x="924" y="180"/>
                    </a:lnTo>
                    <a:lnTo>
                      <a:pt x="918" y="186"/>
                    </a:lnTo>
                    <a:lnTo>
                      <a:pt x="918" y="192"/>
                    </a:lnTo>
                    <a:lnTo>
                      <a:pt x="912" y="192"/>
                    </a:lnTo>
                    <a:lnTo>
                      <a:pt x="912" y="198"/>
                    </a:lnTo>
                    <a:lnTo>
                      <a:pt x="906" y="198"/>
                    </a:lnTo>
                    <a:lnTo>
                      <a:pt x="906" y="204"/>
                    </a:lnTo>
                    <a:lnTo>
                      <a:pt x="900" y="204"/>
                    </a:lnTo>
                    <a:lnTo>
                      <a:pt x="900" y="210"/>
                    </a:lnTo>
                    <a:lnTo>
                      <a:pt x="900" y="216"/>
                    </a:lnTo>
                    <a:lnTo>
                      <a:pt x="900" y="222"/>
                    </a:lnTo>
                    <a:lnTo>
                      <a:pt x="900" y="228"/>
                    </a:lnTo>
                    <a:lnTo>
                      <a:pt x="906" y="234"/>
                    </a:lnTo>
                    <a:lnTo>
                      <a:pt x="906" y="240"/>
                    </a:lnTo>
                    <a:lnTo>
                      <a:pt x="906" y="246"/>
                    </a:lnTo>
                    <a:lnTo>
                      <a:pt x="912" y="252"/>
                    </a:lnTo>
                    <a:lnTo>
                      <a:pt x="912" y="258"/>
                    </a:lnTo>
                    <a:lnTo>
                      <a:pt x="918" y="264"/>
                    </a:lnTo>
                    <a:lnTo>
                      <a:pt x="924" y="270"/>
                    </a:lnTo>
                    <a:lnTo>
                      <a:pt x="930" y="270"/>
                    </a:lnTo>
                    <a:lnTo>
                      <a:pt x="936" y="276"/>
                    </a:lnTo>
                    <a:lnTo>
                      <a:pt x="942" y="288"/>
                    </a:lnTo>
                    <a:lnTo>
                      <a:pt x="942" y="294"/>
                    </a:lnTo>
                    <a:lnTo>
                      <a:pt x="942" y="300"/>
                    </a:lnTo>
                    <a:lnTo>
                      <a:pt x="948" y="312"/>
                    </a:lnTo>
                    <a:lnTo>
                      <a:pt x="954" y="312"/>
                    </a:lnTo>
                    <a:lnTo>
                      <a:pt x="960" y="318"/>
                    </a:lnTo>
                    <a:lnTo>
                      <a:pt x="966" y="324"/>
                    </a:lnTo>
                    <a:lnTo>
                      <a:pt x="972" y="330"/>
                    </a:lnTo>
                    <a:lnTo>
                      <a:pt x="978" y="330"/>
                    </a:lnTo>
                    <a:lnTo>
                      <a:pt x="978" y="336"/>
                    </a:lnTo>
                    <a:lnTo>
                      <a:pt x="984" y="336"/>
                    </a:lnTo>
                    <a:lnTo>
                      <a:pt x="990" y="342"/>
                    </a:lnTo>
                    <a:lnTo>
                      <a:pt x="990" y="354"/>
                    </a:lnTo>
                    <a:lnTo>
                      <a:pt x="990" y="360"/>
                    </a:lnTo>
                    <a:lnTo>
                      <a:pt x="990" y="366"/>
                    </a:lnTo>
                    <a:lnTo>
                      <a:pt x="996" y="372"/>
                    </a:lnTo>
                    <a:lnTo>
                      <a:pt x="996" y="378"/>
                    </a:lnTo>
                    <a:lnTo>
                      <a:pt x="996" y="384"/>
                    </a:lnTo>
                    <a:lnTo>
                      <a:pt x="996" y="390"/>
                    </a:lnTo>
                    <a:lnTo>
                      <a:pt x="996" y="396"/>
                    </a:lnTo>
                    <a:lnTo>
                      <a:pt x="1002" y="402"/>
                    </a:lnTo>
                    <a:lnTo>
                      <a:pt x="1002" y="408"/>
                    </a:lnTo>
                    <a:lnTo>
                      <a:pt x="1002" y="414"/>
                    </a:lnTo>
                    <a:lnTo>
                      <a:pt x="1008" y="420"/>
                    </a:lnTo>
                    <a:lnTo>
                      <a:pt x="1008" y="426"/>
                    </a:lnTo>
                    <a:lnTo>
                      <a:pt x="1008" y="432"/>
                    </a:lnTo>
                    <a:lnTo>
                      <a:pt x="1008" y="438"/>
                    </a:lnTo>
                    <a:lnTo>
                      <a:pt x="1008" y="444"/>
                    </a:lnTo>
                    <a:lnTo>
                      <a:pt x="1014" y="450"/>
                    </a:lnTo>
                    <a:lnTo>
                      <a:pt x="1014" y="456"/>
                    </a:lnTo>
                    <a:lnTo>
                      <a:pt x="1008" y="456"/>
                    </a:lnTo>
                    <a:lnTo>
                      <a:pt x="1008" y="462"/>
                    </a:lnTo>
                    <a:lnTo>
                      <a:pt x="1002" y="462"/>
                    </a:lnTo>
                    <a:lnTo>
                      <a:pt x="1002" y="468"/>
                    </a:lnTo>
                    <a:lnTo>
                      <a:pt x="1008" y="474"/>
                    </a:lnTo>
                    <a:lnTo>
                      <a:pt x="1014" y="480"/>
                    </a:lnTo>
                    <a:lnTo>
                      <a:pt x="1014" y="486"/>
                    </a:lnTo>
                    <a:lnTo>
                      <a:pt x="1014" y="492"/>
                    </a:lnTo>
                    <a:lnTo>
                      <a:pt x="1020" y="492"/>
                    </a:lnTo>
                    <a:lnTo>
                      <a:pt x="1020" y="498"/>
                    </a:lnTo>
                    <a:lnTo>
                      <a:pt x="1020" y="504"/>
                    </a:lnTo>
                    <a:lnTo>
                      <a:pt x="1026" y="504"/>
                    </a:lnTo>
                    <a:lnTo>
                      <a:pt x="1026" y="510"/>
                    </a:lnTo>
                    <a:lnTo>
                      <a:pt x="1026" y="522"/>
                    </a:lnTo>
                    <a:lnTo>
                      <a:pt x="1026" y="528"/>
                    </a:lnTo>
                    <a:lnTo>
                      <a:pt x="1032" y="528"/>
                    </a:lnTo>
                    <a:lnTo>
                      <a:pt x="1032" y="534"/>
                    </a:lnTo>
                    <a:lnTo>
                      <a:pt x="1032" y="540"/>
                    </a:lnTo>
                    <a:lnTo>
                      <a:pt x="1032" y="546"/>
                    </a:lnTo>
                    <a:lnTo>
                      <a:pt x="1032" y="552"/>
                    </a:lnTo>
                    <a:lnTo>
                      <a:pt x="1032" y="558"/>
                    </a:lnTo>
                    <a:lnTo>
                      <a:pt x="1032" y="564"/>
                    </a:lnTo>
                    <a:lnTo>
                      <a:pt x="1032" y="570"/>
                    </a:lnTo>
                    <a:lnTo>
                      <a:pt x="1026" y="576"/>
                    </a:lnTo>
                    <a:lnTo>
                      <a:pt x="1026" y="582"/>
                    </a:lnTo>
                    <a:lnTo>
                      <a:pt x="1032" y="594"/>
                    </a:lnTo>
                    <a:lnTo>
                      <a:pt x="1032" y="600"/>
                    </a:lnTo>
                    <a:lnTo>
                      <a:pt x="1032" y="606"/>
                    </a:lnTo>
                    <a:lnTo>
                      <a:pt x="1032" y="612"/>
                    </a:lnTo>
                    <a:lnTo>
                      <a:pt x="1032" y="618"/>
                    </a:lnTo>
                    <a:lnTo>
                      <a:pt x="1032" y="624"/>
                    </a:lnTo>
                    <a:lnTo>
                      <a:pt x="1026" y="624"/>
                    </a:lnTo>
                    <a:lnTo>
                      <a:pt x="1026" y="630"/>
                    </a:lnTo>
                    <a:lnTo>
                      <a:pt x="1032" y="630"/>
                    </a:lnTo>
                    <a:lnTo>
                      <a:pt x="1026" y="630"/>
                    </a:lnTo>
                    <a:lnTo>
                      <a:pt x="1026" y="636"/>
                    </a:lnTo>
                    <a:lnTo>
                      <a:pt x="1026" y="642"/>
                    </a:lnTo>
                    <a:lnTo>
                      <a:pt x="1026" y="648"/>
                    </a:lnTo>
                    <a:lnTo>
                      <a:pt x="1026" y="654"/>
                    </a:lnTo>
                    <a:lnTo>
                      <a:pt x="1026" y="660"/>
                    </a:lnTo>
                    <a:lnTo>
                      <a:pt x="1026" y="666"/>
                    </a:lnTo>
                    <a:lnTo>
                      <a:pt x="1032" y="666"/>
                    </a:lnTo>
                    <a:lnTo>
                      <a:pt x="1032" y="672"/>
                    </a:lnTo>
                    <a:lnTo>
                      <a:pt x="1032" y="678"/>
                    </a:lnTo>
                    <a:lnTo>
                      <a:pt x="1032" y="684"/>
                    </a:lnTo>
                    <a:lnTo>
                      <a:pt x="1032" y="690"/>
                    </a:lnTo>
                    <a:lnTo>
                      <a:pt x="1032" y="696"/>
                    </a:lnTo>
                    <a:lnTo>
                      <a:pt x="1026" y="696"/>
                    </a:lnTo>
                    <a:lnTo>
                      <a:pt x="1020" y="696"/>
                    </a:lnTo>
                    <a:lnTo>
                      <a:pt x="1014" y="702"/>
                    </a:lnTo>
                    <a:lnTo>
                      <a:pt x="1008" y="702"/>
                    </a:lnTo>
                    <a:lnTo>
                      <a:pt x="1008" y="708"/>
                    </a:lnTo>
                    <a:lnTo>
                      <a:pt x="1002" y="714"/>
                    </a:lnTo>
                    <a:lnTo>
                      <a:pt x="1008" y="720"/>
                    </a:lnTo>
                    <a:lnTo>
                      <a:pt x="1008" y="726"/>
                    </a:lnTo>
                    <a:lnTo>
                      <a:pt x="1014" y="726"/>
                    </a:lnTo>
                    <a:lnTo>
                      <a:pt x="1014" y="732"/>
                    </a:lnTo>
                    <a:lnTo>
                      <a:pt x="1020" y="738"/>
                    </a:lnTo>
                    <a:lnTo>
                      <a:pt x="1026" y="744"/>
                    </a:lnTo>
                    <a:lnTo>
                      <a:pt x="1026" y="750"/>
                    </a:lnTo>
                    <a:lnTo>
                      <a:pt x="1032" y="750"/>
                    </a:lnTo>
                    <a:lnTo>
                      <a:pt x="1032" y="756"/>
                    </a:lnTo>
                    <a:lnTo>
                      <a:pt x="1032" y="762"/>
                    </a:lnTo>
                    <a:lnTo>
                      <a:pt x="1038" y="762"/>
                    </a:lnTo>
                    <a:lnTo>
                      <a:pt x="1038" y="768"/>
                    </a:lnTo>
                    <a:lnTo>
                      <a:pt x="1038" y="774"/>
                    </a:lnTo>
                    <a:lnTo>
                      <a:pt x="1038" y="780"/>
                    </a:lnTo>
                    <a:lnTo>
                      <a:pt x="1038" y="786"/>
                    </a:lnTo>
                    <a:lnTo>
                      <a:pt x="1038" y="792"/>
                    </a:lnTo>
                    <a:lnTo>
                      <a:pt x="1038" y="798"/>
                    </a:lnTo>
                    <a:lnTo>
                      <a:pt x="1044" y="798"/>
                    </a:lnTo>
                    <a:lnTo>
                      <a:pt x="1050" y="798"/>
                    </a:lnTo>
                    <a:lnTo>
                      <a:pt x="1050" y="804"/>
                    </a:lnTo>
                    <a:lnTo>
                      <a:pt x="1050" y="810"/>
                    </a:lnTo>
                    <a:lnTo>
                      <a:pt x="1050" y="816"/>
                    </a:lnTo>
                    <a:lnTo>
                      <a:pt x="1056" y="816"/>
                    </a:lnTo>
                    <a:lnTo>
                      <a:pt x="1062" y="816"/>
                    </a:lnTo>
                    <a:lnTo>
                      <a:pt x="1068" y="816"/>
                    </a:lnTo>
                    <a:lnTo>
                      <a:pt x="1074" y="816"/>
                    </a:lnTo>
                    <a:lnTo>
                      <a:pt x="1080" y="816"/>
                    </a:lnTo>
                    <a:lnTo>
                      <a:pt x="1086" y="816"/>
                    </a:lnTo>
                    <a:lnTo>
                      <a:pt x="1092" y="822"/>
                    </a:lnTo>
                    <a:lnTo>
                      <a:pt x="1098" y="822"/>
                    </a:lnTo>
                    <a:lnTo>
                      <a:pt x="1104" y="828"/>
                    </a:lnTo>
                    <a:lnTo>
                      <a:pt x="1110" y="834"/>
                    </a:lnTo>
                    <a:lnTo>
                      <a:pt x="1116" y="834"/>
                    </a:lnTo>
                    <a:lnTo>
                      <a:pt x="1122" y="834"/>
                    </a:lnTo>
                    <a:lnTo>
                      <a:pt x="1128" y="834"/>
                    </a:lnTo>
                    <a:lnTo>
                      <a:pt x="1128" y="840"/>
                    </a:lnTo>
                    <a:lnTo>
                      <a:pt x="1134" y="846"/>
                    </a:lnTo>
                    <a:lnTo>
                      <a:pt x="1134" y="852"/>
                    </a:lnTo>
                    <a:lnTo>
                      <a:pt x="1134" y="858"/>
                    </a:lnTo>
                    <a:lnTo>
                      <a:pt x="1140" y="858"/>
                    </a:lnTo>
                    <a:lnTo>
                      <a:pt x="1140" y="864"/>
                    </a:lnTo>
                    <a:lnTo>
                      <a:pt x="1140" y="870"/>
                    </a:lnTo>
                    <a:lnTo>
                      <a:pt x="1146" y="870"/>
                    </a:lnTo>
                    <a:lnTo>
                      <a:pt x="1146" y="876"/>
                    </a:lnTo>
                    <a:lnTo>
                      <a:pt x="1146" y="882"/>
                    </a:lnTo>
                    <a:lnTo>
                      <a:pt x="1140" y="882"/>
                    </a:lnTo>
                    <a:lnTo>
                      <a:pt x="1134" y="882"/>
                    </a:lnTo>
                    <a:lnTo>
                      <a:pt x="1134" y="888"/>
                    </a:lnTo>
                    <a:lnTo>
                      <a:pt x="1128" y="888"/>
                    </a:lnTo>
                    <a:lnTo>
                      <a:pt x="1122" y="894"/>
                    </a:lnTo>
                    <a:lnTo>
                      <a:pt x="1116" y="894"/>
                    </a:lnTo>
                    <a:lnTo>
                      <a:pt x="1116" y="900"/>
                    </a:lnTo>
                    <a:lnTo>
                      <a:pt x="1110" y="900"/>
                    </a:lnTo>
                    <a:lnTo>
                      <a:pt x="1104" y="906"/>
                    </a:lnTo>
                    <a:lnTo>
                      <a:pt x="1098" y="906"/>
                    </a:lnTo>
                    <a:lnTo>
                      <a:pt x="1098" y="912"/>
                    </a:lnTo>
                    <a:lnTo>
                      <a:pt x="1092" y="912"/>
                    </a:lnTo>
                    <a:lnTo>
                      <a:pt x="1086" y="912"/>
                    </a:lnTo>
                    <a:lnTo>
                      <a:pt x="1080" y="918"/>
                    </a:lnTo>
                    <a:lnTo>
                      <a:pt x="1080" y="924"/>
                    </a:lnTo>
                    <a:lnTo>
                      <a:pt x="1074" y="924"/>
                    </a:lnTo>
                    <a:lnTo>
                      <a:pt x="1068" y="924"/>
                    </a:lnTo>
                    <a:lnTo>
                      <a:pt x="1068" y="930"/>
                    </a:lnTo>
                    <a:lnTo>
                      <a:pt x="1062" y="930"/>
                    </a:lnTo>
                    <a:lnTo>
                      <a:pt x="1056" y="936"/>
                    </a:lnTo>
                    <a:lnTo>
                      <a:pt x="1050" y="936"/>
                    </a:lnTo>
                    <a:lnTo>
                      <a:pt x="1050" y="942"/>
                    </a:lnTo>
                    <a:lnTo>
                      <a:pt x="1044" y="942"/>
                    </a:lnTo>
                    <a:lnTo>
                      <a:pt x="1038" y="948"/>
                    </a:lnTo>
                    <a:lnTo>
                      <a:pt x="1032" y="948"/>
                    </a:lnTo>
                    <a:lnTo>
                      <a:pt x="1032" y="954"/>
                    </a:lnTo>
                    <a:lnTo>
                      <a:pt x="1026" y="954"/>
                    </a:lnTo>
                    <a:lnTo>
                      <a:pt x="1020" y="954"/>
                    </a:lnTo>
                    <a:lnTo>
                      <a:pt x="1020" y="960"/>
                    </a:lnTo>
                    <a:lnTo>
                      <a:pt x="1014" y="960"/>
                    </a:lnTo>
                    <a:lnTo>
                      <a:pt x="1008" y="966"/>
                    </a:lnTo>
                    <a:lnTo>
                      <a:pt x="1002" y="966"/>
                    </a:lnTo>
                    <a:lnTo>
                      <a:pt x="1002" y="972"/>
                    </a:lnTo>
                    <a:lnTo>
                      <a:pt x="996" y="972"/>
                    </a:lnTo>
                    <a:lnTo>
                      <a:pt x="990" y="978"/>
                    </a:lnTo>
                    <a:lnTo>
                      <a:pt x="984" y="978"/>
                    </a:lnTo>
                    <a:lnTo>
                      <a:pt x="984" y="984"/>
                    </a:lnTo>
                    <a:lnTo>
                      <a:pt x="978" y="984"/>
                    </a:lnTo>
                    <a:lnTo>
                      <a:pt x="972" y="990"/>
                    </a:lnTo>
                    <a:lnTo>
                      <a:pt x="966" y="990"/>
                    </a:lnTo>
                    <a:lnTo>
                      <a:pt x="966" y="996"/>
                    </a:lnTo>
                    <a:lnTo>
                      <a:pt x="960" y="996"/>
                    </a:lnTo>
                    <a:lnTo>
                      <a:pt x="954" y="996"/>
                    </a:lnTo>
                    <a:lnTo>
                      <a:pt x="954" y="1002"/>
                    </a:lnTo>
                    <a:lnTo>
                      <a:pt x="948" y="1002"/>
                    </a:lnTo>
                    <a:lnTo>
                      <a:pt x="948" y="1008"/>
                    </a:lnTo>
                    <a:lnTo>
                      <a:pt x="942" y="1008"/>
                    </a:lnTo>
                    <a:lnTo>
                      <a:pt x="936" y="1014"/>
                    </a:lnTo>
                    <a:lnTo>
                      <a:pt x="930" y="1014"/>
                    </a:lnTo>
                    <a:lnTo>
                      <a:pt x="930" y="1020"/>
                    </a:lnTo>
                    <a:lnTo>
                      <a:pt x="924" y="1020"/>
                    </a:lnTo>
                    <a:lnTo>
                      <a:pt x="918" y="1020"/>
                    </a:lnTo>
                    <a:lnTo>
                      <a:pt x="918" y="1026"/>
                    </a:lnTo>
                    <a:lnTo>
                      <a:pt x="912" y="1026"/>
                    </a:lnTo>
                    <a:lnTo>
                      <a:pt x="912" y="1032"/>
                    </a:lnTo>
                    <a:lnTo>
                      <a:pt x="906" y="1032"/>
                    </a:lnTo>
                    <a:lnTo>
                      <a:pt x="900" y="1032"/>
                    </a:lnTo>
                    <a:lnTo>
                      <a:pt x="900" y="1038"/>
                    </a:lnTo>
                    <a:lnTo>
                      <a:pt x="894" y="1038"/>
                    </a:lnTo>
                    <a:lnTo>
                      <a:pt x="888" y="1044"/>
                    </a:lnTo>
                    <a:lnTo>
                      <a:pt x="882" y="1050"/>
                    </a:lnTo>
                    <a:lnTo>
                      <a:pt x="876" y="1050"/>
                    </a:lnTo>
                    <a:lnTo>
                      <a:pt x="876" y="1056"/>
                    </a:lnTo>
                    <a:lnTo>
                      <a:pt x="870" y="1062"/>
                    </a:lnTo>
                    <a:lnTo>
                      <a:pt x="864" y="1062"/>
                    </a:lnTo>
                    <a:lnTo>
                      <a:pt x="864" y="1068"/>
                    </a:lnTo>
                    <a:lnTo>
                      <a:pt x="858" y="1068"/>
                    </a:lnTo>
                    <a:lnTo>
                      <a:pt x="858" y="1074"/>
                    </a:lnTo>
                    <a:lnTo>
                      <a:pt x="852" y="1074"/>
                    </a:lnTo>
                    <a:lnTo>
                      <a:pt x="852" y="1080"/>
                    </a:lnTo>
                    <a:lnTo>
                      <a:pt x="846" y="1080"/>
                    </a:lnTo>
                    <a:lnTo>
                      <a:pt x="846" y="1086"/>
                    </a:lnTo>
                    <a:lnTo>
                      <a:pt x="840" y="1086"/>
                    </a:lnTo>
                    <a:lnTo>
                      <a:pt x="834" y="1092"/>
                    </a:lnTo>
                    <a:lnTo>
                      <a:pt x="828" y="1098"/>
                    </a:lnTo>
                    <a:lnTo>
                      <a:pt x="828" y="1104"/>
                    </a:lnTo>
                    <a:lnTo>
                      <a:pt x="822" y="1104"/>
                    </a:lnTo>
                    <a:lnTo>
                      <a:pt x="816" y="1110"/>
                    </a:lnTo>
                    <a:lnTo>
                      <a:pt x="810" y="1116"/>
                    </a:lnTo>
                    <a:lnTo>
                      <a:pt x="804" y="1122"/>
                    </a:lnTo>
                    <a:lnTo>
                      <a:pt x="798" y="1122"/>
                    </a:lnTo>
                    <a:lnTo>
                      <a:pt x="792" y="1128"/>
                    </a:lnTo>
                    <a:lnTo>
                      <a:pt x="786" y="1128"/>
                    </a:lnTo>
                    <a:lnTo>
                      <a:pt x="780" y="1128"/>
                    </a:lnTo>
                    <a:lnTo>
                      <a:pt x="774" y="1128"/>
                    </a:lnTo>
                    <a:lnTo>
                      <a:pt x="768" y="1128"/>
                    </a:lnTo>
                    <a:lnTo>
                      <a:pt x="762" y="1128"/>
                    </a:lnTo>
                    <a:lnTo>
                      <a:pt x="756" y="1134"/>
                    </a:lnTo>
                    <a:lnTo>
                      <a:pt x="750" y="1134"/>
                    </a:lnTo>
                    <a:lnTo>
                      <a:pt x="744" y="1134"/>
                    </a:lnTo>
                    <a:lnTo>
                      <a:pt x="738" y="1134"/>
                    </a:lnTo>
                    <a:lnTo>
                      <a:pt x="732" y="1134"/>
                    </a:lnTo>
                    <a:lnTo>
                      <a:pt x="726" y="1140"/>
                    </a:lnTo>
                    <a:lnTo>
                      <a:pt x="720" y="1140"/>
                    </a:lnTo>
                    <a:lnTo>
                      <a:pt x="714" y="114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0" name="Freeform 38"/>
              <p:cNvSpPr>
                <a:spLocks noEditPoints="1"/>
              </p:cNvSpPr>
              <p:nvPr>
                <p:custDataLst>
                  <p:tags r:id="rId37"/>
                </p:custDataLst>
              </p:nvPr>
            </p:nvSpPr>
            <p:spPr bwMode="gray">
              <a:xfrm>
                <a:off x="2517683" y="-508346"/>
                <a:ext cx="286998" cy="557471"/>
              </a:xfrm>
              <a:custGeom>
                <a:avLst/>
                <a:gdLst>
                  <a:gd name="T0" fmla="*/ 30002 w 228"/>
                  <a:gd name="T1" fmla="*/ 6779 h 474"/>
                  <a:gd name="T2" fmla="*/ 37744 w 228"/>
                  <a:gd name="T3" fmla="*/ 1937 h 474"/>
                  <a:gd name="T4" fmla="*/ 44519 w 228"/>
                  <a:gd name="T5" fmla="*/ 1937 h 474"/>
                  <a:gd name="T6" fmla="*/ 46454 w 228"/>
                  <a:gd name="T7" fmla="*/ 3874 h 474"/>
                  <a:gd name="T8" fmla="*/ 53229 w 228"/>
                  <a:gd name="T9" fmla="*/ 1937 h 474"/>
                  <a:gd name="T10" fmla="*/ 53229 w 228"/>
                  <a:gd name="T11" fmla="*/ 6779 h 474"/>
                  <a:gd name="T12" fmla="*/ 55164 w 228"/>
                  <a:gd name="T13" fmla="*/ 12590 h 474"/>
                  <a:gd name="T14" fmla="*/ 60003 w 228"/>
                  <a:gd name="T15" fmla="*/ 10653 h 474"/>
                  <a:gd name="T16" fmla="*/ 70649 w 228"/>
                  <a:gd name="T17" fmla="*/ 6779 h 474"/>
                  <a:gd name="T18" fmla="*/ 67745 w 228"/>
                  <a:gd name="T19" fmla="*/ 17432 h 474"/>
                  <a:gd name="T20" fmla="*/ 61939 w 228"/>
                  <a:gd name="T21" fmla="*/ 23243 h 474"/>
                  <a:gd name="T22" fmla="*/ 57100 w 228"/>
                  <a:gd name="T23" fmla="*/ 31959 h 474"/>
                  <a:gd name="T24" fmla="*/ 63875 w 228"/>
                  <a:gd name="T25" fmla="*/ 37770 h 474"/>
                  <a:gd name="T26" fmla="*/ 65810 w 228"/>
                  <a:gd name="T27" fmla="*/ 40675 h 474"/>
                  <a:gd name="T28" fmla="*/ 70649 w 228"/>
                  <a:gd name="T29" fmla="*/ 44549 h 474"/>
                  <a:gd name="T30" fmla="*/ 71617 w 228"/>
                  <a:gd name="T31" fmla="*/ 51329 h 474"/>
                  <a:gd name="T32" fmla="*/ 65810 w 228"/>
                  <a:gd name="T33" fmla="*/ 60045 h 474"/>
                  <a:gd name="T34" fmla="*/ 60003 w 228"/>
                  <a:gd name="T35" fmla="*/ 67792 h 474"/>
                  <a:gd name="T36" fmla="*/ 51293 w 228"/>
                  <a:gd name="T37" fmla="*/ 72634 h 474"/>
                  <a:gd name="T38" fmla="*/ 51293 w 228"/>
                  <a:gd name="T39" fmla="*/ 83287 h 474"/>
                  <a:gd name="T40" fmla="*/ 55164 w 228"/>
                  <a:gd name="T41" fmla="*/ 87161 h 474"/>
                  <a:gd name="T42" fmla="*/ 63875 w 228"/>
                  <a:gd name="T43" fmla="*/ 87161 h 474"/>
                  <a:gd name="T44" fmla="*/ 65810 w 228"/>
                  <a:gd name="T45" fmla="*/ 93940 h 474"/>
                  <a:gd name="T46" fmla="*/ 70649 w 228"/>
                  <a:gd name="T47" fmla="*/ 90066 h 474"/>
                  <a:gd name="T48" fmla="*/ 74520 w 228"/>
                  <a:gd name="T49" fmla="*/ 97814 h 474"/>
                  <a:gd name="T50" fmla="*/ 76456 w 228"/>
                  <a:gd name="T51" fmla="*/ 100720 h 474"/>
                  <a:gd name="T52" fmla="*/ 78392 w 228"/>
                  <a:gd name="T53" fmla="*/ 104593 h 474"/>
                  <a:gd name="T54" fmla="*/ 81295 w 228"/>
                  <a:gd name="T55" fmla="*/ 115246 h 474"/>
                  <a:gd name="T56" fmla="*/ 74520 w 228"/>
                  <a:gd name="T57" fmla="*/ 121057 h 474"/>
                  <a:gd name="T58" fmla="*/ 63875 w 228"/>
                  <a:gd name="T59" fmla="*/ 127837 h 474"/>
                  <a:gd name="T60" fmla="*/ 57100 w 228"/>
                  <a:gd name="T61" fmla="*/ 134615 h 474"/>
                  <a:gd name="T62" fmla="*/ 51293 w 228"/>
                  <a:gd name="T63" fmla="*/ 140426 h 474"/>
                  <a:gd name="T64" fmla="*/ 53229 w 228"/>
                  <a:gd name="T65" fmla="*/ 149142 h 474"/>
                  <a:gd name="T66" fmla="*/ 53229 w 228"/>
                  <a:gd name="T67" fmla="*/ 157858 h 474"/>
                  <a:gd name="T68" fmla="*/ 46454 w 228"/>
                  <a:gd name="T69" fmla="*/ 165606 h 474"/>
                  <a:gd name="T70" fmla="*/ 37744 w 228"/>
                  <a:gd name="T71" fmla="*/ 161732 h 474"/>
                  <a:gd name="T72" fmla="*/ 36777 w 228"/>
                  <a:gd name="T73" fmla="*/ 149142 h 474"/>
                  <a:gd name="T74" fmla="*/ 31937 w 228"/>
                  <a:gd name="T75" fmla="*/ 136553 h 474"/>
                  <a:gd name="T76" fmla="*/ 27098 w 228"/>
                  <a:gd name="T77" fmla="*/ 123962 h 474"/>
                  <a:gd name="T78" fmla="*/ 14517 w 228"/>
                  <a:gd name="T79" fmla="*/ 113309 h 474"/>
                  <a:gd name="T80" fmla="*/ 6775 w 228"/>
                  <a:gd name="T81" fmla="*/ 100720 h 474"/>
                  <a:gd name="T82" fmla="*/ 0 w 228"/>
                  <a:gd name="T83" fmla="*/ 87161 h 474"/>
                  <a:gd name="T84" fmla="*/ 1935 w 228"/>
                  <a:gd name="T85" fmla="*/ 76508 h 474"/>
                  <a:gd name="T86" fmla="*/ 10646 w 228"/>
                  <a:gd name="T87" fmla="*/ 70697 h 474"/>
                  <a:gd name="T88" fmla="*/ 14517 w 228"/>
                  <a:gd name="T89" fmla="*/ 61981 h 474"/>
                  <a:gd name="T90" fmla="*/ 17421 w 228"/>
                  <a:gd name="T91" fmla="*/ 51329 h 474"/>
                  <a:gd name="T92" fmla="*/ 17421 w 228"/>
                  <a:gd name="T93" fmla="*/ 46486 h 474"/>
                  <a:gd name="T94" fmla="*/ 14517 w 228"/>
                  <a:gd name="T95" fmla="*/ 36801 h 474"/>
                  <a:gd name="T96" fmla="*/ 14517 w 228"/>
                  <a:gd name="T97" fmla="*/ 27117 h 474"/>
                  <a:gd name="T98" fmla="*/ 14517 w 228"/>
                  <a:gd name="T99" fmla="*/ 21306 h 474"/>
                  <a:gd name="T100" fmla="*/ 19356 w 228"/>
                  <a:gd name="T101" fmla="*/ 17432 h 474"/>
                  <a:gd name="T102" fmla="*/ 23227 w 228"/>
                  <a:gd name="T103" fmla="*/ 12590 h 474"/>
                  <a:gd name="T104" fmla="*/ 65810 w 228"/>
                  <a:gd name="T105" fmla="*/ 83287 h 474"/>
                  <a:gd name="T106" fmla="*/ 67745 w 228"/>
                  <a:gd name="T107" fmla="*/ 87161 h 474"/>
                  <a:gd name="T108" fmla="*/ 70649 w 228"/>
                  <a:gd name="T109" fmla="*/ 61981 h 474"/>
                  <a:gd name="T110" fmla="*/ 70649 w 228"/>
                  <a:gd name="T111" fmla="*/ 63918 h 4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28" h="474">
                    <a:moveTo>
                      <a:pt x="60" y="30"/>
                    </a:moveTo>
                    <a:lnTo>
                      <a:pt x="66" y="24"/>
                    </a:lnTo>
                    <a:lnTo>
                      <a:pt x="72" y="24"/>
                    </a:lnTo>
                    <a:lnTo>
                      <a:pt x="78" y="24"/>
                    </a:lnTo>
                    <a:lnTo>
                      <a:pt x="78" y="18"/>
                    </a:lnTo>
                    <a:lnTo>
                      <a:pt x="84" y="18"/>
                    </a:lnTo>
                    <a:lnTo>
                      <a:pt x="84" y="12"/>
                    </a:lnTo>
                    <a:lnTo>
                      <a:pt x="90" y="12"/>
                    </a:lnTo>
                    <a:lnTo>
                      <a:pt x="90" y="6"/>
                    </a:lnTo>
                    <a:lnTo>
                      <a:pt x="96" y="6"/>
                    </a:lnTo>
                    <a:lnTo>
                      <a:pt x="102" y="6"/>
                    </a:lnTo>
                    <a:lnTo>
                      <a:pt x="108" y="6"/>
                    </a:lnTo>
                    <a:lnTo>
                      <a:pt x="114" y="0"/>
                    </a:lnTo>
                    <a:lnTo>
                      <a:pt x="120" y="0"/>
                    </a:lnTo>
                    <a:lnTo>
                      <a:pt x="126" y="0"/>
                    </a:lnTo>
                    <a:lnTo>
                      <a:pt x="132" y="0"/>
                    </a:lnTo>
                    <a:lnTo>
                      <a:pt x="132" y="6"/>
                    </a:lnTo>
                    <a:lnTo>
                      <a:pt x="126" y="6"/>
                    </a:lnTo>
                    <a:lnTo>
                      <a:pt x="132" y="6"/>
                    </a:lnTo>
                    <a:lnTo>
                      <a:pt x="126" y="6"/>
                    </a:lnTo>
                    <a:lnTo>
                      <a:pt x="126" y="12"/>
                    </a:lnTo>
                    <a:lnTo>
                      <a:pt x="126" y="6"/>
                    </a:lnTo>
                    <a:lnTo>
                      <a:pt x="126" y="12"/>
                    </a:lnTo>
                    <a:lnTo>
                      <a:pt x="132" y="12"/>
                    </a:lnTo>
                    <a:lnTo>
                      <a:pt x="132" y="6"/>
                    </a:lnTo>
                    <a:lnTo>
                      <a:pt x="126" y="6"/>
                    </a:lnTo>
                    <a:lnTo>
                      <a:pt x="132" y="6"/>
                    </a:lnTo>
                    <a:lnTo>
                      <a:pt x="138" y="6"/>
                    </a:lnTo>
                    <a:lnTo>
                      <a:pt x="144" y="6"/>
                    </a:lnTo>
                    <a:lnTo>
                      <a:pt x="150" y="6"/>
                    </a:lnTo>
                    <a:lnTo>
                      <a:pt x="150" y="12"/>
                    </a:lnTo>
                    <a:lnTo>
                      <a:pt x="144" y="12"/>
                    </a:lnTo>
                    <a:lnTo>
                      <a:pt x="150" y="12"/>
                    </a:lnTo>
                    <a:lnTo>
                      <a:pt x="150" y="18"/>
                    </a:lnTo>
                    <a:lnTo>
                      <a:pt x="150" y="12"/>
                    </a:lnTo>
                    <a:lnTo>
                      <a:pt x="150" y="18"/>
                    </a:lnTo>
                    <a:lnTo>
                      <a:pt x="144" y="18"/>
                    </a:lnTo>
                    <a:lnTo>
                      <a:pt x="150" y="18"/>
                    </a:lnTo>
                    <a:lnTo>
                      <a:pt x="150" y="24"/>
                    </a:lnTo>
                    <a:lnTo>
                      <a:pt x="150" y="30"/>
                    </a:lnTo>
                    <a:lnTo>
                      <a:pt x="156" y="30"/>
                    </a:lnTo>
                    <a:lnTo>
                      <a:pt x="156" y="36"/>
                    </a:lnTo>
                    <a:lnTo>
                      <a:pt x="150" y="36"/>
                    </a:lnTo>
                    <a:lnTo>
                      <a:pt x="156" y="42"/>
                    </a:lnTo>
                    <a:lnTo>
                      <a:pt x="162" y="42"/>
                    </a:lnTo>
                    <a:lnTo>
                      <a:pt x="168" y="42"/>
                    </a:lnTo>
                    <a:lnTo>
                      <a:pt x="168" y="36"/>
                    </a:lnTo>
                    <a:lnTo>
                      <a:pt x="168" y="30"/>
                    </a:lnTo>
                    <a:lnTo>
                      <a:pt x="174" y="30"/>
                    </a:lnTo>
                    <a:lnTo>
                      <a:pt x="180" y="30"/>
                    </a:lnTo>
                    <a:lnTo>
                      <a:pt x="186" y="24"/>
                    </a:lnTo>
                    <a:lnTo>
                      <a:pt x="186" y="18"/>
                    </a:lnTo>
                    <a:lnTo>
                      <a:pt x="192" y="18"/>
                    </a:lnTo>
                    <a:lnTo>
                      <a:pt x="198" y="18"/>
                    </a:lnTo>
                    <a:lnTo>
                      <a:pt x="198" y="24"/>
                    </a:lnTo>
                    <a:lnTo>
                      <a:pt x="198" y="30"/>
                    </a:lnTo>
                    <a:lnTo>
                      <a:pt x="198" y="36"/>
                    </a:lnTo>
                    <a:lnTo>
                      <a:pt x="192" y="36"/>
                    </a:lnTo>
                    <a:lnTo>
                      <a:pt x="192" y="42"/>
                    </a:lnTo>
                    <a:lnTo>
                      <a:pt x="192" y="48"/>
                    </a:lnTo>
                    <a:lnTo>
                      <a:pt x="186" y="48"/>
                    </a:lnTo>
                    <a:lnTo>
                      <a:pt x="186" y="54"/>
                    </a:lnTo>
                    <a:lnTo>
                      <a:pt x="186" y="60"/>
                    </a:lnTo>
                    <a:lnTo>
                      <a:pt x="180" y="60"/>
                    </a:lnTo>
                    <a:lnTo>
                      <a:pt x="174" y="60"/>
                    </a:lnTo>
                    <a:lnTo>
                      <a:pt x="174" y="66"/>
                    </a:lnTo>
                    <a:lnTo>
                      <a:pt x="168" y="66"/>
                    </a:lnTo>
                    <a:lnTo>
                      <a:pt x="168" y="72"/>
                    </a:lnTo>
                    <a:lnTo>
                      <a:pt x="162" y="72"/>
                    </a:lnTo>
                    <a:lnTo>
                      <a:pt x="162" y="78"/>
                    </a:lnTo>
                    <a:lnTo>
                      <a:pt x="162" y="84"/>
                    </a:lnTo>
                    <a:lnTo>
                      <a:pt x="162" y="90"/>
                    </a:lnTo>
                    <a:lnTo>
                      <a:pt x="168" y="90"/>
                    </a:lnTo>
                    <a:lnTo>
                      <a:pt x="168" y="96"/>
                    </a:lnTo>
                    <a:lnTo>
                      <a:pt x="168" y="102"/>
                    </a:lnTo>
                    <a:lnTo>
                      <a:pt x="174" y="102"/>
                    </a:lnTo>
                    <a:lnTo>
                      <a:pt x="174" y="108"/>
                    </a:lnTo>
                    <a:lnTo>
                      <a:pt x="180" y="108"/>
                    </a:lnTo>
                    <a:lnTo>
                      <a:pt x="186" y="108"/>
                    </a:lnTo>
                    <a:lnTo>
                      <a:pt x="186" y="114"/>
                    </a:lnTo>
                    <a:lnTo>
                      <a:pt x="186" y="108"/>
                    </a:lnTo>
                    <a:lnTo>
                      <a:pt x="180" y="108"/>
                    </a:lnTo>
                    <a:lnTo>
                      <a:pt x="180" y="114"/>
                    </a:lnTo>
                    <a:lnTo>
                      <a:pt x="186" y="114"/>
                    </a:lnTo>
                    <a:lnTo>
                      <a:pt x="192" y="114"/>
                    </a:lnTo>
                    <a:lnTo>
                      <a:pt x="192" y="120"/>
                    </a:lnTo>
                    <a:lnTo>
                      <a:pt x="198" y="120"/>
                    </a:lnTo>
                    <a:lnTo>
                      <a:pt x="192" y="120"/>
                    </a:lnTo>
                    <a:lnTo>
                      <a:pt x="192" y="126"/>
                    </a:lnTo>
                    <a:lnTo>
                      <a:pt x="198" y="126"/>
                    </a:lnTo>
                    <a:lnTo>
                      <a:pt x="198" y="132"/>
                    </a:lnTo>
                    <a:lnTo>
                      <a:pt x="192" y="132"/>
                    </a:lnTo>
                    <a:lnTo>
                      <a:pt x="192" y="138"/>
                    </a:lnTo>
                    <a:lnTo>
                      <a:pt x="198" y="138"/>
                    </a:lnTo>
                    <a:lnTo>
                      <a:pt x="198" y="144"/>
                    </a:lnTo>
                    <a:lnTo>
                      <a:pt x="204" y="144"/>
                    </a:lnTo>
                    <a:lnTo>
                      <a:pt x="198" y="144"/>
                    </a:lnTo>
                    <a:lnTo>
                      <a:pt x="198" y="150"/>
                    </a:lnTo>
                    <a:lnTo>
                      <a:pt x="192" y="156"/>
                    </a:lnTo>
                    <a:lnTo>
                      <a:pt x="192" y="162"/>
                    </a:lnTo>
                    <a:lnTo>
                      <a:pt x="186" y="162"/>
                    </a:lnTo>
                    <a:lnTo>
                      <a:pt x="186" y="168"/>
                    </a:lnTo>
                    <a:lnTo>
                      <a:pt x="186" y="174"/>
                    </a:lnTo>
                    <a:lnTo>
                      <a:pt x="180" y="174"/>
                    </a:lnTo>
                    <a:lnTo>
                      <a:pt x="180" y="180"/>
                    </a:lnTo>
                    <a:lnTo>
                      <a:pt x="180" y="186"/>
                    </a:lnTo>
                    <a:lnTo>
                      <a:pt x="174" y="186"/>
                    </a:lnTo>
                    <a:lnTo>
                      <a:pt x="168" y="192"/>
                    </a:lnTo>
                    <a:lnTo>
                      <a:pt x="162" y="192"/>
                    </a:lnTo>
                    <a:lnTo>
                      <a:pt x="162" y="198"/>
                    </a:lnTo>
                    <a:lnTo>
                      <a:pt x="156" y="198"/>
                    </a:lnTo>
                    <a:lnTo>
                      <a:pt x="156" y="204"/>
                    </a:lnTo>
                    <a:lnTo>
                      <a:pt x="150" y="204"/>
                    </a:lnTo>
                    <a:lnTo>
                      <a:pt x="144" y="204"/>
                    </a:lnTo>
                    <a:lnTo>
                      <a:pt x="144" y="210"/>
                    </a:lnTo>
                    <a:lnTo>
                      <a:pt x="138" y="210"/>
                    </a:lnTo>
                    <a:lnTo>
                      <a:pt x="138" y="216"/>
                    </a:lnTo>
                    <a:lnTo>
                      <a:pt x="138" y="222"/>
                    </a:lnTo>
                    <a:lnTo>
                      <a:pt x="138" y="228"/>
                    </a:lnTo>
                    <a:lnTo>
                      <a:pt x="144" y="234"/>
                    </a:lnTo>
                    <a:lnTo>
                      <a:pt x="144" y="240"/>
                    </a:lnTo>
                    <a:lnTo>
                      <a:pt x="150" y="240"/>
                    </a:lnTo>
                    <a:lnTo>
                      <a:pt x="150" y="246"/>
                    </a:lnTo>
                    <a:lnTo>
                      <a:pt x="156" y="246"/>
                    </a:lnTo>
                    <a:lnTo>
                      <a:pt x="150" y="246"/>
                    </a:lnTo>
                    <a:lnTo>
                      <a:pt x="156" y="246"/>
                    </a:lnTo>
                    <a:lnTo>
                      <a:pt x="156" y="252"/>
                    </a:lnTo>
                    <a:lnTo>
                      <a:pt x="162" y="252"/>
                    </a:lnTo>
                    <a:lnTo>
                      <a:pt x="168" y="252"/>
                    </a:lnTo>
                    <a:lnTo>
                      <a:pt x="174" y="252"/>
                    </a:lnTo>
                    <a:lnTo>
                      <a:pt x="174" y="246"/>
                    </a:lnTo>
                    <a:lnTo>
                      <a:pt x="180" y="246"/>
                    </a:lnTo>
                    <a:lnTo>
                      <a:pt x="180" y="252"/>
                    </a:lnTo>
                    <a:lnTo>
                      <a:pt x="180" y="258"/>
                    </a:lnTo>
                    <a:lnTo>
                      <a:pt x="174" y="258"/>
                    </a:lnTo>
                    <a:lnTo>
                      <a:pt x="174" y="264"/>
                    </a:lnTo>
                    <a:lnTo>
                      <a:pt x="180" y="264"/>
                    </a:lnTo>
                    <a:lnTo>
                      <a:pt x="186" y="264"/>
                    </a:lnTo>
                    <a:lnTo>
                      <a:pt x="186" y="258"/>
                    </a:lnTo>
                    <a:lnTo>
                      <a:pt x="192" y="258"/>
                    </a:lnTo>
                    <a:lnTo>
                      <a:pt x="186" y="258"/>
                    </a:lnTo>
                    <a:lnTo>
                      <a:pt x="186" y="252"/>
                    </a:lnTo>
                    <a:lnTo>
                      <a:pt x="192" y="252"/>
                    </a:lnTo>
                    <a:lnTo>
                      <a:pt x="198" y="252"/>
                    </a:lnTo>
                    <a:lnTo>
                      <a:pt x="198" y="258"/>
                    </a:lnTo>
                    <a:lnTo>
                      <a:pt x="198" y="264"/>
                    </a:lnTo>
                    <a:lnTo>
                      <a:pt x="198" y="270"/>
                    </a:lnTo>
                    <a:lnTo>
                      <a:pt x="204" y="270"/>
                    </a:lnTo>
                    <a:lnTo>
                      <a:pt x="204" y="276"/>
                    </a:lnTo>
                    <a:lnTo>
                      <a:pt x="210" y="276"/>
                    </a:lnTo>
                    <a:lnTo>
                      <a:pt x="204" y="276"/>
                    </a:lnTo>
                    <a:lnTo>
                      <a:pt x="198" y="276"/>
                    </a:lnTo>
                    <a:lnTo>
                      <a:pt x="204" y="276"/>
                    </a:lnTo>
                    <a:lnTo>
                      <a:pt x="204" y="282"/>
                    </a:lnTo>
                    <a:lnTo>
                      <a:pt x="210" y="282"/>
                    </a:lnTo>
                    <a:lnTo>
                      <a:pt x="216" y="282"/>
                    </a:lnTo>
                    <a:lnTo>
                      <a:pt x="210" y="276"/>
                    </a:lnTo>
                    <a:lnTo>
                      <a:pt x="216" y="276"/>
                    </a:lnTo>
                    <a:lnTo>
                      <a:pt x="216" y="282"/>
                    </a:lnTo>
                    <a:lnTo>
                      <a:pt x="222" y="282"/>
                    </a:lnTo>
                    <a:lnTo>
                      <a:pt x="222" y="288"/>
                    </a:lnTo>
                    <a:lnTo>
                      <a:pt x="222" y="294"/>
                    </a:lnTo>
                    <a:lnTo>
                      <a:pt x="222" y="300"/>
                    </a:lnTo>
                    <a:lnTo>
                      <a:pt x="222" y="306"/>
                    </a:lnTo>
                    <a:lnTo>
                      <a:pt x="222" y="312"/>
                    </a:lnTo>
                    <a:lnTo>
                      <a:pt x="222" y="318"/>
                    </a:lnTo>
                    <a:lnTo>
                      <a:pt x="222" y="324"/>
                    </a:lnTo>
                    <a:lnTo>
                      <a:pt x="228" y="324"/>
                    </a:lnTo>
                    <a:lnTo>
                      <a:pt x="228" y="330"/>
                    </a:lnTo>
                    <a:lnTo>
                      <a:pt x="222" y="330"/>
                    </a:lnTo>
                    <a:lnTo>
                      <a:pt x="222" y="336"/>
                    </a:lnTo>
                    <a:lnTo>
                      <a:pt x="216" y="336"/>
                    </a:lnTo>
                    <a:lnTo>
                      <a:pt x="216" y="342"/>
                    </a:lnTo>
                    <a:lnTo>
                      <a:pt x="210" y="342"/>
                    </a:lnTo>
                    <a:lnTo>
                      <a:pt x="204" y="342"/>
                    </a:lnTo>
                    <a:lnTo>
                      <a:pt x="198" y="348"/>
                    </a:lnTo>
                    <a:lnTo>
                      <a:pt x="192" y="348"/>
                    </a:lnTo>
                    <a:lnTo>
                      <a:pt x="186" y="354"/>
                    </a:lnTo>
                    <a:lnTo>
                      <a:pt x="186" y="360"/>
                    </a:lnTo>
                    <a:lnTo>
                      <a:pt x="180" y="360"/>
                    </a:lnTo>
                    <a:lnTo>
                      <a:pt x="174" y="360"/>
                    </a:lnTo>
                    <a:lnTo>
                      <a:pt x="174" y="366"/>
                    </a:lnTo>
                    <a:lnTo>
                      <a:pt x="174" y="372"/>
                    </a:lnTo>
                    <a:lnTo>
                      <a:pt x="168" y="372"/>
                    </a:lnTo>
                    <a:lnTo>
                      <a:pt x="168" y="378"/>
                    </a:lnTo>
                    <a:lnTo>
                      <a:pt x="162" y="378"/>
                    </a:lnTo>
                    <a:lnTo>
                      <a:pt x="156" y="378"/>
                    </a:lnTo>
                    <a:lnTo>
                      <a:pt x="156" y="384"/>
                    </a:lnTo>
                    <a:lnTo>
                      <a:pt x="150" y="384"/>
                    </a:lnTo>
                    <a:lnTo>
                      <a:pt x="150" y="390"/>
                    </a:lnTo>
                    <a:lnTo>
                      <a:pt x="144" y="390"/>
                    </a:lnTo>
                    <a:lnTo>
                      <a:pt x="144" y="396"/>
                    </a:lnTo>
                    <a:lnTo>
                      <a:pt x="144" y="402"/>
                    </a:lnTo>
                    <a:lnTo>
                      <a:pt x="150" y="408"/>
                    </a:lnTo>
                    <a:lnTo>
                      <a:pt x="150" y="414"/>
                    </a:lnTo>
                    <a:lnTo>
                      <a:pt x="150" y="420"/>
                    </a:lnTo>
                    <a:lnTo>
                      <a:pt x="156" y="420"/>
                    </a:lnTo>
                    <a:lnTo>
                      <a:pt x="150" y="420"/>
                    </a:lnTo>
                    <a:lnTo>
                      <a:pt x="150" y="426"/>
                    </a:lnTo>
                    <a:lnTo>
                      <a:pt x="156" y="426"/>
                    </a:lnTo>
                    <a:lnTo>
                      <a:pt x="156" y="432"/>
                    </a:lnTo>
                    <a:lnTo>
                      <a:pt x="156" y="438"/>
                    </a:lnTo>
                    <a:lnTo>
                      <a:pt x="150" y="438"/>
                    </a:lnTo>
                    <a:lnTo>
                      <a:pt x="150" y="444"/>
                    </a:lnTo>
                    <a:lnTo>
                      <a:pt x="144" y="450"/>
                    </a:lnTo>
                    <a:lnTo>
                      <a:pt x="144" y="456"/>
                    </a:lnTo>
                    <a:lnTo>
                      <a:pt x="138" y="456"/>
                    </a:lnTo>
                    <a:lnTo>
                      <a:pt x="138" y="462"/>
                    </a:lnTo>
                    <a:lnTo>
                      <a:pt x="132" y="462"/>
                    </a:lnTo>
                    <a:lnTo>
                      <a:pt x="132" y="468"/>
                    </a:lnTo>
                    <a:lnTo>
                      <a:pt x="126" y="468"/>
                    </a:lnTo>
                    <a:lnTo>
                      <a:pt x="120" y="474"/>
                    </a:lnTo>
                    <a:lnTo>
                      <a:pt x="114" y="474"/>
                    </a:lnTo>
                    <a:lnTo>
                      <a:pt x="114" y="468"/>
                    </a:lnTo>
                    <a:lnTo>
                      <a:pt x="108" y="462"/>
                    </a:lnTo>
                    <a:lnTo>
                      <a:pt x="108" y="456"/>
                    </a:lnTo>
                    <a:lnTo>
                      <a:pt x="108" y="450"/>
                    </a:lnTo>
                    <a:lnTo>
                      <a:pt x="108" y="444"/>
                    </a:lnTo>
                    <a:lnTo>
                      <a:pt x="108" y="438"/>
                    </a:lnTo>
                    <a:lnTo>
                      <a:pt x="102" y="432"/>
                    </a:lnTo>
                    <a:lnTo>
                      <a:pt x="102" y="426"/>
                    </a:lnTo>
                    <a:lnTo>
                      <a:pt x="102" y="420"/>
                    </a:lnTo>
                    <a:lnTo>
                      <a:pt x="96" y="414"/>
                    </a:lnTo>
                    <a:lnTo>
                      <a:pt x="96" y="408"/>
                    </a:lnTo>
                    <a:lnTo>
                      <a:pt x="96" y="402"/>
                    </a:lnTo>
                    <a:lnTo>
                      <a:pt x="96" y="396"/>
                    </a:lnTo>
                    <a:lnTo>
                      <a:pt x="96" y="390"/>
                    </a:lnTo>
                    <a:lnTo>
                      <a:pt x="90" y="384"/>
                    </a:lnTo>
                    <a:lnTo>
                      <a:pt x="90" y="378"/>
                    </a:lnTo>
                    <a:lnTo>
                      <a:pt x="90" y="372"/>
                    </a:lnTo>
                    <a:lnTo>
                      <a:pt x="90" y="360"/>
                    </a:lnTo>
                    <a:lnTo>
                      <a:pt x="84" y="354"/>
                    </a:lnTo>
                    <a:lnTo>
                      <a:pt x="78" y="354"/>
                    </a:lnTo>
                    <a:lnTo>
                      <a:pt x="78" y="348"/>
                    </a:lnTo>
                    <a:lnTo>
                      <a:pt x="72" y="348"/>
                    </a:lnTo>
                    <a:lnTo>
                      <a:pt x="66" y="342"/>
                    </a:lnTo>
                    <a:lnTo>
                      <a:pt x="60" y="336"/>
                    </a:lnTo>
                    <a:lnTo>
                      <a:pt x="54" y="330"/>
                    </a:lnTo>
                    <a:lnTo>
                      <a:pt x="48" y="330"/>
                    </a:lnTo>
                    <a:lnTo>
                      <a:pt x="42" y="318"/>
                    </a:lnTo>
                    <a:lnTo>
                      <a:pt x="42" y="312"/>
                    </a:lnTo>
                    <a:lnTo>
                      <a:pt x="42" y="306"/>
                    </a:lnTo>
                    <a:lnTo>
                      <a:pt x="36" y="294"/>
                    </a:lnTo>
                    <a:lnTo>
                      <a:pt x="30" y="288"/>
                    </a:lnTo>
                    <a:lnTo>
                      <a:pt x="24" y="288"/>
                    </a:lnTo>
                    <a:lnTo>
                      <a:pt x="18" y="282"/>
                    </a:lnTo>
                    <a:lnTo>
                      <a:pt x="12" y="276"/>
                    </a:lnTo>
                    <a:lnTo>
                      <a:pt x="12" y="270"/>
                    </a:lnTo>
                    <a:lnTo>
                      <a:pt x="6" y="264"/>
                    </a:lnTo>
                    <a:lnTo>
                      <a:pt x="6" y="258"/>
                    </a:lnTo>
                    <a:lnTo>
                      <a:pt x="6" y="252"/>
                    </a:lnTo>
                    <a:lnTo>
                      <a:pt x="0" y="246"/>
                    </a:lnTo>
                    <a:lnTo>
                      <a:pt x="0" y="240"/>
                    </a:lnTo>
                    <a:lnTo>
                      <a:pt x="0" y="234"/>
                    </a:lnTo>
                    <a:lnTo>
                      <a:pt x="0" y="228"/>
                    </a:lnTo>
                    <a:lnTo>
                      <a:pt x="0" y="222"/>
                    </a:lnTo>
                    <a:lnTo>
                      <a:pt x="6" y="222"/>
                    </a:lnTo>
                    <a:lnTo>
                      <a:pt x="6" y="216"/>
                    </a:lnTo>
                    <a:lnTo>
                      <a:pt x="12" y="216"/>
                    </a:lnTo>
                    <a:lnTo>
                      <a:pt x="12" y="210"/>
                    </a:lnTo>
                    <a:lnTo>
                      <a:pt x="18" y="210"/>
                    </a:lnTo>
                    <a:lnTo>
                      <a:pt x="18" y="204"/>
                    </a:lnTo>
                    <a:lnTo>
                      <a:pt x="24" y="198"/>
                    </a:lnTo>
                    <a:lnTo>
                      <a:pt x="30" y="198"/>
                    </a:lnTo>
                    <a:lnTo>
                      <a:pt x="30" y="192"/>
                    </a:lnTo>
                    <a:lnTo>
                      <a:pt x="36" y="192"/>
                    </a:lnTo>
                    <a:lnTo>
                      <a:pt x="36" y="186"/>
                    </a:lnTo>
                    <a:lnTo>
                      <a:pt x="42" y="186"/>
                    </a:lnTo>
                    <a:lnTo>
                      <a:pt x="42" y="180"/>
                    </a:lnTo>
                    <a:lnTo>
                      <a:pt x="42" y="174"/>
                    </a:lnTo>
                    <a:lnTo>
                      <a:pt x="42" y="168"/>
                    </a:lnTo>
                    <a:lnTo>
                      <a:pt x="42" y="162"/>
                    </a:lnTo>
                    <a:lnTo>
                      <a:pt x="42" y="156"/>
                    </a:lnTo>
                    <a:lnTo>
                      <a:pt x="48" y="156"/>
                    </a:lnTo>
                    <a:lnTo>
                      <a:pt x="48" y="150"/>
                    </a:lnTo>
                    <a:lnTo>
                      <a:pt x="48" y="144"/>
                    </a:lnTo>
                    <a:lnTo>
                      <a:pt x="54" y="144"/>
                    </a:lnTo>
                    <a:lnTo>
                      <a:pt x="48" y="144"/>
                    </a:lnTo>
                    <a:lnTo>
                      <a:pt x="42" y="144"/>
                    </a:lnTo>
                    <a:lnTo>
                      <a:pt x="42" y="138"/>
                    </a:lnTo>
                    <a:lnTo>
                      <a:pt x="42" y="132"/>
                    </a:lnTo>
                    <a:lnTo>
                      <a:pt x="48" y="132"/>
                    </a:lnTo>
                    <a:lnTo>
                      <a:pt x="48" y="126"/>
                    </a:lnTo>
                    <a:lnTo>
                      <a:pt x="48" y="120"/>
                    </a:lnTo>
                    <a:lnTo>
                      <a:pt x="48" y="114"/>
                    </a:lnTo>
                    <a:lnTo>
                      <a:pt x="42" y="114"/>
                    </a:lnTo>
                    <a:lnTo>
                      <a:pt x="42" y="108"/>
                    </a:lnTo>
                    <a:lnTo>
                      <a:pt x="42" y="102"/>
                    </a:lnTo>
                    <a:lnTo>
                      <a:pt x="42" y="96"/>
                    </a:lnTo>
                    <a:lnTo>
                      <a:pt x="42" y="90"/>
                    </a:lnTo>
                    <a:lnTo>
                      <a:pt x="42" y="84"/>
                    </a:lnTo>
                    <a:lnTo>
                      <a:pt x="48" y="84"/>
                    </a:lnTo>
                    <a:lnTo>
                      <a:pt x="42" y="84"/>
                    </a:lnTo>
                    <a:lnTo>
                      <a:pt x="42" y="78"/>
                    </a:lnTo>
                    <a:lnTo>
                      <a:pt x="48" y="78"/>
                    </a:lnTo>
                    <a:lnTo>
                      <a:pt x="42" y="72"/>
                    </a:lnTo>
                    <a:lnTo>
                      <a:pt x="48" y="72"/>
                    </a:lnTo>
                    <a:lnTo>
                      <a:pt x="48" y="66"/>
                    </a:lnTo>
                    <a:lnTo>
                      <a:pt x="48" y="60"/>
                    </a:lnTo>
                    <a:lnTo>
                      <a:pt x="42" y="60"/>
                    </a:lnTo>
                    <a:lnTo>
                      <a:pt x="36" y="60"/>
                    </a:lnTo>
                    <a:lnTo>
                      <a:pt x="36" y="54"/>
                    </a:lnTo>
                    <a:lnTo>
                      <a:pt x="42" y="54"/>
                    </a:lnTo>
                    <a:lnTo>
                      <a:pt x="48" y="54"/>
                    </a:lnTo>
                    <a:lnTo>
                      <a:pt x="48" y="48"/>
                    </a:lnTo>
                    <a:lnTo>
                      <a:pt x="54" y="48"/>
                    </a:lnTo>
                    <a:lnTo>
                      <a:pt x="54" y="42"/>
                    </a:lnTo>
                    <a:lnTo>
                      <a:pt x="48" y="42"/>
                    </a:lnTo>
                    <a:lnTo>
                      <a:pt x="54" y="42"/>
                    </a:lnTo>
                    <a:lnTo>
                      <a:pt x="54" y="36"/>
                    </a:lnTo>
                    <a:lnTo>
                      <a:pt x="60" y="36"/>
                    </a:lnTo>
                    <a:lnTo>
                      <a:pt x="66" y="36"/>
                    </a:lnTo>
                    <a:lnTo>
                      <a:pt x="60" y="36"/>
                    </a:lnTo>
                    <a:lnTo>
                      <a:pt x="60" y="30"/>
                    </a:lnTo>
                    <a:close/>
                    <a:moveTo>
                      <a:pt x="180" y="246"/>
                    </a:moveTo>
                    <a:lnTo>
                      <a:pt x="180" y="240"/>
                    </a:lnTo>
                    <a:lnTo>
                      <a:pt x="180" y="234"/>
                    </a:lnTo>
                    <a:lnTo>
                      <a:pt x="186" y="234"/>
                    </a:lnTo>
                    <a:lnTo>
                      <a:pt x="192" y="240"/>
                    </a:lnTo>
                    <a:lnTo>
                      <a:pt x="192" y="234"/>
                    </a:lnTo>
                    <a:lnTo>
                      <a:pt x="192" y="240"/>
                    </a:lnTo>
                    <a:lnTo>
                      <a:pt x="198" y="240"/>
                    </a:lnTo>
                    <a:lnTo>
                      <a:pt x="198" y="246"/>
                    </a:lnTo>
                    <a:lnTo>
                      <a:pt x="192" y="246"/>
                    </a:lnTo>
                    <a:lnTo>
                      <a:pt x="192" y="252"/>
                    </a:lnTo>
                    <a:lnTo>
                      <a:pt x="192" y="246"/>
                    </a:lnTo>
                    <a:lnTo>
                      <a:pt x="186" y="252"/>
                    </a:lnTo>
                    <a:lnTo>
                      <a:pt x="186" y="246"/>
                    </a:lnTo>
                    <a:lnTo>
                      <a:pt x="180" y="246"/>
                    </a:lnTo>
                    <a:close/>
                    <a:moveTo>
                      <a:pt x="198" y="174"/>
                    </a:moveTo>
                    <a:lnTo>
                      <a:pt x="210" y="174"/>
                    </a:lnTo>
                    <a:lnTo>
                      <a:pt x="210" y="186"/>
                    </a:lnTo>
                    <a:lnTo>
                      <a:pt x="198" y="186"/>
                    </a:lnTo>
                    <a:lnTo>
                      <a:pt x="198" y="174"/>
                    </a:lnTo>
                    <a:close/>
                    <a:moveTo>
                      <a:pt x="192" y="180"/>
                    </a:moveTo>
                    <a:lnTo>
                      <a:pt x="198" y="180"/>
                    </a:lnTo>
                    <a:lnTo>
                      <a:pt x="198" y="186"/>
                    </a:lnTo>
                    <a:lnTo>
                      <a:pt x="192" y="186"/>
                    </a:lnTo>
                    <a:lnTo>
                      <a:pt x="192" y="18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1" name="Freeform 41"/>
              <p:cNvSpPr>
                <a:spLocks noEditPoints="1"/>
              </p:cNvSpPr>
              <p:nvPr>
                <p:custDataLst>
                  <p:tags r:id="rId38"/>
                </p:custDataLst>
              </p:nvPr>
            </p:nvSpPr>
            <p:spPr bwMode="gray">
              <a:xfrm>
                <a:off x="5020052" y="2928390"/>
                <a:ext cx="504666" cy="946194"/>
              </a:xfrm>
              <a:custGeom>
                <a:avLst/>
                <a:gdLst>
                  <a:gd name="T0" fmla="*/ 1928 w 402"/>
                  <a:gd name="T1" fmla="*/ 202617 h 804"/>
                  <a:gd name="T2" fmla="*/ 6747 w 402"/>
                  <a:gd name="T3" fmla="*/ 195831 h 804"/>
                  <a:gd name="T4" fmla="*/ 12532 w 402"/>
                  <a:gd name="T5" fmla="*/ 190014 h 804"/>
                  <a:gd name="T6" fmla="*/ 17351 w 402"/>
                  <a:gd name="T7" fmla="*/ 175472 h 804"/>
                  <a:gd name="T8" fmla="*/ 23135 w 402"/>
                  <a:gd name="T9" fmla="*/ 165778 h 804"/>
                  <a:gd name="T10" fmla="*/ 23135 w 402"/>
                  <a:gd name="T11" fmla="*/ 158022 h 804"/>
                  <a:gd name="T12" fmla="*/ 21207 w 402"/>
                  <a:gd name="T13" fmla="*/ 145419 h 804"/>
                  <a:gd name="T14" fmla="*/ 17351 w 402"/>
                  <a:gd name="T15" fmla="*/ 129908 h 804"/>
                  <a:gd name="T16" fmla="*/ 14460 w 402"/>
                  <a:gd name="T17" fmla="*/ 117305 h 804"/>
                  <a:gd name="T18" fmla="*/ 17351 w 402"/>
                  <a:gd name="T19" fmla="*/ 106640 h 804"/>
                  <a:gd name="T20" fmla="*/ 21207 w 402"/>
                  <a:gd name="T21" fmla="*/ 100824 h 804"/>
                  <a:gd name="T22" fmla="*/ 26026 w 402"/>
                  <a:gd name="T23" fmla="*/ 85313 h 804"/>
                  <a:gd name="T24" fmla="*/ 35666 w 402"/>
                  <a:gd name="T25" fmla="*/ 85313 h 804"/>
                  <a:gd name="T26" fmla="*/ 42414 w 402"/>
                  <a:gd name="T27" fmla="*/ 81435 h 804"/>
                  <a:gd name="T28" fmla="*/ 51089 w 402"/>
                  <a:gd name="T29" fmla="*/ 76587 h 804"/>
                  <a:gd name="T30" fmla="*/ 54945 w 402"/>
                  <a:gd name="T31" fmla="*/ 78527 h 804"/>
                  <a:gd name="T32" fmla="*/ 59764 w 402"/>
                  <a:gd name="T33" fmla="*/ 81435 h 804"/>
                  <a:gd name="T34" fmla="*/ 63621 w 402"/>
                  <a:gd name="T35" fmla="*/ 81435 h 804"/>
                  <a:gd name="T36" fmla="*/ 71332 w 402"/>
                  <a:gd name="T37" fmla="*/ 65924 h 804"/>
                  <a:gd name="T38" fmla="*/ 76152 w 402"/>
                  <a:gd name="T39" fmla="*/ 70770 h 804"/>
                  <a:gd name="T40" fmla="*/ 78079 w 402"/>
                  <a:gd name="T41" fmla="*/ 62045 h 804"/>
                  <a:gd name="T42" fmla="*/ 84828 w 402"/>
                  <a:gd name="T43" fmla="*/ 60107 h 804"/>
                  <a:gd name="T44" fmla="*/ 88683 w 402"/>
                  <a:gd name="T45" fmla="*/ 53321 h 804"/>
                  <a:gd name="T46" fmla="*/ 90611 w 402"/>
                  <a:gd name="T47" fmla="*/ 53321 h 804"/>
                  <a:gd name="T48" fmla="*/ 93503 w 402"/>
                  <a:gd name="T49" fmla="*/ 44595 h 804"/>
                  <a:gd name="T50" fmla="*/ 93503 w 402"/>
                  <a:gd name="T51" fmla="*/ 46534 h 804"/>
                  <a:gd name="T52" fmla="*/ 95431 w 402"/>
                  <a:gd name="T53" fmla="*/ 40718 h 804"/>
                  <a:gd name="T54" fmla="*/ 90611 w 402"/>
                  <a:gd name="T55" fmla="*/ 33931 h 804"/>
                  <a:gd name="T56" fmla="*/ 99286 w 402"/>
                  <a:gd name="T57" fmla="*/ 36840 h 804"/>
                  <a:gd name="T58" fmla="*/ 104106 w 402"/>
                  <a:gd name="T59" fmla="*/ 31992 h 804"/>
                  <a:gd name="T60" fmla="*/ 107962 w 402"/>
                  <a:gd name="T61" fmla="*/ 27145 h 804"/>
                  <a:gd name="T62" fmla="*/ 111818 w 402"/>
                  <a:gd name="T63" fmla="*/ 12603 h 804"/>
                  <a:gd name="T64" fmla="*/ 113746 w 402"/>
                  <a:gd name="T65" fmla="*/ 6786 h 804"/>
                  <a:gd name="T66" fmla="*/ 118565 w 402"/>
                  <a:gd name="T67" fmla="*/ 1939 h 804"/>
                  <a:gd name="T68" fmla="*/ 120493 w 402"/>
                  <a:gd name="T69" fmla="*/ 0 h 804"/>
                  <a:gd name="T70" fmla="*/ 120493 w 402"/>
                  <a:gd name="T71" fmla="*/ 6786 h 804"/>
                  <a:gd name="T72" fmla="*/ 124349 w 402"/>
                  <a:gd name="T73" fmla="*/ 12603 h 804"/>
                  <a:gd name="T74" fmla="*/ 131096 w 402"/>
                  <a:gd name="T75" fmla="*/ 26175 h 804"/>
                  <a:gd name="T76" fmla="*/ 134953 w 402"/>
                  <a:gd name="T77" fmla="*/ 44595 h 804"/>
                  <a:gd name="T78" fmla="*/ 138808 w 402"/>
                  <a:gd name="T79" fmla="*/ 62045 h 804"/>
                  <a:gd name="T80" fmla="*/ 137845 w 402"/>
                  <a:gd name="T81" fmla="*/ 78527 h 804"/>
                  <a:gd name="T82" fmla="*/ 124349 w 402"/>
                  <a:gd name="T83" fmla="*/ 72710 h 804"/>
                  <a:gd name="T84" fmla="*/ 129169 w 402"/>
                  <a:gd name="T85" fmla="*/ 90159 h 804"/>
                  <a:gd name="T86" fmla="*/ 124349 w 402"/>
                  <a:gd name="T87" fmla="*/ 101793 h 804"/>
                  <a:gd name="T88" fmla="*/ 122421 w 402"/>
                  <a:gd name="T89" fmla="*/ 124091 h 804"/>
                  <a:gd name="T90" fmla="*/ 115674 w 402"/>
                  <a:gd name="T91" fmla="*/ 143480 h 804"/>
                  <a:gd name="T92" fmla="*/ 107962 w 402"/>
                  <a:gd name="T93" fmla="*/ 165778 h 804"/>
                  <a:gd name="T94" fmla="*/ 101214 w 402"/>
                  <a:gd name="T95" fmla="*/ 190014 h 804"/>
                  <a:gd name="T96" fmla="*/ 93503 w 402"/>
                  <a:gd name="T97" fmla="*/ 213281 h 804"/>
                  <a:gd name="T98" fmla="*/ 86756 w 402"/>
                  <a:gd name="T99" fmla="*/ 239456 h 804"/>
                  <a:gd name="T100" fmla="*/ 81935 w 402"/>
                  <a:gd name="T101" fmla="*/ 255937 h 804"/>
                  <a:gd name="T102" fmla="*/ 74224 w 402"/>
                  <a:gd name="T103" fmla="*/ 273388 h 804"/>
                  <a:gd name="T104" fmla="*/ 59764 w 402"/>
                  <a:gd name="T105" fmla="*/ 277265 h 804"/>
                  <a:gd name="T106" fmla="*/ 35666 w 402"/>
                  <a:gd name="T107" fmla="*/ 284052 h 804"/>
                  <a:gd name="T108" fmla="*/ 19279 w 402"/>
                  <a:gd name="T109" fmla="*/ 275326 h 804"/>
                  <a:gd name="T110" fmla="*/ 8675 w 402"/>
                  <a:gd name="T111" fmla="*/ 253999 h 804"/>
                  <a:gd name="T112" fmla="*/ 8675 w 402"/>
                  <a:gd name="T113" fmla="*/ 234610 h 804"/>
                  <a:gd name="T114" fmla="*/ 0 w 402"/>
                  <a:gd name="T115" fmla="*/ 213281 h 804"/>
                  <a:gd name="T116" fmla="*/ 99286 w 402"/>
                  <a:gd name="T117" fmla="*/ 30053 h 804"/>
                  <a:gd name="T118" fmla="*/ 131096 w 402"/>
                  <a:gd name="T119" fmla="*/ 100824 h 804"/>
                  <a:gd name="T120" fmla="*/ 104106 w 402"/>
                  <a:gd name="T121" fmla="*/ 17450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02" h="804">
                    <a:moveTo>
                      <a:pt x="0" y="600"/>
                    </a:moveTo>
                    <a:lnTo>
                      <a:pt x="0" y="594"/>
                    </a:lnTo>
                    <a:lnTo>
                      <a:pt x="0" y="600"/>
                    </a:lnTo>
                    <a:lnTo>
                      <a:pt x="6" y="600"/>
                    </a:lnTo>
                    <a:lnTo>
                      <a:pt x="6" y="594"/>
                    </a:lnTo>
                    <a:lnTo>
                      <a:pt x="0" y="594"/>
                    </a:lnTo>
                    <a:lnTo>
                      <a:pt x="0" y="588"/>
                    </a:lnTo>
                    <a:lnTo>
                      <a:pt x="0" y="582"/>
                    </a:lnTo>
                    <a:lnTo>
                      <a:pt x="6" y="582"/>
                    </a:lnTo>
                    <a:lnTo>
                      <a:pt x="6" y="576"/>
                    </a:lnTo>
                    <a:lnTo>
                      <a:pt x="6" y="582"/>
                    </a:lnTo>
                    <a:lnTo>
                      <a:pt x="6" y="576"/>
                    </a:lnTo>
                    <a:lnTo>
                      <a:pt x="6" y="570"/>
                    </a:lnTo>
                    <a:lnTo>
                      <a:pt x="12" y="564"/>
                    </a:lnTo>
                    <a:lnTo>
                      <a:pt x="18" y="564"/>
                    </a:lnTo>
                    <a:lnTo>
                      <a:pt x="12" y="564"/>
                    </a:lnTo>
                    <a:lnTo>
                      <a:pt x="12" y="558"/>
                    </a:lnTo>
                    <a:lnTo>
                      <a:pt x="12" y="564"/>
                    </a:lnTo>
                    <a:lnTo>
                      <a:pt x="18" y="558"/>
                    </a:lnTo>
                    <a:lnTo>
                      <a:pt x="12" y="558"/>
                    </a:lnTo>
                    <a:lnTo>
                      <a:pt x="18" y="558"/>
                    </a:lnTo>
                    <a:lnTo>
                      <a:pt x="12" y="558"/>
                    </a:lnTo>
                    <a:lnTo>
                      <a:pt x="18" y="558"/>
                    </a:lnTo>
                    <a:lnTo>
                      <a:pt x="12" y="558"/>
                    </a:lnTo>
                    <a:lnTo>
                      <a:pt x="12" y="552"/>
                    </a:lnTo>
                    <a:lnTo>
                      <a:pt x="18" y="552"/>
                    </a:lnTo>
                    <a:lnTo>
                      <a:pt x="12" y="552"/>
                    </a:lnTo>
                    <a:lnTo>
                      <a:pt x="12" y="546"/>
                    </a:lnTo>
                    <a:lnTo>
                      <a:pt x="12" y="552"/>
                    </a:lnTo>
                    <a:lnTo>
                      <a:pt x="18" y="546"/>
                    </a:lnTo>
                    <a:lnTo>
                      <a:pt x="12" y="546"/>
                    </a:lnTo>
                    <a:lnTo>
                      <a:pt x="18" y="546"/>
                    </a:lnTo>
                    <a:lnTo>
                      <a:pt x="18" y="540"/>
                    </a:lnTo>
                    <a:lnTo>
                      <a:pt x="18" y="546"/>
                    </a:lnTo>
                    <a:lnTo>
                      <a:pt x="18" y="540"/>
                    </a:lnTo>
                    <a:lnTo>
                      <a:pt x="24" y="540"/>
                    </a:lnTo>
                    <a:lnTo>
                      <a:pt x="30" y="540"/>
                    </a:lnTo>
                    <a:lnTo>
                      <a:pt x="30" y="534"/>
                    </a:lnTo>
                    <a:lnTo>
                      <a:pt x="36" y="534"/>
                    </a:lnTo>
                    <a:lnTo>
                      <a:pt x="36" y="528"/>
                    </a:lnTo>
                    <a:lnTo>
                      <a:pt x="36" y="522"/>
                    </a:lnTo>
                    <a:lnTo>
                      <a:pt x="36" y="516"/>
                    </a:lnTo>
                    <a:lnTo>
                      <a:pt x="42" y="516"/>
                    </a:lnTo>
                    <a:lnTo>
                      <a:pt x="36" y="516"/>
                    </a:lnTo>
                    <a:lnTo>
                      <a:pt x="42" y="516"/>
                    </a:lnTo>
                    <a:lnTo>
                      <a:pt x="42" y="510"/>
                    </a:lnTo>
                    <a:lnTo>
                      <a:pt x="48" y="510"/>
                    </a:lnTo>
                    <a:lnTo>
                      <a:pt x="42" y="510"/>
                    </a:lnTo>
                    <a:lnTo>
                      <a:pt x="48" y="510"/>
                    </a:lnTo>
                    <a:lnTo>
                      <a:pt x="48" y="504"/>
                    </a:lnTo>
                    <a:lnTo>
                      <a:pt x="48" y="498"/>
                    </a:lnTo>
                    <a:lnTo>
                      <a:pt x="48" y="492"/>
                    </a:lnTo>
                    <a:lnTo>
                      <a:pt x="54" y="492"/>
                    </a:lnTo>
                    <a:lnTo>
                      <a:pt x="48" y="492"/>
                    </a:lnTo>
                    <a:lnTo>
                      <a:pt x="48" y="498"/>
                    </a:lnTo>
                    <a:lnTo>
                      <a:pt x="48" y="492"/>
                    </a:lnTo>
                    <a:lnTo>
                      <a:pt x="54" y="492"/>
                    </a:lnTo>
                    <a:lnTo>
                      <a:pt x="54" y="486"/>
                    </a:lnTo>
                    <a:lnTo>
                      <a:pt x="54" y="492"/>
                    </a:lnTo>
                    <a:lnTo>
                      <a:pt x="54" y="486"/>
                    </a:lnTo>
                    <a:lnTo>
                      <a:pt x="60" y="486"/>
                    </a:lnTo>
                    <a:lnTo>
                      <a:pt x="60" y="480"/>
                    </a:lnTo>
                    <a:lnTo>
                      <a:pt x="60" y="474"/>
                    </a:lnTo>
                    <a:lnTo>
                      <a:pt x="66" y="474"/>
                    </a:lnTo>
                    <a:lnTo>
                      <a:pt x="66" y="468"/>
                    </a:lnTo>
                    <a:lnTo>
                      <a:pt x="72" y="468"/>
                    </a:lnTo>
                    <a:lnTo>
                      <a:pt x="66" y="468"/>
                    </a:lnTo>
                    <a:lnTo>
                      <a:pt x="72" y="462"/>
                    </a:lnTo>
                    <a:lnTo>
                      <a:pt x="72" y="468"/>
                    </a:lnTo>
                    <a:lnTo>
                      <a:pt x="72" y="462"/>
                    </a:lnTo>
                    <a:lnTo>
                      <a:pt x="72" y="468"/>
                    </a:lnTo>
                    <a:lnTo>
                      <a:pt x="72" y="462"/>
                    </a:lnTo>
                    <a:lnTo>
                      <a:pt x="72" y="456"/>
                    </a:lnTo>
                    <a:lnTo>
                      <a:pt x="66" y="456"/>
                    </a:lnTo>
                    <a:lnTo>
                      <a:pt x="72" y="456"/>
                    </a:lnTo>
                    <a:lnTo>
                      <a:pt x="66" y="456"/>
                    </a:lnTo>
                    <a:lnTo>
                      <a:pt x="66" y="450"/>
                    </a:lnTo>
                    <a:lnTo>
                      <a:pt x="66" y="444"/>
                    </a:lnTo>
                    <a:lnTo>
                      <a:pt x="66" y="450"/>
                    </a:lnTo>
                    <a:lnTo>
                      <a:pt x="66" y="444"/>
                    </a:lnTo>
                    <a:lnTo>
                      <a:pt x="66" y="438"/>
                    </a:lnTo>
                    <a:lnTo>
                      <a:pt x="72" y="438"/>
                    </a:lnTo>
                    <a:lnTo>
                      <a:pt x="72" y="432"/>
                    </a:lnTo>
                    <a:lnTo>
                      <a:pt x="66" y="432"/>
                    </a:lnTo>
                    <a:lnTo>
                      <a:pt x="66" y="426"/>
                    </a:lnTo>
                    <a:lnTo>
                      <a:pt x="66" y="420"/>
                    </a:lnTo>
                    <a:lnTo>
                      <a:pt x="60" y="420"/>
                    </a:lnTo>
                    <a:lnTo>
                      <a:pt x="60" y="414"/>
                    </a:lnTo>
                    <a:lnTo>
                      <a:pt x="60" y="408"/>
                    </a:lnTo>
                    <a:lnTo>
                      <a:pt x="60" y="414"/>
                    </a:lnTo>
                    <a:lnTo>
                      <a:pt x="60" y="408"/>
                    </a:lnTo>
                    <a:lnTo>
                      <a:pt x="54" y="408"/>
                    </a:lnTo>
                    <a:lnTo>
                      <a:pt x="60" y="408"/>
                    </a:lnTo>
                    <a:lnTo>
                      <a:pt x="54" y="408"/>
                    </a:lnTo>
                    <a:lnTo>
                      <a:pt x="54" y="402"/>
                    </a:lnTo>
                    <a:lnTo>
                      <a:pt x="60" y="402"/>
                    </a:lnTo>
                    <a:lnTo>
                      <a:pt x="60" y="396"/>
                    </a:lnTo>
                    <a:lnTo>
                      <a:pt x="60" y="390"/>
                    </a:lnTo>
                    <a:lnTo>
                      <a:pt x="54" y="390"/>
                    </a:lnTo>
                    <a:lnTo>
                      <a:pt x="54" y="384"/>
                    </a:lnTo>
                    <a:lnTo>
                      <a:pt x="54" y="378"/>
                    </a:lnTo>
                    <a:lnTo>
                      <a:pt x="48" y="378"/>
                    </a:lnTo>
                    <a:lnTo>
                      <a:pt x="48" y="372"/>
                    </a:lnTo>
                    <a:lnTo>
                      <a:pt x="48" y="366"/>
                    </a:lnTo>
                    <a:lnTo>
                      <a:pt x="48" y="360"/>
                    </a:lnTo>
                    <a:lnTo>
                      <a:pt x="48" y="354"/>
                    </a:lnTo>
                    <a:lnTo>
                      <a:pt x="42" y="354"/>
                    </a:lnTo>
                    <a:lnTo>
                      <a:pt x="48" y="354"/>
                    </a:lnTo>
                    <a:lnTo>
                      <a:pt x="42" y="354"/>
                    </a:lnTo>
                    <a:lnTo>
                      <a:pt x="48" y="354"/>
                    </a:lnTo>
                    <a:lnTo>
                      <a:pt x="42" y="354"/>
                    </a:lnTo>
                    <a:lnTo>
                      <a:pt x="42" y="348"/>
                    </a:lnTo>
                    <a:lnTo>
                      <a:pt x="42" y="342"/>
                    </a:lnTo>
                    <a:lnTo>
                      <a:pt x="48" y="342"/>
                    </a:lnTo>
                    <a:lnTo>
                      <a:pt x="48" y="336"/>
                    </a:lnTo>
                    <a:lnTo>
                      <a:pt x="48" y="330"/>
                    </a:lnTo>
                    <a:lnTo>
                      <a:pt x="42" y="330"/>
                    </a:lnTo>
                    <a:lnTo>
                      <a:pt x="48" y="330"/>
                    </a:lnTo>
                    <a:lnTo>
                      <a:pt x="42" y="330"/>
                    </a:lnTo>
                    <a:lnTo>
                      <a:pt x="42" y="324"/>
                    </a:lnTo>
                    <a:lnTo>
                      <a:pt x="42" y="318"/>
                    </a:lnTo>
                    <a:lnTo>
                      <a:pt x="42" y="312"/>
                    </a:lnTo>
                    <a:lnTo>
                      <a:pt x="42" y="306"/>
                    </a:lnTo>
                    <a:lnTo>
                      <a:pt x="42" y="312"/>
                    </a:lnTo>
                    <a:lnTo>
                      <a:pt x="48" y="312"/>
                    </a:lnTo>
                    <a:lnTo>
                      <a:pt x="48" y="306"/>
                    </a:lnTo>
                    <a:lnTo>
                      <a:pt x="48" y="312"/>
                    </a:lnTo>
                    <a:lnTo>
                      <a:pt x="42" y="312"/>
                    </a:lnTo>
                    <a:lnTo>
                      <a:pt x="48" y="306"/>
                    </a:lnTo>
                    <a:lnTo>
                      <a:pt x="48" y="300"/>
                    </a:lnTo>
                    <a:lnTo>
                      <a:pt x="54" y="300"/>
                    </a:lnTo>
                    <a:lnTo>
                      <a:pt x="48" y="300"/>
                    </a:lnTo>
                    <a:lnTo>
                      <a:pt x="48" y="294"/>
                    </a:lnTo>
                    <a:lnTo>
                      <a:pt x="54" y="294"/>
                    </a:lnTo>
                    <a:lnTo>
                      <a:pt x="54" y="300"/>
                    </a:lnTo>
                    <a:lnTo>
                      <a:pt x="54" y="294"/>
                    </a:lnTo>
                    <a:lnTo>
                      <a:pt x="48" y="294"/>
                    </a:lnTo>
                    <a:lnTo>
                      <a:pt x="54" y="294"/>
                    </a:lnTo>
                    <a:lnTo>
                      <a:pt x="54" y="288"/>
                    </a:lnTo>
                    <a:lnTo>
                      <a:pt x="54" y="294"/>
                    </a:lnTo>
                    <a:lnTo>
                      <a:pt x="54" y="288"/>
                    </a:lnTo>
                    <a:lnTo>
                      <a:pt x="60" y="288"/>
                    </a:lnTo>
                    <a:lnTo>
                      <a:pt x="60" y="282"/>
                    </a:lnTo>
                    <a:lnTo>
                      <a:pt x="60" y="288"/>
                    </a:lnTo>
                    <a:lnTo>
                      <a:pt x="60" y="282"/>
                    </a:lnTo>
                    <a:lnTo>
                      <a:pt x="60" y="276"/>
                    </a:lnTo>
                    <a:lnTo>
                      <a:pt x="66" y="276"/>
                    </a:lnTo>
                    <a:lnTo>
                      <a:pt x="66" y="270"/>
                    </a:lnTo>
                    <a:lnTo>
                      <a:pt x="66" y="264"/>
                    </a:lnTo>
                    <a:lnTo>
                      <a:pt x="72" y="264"/>
                    </a:lnTo>
                    <a:lnTo>
                      <a:pt x="72" y="258"/>
                    </a:lnTo>
                    <a:lnTo>
                      <a:pt x="66" y="258"/>
                    </a:lnTo>
                    <a:lnTo>
                      <a:pt x="66" y="252"/>
                    </a:lnTo>
                    <a:lnTo>
                      <a:pt x="66" y="246"/>
                    </a:lnTo>
                    <a:lnTo>
                      <a:pt x="66" y="240"/>
                    </a:lnTo>
                    <a:lnTo>
                      <a:pt x="72" y="240"/>
                    </a:lnTo>
                    <a:lnTo>
                      <a:pt x="72" y="246"/>
                    </a:lnTo>
                    <a:lnTo>
                      <a:pt x="72" y="240"/>
                    </a:lnTo>
                    <a:lnTo>
                      <a:pt x="78" y="240"/>
                    </a:lnTo>
                    <a:lnTo>
                      <a:pt x="84" y="240"/>
                    </a:lnTo>
                    <a:lnTo>
                      <a:pt x="90" y="240"/>
                    </a:lnTo>
                    <a:lnTo>
                      <a:pt x="90" y="246"/>
                    </a:lnTo>
                    <a:lnTo>
                      <a:pt x="90" y="240"/>
                    </a:lnTo>
                    <a:lnTo>
                      <a:pt x="96" y="240"/>
                    </a:lnTo>
                    <a:lnTo>
                      <a:pt x="102" y="240"/>
                    </a:lnTo>
                    <a:lnTo>
                      <a:pt x="96" y="240"/>
                    </a:lnTo>
                    <a:lnTo>
                      <a:pt x="102" y="240"/>
                    </a:lnTo>
                    <a:lnTo>
                      <a:pt x="102" y="234"/>
                    </a:lnTo>
                    <a:lnTo>
                      <a:pt x="102" y="240"/>
                    </a:lnTo>
                    <a:lnTo>
                      <a:pt x="102" y="234"/>
                    </a:lnTo>
                    <a:lnTo>
                      <a:pt x="108" y="234"/>
                    </a:lnTo>
                    <a:lnTo>
                      <a:pt x="108" y="228"/>
                    </a:lnTo>
                    <a:lnTo>
                      <a:pt x="108" y="234"/>
                    </a:lnTo>
                    <a:lnTo>
                      <a:pt x="108" y="228"/>
                    </a:lnTo>
                    <a:lnTo>
                      <a:pt x="114" y="228"/>
                    </a:lnTo>
                    <a:lnTo>
                      <a:pt x="114" y="234"/>
                    </a:lnTo>
                    <a:lnTo>
                      <a:pt x="114" y="240"/>
                    </a:lnTo>
                    <a:lnTo>
                      <a:pt x="114" y="234"/>
                    </a:lnTo>
                    <a:lnTo>
                      <a:pt x="120" y="234"/>
                    </a:lnTo>
                    <a:lnTo>
                      <a:pt x="120" y="240"/>
                    </a:lnTo>
                    <a:lnTo>
                      <a:pt x="120" y="234"/>
                    </a:lnTo>
                    <a:lnTo>
                      <a:pt x="120" y="228"/>
                    </a:lnTo>
                    <a:lnTo>
                      <a:pt x="126" y="228"/>
                    </a:lnTo>
                    <a:lnTo>
                      <a:pt x="132" y="228"/>
                    </a:lnTo>
                    <a:lnTo>
                      <a:pt x="132" y="234"/>
                    </a:lnTo>
                    <a:lnTo>
                      <a:pt x="132" y="228"/>
                    </a:lnTo>
                    <a:lnTo>
                      <a:pt x="132" y="222"/>
                    </a:lnTo>
                    <a:lnTo>
                      <a:pt x="138" y="222"/>
                    </a:lnTo>
                    <a:lnTo>
                      <a:pt x="132" y="222"/>
                    </a:lnTo>
                    <a:lnTo>
                      <a:pt x="138" y="222"/>
                    </a:lnTo>
                    <a:lnTo>
                      <a:pt x="138" y="216"/>
                    </a:lnTo>
                    <a:lnTo>
                      <a:pt x="144" y="216"/>
                    </a:lnTo>
                    <a:lnTo>
                      <a:pt x="138" y="216"/>
                    </a:lnTo>
                    <a:lnTo>
                      <a:pt x="138" y="222"/>
                    </a:lnTo>
                    <a:lnTo>
                      <a:pt x="144" y="216"/>
                    </a:lnTo>
                    <a:lnTo>
                      <a:pt x="144" y="222"/>
                    </a:lnTo>
                    <a:lnTo>
                      <a:pt x="144" y="216"/>
                    </a:lnTo>
                    <a:lnTo>
                      <a:pt x="144" y="222"/>
                    </a:lnTo>
                    <a:lnTo>
                      <a:pt x="144" y="216"/>
                    </a:lnTo>
                    <a:lnTo>
                      <a:pt x="150" y="216"/>
                    </a:lnTo>
                    <a:lnTo>
                      <a:pt x="156" y="216"/>
                    </a:lnTo>
                    <a:lnTo>
                      <a:pt x="150" y="216"/>
                    </a:lnTo>
                    <a:lnTo>
                      <a:pt x="150" y="222"/>
                    </a:lnTo>
                    <a:lnTo>
                      <a:pt x="156" y="222"/>
                    </a:lnTo>
                    <a:lnTo>
                      <a:pt x="150" y="222"/>
                    </a:lnTo>
                    <a:lnTo>
                      <a:pt x="156" y="222"/>
                    </a:lnTo>
                    <a:lnTo>
                      <a:pt x="162" y="222"/>
                    </a:lnTo>
                    <a:lnTo>
                      <a:pt x="156" y="222"/>
                    </a:lnTo>
                    <a:lnTo>
                      <a:pt x="162" y="222"/>
                    </a:lnTo>
                    <a:lnTo>
                      <a:pt x="162" y="216"/>
                    </a:lnTo>
                    <a:lnTo>
                      <a:pt x="156" y="216"/>
                    </a:lnTo>
                    <a:lnTo>
                      <a:pt x="162" y="216"/>
                    </a:lnTo>
                    <a:lnTo>
                      <a:pt x="156" y="216"/>
                    </a:lnTo>
                    <a:lnTo>
                      <a:pt x="156" y="222"/>
                    </a:lnTo>
                    <a:lnTo>
                      <a:pt x="156" y="216"/>
                    </a:lnTo>
                    <a:lnTo>
                      <a:pt x="162" y="216"/>
                    </a:lnTo>
                    <a:lnTo>
                      <a:pt x="162" y="210"/>
                    </a:lnTo>
                    <a:lnTo>
                      <a:pt x="168" y="210"/>
                    </a:lnTo>
                    <a:lnTo>
                      <a:pt x="168" y="216"/>
                    </a:lnTo>
                    <a:lnTo>
                      <a:pt x="168" y="222"/>
                    </a:lnTo>
                    <a:lnTo>
                      <a:pt x="168" y="228"/>
                    </a:lnTo>
                    <a:lnTo>
                      <a:pt x="174" y="228"/>
                    </a:lnTo>
                    <a:lnTo>
                      <a:pt x="174" y="234"/>
                    </a:lnTo>
                    <a:lnTo>
                      <a:pt x="180" y="234"/>
                    </a:lnTo>
                    <a:lnTo>
                      <a:pt x="186" y="234"/>
                    </a:lnTo>
                    <a:lnTo>
                      <a:pt x="186" y="240"/>
                    </a:lnTo>
                    <a:lnTo>
                      <a:pt x="186" y="246"/>
                    </a:lnTo>
                    <a:lnTo>
                      <a:pt x="186" y="240"/>
                    </a:lnTo>
                    <a:lnTo>
                      <a:pt x="192" y="240"/>
                    </a:lnTo>
                    <a:lnTo>
                      <a:pt x="186" y="234"/>
                    </a:lnTo>
                    <a:lnTo>
                      <a:pt x="192" y="234"/>
                    </a:lnTo>
                    <a:lnTo>
                      <a:pt x="192" y="228"/>
                    </a:lnTo>
                    <a:lnTo>
                      <a:pt x="186" y="228"/>
                    </a:lnTo>
                    <a:lnTo>
                      <a:pt x="180" y="228"/>
                    </a:lnTo>
                    <a:lnTo>
                      <a:pt x="180" y="222"/>
                    </a:lnTo>
                    <a:lnTo>
                      <a:pt x="174" y="222"/>
                    </a:lnTo>
                    <a:lnTo>
                      <a:pt x="174" y="216"/>
                    </a:lnTo>
                    <a:lnTo>
                      <a:pt x="174" y="210"/>
                    </a:lnTo>
                    <a:lnTo>
                      <a:pt x="174" y="204"/>
                    </a:lnTo>
                    <a:lnTo>
                      <a:pt x="180" y="204"/>
                    </a:lnTo>
                    <a:lnTo>
                      <a:pt x="186" y="204"/>
                    </a:lnTo>
                    <a:lnTo>
                      <a:pt x="186" y="198"/>
                    </a:lnTo>
                    <a:lnTo>
                      <a:pt x="192" y="198"/>
                    </a:lnTo>
                    <a:lnTo>
                      <a:pt x="192" y="192"/>
                    </a:lnTo>
                    <a:lnTo>
                      <a:pt x="198" y="192"/>
                    </a:lnTo>
                    <a:lnTo>
                      <a:pt x="198" y="186"/>
                    </a:lnTo>
                    <a:lnTo>
                      <a:pt x="204" y="186"/>
                    </a:lnTo>
                    <a:lnTo>
                      <a:pt x="210" y="186"/>
                    </a:lnTo>
                    <a:lnTo>
                      <a:pt x="210" y="192"/>
                    </a:lnTo>
                    <a:lnTo>
                      <a:pt x="216" y="192"/>
                    </a:lnTo>
                    <a:lnTo>
                      <a:pt x="210" y="198"/>
                    </a:lnTo>
                    <a:lnTo>
                      <a:pt x="210" y="204"/>
                    </a:lnTo>
                    <a:lnTo>
                      <a:pt x="210" y="198"/>
                    </a:lnTo>
                    <a:lnTo>
                      <a:pt x="210" y="204"/>
                    </a:lnTo>
                    <a:lnTo>
                      <a:pt x="210" y="210"/>
                    </a:lnTo>
                    <a:lnTo>
                      <a:pt x="210" y="204"/>
                    </a:lnTo>
                    <a:lnTo>
                      <a:pt x="216" y="204"/>
                    </a:lnTo>
                    <a:lnTo>
                      <a:pt x="216" y="198"/>
                    </a:lnTo>
                    <a:lnTo>
                      <a:pt x="216" y="204"/>
                    </a:lnTo>
                    <a:lnTo>
                      <a:pt x="216" y="198"/>
                    </a:lnTo>
                    <a:lnTo>
                      <a:pt x="216" y="204"/>
                    </a:lnTo>
                    <a:lnTo>
                      <a:pt x="216" y="198"/>
                    </a:lnTo>
                    <a:lnTo>
                      <a:pt x="222" y="198"/>
                    </a:lnTo>
                    <a:lnTo>
                      <a:pt x="222" y="192"/>
                    </a:lnTo>
                    <a:lnTo>
                      <a:pt x="216" y="192"/>
                    </a:lnTo>
                    <a:lnTo>
                      <a:pt x="222" y="192"/>
                    </a:lnTo>
                    <a:lnTo>
                      <a:pt x="216" y="192"/>
                    </a:lnTo>
                    <a:lnTo>
                      <a:pt x="216" y="186"/>
                    </a:lnTo>
                    <a:lnTo>
                      <a:pt x="216" y="180"/>
                    </a:lnTo>
                    <a:lnTo>
                      <a:pt x="222" y="180"/>
                    </a:lnTo>
                    <a:lnTo>
                      <a:pt x="222" y="174"/>
                    </a:lnTo>
                    <a:lnTo>
                      <a:pt x="228" y="174"/>
                    </a:lnTo>
                    <a:lnTo>
                      <a:pt x="222" y="174"/>
                    </a:lnTo>
                    <a:lnTo>
                      <a:pt x="228" y="174"/>
                    </a:lnTo>
                    <a:lnTo>
                      <a:pt x="228" y="168"/>
                    </a:lnTo>
                    <a:lnTo>
                      <a:pt x="234" y="168"/>
                    </a:lnTo>
                    <a:lnTo>
                      <a:pt x="228" y="168"/>
                    </a:lnTo>
                    <a:lnTo>
                      <a:pt x="234" y="168"/>
                    </a:lnTo>
                    <a:lnTo>
                      <a:pt x="234" y="162"/>
                    </a:lnTo>
                    <a:lnTo>
                      <a:pt x="228" y="162"/>
                    </a:lnTo>
                    <a:lnTo>
                      <a:pt x="228" y="168"/>
                    </a:lnTo>
                    <a:lnTo>
                      <a:pt x="228" y="162"/>
                    </a:lnTo>
                    <a:lnTo>
                      <a:pt x="234" y="156"/>
                    </a:lnTo>
                    <a:lnTo>
                      <a:pt x="240" y="156"/>
                    </a:lnTo>
                    <a:lnTo>
                      <a:pt x="240" y="162"/>
                    </a:lnTo>
                    <a:lnTo>
                      <a:pt x="240" y="168"/>
                    </a:lnTo>
                    <a:lnTo>
                      <a:pt x="234" y="168"/>
                    </a:lnTo>
                    <a:lnTo>
                      <a:pt x="234" y="174"/>
                    </a:lnTo>
                    <a:lnTo>
                      <a:pt x="234" y="180"/>
                    </a:lnTo>
                    <a:lnTo>
                      <a:pt x="240" y="180"/>
                    </a:lnTo>
                    <a:lnTo>
                      <a:pt x="240" y="174"/>
                    </a:lnTo>
                    <a:lnTo>
                      <a:pt x="240" y="168"/>
                    </a:lnTo>
                    <a:lnTo>
                      <a:pt x="246" y="168"/>
                    </a:lnTo>
                    <a:lnTo>
                      <a:pt x="246" y="162"/>
                    </a:lnTo>
                    <a:lnTo>
                      <a:pt x="246" y="156"/>
                    </a:lnTo>
                    <a:lnTo>
                      <a:pt x="252" y="156"/>
                    </a:lnTo>
                    <a:lnTo>
                      <a:pt x="246" y="156"/>
                    </a:lnTo>
                    <a:lnTo>
                      <a:pt x="252" y="156"/>
                    </a:lnTo>
                    <a:lnTo>
                      <a:pt x="252" y="150"/>
                    </a:lnTo>
                    <a:lnTo>
                      <a:pt x="258" y="150"/>
                    </a:lnTo>
                    <a:lnTo>
                      <a:pt x="264" y="156"/>
                    </a:lnTo>
                    <a:lnTo>
                      <a:pt x="264" y="150"/>
                    </a:lnTo>
                    <a:lnTo>
                      <a:pt x="264" y="156"/>
                    </a:lnTo>
                    <a:lnTo>
                      <a:pt x="264" y="162"/>
                    </a:lnTo>
                    <a:lnTo>
                      <a:pt x="264" y="168"/>
                    </a:lnTo>
                    <a:lnTo>
                      <a:pt x="264" y="162"/>
                    </a:lnTo>
                    <a:lnTo>
                      <a:pt x="270" y="156"/>
                    </a:lnTo>
                    <a:lnTo>
                      <a:pt x="264" y="156"/>
                    </a:lnTo>
                    <a:lnTo>
                      <a:pt x="264" y="150"/>
                    </a:lnTo>
                    <a:lnTo>
                      <a:pt x="264" y="144"/>
                    </a:lnTo>
                    <a:lnTo>
                      <a:pt x="264" y="150"/>
                    </a:lnTo>
                    <a:lnTo>
                      <a:pt x="258" y="150"/>
                    </a:lnTo>
                    <a:lnTo>
                      <a:pt x="258" y="144"/>
                    </a:lnTo>
                    <a:lnTo>
                      <a:pt x="252" y="144"/>
                    </a:lnTo>
                    <a:lnTo>
                      <a:pt x="252" y="150"/>
                    </a:lnTo>
                    <a:lnTo>
                      <a:pt x="252" y="144"/>
                    </a:lnTo>
                    <a:lnTo>
                      <a:pt x="252" y="138"/>
                    </a:lnTo>
                    <a:lnTo>
                      <a:pt x="252" y="132"/>
                    </a:lnTo>
                    <a:lnTo>
                      <a:pt x="252" y="126"/>
                    </a:lnTo>
                    <a:lnTo>
                      <a:pt x="258" y="126"/>
                    </a:lnTo>
                    <a:lnTo>
                      <a:pt x="258" y="132"/>
                    </a:lnTo>
                    <a:lnTo>
                      <a:pt x="258" y="126"/>
                    </a:lnTo>
                    <a:lnTo>
                      <a:pt x="264" y="126"/>
                    </a:lnTo>
                    <a:lnTo>
                      <a:pt x="264" y="132"/>
                    </a:lnTo>
                    <a:lnTo>
                      <a:pt x="264" y="126"/>
                    </a:lnTo>
                    <a:lnTo>
                      <a:pt x="264" y="120"/>
                    </a:lnTo>
                    <a:lnTo>
                      <a:pt x="258" y="120"/>
                    </a:lnTo>
                    <a:lnTo>
                      <a:pt x="264" y="120"/>
                    </a:lnTo>
                    <a:lnTo>
                      <a:pt x="258" y="120"/>
                    </a:lnTo>
                    <a:lnTo>
                      <a:pt x="264" y="120"/>
                    </a:lnTo>
                    <a:lnTo>
                      <a:pt x="264" y="126"/>
                    </a:lnTo>
                    <a:lnTo>
                      <a:pt x="264" y="120"/>
                    </a:lnTo>
                    <a:lnTo>
                      <a:pt x="264" y="126"/>
                    </a:lnTo>
                    <a:lnTo>
                      <a:pt x="264" y="132"/>
                    </a:lnTo>
                    <a:lnTo>
                      <a:pt x="264" y="138"/>
                    </a:lnTo>
                    <a:lnTo>
                      <a:pt x="264" y="132"/>
                    </a:lnTo>
                    <a:lnTo>
                      <a:pt x="270" y="132"/>
                    </a:lnTo>
                    <a:lnTo>
                      <a:pt x="264" y="132"/>
                    </a:lnTo>
                    <a:lnTo>
                      <a:pt x="270" y="132"/>
                    </a:lnTo>
                    <a:lnTo>
                      <a:pt x="264" y="132"/>
                    </a:lnTo>
                    <a:lnTo>
                      <a:pt x="270" y="132"/>
                    </a:lnTo>
                    <a:lnTo>
                      <a:pt x="264" y="126"/>
                    </a:lnTo>
                    <a:lnTo>
                      <a:pt x="270" y="126"/>
                    </a:lnTo>
                    <a:lnTo>
                      <a:pt x="264" y="126"/>
                    </a:lnTo>
                    <a:lnTo>
                      <a:pt x="270" y="126"/>
                    </a:lnTo>
                    <a:lnTo>
                      <a:pt x="270" y="120"/>
                    </a:lnTo>
                    <a:lnTo>
                      <a:pt x="270" y="114"/>
                    </a:lnTo>
                    <a:lnTo>
                      <a:pt x="270" y="120"/>
                    </a:lnTo>
                    <a:lnTo>
                      <a:pt x="264" y="120"/>
                    </a:lnTo>
                    <a:lnTo>
                      <a:pt x="264" y="114"/>
                    </a:lnTo>
                    <a:lnTo>
                      <a:pt x="270" y="114"/>
                    </a:lnTo>
                    <a:lnTo>
                      <a:pt x="264" y="114"/>
                    </a:lnTo>
                    <a:lnTo>
                      <a:pt x="270" y="114"/>
                    </a:lnTo>
                    <a:lnTo>
                      <a:pt x="264" y="114"/>
                    </a:lnTo>
                    <a:lnTo>
                      <a:pt x="264" y="108"/>
                    </a:lnTo>
                    <a:lnTo>
                      <a:pt x="264" y="114"/>
                    </a:lnTo>
                    <a:lnTo>
                      <a:pt x="264" y="108"/>
                    </a:lnTo>
                    <a:lnTo>
                      <a:pt x="258" y="108"/>
                    </a:lnTo>
                    <a:lnTo>
                      <a:pt x="258" y="102"/>
                    </a:lnTo>
                    <a:lnTo>
                      <a:pt x="258" y="96"/>
                    </a:lnTo>
                    <a:lnTo>
                      <a:pt x="264" y="96"/>
                    </a:lnTo>
                    <a:lnTo>
                      <a:pt x="264" y="102"/>
                    </a:lnTo>
                    <a:lnTo>
                      <a:pt x="264" y="96"/>
                    </a:lnTo>
                    <a:lnTo>
                      <a:pt x="258" y="96"/>
                    </a:lnTo>
                    <a:lnTo>
                      <a:pt x="258" y="90"/>
                    </a:lnTo>
                    <a:lnTo>
                      <a:pt x="264" y="90"/>
                    </a:lnTo>
                    <a:lnTo>
                      <a:pt x="264" y="84"/>
                    </a:lnTo>
                    <a:lnTo>
                      <a:pt x="264" y="90"/>
                    </a:lnTo>
                    <a:lnTo>
                      <a:pt x="270" y="90"/>
                    </a:lnTo>
                    <a:lnTo>
                      <a:pt x="270" y="96"/>
                    </a:lnTo>
                    <a:lnTo>
                      <a:pt x="270" y="90"/>
                    </a:lnTo>
                    <a:lnTo>
                      <a:pt x="276" y="90"/>
                    </a:lnTo>
                    <a:lnTo>
                      <a:pt x="276" y="96"/>
                    </a:lnTo>
                    <a:lnTo>
                      <a:pt x="276" y="102"/>
                    </a:lnTo>
                    <a:lnTo>
                      <a:pt x="282" y="102"/>
                    </a:lnTo>
                    <a:lnTo>
                      <a:pt x="288" y="102"/>
                    </a:lnTo>
                    <a:lnTo>
                      <a:pt x="282" y="102"/>
                    </a:lnTo>
                    <a:lnTo>
                      <a:pt x="282" y="96"/>
                    </a:lnTo>
                    <a:lnTo>
                      <a:pt x="288" y="96"/>
                    </a:lnTo>
                    <a:lnTo>
                      <a:pt x="282" y="96"/>
                    </a:lnTo>
                    <a:lnTo>
                      <a:pt x="288" y="90"/>
                    </a:lnTo>
                    <a:lnTo>
                      <a:pt x="288" y="96"/>
                    </a:lnTo>
                    <a:lnTo>
                      <a:pt x="288" y="90"/>
                    </a:lnTo>
                    <a:lnTo>
                      <a:pt x="282" y="90"/>
                    </a:lnTo>
                    <a:lnTo>
                      <a:pt x="288" y="90"/>
                    </a:lnTo>
                    <a:lnTo>
                      <a:pt x="294" y="90"/>
                    </a:lnTo>
                    <a:lnTo>
                      <a:pt x="288" y="90"/>
                    </a:lnTo>
                    <a:lnTo>
                      <a:pt x="294" y="90"/>
                    </a:lnTo>
                    <a:lnTo>
                      <a:pt x="294" y="84"/>
                    </a:lnTo>
                    <a:lnTo>
                      <a:pt x="294" y="90"/>
                    </a:lnTo>
                    <a:lnTo>
                      <a:pt x="294" y="84"/>
                    </a:lnTo>
                    <a:lnTo>
                      <a:pt x="294" y="90"/>
                    </a:lnTo>
                    <a:lnTo>
                      <a:pt x="300" y="90"/>
                    </a:lnTo>
                    <a:lnTo>
                      <a:pt x="294" y="90"/>
                    </a:lnTo>
                    <a:lnTo>
                      <a:pt x="294" y="84"/>
                    </a:lnTo>
                    <a:lnTo>
                      <a:pt x="294" y="78"/>
                    </a:lnTo>
                    <a:lnTo>
                      <a:pt x="294" y="84"/>
                    </a:lnTo>
                    <a:lnTo>
                      <a:pt x="300" y="84"/>
                    </a:lnTo>
                    <a:lnTo>
                      <a:pt x="306" y="84"/>
                    </a:lnTo>
                    <a:lnTo>
                      <a:pt x="306" y="78"/>
                    </a:lnTo>
                    <a:lnTo>
                      <a:pt x="306" y="84"/>
                    </a:lnTo>
                    <a:lnTo>
                      <a:pt x="312" y="78"/>
                    </a:lnTo>
                    <a:lnTo>
                      <a:pt x="306" y="78"/>
                    </a:lnTo>
                    <a:lnTo>
                      <a:pt x="312" y="78"/>
                    </a:lnTo>
                    <a:lnTo>
                      <a:pt x="312" y="72"/>
                    </a:lnTo>
                    <a:lnTo>
                      <a:pt x="312" y="66"/>
                    </a:lnTo>
                    <a:lnTo>
                      <a:pt x="312" y="60"/>
                    </a:lnTo>
                    <a:lnTo>
                      <a:pt x="312" y="66"/>
                    </a:lnTo>
                    <a:lnTo>
                      <a:pt x="312" y="60"/>
                    </a:lnTo>
                    <a:lnTo>
                      <a:pt x="318" y="60"/>
                    </a:lnTo>
                    <a:lnTo>
                      <a:pt x="312" y="60"/>
                    </a:lnTo>
                    <a:lnTo>
                      <a:pt x="318" y="60"/>
                    </a:lnTo>
                    <a:lnTo>
                      <a:pt x="318" y="54"/>
                    </a:lnTo>
                    <a:lnTo>
                      <a:pt x="318" y="48"/>
                    </a:lnTo>
                    <a:lnTo>
                      <a:pt x="318" y="42"/>
                    </a:lnTo>
                    <a:lnTo>
                      <a:pt x="318" y="36"/>
                    </a:lnTo>
                    <a:lnTo>
                      <a:pt x="312" y="36"/>
                    </a:lnTo>
                    <a:lnTo>
                      <a:pt x="318" y="36"/>
                    </a:lnTo>
                    <a:lnTo>
                      <a:pt x="318" y="30"/>
                    </a:lnTo>
                    <a:lnTo>
                      <a:pt x="312" y="30"/>
                    </a:lnTo>
                    <a:lnTo>
                      <a:pt x="312" y="24"/>
                    </a:lnTo>
                    <a:lnTo>
                      <a:pt x="306" y="24"/>
                    </a:lnTo>
                    <a:lnTo>
                      <a:pt x="312" y="24"/>
                    </a:lnTo>
                    <a:lnTo>
                      <a:pt x="318" y="24"/>
                    </a:lnTo>
                    <a:lnTo>
                      <a:pt x="318" y="30"/>
                    </a:lnTo>
                    <a:lnTo>
                      <a:pt x="318" y="24"/>
                    </a:lnTo>
                    <a:lnTo>
                      <a:pt x="318" y="18"/>
                    </a:lnTo>
                    <a:lnTo>
                      <a:pt x="324" y="24"/>
                    </a:lnTo>
                    <a:lnTo>
                      <a:pt x="324" y="18"/>
                    </a:lnTo>
                    <a:lnTo>
                      <a:pt x="318" y="18"/>
                    </a:lnTo>
                    <a:lnTo>
                      <a:pt x="324" y="18"/>
                    </a:lnTo>
                    <a:lnTo>
                      <a:pt x="330" y="18"/>
                    </a:lnTo>
                    <a:lnTo>
                      <a:pt x="324" y="18"/>
                    </a:lnTo>
                    <a:lnTo>
                      <a:pt x="330" y="12"/>
                    </a:lnTo>
                    <a:lnTo>
                      <a:pt x="330" y="18"/>
                    </a:lnTo>
                    <a:lnTo>
                      <a:pt x="330" y="12"/>
                    </a:lnTo>
                    <a:lnTo>
                      <a:pt x="330" y="18"/>
                    </a:lnTo>
                    <a:lnTo>
                      <a:pt x="330" y="12"/>
                    </a:lnTo>
                    <a:lnTo>
                      <a:pt x="330" y="6"/>
                    </a:lnTo>
                    <a:lnTo>
                      <a:pt x="324" y="6"/>
                    </a:lnTo>
                    <a:lnTo>
                      <a:pt x="330" y="6"/>
                    </a:lnTo>
                    <a:lnTo>
                      <a:pt x="336" y="6"/>
                    </a:lnTo>
                    <a:lnTo>
                      <a:pt x="330" y="6"/>
                    </a:lnTo>
                    <a:lnTo>
                      <a:pt x="336" y="6"/>
                    </a:lnTo>
                    <a:lnTo>
                      <a:pt x="330" y="6"/>
                    </a:lnTo>
                    <a:lnTo>
                      <a:pt x="336" y="6"/>
                    </a:lnTo>
                    <a:lnTo>
                      <a:pt x="330" y="6"/>
                    </a:lnTo>
                    <a:lnTo>
                      <a:pt x="336" y="0"/>
                    </a:lnTo>
                    <a:lnTo>
                      <a:pt x="330" y="0"/>
                    </a:lnTo>
                    <a:lnTo>
                      <a:pt x="330" y="6"/>
                    </a:lnTo>
                    <a:lnTo>
                      <a:pt x="330" y="0"/>
                    </a:lnTo>
                    <a:lnTo>
                      <a:pt x="336" y="0"/>
                    </a:lnTo>
                    <a:lnTo>
                      <a:pt x="330" y="0"/>
                    </a:lnTo>
                    <a:lnTo>
                      <a:pt x="336" y="0"/>
                    </a:lnTo>
                    <a:lnTo>
                      <a:pt x="342" y="0"/>
                    </a:lnTo>
                    <a:lnTo>
                      <a:pt x="342" y="6"/>
                    </a:lnTo>
                    <a:lnTo>
                      <a:pt x="342" y="12"/>
                    </a:lnTo>
                    <a:lnTo>
                      <a:pt x="336" y="12"/>
                    </a:lnTo>
                    <a:lnTo>
                      <a:pt x="342" y="12"/>
                    </a:lnTo>
                    <a:lnTo>
                      <a:pt x="336" y="12"/>
                    </a:lnTo>
                    <a:lnTo>
                      <a:pt x="342" y="12"/>
                    </a:lnTo>
                    <a:lnTo>
                      <a:pt x="336" y="12"/>
                    </a:lnTo>
                    <a:lnTo>
                      <a:pt x="336" y="6"/>
                    </a:lnTo>
                    <a:lnTo>
                      <a:pt x="336" y="12"/>
                    </a:lnTo>
                    <a:lnTo>
                      <a:pt x="336" y="18"/>
                    </a:lnTo>
                    <a:lnTo>
                      <a:pt x="336" y="12"/>
                    </a:lnTo>
                    <a:lnTo>
                      <a:pt x="336" y="18"/>
                    </a:lnTo>
                    <a:lnTo>
                      <a:pt x="342" y="18"/>
                    </a:lnTo>
                    <a:lnTo>
                      <a:pt x="342" y="12"/>
                    </a:lnTo>
                    <a:lnTo>
                      <a:pt x="342" y="18"/>
                    </a:lnTo>
                    <a:lnTo>
                      <a:pt x="348" y="18"/>
                    </a:lnTo>
                    <a:lnTo>
                      <a:pt x="342" y="18"/>
                    </a:lnTo>
                    <a:lnTo>
                      <a:pt x="348" y="18"/>
                    </a:lnTo>
                    <a:lnTo>
                      <a:pt x="348" y="24"/>
                    </a:lnTo>
                    <a:lnTo>
                      <a:pt x="348" y="18"/>
                    </a:lnTo>
                    <a:lnTo>
                      <a:pt x="354" y="18"/>
                    </a:lnTo>
                    <a:lnTo>
                      <a:pt x="354" y="24"/>
                    </a:lnTo>
                    <a:lnTo>
                      <a:pt x="348" y="24"/>
                    </a:lnTo>
                    <a:lnTo>
                      <a:pt x="354" y="24"/>
                    </a:lnTo>
                    <a:lnTo>
                      <a:pt x="354" y="30"/>
                    </a:lnTo>
                    <a:lnTo>
                      <a:pt x="354" y="36"/>
                    </a:lnTo>
                    <a:lnTo>
                      <a:pt x="360" y="42"/>
                    </a:lnTo>
                    <a:lnTo>
                      <a:pt x="360" y="48"/>
                    </a:lnTo>
                    <a:lnTo>
                      <a:pt x="360" y="42"/>
                    </a:lnTo>
                    <a:lnTo>
                      <a:pt x="366" y="42"/>
                    </a:lnTo>
                    <a:lnTo>
                      <a:pt x="366" y="48"/>
                    </a:lnTo>
                    <a:lnTo>
                      <a:pt x="366" y="54"/>
                    </a:lnTo>
                    <a:lnTo>
                      <a:pt x="372" y="48"/>
                    </a:lnTo>
                    <a:lnTo>
                      <a:pt x="372" y="54"/>
                    </a:lnTo>
                    <a:lnTo>
                      <a:pt x="366" y="54"/>
                    </a:lnTo>
                    <a:lnTo>
                      <a:pt x="372" y="54"/>
                    </a:lnTo>
                    <a:lnTo>
                      <a:pt x="372" y="60"/>
                    </a:lnTo>
                    <a:lnTo>
                      <a:pt x="372" y="66"/>
                    </a:lnTo>
                    <a:lnTo>
                      <a:pt x="372" y="72"/>
                    </a:lnTo>
                    <a:lnTo>
                      <a:pt x="378" y="72"/>
                    </a:lnTo>
                    <a:lnTo>
                      <a:pt x="378" y="78"/>
                    </a:lnTo>
                    <a:lnTo>
                      <a:pt x="378" y="84"/>
                    </a:lnTo>
                    <a:lnTo>
                      <a:pt x="378" y="90"/>
                    </a:lnTo>
                    <a:lnTo>
                      <a:pt x="384" y="90"/>
                    </a:lnTo>
                    <a:lnTo>
                      <a:pt x="384" y="96"/>
                    </a:lnTo>
                    <a:lnTo>
                      <a:pt x="384" y="102"/>
                    </a:lnTo>
                    <a:lnTo>
                      <a:pt x="384" y="108"/>
                    </a:lnTo>
                    <a:lnTo>
                      <a:pt x="384" y="114"/>
                    </a:lnTo>
                    <a:lnTo>
                      <a:pt x="384" y="120"/>
                    </a:lnTo>
                    <a:lnTo>
                      <a:pt x="390" y="120"/>
                    </a:lnTo>
                    <a:lnTo>
                      <a:pt x="384" y="120"/>
                    </a:lnTo>
                    <a:lnTo>
                      <a:pt x="384" y="126"/>
                    </a:lnTo>
                    <a:lnTo>
                      <a:pt x="384" y="120"/>
                    </a:lnTo>
                    <a:lnTo>
                      <a:pt x="384" y="126"/>
                    </a:lnTo>
                    <a:lnTo>
                      <a:pt x="390" y="132"/>
                    </a:lnTo>
                    <a:lnTo>
                      <a:pt x="390" y="138"/>
                    </a:lnTo>
                    <a:lnTo>
                      <a:pt x="384" y="138"/>
                    </a:lnTo>
                    <a:lnTo>
                      <a:pt x="390" y="138"/>
                    </a:lnTo>
                    <a:lnTo>
                      <a:pt x="390" y="144"/>
                    </a:lnTo>
                    <a:lnTo>
                      <a:pt x="390" y="150"/>
                    </a:lnTo>
                    <a:lnTo>
                      <a:pt x="390" y="156"/>
                    </a:lnTo>
                    <a:lnTo>
                      <a:pt x="390" y="162"/>
                    </a:lnTo>
                    <a:lnTo>
                      <a:pt x="390" y="168"/>
                    </a:lnTo>
                    <a:lnTo>
                      <a:pt x="396" y="168"/>
                    </a:lnTo>
                    <a:lnTo>
                      <a:pt x="396" y="174"/>
                    </a:lnTo>
                    <a:lnTo>
                      <a:pt x="396" y="180"/>
                    </a:lnTo>
                    <a:lnTo>
                      <a:pt x="402" y="180"/>
                    </a:lnTo>
                    <a:lnTo>
                      <a:pt x="402" y="186"/>
                    </a:lnTo>
                    <a:lnTo>
                      <a:pt x="402" y="192"/>
                    </a:lnTo>
                    <a:lnTo>
                      <a:pt x="402" y="198"/>
                    </a:lnTo>
                    <a:lnTo>
                      <a:pt x="402" y="204"/>
                    </a:lnTo>
                    <a:lnTo>
                      <a:pt x="402" y="210"/>
                    </a:lnTo>
                    <a:lnTo>
                      <a:pt x="396" y="210"/>
                    </a:lnTo>
                    <a:lnTo>
                      <a:pt x="396" y="216"/>
                    </a:lnTo>
                    <a:lnTo>
                      <a:pt x="396" y="222"/>
                    </a:lnTo>
                    <a:lnTo>
                      <a:pt x="396" y="216"/>
                    </a:lnTo>
                    <a:lnTo>
                      <a:pt x="396" y="222"/>
                    </a:lnTo>
                    <a:lnTo>
                      <a:pt x="390" y="222"/>
                    </a:lnTo>
                    <a:lnTo>
                      <a:pt x="390" y="228"/>
                    </a:lnTo>
                    <a:lnTo>
                      <a:pt x="384" y="228"/>
                    </a:lnTo>
                    <a:lnTo>
                      <a:pt x="384" y="222"/>
                    </a:lnTo>
                    <a:lnTo>
                      <a:pt x="378" y="222"/>
                    </a:lnTo>
                    <a:lnTo>
                      <a:pt x="378" y="216"/>
                    </a:lnTo>
                    <a:lnTo>
                      <a:pt x="378" y="210"/>
                    </a:lnTo>
                    <a:lnTo>
                      <a:pt x="372" y="210"/>
                    </a:lnTo>
                    <a:lnTo>
                      <a:pt x="372" y="204"/>
                    </a:lnTo>
                    <a:lnTo>
                      <a:pt x="372" y="198"/>
                    </a:lnTo>
                    <a:lnTo>
                      <a:pt x="366" y="198"/>
                    </a:lnTo>
                    <a:lnTo>
                      <a:pt x="360" y="198"/>
                    </a:lnTo>
                    <a:lnTo>
                      <a:pt x="360" y="204"/>
                    </a:lnTo>
                    <a:lnTo>
                      <a:pt x="354" y="204"/>
                    </a:lnTo>
                    <a:lnTo>
                      <a:pt x="360" y="210"/>
                    </a:lnTo>
                    <a:lnTo>
                      <a:pt x="360" y="204"/>
                    </a:lnTo>
                    <a:lnTo>
                      <a:pt x="360" y="210"/>
                    </a:lnTo>
                    <a:lnTo>
                      <a:pt x="360" y="216"/>
                    </a:lnTo>
                    <a:lnTo>
                      <a:pt x="360" y="222"/>
                    </a:lnTo>
                    <a:lnTo>
                      <a:pt x="360" y="228"/>
                    </a:lnTo>
                    <a:lnTo>
                      <a:pt x="360" y="234"/>
                    </a:lnTo>
                    <a:lnTo>
                      <a:pt x="360" y="240"/>
                    </a:lnTo>
                    <a:lnTo>
                      <a:pt x="366" y="240"/>
                    </a:lnTo>
                    <a:lnTo>
                      <a:pt x="372" y="240"/>
                    </a:lnTo>
                    <a:lnTo>
                      <a:pt x="372" y="246"/>
                    </a:lnTo>
                    <a:lnTo>
                      <a:pt x="366" y="246"/>
                    </a:lnTo>
                    <a:lnTo>
                      <a:pt x="366" y="252"/>
                    </a:lnTo>
                    <a:lnTo>
                      <a:pt x="366" y="258"/>
                    </a:lnTo>
                    <a:lnTo>
                      <a:pt x="372" y="258"/>
                    </a:lnTo>
                    <a:lnTo>
                      <a:pt x="366" y="258"/>
                    </a:lnTo>
                    <a:lnTo>
                      <a:pt x="372" y="258"/>
                    </a:lnTo>
                    <a:lnTo>
                      <a:pt x="366" y="264"/>
                    </a:lnTo>
                    <a:lnTo>
                      <a:pt x="366" y="270"/>
                    </a:lnTo>
                    <a:lnTo>
                      <a:pt x="360" y="270"/>
                    </a:lnTo>
                    <a:lnTo>
                      <a:pt x="360" y="276"/>
                    </a:lnTo>
                    <a:lnTo>
                      <a:pt x="366" y="276"/>
                    </a:lnTo>
                    <a:lnTo>
                      <a:pt x="366" y="282"/>
                    </a:lnTo>
                    <a:lnTo>
                      <a:pt x="360" y="282"/>
                    </a:lnTo>
                    <a:lnTo>
                      <a:pt x="354" y="282"/>
                    </a:lnTo>
                    <a:lnTo>
                      <a:pt x="354" y="288"/>
                    </a:lnTo>
                    <a:lnTo>
                      <a:pt x="354" y="294"/>
                    </a:lnTo>
                    <a:lnTo>
                      <a:pt x="348" y="294"/>
                    </a:lnTo>
                    <a:lnTo>
                      <a:pt x="348" y="300"/>
                    </a:lnTo>
                    <a:lnTo>
                      <a:pt x="348" y="306"/>
                    </a:lnTo>
                    <a:lnTo>
                      <a:pt x="348" y="312"/>
                    </a:lnTo>
                    <a:lnTo>
                      <a:pt x="348" y="318"/>
                    </a:lnTo>
                    <a:lnTo>
                      <a:pt x="348" y="324"/>
                    </a:lnTo>
                    <a:lnTo>
                      <a:pt x="348" y="330"/>
                    </a:lnTo>
                    <a:lnTo>
                      <a:pt x="354" y="330"/>
                    </a:lnTo>
                    <a:lnTo>
                      <a:pt x="348" y="330"/>
                    </a:lnTo>
                    <a:lnTo>
                      <a:pt x="348" y="336"/>
                    </a:lnTo>
                    <a:lnTo>
                      <a:pt x="348" y="342"/>
                    </a:lnTo>
                    <a:lnTo>
                      <a:pt x="348" y="348"/>
                    </a:lnTo>
                    <a:lnTo>
                      <a:pt x="342" y="348"/>
                    </a:lnTo>
                    <a:lnTo>
                      <a:pt x="342" y="354"/>
                    </a:lnTo>
                    <a:lnTo>
                      <a:pt x="348" y="354"/>
                    </a:lnTo>
                    <a:lnTo>
                      <a:pt x="342" y="354"/>
                    </a:lnTo>
                    <a:lnTo>
                      <a:pt x="342" y="360"/>
                    </a:lnTo>
                    <a:lnTo>
                      <a:pt x="342" y="366"/>
                    </a:lnTo>
                    <a:lnTo>
                      <a:pt x="342" y="372"/>
                    </a:lnTo>
                    <a:lnTo>
                      <a:pt x="336" y="378"/>
                    </a:lnTo>
                    <a:lnTo>
                      <a:pt x="336" y="384"/>
                    </a:lnTo>
                    <a:lnTo>
                      <a:pt x="336" y="390"/>
                    </a:lnTo>
                    <a:lnTo>
                      <a:pt x="330" y="390"/>
                    </a:lnTo>
                    <a:lnTo>
                      <a:pt x="330" y="396"/>
                    </a:lnTo>
                    <a:lnTo>
                      <a:pt x="330" y="402"/>
                    </a:lnTo>
                    <a:lnTo>
                      <a:pt x="324" y="408"/>
                    </a:lnTo>
                    <a:lnTo>
                      <a:pt x="324" y="414"/>
                    </a:lnTo>
                    <a:lnTo>
                      <a:pt x="324" y="420"/>
                    </a:lnTo>
                    <a:lnTo>
                      <a:pt x="324" y="426"/>
                    </a:lnTo>
                    <a:lnTo>
                      <a:pt x="318" y="426"/>
                    </a:lnTo>
                    <a:lnTo>
                      <a:pt x="318" y="432"/>
                    </a:lnTo>
                    <a:lnTo>
                      <a:pt x="318" y="438"/>
                    </a:lnTo>
                    <a:lnTo>
                      <a:pt x="312" y="444"/>
                    </a:lnTo>
                    <a:lnTo>
                      <a:pt x="312" y="450"/>
                    </a:lnTo>
                    <a:lnTo>
                      <a:pt x="312" y="456"/>
                    </a:lnTo>
                    <a:lnTo>
                      <a:pt x="312" y="462"/>
                    </a:lnTo>
                    <a:lnTo>
                      <a:pt x="312" y="468"/>
                    </a:lnTo>
                    <a:lnTo>
                      <a:pt x="306" y="468"/>
                    </a:lnTo>
                    <a:lnTo>
                      <a:pt x="306" y="474"/>
                    </a:lnTo>
                    <a:lnTo>
                      <a:pt x="306" y="480"/>
                    </a:lnTo>
                    <a:lnTo>
                      <a:pt x="300" y="480"/>
                    </a:lnTo>
                    <a:lnTo>
                      <a:pt x="300" y="486"/>
                    </a:lnTo>
                    <a:lnTo>
                      <a:pt x="300" y="492"/>
                    </a:lnTo>
                    <a:lnTo>
                      <a:pt x="300" y="498"/>
                    </a:lnTo>
                    <a:lnTo>
                      <a:pt x="294" y="498"/>
                    </a:lnTo>
                    <a:lnTo>
                      <a:pt x="294" y="504"/>
                    </a:lnTo>
                    <a:lnTo>
                      <a:pt x="294" y="510"/>
                    </a:lnTo>
                    <a:lnTo>
                      <a:pt x="294" y="516"/>
                    </a:lnTo>
                    <a:lnTo>
                      <a:pt x="294" y="522"/>
                    </a:lnTo>
                    <a:lnTo>
                      <a:pt x="288" y="528"/>
                    </a:lnTo>
                    <a:lnTo>
                      <a:pt x="288" y="534"/>
                    </a:lnTo>
                    <a:lnTo>
                      <a:pt x="288" y="540"/>
                    </a:lnTo>
                    <a:lnTo>
                      <a:pt x="282" y="546"/>
                    </a:lnTo>
                    <a:lnTo>
                      <a:pt x="282" y="552"/>
                    </a:lnTo>
                    <a:lnTo>
                      <a:pt x="282" y="558"/>
                    </a:lnTo>
                    <a:lnTo>
                      <a:pt x="282" y="564"/>
                    </a:lnTo>
                    <a:lnTo>
                      <a:pt x="276" y="564"/>
                    </a:lnTo>
                    <a:lnTo>
                      <a:pt x="276" y="570"/>
                    </a:lnTo>
                    <a:lnTo>
                      <a:pt x="276" y="576"/>
                    </a:lnTo>
                    <a:lnTo>
                      <a:pt x="270" y="582"/>
                    </a:lnTo>
                    <a:lnTo>
                      <a:pt x="270" y="588"/>
                    </a:lnTo>
                    <a:lnTo>
                      <a:pt x="270" y="594"/>
                    </a:lnTo>
                    <a:lnTo>
                      <a:pt x="264" y="594"/>
                    </a:lnTo>
                    <a:lnTo>
                      <a:pt x="264" y="600"/>
                    </a:lnTo>
                    <a:lnTo>
                      <a:pt x="264" y="606"/>
                    </a:lnTo>
                    <a:lnTo>
                      <a:pt x="264" y="612"/>
                    </a:lnTo>
                    <a:lnTo>
                      <a:pt x="258" y="612"/>
                    </a:lnTo>
                    <a:lnTo>
                      <a:pt x="258" y="618"/>
                    </a:lnTo>
                    <a:lnTo>
                      <a:pt x="258" y="624"/>
                    </a:lnTo>
                    <a:lnTo>
                      <a:pt x="258" y="630"/>
                    </a:lnTo>
                    <a:lnTo>
                      <a:pt x="258" y="636"/>
                    </a:lnTo>
                    <a:lnTo>
                      <a:pt x="258" y="642"/>
                    </a:lnTo>
                    <a:lnTo>
                      <a:pt x="252" y="648"/>
                    </a:lnTo>
                    <a:lnTo>
                      <a:pt x="252" y="654"/>
                    </a:lnTo>
                    <a:lnTo>
                      <a:pt x="252" y="660"/>
                    </a:lnTo>
                    <a:lnTo>
                      <a:pt x="252" y="666"/>
                    </a:lnTo>
                    <a:lnTo>
                      <a:pt x="246" y="672"/>
                    </a:lnTo>
                    <a:lnTo>
                      <a:pt x="246" y="678"/>
                    </a:lnTo>
                    <a:lnTo>
                      <a:pt x="246" y="684"/>
                    </a:lnTo>
                    <a:lnTo>
                      <a:pt x="246" y="690"/>
                    </a:lnTo>
                    <a:lnTo>
                      <a:pt x="240" y="690"/>
                    </a:lnTo>
                    <a:lnTo>
                      <a:pt x="240" y="696"/>
                    </a:lnTo>
                    <a:lnTo>
                      <a:pt x="240" y="690"/>
                    </a:lnTo>
                    <a:lnTo>
                      <a:pt x="246" y="696"/>
                    </a:lnTo>
                    <a:lnTo>
                      <a:pt x="240" y="696"/>
                    </a:lnTo>
                    <a:lnTo>
                      <a:pt x="240" y="702"/>
                    </a:lnTo>
                    <a:lnTo>
                      <a:pt x="240" y="708"/>
                    </a:lnTo>
                    <a:lnTo>
                      <a:pt x="234" y="708"/>
                    </a:lnTo>
                    <a:lnTo>
                      <a:pt x="234" y="714"/>
                    </a:lnTo>
                    <a:lnTo>
                      <a:pt x="234" y="720"/>
                    </a:lnTo>
                    <a:lnTo>
                      <a:pt x="228" y="720"/>
                    </a:lnTo>
                    <a:lnTo>
                      <a:pt x="228" y="726"/>
                    </a:lnTo>
                    <a:lnTo>
                      <a:pt x="228" y="732"/>
                    </a:lnTo>
                    <a:lnTo>
                      <a:pt x="228" y="738"/>
                    </a:lnTo>
                    <a:lnTo>
                      <a:pt x="222" y="744"/>
                    </a:lnTo>
                    <a:lnTo>
                      <a:pt x="222" y="750"/>
                    </a:lnTo>
                    <a:lnTo>
                      <a:pt x="222" y="756"/>
                    </a:lnTo>
                    <a:lnTo>
                      <a:pt x="216" y="756"/>
                    </a:lnTo>
                    <a:lnTo>
                      <a:pt x="216" y="762"/>
                    </a:lnTo>
                    <a:lnTo>
                      <a:pt x="216" y="768"/>
                    </a:lnTo>
                    <a:lnTo>
                      <a:pt x="216" y="762"/>
                    </a:lnTo>
                    <a:lnTo>
                      <a:pt x="210" y="762"/>
                    </a:lnTo>
                    <a:lnTo>
                      <a:pt x="210" y="768"/>
                    </a:lnTo>
                    <a:lnTo>
                      <a:pt x="204" y="768"/>
                    </a:lnTo>
                    <a:lnTo>
                      <a:pt x="204" y="774"/>
                    </a:lnTo>
                    <a:lnTo>
                      <a:pt x="198" y="774"/>
                    </a:lnTo>
                    <a:lnTo>
                      <a:pt x="192" y="774"/>
                    </a:lnTo>
                    <a:lnTo>
                      <a:pt x="192" y="780"/>
                    </a:lnTo>
                    <a:lnTo>
                      <a:pt x="192" y="774"/>
                    </a:lnTo>
                    <a:lnTo>
                      <a:pt x="192" y="780"/>
                    </a:lnTo>
                    <a:lnTo>
                      <a:pt x="192" y="774"/>
                    </a:lnTo>
                    <a:lnTo>
                      <a:pt x="186" y="774"/>
                    </a:lnTo>
                    <a:lnTo>
                      <a:pt x="180" y="774"/>
                    </a:lnTo>
                    <a:lnTo>
                      <a:pt x="174" y="774"/>
                    </a:lnTo>
                    <a:lnTo>
                      <a:pt x="174" y="780"/>
                    </a:lnTo>
                    <a:lnTo>
                      <a:pt x="168" y="780"/>
                    </a:lnTo>
                    <a:lnTo>
                      <a:pt x="162" y="780"/>
                    </a:lnTo>
                    <a:lnTo>
                      <a:pt x="156" y="786"/>
                    </a:lnTo>
                    <a:lnTo>
                      <a:pt x="150" y="786"/>
                    </a:lnTo>
                    <a:lnTo>
                      <a:pt x="144" y="792"/>
                    </a:lnTo>
                    <a:lnTo>
                      <a:pt x="138" y="792"/>
                    </a:lnTo>
                    <a:lnTo>
                      <a:pt x="138" y="798"/>
                    </a:lnTo>
                    <a:lnTo>
                      <a:pt x="132" y="798"/>
                    </a:lnTo>
                    <a:lnTo>
                      <a:pt x="126" y="804"/>
                    </a:lnTo>
                    <a:lnTo>
                      <a:pt x="120" y="804"/>
                    </a:lnTo>
                    <a:lnTo>
                      <a:pt x="114" y="804"/>
                    </a:lnTo>
                    <a:lnTo>
                      <a:pt x="108" y="804"/>
                    </a:lnTo>
                    <a:lnTo>
                      <a:pt x="108" y="798"/>
                    </a:lnTo>
                    <a:lnTo>
                      <a:pt x="102" y="798"/>
                    </a:lnTo>
                    <a:lnTo>
                      <a:pt x="96" y="798"/>
                    </a:lnTo>
                    <a:lnTo>
                      <a:pt x="96" y="792"/>
                    </a:lnTo>
                    <a:lnTo>
                      <a:pt x="90" y="786"/>
                    </a:lnTo>
                    <a:lnTo>
                      <a:pt x="84" y="786"/>
                    </a:lnTo>
                    <a:lnTo>
                      <a:pt x="78" y="786"/>
                    </a:lnTo>
                    <a:lnTo>
                      <a:pt x="72" y="786"/>
                    </a:lnTo>
                    <a:lnTo>
                      <a:pt x="72" y="780"/>
                    </a:lnTo>
                    <a:lnTo>
                      <a:pt x="72" y="786"/>
                    </a:lnTo>
                    <a:lnTo>
                      <a:pt x="72" y="780"/>
                    </a:lnTo>
                    <a:lnTo>
                      <a:pt x="66" y="780"/>
                    </a:lnTo>
                    <a:lnTo>
                      <a:pt x="60" y="780"/>
                    </a:lnTo>
                    <a:lnTo>
                      <a:pt x="60" y="774"/>
                    </a:lnTo>
                    <a:lnTo>
                      <a:pt x="54" y="774"/>
                    </a:lnTo>
                    <a:lnTo>
                      <a:pt x="54" y="768"/>
                    </a:lnTo>
                    <a:lnTo>
                      <a:pt x="48" y="768"/>
                    </a:lnTo>
                    <a:lnTo>
                      <a:pt x="48" y="762"/>
                    </a:lnTo>
                    <a:lnTo>
                      <a:pt x="42" y="762"/>
                    </a:lnTo>
                    <a:lnTo>
                      <a:pt x="42" y="756"/>
                    </a:lnTo>
                    <a:lnTo>
                      <a:pt x="42" y="750"/>
                    </a:lnTo>
                    <a:lnTo>
                      <a:pt x="42" y="744"/>
                    </a:lnTo>
                    <a:lnTo>
                      <a:pt x="36" y="738"/>
                    </a:lnTo>
                    <a:lnTo>
                      <a:pt x="36" y="732"/>
                    </a:lnTo>
                    <a:lnTo>
                      <a:pt x="30" y="732"/>
                    </a:lnTo>
                    <a:lnTo>
                      <a:pt x="24" y="726"/>
                    </a:lnTo>
                    <a:lnTo>
                      <a:pt x="24" y="720"/>
                    </a:lnTo>
                    <a:lnTo>
                      <a:pt x="24" y="714"/>
                    </a:lnTo>
                    <a:lnTo>
                      <a:pt x="24" y="708"/>
                    </a:lnTo>
                    <a:lnTo>
                      <a:pt x="24" y="702"/>
                    </a:lnTo>
                    <a:lnTo>
                      <a:pt x="24" y="696"/>
                    </a:lnTo>
                    <a:lnTo>
                      <a:pt x="24" y="690"/>
                    </a:lnTo>
                    <a:lnTo>
                      <a:pt x="24" y="684"/>
                    </a:lnTo>
                    <a:lnTo>
                      <a:pt x="24" y="678"/>
                    </a:lnTo>
                    <a:lnTo>
                      <a:pt x="30" y="678"/>
                    </a:lnTo>
                    <a:lnTo>
                      <a:pt x="30" y="672"/>
                    </a:lnTo>
                    <a:lnTo>
                      <a:pt x="30" y="678"/>
                    </a:lnTo>
                    <a:lnTo>
                      <a:pt x="30" y="672"/>
                    </a:lnTo>
                    <a:lnTo>
                      <a:pt x="30" y="666"/>
                    </a:lnTo>
                    <a:lnTo>
                      <a:pt x="24" y="666"/>
                    </a:lnTo>
                    <a:lnTo>
                      <a:pt x="24" y="660"/>
                    </a:lnTo>
                    <a:lnTo>
                      <a:pt x="24" y="654"/>
                    </a:lnTo>
                    <a:lnTo>
                      <a:pt x="24" y="648"/>
                    </a:lnTo>
                    <a:lnTo>
                      <a:pt x="18" y="648"/>
                    </a:lnTo>
                    <a:lnTo>
                      <a:pt x="18" y="642"/>
                    </a:lnTo>
                    <a:lnTo>
                      <a:pt x="12" y="642"/>
                    </a:lnTo>
                    <a:lnTo>
                      <a:pt x="12" y="636"/>
                    </a:lnTo>
                    <a:lnTo>
                      <a:pt x="6" y="636"/>
                    </a:lnTo>
                    <a:lnTo>
                      <a:pt x="6" y="630"/>
                    </a:lnTo>
                    <a:lnTo>
                      <a:pt x="6" y="624"/>
                    </a:lnTo>
                    <a:lnTo>
                      <a:pt x="6" y="618"/>
                    </a:lnTo>
                    <a:lnTo>
                      <a:pt x="6" y="612"/>
                    </a:lnTo>
                    <a:lnTo>
                      <a:pt x="0" y="606"/>
                    </a:lnTo>
                    <a:lnTo>
                      <a:pt x="0" y="600"/>
                    </a:lnTo>
                    <a:close/>
                    <a:moveTo>
                      <a:pt x="276" y="72"/>
                    </a:moveTo>
                    <a:lnTo>
                      <a:pt x="282" y="72"/>
                    </a:lnTo>
                    <a:lnTo>
                      <a:pt x="282" y="66"/>
                    </a:lnTo>
                    <a:lnTo>
                      <a:pt x="282" y="72"/>
                    </a:lnTo>
                    <a:lnTo>
                      <a:pt x="282" y="66"/>
                    </a:lnTo>
                    <a:lnTo>
                      <a:pt x="282" y="72"/>
                    </a:lnTo>
                    <a:lnTo>
                      <a:pt x="282" y="78"/>
                    </a:lnTo>
                    <a:lnTo>
                      <a:pt x="288" y="78"/>
                    </a:lnTo>
                    <a:lnTo>
                      <a:pt x="282" y="78"/>
                    </a:lnTo>
                    <a:lnTo>
                      <a:pt x="288" y="78"/>
                    </a:lnTo>
                    <a:lnTo>
                      <a:pt x="282" y="84"/>
                    </a:lnTo>
                    <a:lnTo>
                      <a:pt x="282" y="78"/>
                    </a:lnTo>
                    <a:lnTo>
                      <a:pt x="282" y="84"/>
                    </a:lnTo>
                    <a:lnTo>
                      <a:pt x="282" y="78"/>
                    </a:lnTo>
                    <a:lnTo>
                      <a:pt x="276" y="78"/>
                    </a:lnTo>
                    <a:lnTo>
                      <a:pt x="276" y="72"/>
                    </a:lnTo>
                    <a:close/>
                    <a:moveTo>
                      <a:pt x="366" y="294"/>
                    </a:moveTo>
                    <a:lnTo>
                      <a:pt x="366" y="288"/>
                    </a:lnTo>
                    <a:lnTo>
                      <a:pt x="372" y="288"/>
                    </a:lnTo>
                    <a:lnTo>
                      <a:pt x="372" y="282"/>
                    </a:lnTo>
                    <a:lnTo>
                      <a:pt x="372" y="276"/>
                    </a:lnTo>
                    <a:lnTo>
                      <a:pt x="378" y="276"/>
                    </a:lnTo>
                    <a:lnTo>
                      <a:pt x="378" y="270"/>
                    </a:lnTo>
                    <a:lnTo>
                      <a:pt x="378" y="276"/>
                    </a:lnTo>
                    <a:lnTo>
                      <a:pt x="378" y="282"/>
                    </a:lnTo>
                    <a:lnTo>
                      <a:pt x="372" y="282"/>
                    </a:lnTo>
                    <a:lnTo>
                      <a:pt x="372" y="288"/>
                    </a:lnTo>
                    <a:lnTo>
                      <a:pt x="372" y="294"/>
                    </a:lnTo>
                    <a:lnTo>
                      <a:pt x="366" y="294"/>
                    </a:lnTo>
                    <a:close/>
                    <a:moveTo>
                      <a:pt x="240" y="144"/>
                    </a:moveTo>
                    <a:lnTo>
                      <a:pt x="246" y="144"/>
                    </a:lnTo>
                    <a:lnTo>
                      <a:pt x="246" y="150"/>
                    </a:lnTo>
                    <a:lnTo>
                      <a:pt x="240" y="150"/>
                    </a:lnTo>
                    <a:lnTo>
                      <a:pt x="240" y="144"/>
                    </a:lnTo>
                    <a:close/>
                    <a:moveTo>
                      <a:pt x="294" y="48"/>
                    </a:moveTo>
                    <a:lnTo>
                      <a:pt x="300" y="48"/>
                    </a:lnTo>
                    <a:lnTo>
                      <a:pt x="300" y="54"/>
                    </a:lnTo>
                    <a:lnTo>
                      <a:pt x="294" y="54"/>
                    </a:lnTo>
                    <a:lnTo>
                      <a:pt x="294" y="48"/>
                    </a:lnTo>
                    <a:close/>
                    <a:moveTo>
                      <a:pt x="282" y="84"/>
                    </a:moveTo>
                    <a:lnTo>
                      <a:pt x="288" y="84"/>
                    </a:lnTo>
                    <a:lnTo>
                      <a:pt x="282" y="84"/>
                    </a:lnTo>
                    <a:close/>
                    <a:moveTo>
                      <a:pt x="252" y="114"/>
                    </a:moveTo>
                    <a:lnTo>
                      <a:pt x="258" y="114"/>
                    </a:lnTo>
                    <a:lnTo>
                      <a:pt x="258" y="120"/>
                    </a:lnTo>
                    <a:lnTo>
                      <a:pt x="252" y="120"/>
                    </a:lnTo>
                    <a:lnTo>
                      <a:pt x="252" y="11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2" name="Freeform 42"/>
              <p:cNvSpPr>
                <a:spLocks/>
              </p:cNvSpPr>
              <p:nvPr>
                <p:custDataLst>
                  <p:tags r:id="rId39"/>
                </p:custDataLst>
              </p:nvPr>
            </p:nvSpPr>
            <p:spPr bwMode="gray">
              <a:xfrm>
                <a:off x="5147427" y="2970577"/>
                <a:ext cx="16123" cy="27120"/>
              </a:xfrm>
              <a:custGeom>
                <a:avLst/>
                <a:gdLst>
                  <a:gd name="T0" fmla="*/ 3413 w 12"/>
                  <a:gd name="T1" fmla="*/ 1793 h 24"/>
                  <a:gd name="T2" fmla="*/ 5689 w 12"/>
                  <a:gd name="T3" fmla="*/ 1793 h 24"/>
                  <a:gd name="T4" fmla="*/ 5689 w 12"/>
                  <a:gd name="T5" fmla="*/ 3586 h 24"/>
                  <a:gd name="T6" fmla="*/ 3413 w 12"/>
                  <a:gd name="T7" fmla="*/ 3586 h 24"/>
                  <a:gd name="T8" fmla="*/ 5689 w 12"/>
                  <a:gd name="T9" fmla="*/ 3586 h 24"/>
                  <a:gd name="T10" fmla="*/ 3413 w 12"/>
                  <a:gd name="T11" fmla="*/ 5379 h 24"/>
                  <a:gd name="T12" fmla="*/ 3413 w 12"/>
                  <a:gd name="T13" fmla="*/ 7172 h 24"/>
                  <a:gd name="T14" fmla="*/ 3413 w 12"/>
                  <a:gd name="T15" fmla="*/ 5379 h 24"/>
                  <a:gd name="T16" fmla="*/ 3413 w 12"/>
                  <a:gd name="T17" fmla="*/ 7172 h 24"/>
                  <a:gd name="T18" fmla="*/ 3413 w 12"/>
                  <a:gd name="T19" fmla="*/ 5379 h 24"/>
                  <a:gd name="T20" fmla="*/ 3413 w 12"/>
                  <a:gd name="T21" fmla="*/ 7172 h 24"/>
                  <a:gd name="T22" fmla="*/ 3413 w 12"/>
                  <a:gd name="T23" fmla="*/ 5379 h 24"/>
                  <a:gd name="T24" fmla="*/ 3413 w 12"/>
                  <a:gd name="T25" fmla="*/ 7172 h 24"/>
                  <a:gd name="T26" fmla="*/ 3413 w 12"/>
                  <a:gd name="T27" fmla="*/ 5379 h 24"/>
                  <a:gd name="T28" fmla="*/ 0 w 12"/>
                  <a:gd name="T29" fmla="*/ 5379 h 24"/>
                  <a:gd name="T30" fmla="*/ 3413 w 12"/>
                  <a:gd name="T31" fmla="*/ 5379 h 24"/>
                  <a:gd name="T32" fmla="*/ 3413 w 12"/>
                  <a:gd name="T33" fmla="*/ 3586 h 24"/>
                  <a:gd name="T34" fmla="*/ 0 w 12"/>
                  <a:gd name="T35" fmla="*/ 3586 h 24"/>
                  <a:gd name="T36" fmla="*/ 3413 w 12"/>
                  <a:gd name="T37" fmla="*/ 3586 h 24"/>
                  <a:gd name="T38" fmla="*/ 0 w 12"/>
                  <a:gd name="T39" fmla="*/ 3586 h 24"/>
                  <a:gd name="T40" fmla="*/ 3413 w 12"/>
                  <a:gd name="T41" fmla="*/ 3586 h 24"/>
                  <a:gd name="T42" fmla="*/ 0 w 12"/>
                  <a:gd name="T43" fmla="*/ 3586 h 24"/>
                  <a:gd name="T44" fmla="*/ 3413 w 12"/>
                  <a:gd name="T45" fmla="*/ 3586 h 24"/>
                  <a:gd name="T46" fmla="*/ 0 w 12"/>
                  <a:gd name="T47" fmla="*/ 3586 h 24"/>
                  <a:gd name="T48" fmla="*/ 0 w 12"/>
                  <a:gd name="T49" fmla="*/ 1793 h 24"/>
                  <a:gd name="T50" fmla="*/ 0 w 12"/>
                  <a:gd name="T51" fmla="*/ 0 h 24"/>
                  <a:gd name="T52" fmla="*/ 3413 w 12"/>
                  <a:gd name="T53" fmla="*/ 0 h 24"/>
                  <a:gd name="T54" fmla="*/ 0 w 12"/>
                  <a:gd name="T55" fmla="*/ 0 h 24"/>
                  <a:gd name="T56" fmla="*/ 3413 w 12"/>
                  <a:gd name="T57" fmla="*/ 0 h 24"/>
                  <a:gd name="T58" fmla="*/ 0 w 12"/>
                  <a:gd name="T59" fmla="*/ 0 h 24"/>
                  <a:gd name="T60" fmla="*/ 3413 w 12"/>
                  <a:gd name="T61" fmla="*/ 0 h 24"/>
                  <a:gd name="T62" fmla="*/ 0 w 12"/>
                  <a:gd name="T63" fmla="*/ 1793 h 24"/>
                  <a:gd name="T64" fmla="*/ 3413 w 12"/>
                  <a:gd name="T65" fmla="*/ 1793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 h="24">
                    <a:moveTo>
                      <a:pt x="6" y="6"/>
                    </a:moveTo>
                    <a:lnTo>
                      <a:pt x="12" y="6"/>
                    </a:lnTo>
                    <a:lnTo>
                      <a:pt x="12" y="12"/>
                    </a:lnTo>
                    <a:lnTo>
                      <a:pt x="6" y="12"/>
                    </a:lnTo>
                    <a:lnTo>
                      <a:pt x="12" y="12"/>
                    </a:lnTo>
                    <a:lnTo>
                      <a:pt x="6" y="18"/>
                    </a:lnTo>
                    <a:lnTo>
                      <a:pt x="6" y="24"/>
                    </a:lnTo>
                    <a:lnTo>
                      <a:pt x="6" y="18"/>
                    </a:lnTo>
                    <a:lnTo>
                      <a:pt x="6" y="24"/>
                    </a:lnTo>
                    <a:lnTo>
                      <a:pt x="6" y="18"/>
                    </a:lnTo>
                    <a:lnTo>
                      <a:pt x="6" y="24"/>
                    </a:lnTo>
                    <a:lnTo>
                      <a:pt x="6" y="18"/>
                    </a:lnTo>
                    <a:lnTo>
                      <a:pt x="6" y="24"/>
                    </a:lnTo>
                    <a:lnTo>
                      <a:pt x="6" y="18"/>
                    </a:lnTo>
                    <a:lnTo>
                      <a:pt x="0" y="18"/>
                    </a:lnTo>
                    <a:lnTo>
                      <a:pt x="6" y="18"/>
                    </a:lnTo>
                    <a:lnTo>
                      <a:pt x="6" y="12"/>
                    </a:lnTo>
                    <a:lnTo>
                      <a:pt x="0" y="12"/>
                    </a:lnTo>
                    <a:lnTo>
                      <a:pt x="6" y="12"/>
                    </a:lnTo>
                    <a:lnTo>
                      <a:pt x="0" y="12"/>
                    </a:lnTo>
                    <a:lnTo>
                      <a:pt x="6" y="12"/>
                    </a:lnTo>
                    <a:lnTo>
                      <a:pt x="0" y="12"/>
                    </a:lnTo>
                    <a:lnTo>
                      <a:pt x="6" y="12"/>
                    </a:lnTo>
                    <a:lnTo>
                      <a:pt x="0" y="12"/>
                    </a:lnTo>
                    <a:lnTo>
                      <a:pt x="0" y="6"/>
                    </a:lnTo>
                    <a:lnTo>
                      <a:pt x="0" y="0"/>
                    </a:lnTo>
                    <a:lnTo>
                      <a:pt x="6" y="0"/>
                    </a:lnTo>
                    <a:lnTo>
                      <a:pt x="0" y="0"/>
                    </a:lnTo>
                    <a:lnTo>
                      <a:pt x="6" y="0"/>
                    </a:lnTo>
                    <a:lnTo>
                      <a:pt x="0" y="0"/>
                    </a:lnTo>
                    <a:lnTo>
                      <a:pt x="6" y="0"/>
                    </a:lnTo>
                    <a:lnTo>
                      <a:pt x="0" y="6"/>
                    </a:lnTo>
                    <a:lnTo>
                      <a:pt x="6" y="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3" name="Freeform 44"/>
              <p:cNvSpPr>
                <a:spLocks noEditPoints="1"/>
              </p:cNvSpPr>
              <p:nvPr>
                <p:custDataLst>
                  <p:tags r:id="rId40"/>
                </p:custDataLst>
              </p:nvPr>
            </p:nvSpPr>
            <p:spPr bwMode="gray">
              <a:xfrm>
                <a:off x="4368662" y="1831527"/>
                <a:ext cx="559486" cy="608699"/>
              </a:xfrm>
              <a:custGeom>
                <a:avLst/>
                <a:gdLst>
                  <a:gd name="T0" fmla="*/ 8728 w 444"/>
                  <a:gd name="T1" fmla="*/ 0 h 516"/>
                  <a:gd name="T2" fmla="*/ 23275 w 444"/>
                  <a:gd name="T3" fmla="*/ 0 h 516"/>
                  <a:gd name="T4" fmla="*/ 37821 w 444"/>
                  <a:gd name="T5" fmla="*/ 0 h 516"/>
                  <a:gd name="T6" fmla="*/ 46549 w 444"/>
                  <a:gd name="T7" fmla="*/ 3893 h 516"/>
                  <a:gd name="T8" fmla="*/ 62065 w 444"/>
                  <a:gd name="T9" fmla="*/ 3893 h 516"/>
                  <a:gd name="T10" fmla="*/ 72733 w 444"/>
                  <a:gd name="T11" fmla="*/ 12651 h 516"/>
                  <a:gd name="T12" fmla="*/ 83400 w 444"/>
                  <a:gd name="T13" fmla="*/ 19463 h 516"/>
                  <a:gd name="T14" fmla="*/ 96007 w 444"/>
                  <a:gd name="T15" fmla="*/ 21410 h 516"/>
                  <a:gd name="T16" fmla="*/ 106675 w 444"/>
                  <a:gd name="T17" fmla="*/ 21410 h 516"/>
                  <a:gd name="T18" fmla="*/ 115403 w 444"/>
                  <a:gd name="T19" fmla="*/ 17517 h 516"/>
                  <a:gd name="T20" fmla="*/ 128010 w 444"/>
                  <a:gd name="T21" fmla="*/ 10704 h 516"/>
                  <a:gd name="T22" fmla="*/ 136738 w 444"/>
                  <a:gd name="T23" fmla="*/ 8758 h 516"/>
                  <a:gd name="T24" fmla="*/ 147405 w 444"/>
                  <a:gd name="T25" fmla="*/ 12651 h 516"/>
                  <a:gd name="T26" fmla="*/ 156134 w 444"/>
                  <a:gd name="T27" fmla="*/ 17517 h 516"/>
                  <a:gd name="T28" fmla="*/ 147405 w 444"/>
                  <a:gd name="T29" fmla="*/ 30168 h 516"/>
                  <a:gd name="T30" fmla="*/ 138677 w 444"/>
                  <a:gd name="T31" fmla="*/ 44765 h 516"/>
                  <a:gd name="T32" fmla="*/ 138677 w 444"/>
                  <a:gd name="T33" fmla="*/ 60335 h 516"/>
                  <a:gd name="T34" fmla="*/ 138677 w 444"/>
                  <a:gd name="T35" fmla="*/ 74933 h 516"/>
                  <a:gd name="T36" fmla="*/ 138677 w 444"/>
                  <a:gd name="T37" fmla="*/ 90503 h 516"/>
                  <a:gd name="T38" fmla="*/ 138677 w 444"/>
                  <a:gd name="T39" fmla="*/ 105100 h 516"/>
                  <a:gd name="T40" fmla="*/ 147405 w 444"/>
                  <a:gd name="T41" fmla="*/ 117751 h 516"/>
                  <a:gd name="T42" fmla="*/ 147405 w 444"/>
                  <a:gd name="T43" fmla="*/ 128456 h 516"/>
                  <a:gd name="T44" fmla="*/ 138677 w 444"/>
                  <a:gd name="T45" fmla="*/ 131375 h 516"/>
                  <a:gd name="T46" fmla="*/ 138677 w 444"/>
                  <a:gd name="T47" fmla="*/ 131375 h 516"/>
                  <a:gd name="T48" fmla="*/ 138677 w 444"/>
                  <a:gd name="T49" fmla="*/ 137214 h 516"/>
                  <a:gd name="T50" fmla="*/ 134799 w 444"/>
                  <a:gd name="T51" fmla="*/ 137214 h 516"/>
                  <a:gd name="T52" fmla="*/ 128010 w 444"/>
                  <a:gd name="T53" fmla="*/ 142080 h 516"/>
                  <a:gd name="T54" fmla="*/ 124131 w 444"/>
                  <a:gd name="T55" fmla="*/ 152785 h 516"/>
                  <a:gd name="T56" fmla="*/ 120252 w 444"/>
                  <a:gd name="T57" fmla="*/ 158623 h 516"/>
                  <a:gd name="T58" fmla="*/ 117342 w 444"/>
                  <a:gd name="T59" fmla="*/ 165436 h 516"/>
                  <a:gd name="T60" fmla="*/ 111524 w 444"/>
                  <a:gd name="T61" fmla="*/ 172247 h 516"/>
                  <a:gd name="T62" fmla="*/ 108615 w 444"/>
                  <a:gd name="T63" fmla="*/ 181979 h 516"/>
                  <a:gd name="T64" fmla="*/ 104735 w 444"/>
                  <a:gd name="T65" fmla="*/ 181979 h 516"/>
                  <a:gd name="T66" fmla="*/ 97947 w 444"/>
                  <a:gd name="T67" fmla="*/ 181006 h 516"/>
                  <a:gd name="T68" fmla="*/ 87280 w 444"/>
                  <a:gd name="T69" fmla="*/ 174194 h 516"/>
                  <a:gd name="T70" fmla="*/ 76612 w 444"/>
                  <a:gd name="T71" fmla="*/ 163489 h 516"/>
                  <a:gd name="T72" fmla="*/ 74672 w 444"/>
                  <a:gd name="T73" fmla="*/ 156677 h 516"/>
                  <a:gd name="T74" fmla="*/ 64005 w 444"/>
                  <a:gd name="T75" fmla="*/ 145972 h 516"/>
                  <a:gd name="T76" fmla="*/ 53337 w 444"/>
                  <a:gd name="T77" fmla="*/ 142080 h 516"/>
                  <a:gd name="T78" fmla="*/ 44610 w 444"/>
                  <a:gd name="T79" fmla="*/ 135268 h 516"/>
                  <a:gd name="T80" fmla="*/ 30063 w 444"/>
                  <a:gd name="T81" fmla="*/ 128456 h 516"/>
                  <a:gd name="T82" fmla="*/ 21335 w 444"/>
                  <a:gd name="T83" fmla="*/ 122617 h 516"/>
                  <a:gd name="T84" fmla="*/ 10667 w 444"/>
                  <a:gd name="T85" fmla="*/ 115805 h 516"/>
                  <a:gd name="T86" fmla="*/ 1940 w 444"/>
                  <a:gd name="T87" fmla="*/ 111912 h 516"/>
                  <a:gd name="T88" fmla="*/ 0 w 444"/>
                  <a:gd name="T89" fmla="*/ 98288 h 516"/>
                  <a:gd name="T90" fmla="*/ 1940 w 444"/>
                  <a:gd name="T91" fmla="*/ 86610 h 516"/>
                  <a:gd name="T92" fmla="*/ 6788 w 444"/>
                  <a:gd name="T93" fmla="*/ 79799 h 516"/>
                  <a:gd name="T94" fmla="*/ 12607 w 444"/>
                  <a:gd name="T95" fmla="*/ 71040 h 516"/>
                  <a:gd name="T96" fmla="*/ 19395 w 444"/>
                  <a:gd name="T97" fmla="*/ 62282 h 516"/>
                  <a:gd name="T98" fmla="*/ 19395 w 444"/>
                  <a:gd name="T99" fmla="*/ 49631 h 516"/>
                  <a:gd name="T100" fmla="*/ 17456 w 444"/>
                  <a:gd name="T101" fmla="*/ 36979 h 516"/>
                  <a:gd name="T102" fmla="*/ 10667 w 444"/>
                  <a:gd name="T103" fmla="*/ 28221 h 516"/>
                  <a:gd name="T104" fmla="*/ 8728 w 444"/>
                  <a:gd name="T105" fmla="*/ 19463 h 516"/>
                  <a:gd name="T106" fmla="*/ 6788 w 444"/>
                  <a:gd name="T107" fmla="*/ 14597 h 516"/>
                  <a:gd name="T108" fmla="*/ 1940 w 444"/>
                  <a:gd name="T109" fmla="*/ 8758 h 516"/>
                  <a:gd name="T110" fmla="*/ 136738 w 444"/>
                  <a:gd name="T111" fmla="*/ 137214 h 516"/>
                  <a:gd name="T112" fmla="*/ 113464 w 444"/>
                  <a:gd name="T113" fmla="*/ 174194 h 516"/>
                  <a:gd name="T114" fmla="*/ 108615 w 444"/>
                  <a:gd name="T115" fmla="*/ 184898 h 516"/>
                  <a:gd name="T116" fmla="*/ 149345 w 444"/>
                  <a:gd name="T117" fmla="*/ 128456 h 516"/>
                  <a:gd name="T118" fmla="*/ 104735 w 444"/>
                  <a:gd name="T119" fmla="*/ 184898 h 5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4" h="516">
                    <a:moveTo>
                      <a:pt x="0" y="24"/>
                    </a:moveTo>
                    <a:lnTo>
                      <a:pt x="6" y="24"/>
                    </a:lnTo>
                    <a:lnTo>
                      <a:pt x="6" y="18"/>
                    </a:lnTo>
                    <a:lnTo>
                      <a:pt x="12" y="12"/>
                    </a:lnTo>
                    <a:lnTo>
                      <a:pt x="18" y="6"/>
                    </a:lnTo>
                    <a:lnTo>
                      <a:pt x="24" y="6"/>
                    </a:lnTo>
                    <a:lnTo>
                      <a:pt x="24" y="0"/>
                    </a:lnTo>
                    <a:lnTo>
                      <a:pt x="30" y="0"/>
                    </a:lnTo>
                    <a:lnTo>
                      <a:pt x="36" y="0"/>
                    </a:lnTo>
                    <a:lnTo>
                      <a:pt x="42" y="0"/>
                    </a:lnTo>
                    <a:lnTo>
                      <a:pt x="48" y="0"/>
                    </a:lnTo>
                    <a:lnTo>
                      <a:pt x="54" y="0"/>
                    </a:lnTo>
                    <a:lnTo>
                      <a:pt x="60" y="0"/>
                    </a:lnTo>
                    <a:lnTo>
                      <a:pt x="66" y="0"/>
                    </a:lnTo>
                    <a:lnTo>
                      <a:pt x="72" y="0"/>
                    </a:lnTo>
                    <a:lnTo>
                      <a:pt x="78" y="0"/>
                    </a:lnTo>
                    <a:lnTo>
                      <a:pt x="84" y="0"/>
                    </a:lnTo>
                    <a:lnTo>
                      <a:pt x="90" y="0"/>
                    </a:lnTo>
                    <a:lnTo>
                      <a:pt x="96" y="0"/>
                    </a:lnTo>
                    <a:lnTo>
                      <a:pt x="102" y="0"/>
                    </a:lnTo>
                    <a:lnTo>
                      <a:pt x="108" y="0"/>
                    </a:lnTo>
                    <a:lnTo>
                      <a:pt x="114" y="0"/>
                    </a:lnTo>
                    <a:lnTo>
                      <a:pt x="114" y="6"/>
                    </a:lnTo>
                    <a:lnTo>
                      <a:pt x="114" y="12"/>
                    </a:lnTo>
                    <a:lnTo>
                      <a:pt x="120" y="12"/>
                    </a:lnTo>
                    <a:lnTo>
                      <a:pt x="126" y="12"/>
                    </a:lnTo>
                    <a:lnTo>
                      <a:pt x="126" y="6"/>
                    </a:lnTo>
                    <a:lnTo>
                      <a:pt x="132" y="12"/>
                    </a:lnTo>
                    <a:lnTo>
                      <a:pt x="138" y="12"/>
                    </a:lnTo>
                    <a:lnTo>
                      <a:pt x="144" y="12"/>
                    </a:lnTo>
                    <a:lnTo>
                      <a:pt x="150" y="12"/>
                    </a:lnTo>
                    <a:lnTo>
                      <a:pt x="156" y="12"/>
                    </a:lnTo>
                    <a:lnTo>
                      <a:pt x="162" y="12"/>
                    </a:lnTo>
                    <a:lnTo>
                      <a:pt x="168" y="12"/>
                    </a:lnTo>
                    <a:lnTo>
                      <a:pt x="174" y="12"/>
                    </a:lnTo>
                    <a:lnTo>
                      <a:pt x="174" y="18"/>
                    </a:lnTo>
                    <a:lnTo>
                      <a:pt x="180" y="18"/>
                    </a:lnTo>
                    <a:lnTo>
                      <a:pt x="186" y="24"/>
                    </a:lnTo>
                    <a:lnTo>
                      <a:pt x="192" y="24"/>
                    </a:lnTo>
                    <a:lnTo>
                      <a:pt x="198" y="30"/>
                    </a:lnTo>
                    <a:lnTo>
                      <a:pt x="198" y="36"/>
                    </a:lnTo>
                    <a:lnTo>
                      <a:pt x="204" y="36"/>
                    </a:lnTo>
                    <a:lnTo>
                      <a:pt x="210" y="42"/>
                    </a:lnTo>
                    <a:lnTo>
                      <a:pt x="216" y="42"/>
                    </a:lnTo>
                    <a:lnTo>
                      <a:pt x="216" y="48"/>
                    </a:lnTo>
                    <a:lnTo>
                      <a:pt x="222" y="48"/>
                    </a:lnTo>
                    <a:lnTo>
                      <a:pt x="228" y="48"/>
                    </a:lnTo>
                    <a:lnTo>
                      <a:pt x="228" y="54"/>
                    </a:lnTo>
                    <a:lnTo>
                      <a:pt x="234" y="54"/>
                    </a:lnTo>
                    <a:lnTo>
                      <a:pt x="240" y="54"/>
                    </a:lnTo>
                    <a:lnTo>
                      <a:pt x="246" y="54"/>
                    </a:lnTo>
                    <a:lnTo>
                      <a:pt x="252" y="54"/>
                    </a:lnTo>
                    <a:lnTo>
                      <a:pt x="258" y="54"/>
                    </a:lnTo>
                    <a:lnTo>
                      <a:pt x="264" y="54"/>
                    </a:lnTo>
                    <a:lnTo>
                      <a:pt x="264" y="60"/>
                    </a:lnTo>
                    <a:lnTo>
                      <a:pt x="270" y="60"/>
                    </a:lnTo>
                    <a:lnTo>
                      <a:pt x="276" y="60"/>
                    </a:lnTo>
                    <a:lnTo>
                      <a:pt x="282" y="60"/>
                    </a:lnTo>
                    <a:lnTo>
                      <a:pt x="288" y="60"/>
                    </a:lnTo>
                    <a:lnTo>
                      <a:pt x="294" y="60"/>
                    </a:lnTo>
                    <a:lnTo>
                      <a:pt x="294" y="66"/>
                    </a:lnTo>
                    <a:lnTo>
                      <a:pt x="300" y="66"/>
                    </a:lnTo>
                    <a:lnTo>
                      <a:pt x="300" y="60"/>
                    </a:lnTo>
                    <a:lnTo>
                      <a:pt x="300" y="66"/>
                    </a:lnTo>
                    <a:lnTo>
                      <a:pt x="306" y="66"/>
                    </a:lnTo>
                    <a:lnTo>
                      <a:pt x="312" y="66"/>
                    </a:lnTo>
                    <a:lnTo>
                      <a:pt x="318" y="60"/>
                    </a:lnTo>
                    <a:lnTo>
                      <a:pt x="318" y="54"/>
                    </a:lnTo>
                    <a:lnTo>
                      <a:pt x="324" y="54"/>
                    </a:lnTo>
                    <a:lnTo>
                      <a:pt x="324" y="48"/>
                    </a:lnTo>
                    <a:lnTo>
                      <a:pt x="330" y="42"/>
                    </a:lnTo>
                    <a:lnTo>
                      <a:pt x="336" y="36"/>
                    </a:lnTo>
                    <a:lnTo>
                      <a:pt x="342" y="36"/>
                    </a:lnTo>
                    <a:lnTo>
                      <a:pt x="348" y="36"/>
                    </a:lnTo>
                    <a:lnTo>
                      <a:pt x="348" y="30"/>
                    </a:lnTo>
                    <a:lnTo>
                      <a:pt x="354" y="30"/>
                    </a:lnTo>
                    <a:lnTo>
                      <a:pt x="360" y="30"/>
                    </a:lnTo>
                    <a:lnTo>
                      <a:pt x="360" y="24"/>
                    </a:lnTo>
                    <a:lnTo>
                      <a:pt x="366" y="24"/>
                    </a:lnTo>
                    <a:lnTo>
                      <a:pt x="372" y="24"/>
                    </a:lnTo>
                    <a:lnTo>
                      <a:pt x="378" y="24"/>
                    </a:lnTo>
                    <a:lnTo>
                      <a:pt x="378" y="18"/>
                    </a:lnTo>
                    <a:lnTo>
                      <a:pt x="384" y="18"/>
                    </a:lnTo>
                    <a:lnTo>
                      <a:pt x="384" y="24"/>
                    </a:lnTo>
                    <a:lnTo>
                      <a:pt x="390" y="24"/>
                    </a:lnTo>
                    <a:lnTo>
                      <a:pt x="390" y="30"/>
                    </a:lnTo>
                    <a:lnTo>
                      <a:pt x="396" y="30"/>
                    </a:lnTo>
                    <a:lnTo>
                      <a:pt x="396" y="36"/>
                    </a:lnTo>
                    <a:lnTo>
                      <a:pt x="402" y="36"/>
                    </a:lnTo>
                    <a:lnTo>
                      <a:pt x="408" y="36"/>
                    </a:lnTo>
                    <a:lnTo>
                      <a:pt x="414" y="36"/>
                    </a:lnTo>
                    <a:lnTo>
                      <a:pt x="420" y="36"/>
                    </a:lnTo>
                    <a:lnTo>
                      <a:pt x="426" y="36"/>
                    </a:lnTo>
                    <a:lnTo>
                      <a:pt x="432" y="36"/>
                    </a:lnTo>
                    <a:lnTo>
                      <a:pt x="438" y="36"/>
                    </a:lnTo>
                    <a:lnTo>
                      <a:pt x="444" y="36"/>
                    </a:lnTo>
                    <a:lnTo>
                      <a:pt x="438" y="42"/>
                    </a:lnTo>
                    <a:lnTo>
                      <a:pt x="438" y="48"/>
                    </a:lnTo>
                    <a:lnTo>
                      <a:pt x="432" y="48"/>
                    </a:lnTo>
                    <a:lnTo>
                      <a:pt x="432" y="54"/>
                    </a:lnTo>
                    <a:lnTo>
                      <a:pt x="426" y="60"/>
                    </a:lnTo>
                    <a:lnTo>
                      <a:pt x="420" y="66"/>
                    </a:lnTo>
                    <a:lnTo>
                      <a:pt x="420" y="72"/>
                    </a:lnTo>
                    <a:lnTo>
                      <a:pt x="414" y="78"/>
                    </a:lnTo>
                    <a:lnTo>
                      <a:pt x="414" y="84"/>
                    </a:lnTo>
                    <a:lnTo>
                      <a:pt x="408" y="84"/>
                    </a:lnTo>
                    <a:lnTo>
                      <a:pt x="402" y="90"/>
                    </a:lnTo>
                    <a:lnTo>
                      <a:pt x="396" y="96"/>
                    </a:lnTo>
                    <a:lnTo>
                      <a:pt x="390" y="102"/>
                    </a:lnTo>
                    <a:lnTo>
                      <a:pt x="390" y="108"/>
                    </a:lnTo>
                    <a:lnTo>
                      <a:pt x="390" y="114"/>
                    </a:lnTo>
                    <a:lnTo>
                      <a:pt x="390" y="126"/>
                    </a:lnTo>
                    <a:lnTo>
                      <a:pt x="390" y="132"/>
                    </a:lnTo>
                    <a:lnTo>
                      <a:pt x="390" y="138"/>
                    </a:lnTo>
                    <a:lnTo>
                      <a:pt x="390" y="144"/>
                    </a:lnTo>
                    <a:lnTo>
                      <a:pt x="390" y="150"/>
                    </a:lnTo>
                    <a:lnTo>
                      <a:pt x="390" y="156"/>
                    </a:lnTo>
                    <a:lnTo>
                      <a:pt x="390" y="162"/>
                    </a:lnTo>
                    <a:lnTo>
                      <a:pt x="390" y="168"/>
                    </a:lnTo>
                    <a:lnTo>
                      <a:pt x="390" y="174"/>
                    </a:lnTo>
                    <a:lnTo>
                      <a:pt x="390" y="180"/>
                    </a:lnTo>
                    <a:lnTo>
                      <a:pt x="390" y="186"/>
                    </a:lnTo>
                    <a:lnTo>
                      <a:pt x="390" y="192"/>
                    </a:lnTo>
                    <a:lnTo>
                      <a:pt x="390" y="198"/>
                    </a:lnTo>
                    <a:lnTo>
                      <a:pt x="390" y="204"/>
                    </a:lnTo>
                    <a:lnTo>
                      <a:pt x="390" y="210"/>
                    </a:lnTo>
                    <a:lnTo>
                      <a:pt x="390" y="216"/>
                    </a:lnTo>
                    <a:lnTo>
                      <a:pt x="390" y="222"/>
                    </a:lnTo>
                    <a:lnTo>
                      <a:pt x="390" y="228"/>
                    </a:lnTo>
                    <a:lnTo>
                      <a:pt x="390" y="234"/>
                    </a:lnTo>
                    <a:lnTo>
                      <a:pt x="390" y="240"/>
                    </a:lnTo>
                    <a:lnTo>
                      <a:pt x="390" y="246"/>
                    </a:lnTo>
                    <a:lnTo>
                      <a:pt x="390" y="252"/>
                    </a:lnTo>
                    <a:lnTo>
                      <a:pt x="390" y="258"/>
                    </a:lnTo>
                    <a:lnTo>
                      <a:pt x="390" y="264"/>
                    </a:lnTo>
                    <a:lnTo>
                      <a:pt x="390" y="270"/>
                    </a:lnTo>
                    <a:lnTo>
                      <a:pt x="390" y="276"/>
                    </a:lnTo>
                    <a:lnTo>
                      <a:pt x="390" y="282"/>
                    </a:lnTo>
                    <a:lnTo>
                      <a:pt x="390" y="288"/>
                    </a:lnTo>
                    <a:lnTo>
                      <a:pt x="390" y="294"/>
                    </a:lnTo>
                    <a:lnTo>
                      <a:pt x="390" y="300"/>
                    </a:lnTo>
                    <a:lnTo>
                      <a:pt x="390" y="306"/>
                    </a:lnTo>
                    <a:lnTo>
                      <a:pt x="396" y="306"/>
                    </a:lnTo>
                    <a:lnTo>
                      <a:pt x="396" y="312"/>
                    </a:lnTo>
                    <a:lnTo>
                      <a:pt x="402" y="318"/>
                    </a:lnTo>
                    <a:lnTo>
                      <a:pt x="408" y="324"/>
                    </a:lnTo>
                    <a:lnTo>
                      <a:pt x="414" y="330"/>
                    </a:lnTo>
                    <a:lnTo>
                      <a:pt x="414" y="336"/>
                    </a:lnTo>
                    <a:lnTo>
                      <a:pt x="420" y="336"/>
                    </a:lnTo>
                    <a:lnTo>
                      <a:pt x="420" y="342"/>
                    </a:lnTo>
                    <a:lnTo>
                      <a:pt x="426" y="348"/>
                    </a:lnTo>
                    <a:lnTo>
                      <a:pt x="420" y="354"/>
                    </a:lnTo>
                    <a:lnTo>
                      <a:pt x="420" y="360"/>
                    </a:lnTo>
                    <a:lnTo>
                      <a:pt x="414" y="360"/>
                    </a:lnTo>
                    <a:lnTo>
                      <a:pt x="414" y="366"/>
                    </a:lnTo>
                    <a:lnTo>
                      <a:pt x="408" y="366"/>
                    </a:lnTo>
                    <a:lnTo>
                      <a:pt x="402" y="366"/>
                    </a:lnTo>
                    <a:lnTo>
                      <a:pt x="396" y="366"/>
                    </a:lnTo>
                    <a:lnTo>
                      <a:pt x="396" y="372"/>
                    </a:lnTo>
                    <a:lnTo>
                      <a:pt x="390" y="372"/>
                    </a:lnTo>
                    <a:lnTo>
                      <a:pt x="390" y="366"/>
                    </a:lnTo>
                    <a:lnTo>
                      <a:pt x="396" y="366"/>
                    </a:lnTo>
                    <a:lnTo>
                      <a:pt x="390" y="366"/>
                    </a:lnTo>
                    <a:lnTo>
                      <a:pt x="390" y="372"/>
                    </a:lnTo>
                    <a:lnTo>
                      <a:pt x="390" y="366"/>
                    </a:lnTo>
                    <a:lnTo>
                      <a:pt x="384" y="366"/>
                    </a:lnTo>
                    <a:lnTo>
                      <a:pt x="384" y="372"/>
                    </a:lnTo>
                    <a:lnTo>
                      <a:pt x="390" y="366"/>
                    </a:lnTo>
                    <a:lnTo>
                      <a:pt x="390" y="372"/>
                    </a:lnTo>
                    <a:lnTo>
                      <a:pt x="384" y="372"/>
                    </a:lnTo>
                    <a:lnTo>
                      <a:pt x="390" y="372"/>
                    </a:lnTo>
                    <a:lnTo>
                      <a:pt x="390" y="378"/>
                    </a:lnTo>
                    <a:lnTo>
                      <a:pt x="390" y="384"/>
                    </a:lnTo>
                    <a:lnTo>
                      <a:pt x="390" y="378"/>
                    </a:lnTo>
                    <a:lnTo>
                      <a:pt x="390" y="384"/>
                    </a:lnTo>
                    <a:lnTo>
                      <a:pt x="390" y="378"/>
                    </a:lnTo>
                    <a:lnTo>
                      <a:pt x="390" y="384"/>
                    </a:lnTo>
                    <a:lnTo>
                      <a:pt x="384" y="384"/>
                    </a:lnTo>
                    <a:lnTo>
                      <a:pt x="378" y="384"/>
                    </a:lnTo>
                    <a:lnTo>
                      <a:pt x="384" y="384"/>
                    </a:lnTo>
                    <a:lnTo>
                      <a:pt x="384" y="390"/>
                    </a:lnTo>
                    <a:lnTo>
                      <a:pt x="378" y="384"/>
                    </a:lnTo>
                    <a:lnTo>
                      <a:pt x="384" y="390"/>
                    </a:lnTo>
                    <a:lnTo>
                      <a:pt x="378" y="390"/>
                    </a:lnTo>
                    <a:lnTo>
                      <a:pt x="378" y="396"/>
                    </a:lnTo>
                    <a:lnTo>
                      <a:pt x="372" y="396"/>
                    </a:lnTo>
                    <a:lnTo>
                      <a:pt x="372" y="402"/>
                    </a:lnTo>
                    <a:lnTo>
                      <a:pt x="366" y="396"/>
                    </a:lnTo>
                    <a:lnTo>
                      <a:pt x="360" y="396"/>
                    </a:lnTo>
                    <a:lnTo>
                      <a:pt x="360" y="402"/>
                    </a:lnTo>
                    <a:lnTo>
                      <a:pt x="354" y="402"/>
                    </a:lnTo>
                    <a:lnTo>
                      <a:pt x="354" y="408"/>
                    </a:lnTo>
                    <a:lnTo>
                      <a:pt x="348" y="408"/>
                    </a:lnTo>
                    <a:lnTo>
                      <a:pt x="348" y="414"/>
                    </a:lnTo>
                    <a:lnTo>
                      <a:pt x="348" y="420"/>
                    </a:lnTo>
                    <a:lnTo>
                      <a:pt x="348" y="426"/>
                    </a:lnTo>
                    <a:lnTo>
                      <a:pt x="348" y="420"/>
                    </a:lnTo>
                    <a:lnTo>
                      <a:pt x="348" y="426"/>
                    </a:lnTo>
                    <a:lnTo>
                      <a:pt x="348" y="432"/>
                    </a:lnTo>
                    <a:lnTo>
                      <a:pt x="342" y="432"/>
                    </a:lnTo>
                    <a:lnTo>
                      <a:pt x="342" y="438"/>
                    </a:lnTo>
                    <a:lnTo>
                      <a:pt x="342" y="444"/>
                    </a:lnTo>
                    <a:lnTo>
                      <a:pt x="336" y="444"/>
                    </a:lnTo>
                    <a:lnTo>
                      <a:pt x="336" y="450"/>
                    </a:lnTo>
                    <a:lnTo>
                      <a:pt x="330" y="456"/>
                    </a:lnTo>
                    <a:lnTo>
                      <a:pt x="330" y="462"/>
                    </a:lnTo>
                    <a:lnTo>
                      <a:pt x="330" y="456"/>
                    </a:lnTo>
                    <a:lnTo>
                      <a:pt x="324" y="456"/>
                    </a:lnTo>
                    <a:lnTo>
                      <a:pt x="324" y="462"/>
                    </a:lnTo>
                    <a:lnTo>
                      <a:pt x="330" y="462"/>
                    </a:lnTo>
                    <a:lnTo>
                      <a:pt x="330" y="468"/>
                    </a:lnTo>
                    <a:lnTo>
                      <a:pt x="324" y="474"/>
                    </a:lnTo>
                    <a:lnTo>
                      <a:pt x="324" y="480"/>
                    </a:lnTo>
                    <a:lnTo>
                      <a:pt x="324" y="486"/>
                    </a:lnTo>
                    <a:lnTo>
                      <a:pt x="318" y="486"/>
                    </a:lnTo>
                    <a:lnTo>
                      <a:pt x="318" y="480"/>
                    </a:lnTo>
                    <a:lnTo>
                      <a:pt x="312" y="480"/>
                    </a:lnTo>
                    <a:lnTo>
                      <a:pt x="312" y="486"/>
                    </a:lnTo>
                    <a:lnTo>
                      <a:pt x="318" y="486"/>
                    </a:lnTo>
                    <a:lnTo>
                      <a:pt x="318" y="492"/>
                    </a:lnTo>
                    <a:lnTo>
                      <a:pt x="312" y="492"/>
                    </a:lnTo>
                    <a:lnTo>
                      <a:pt x="312" y="498"/>
                    </a:lnTo>
                    <a:lnTo>
                      <a:pt x="312" y="504"/>
                    </a:lnTo>
                    <a:lnTo>
                      <a:pt x="306" y="510"/>
                    </a:lnTo>
                    <a:lnTo>
                      <a:pt x="306" y="516"/>
                    </a:lnTo>
                    <a:lnTo>
                      <a:pt x="300" y="516"/>
                    </a:lnTo>
                    <a:lnTo>
                      <a:pt x="300" y="510"/>
                    </a:lnTo>
                    <a:lnTo>
                      <a:pt x="300" y="516"/>
                    </a:lnTo>
                    <a:lnTo>
                      <a:pt x="300" y="510"/>
                    </a:lnTo>
                    <a:lnTo>
                      <a:pt x="300" y="516"/>
                    </a:lnTo>
                    <a:lnTo>
                      <a:pt x="294" y="510"/>
                    </a:lnTo>
                    <a:lnTo>
                      <a:pt x="294" y="516"/>
                    </a:lnTo>
                    <a:lnTo>
                      <a:pt x="300" y="516"/>
                    </a:lnTo>
                    <a:lnTo>
                      <a:pt x="294" y="516"/>
                    </a:lnTo>
                    <a:lnTo>
                      <a:pt x="288" y="516"/>
                    </a:lnTo>
                    <a:lnTo>
                      <a:pt x="282" y="510"/>
                    </a:lnTo>
                    <a:lnTo>
                      <a:pt x="276" y="510"/>
                    </a:lnTo>
                    <a:lnTo>
                      <a:pt x="276" y="504"/>
                    </a:lnTo>
                    <a:lnTo>
                      <a:pt x="270" y="504"/>
                    </a:lnTo>
                    <a:lnTo>
                      <a:pt x="270" y="498"/>
                    </a:lnTo>
                    <a:lnTo>
                      <a:pt x="264" y="498"/>
                    </a:lnTo>
                    <a:lnTo>
                      <a:pt x="258" y="492"/>
                    </a:lnTo>
                    <a:lnTo>
                      <a:pt x="252" y="492"/>
                    </a:lnTo>
                    <a:lnTo>
                      <a:pt x="252" y="486"/>
                    </a:lnTo>
                    <a:lnTo>
                      <a:pt x="246" y="486"/>
                    </a:lnTo>
                    <a:lnTo>
                      <a:pt x="246" y="480"/>
                    </a:lnTo>
                    <a:lnTo>
                      <a:pt x="240" y="480"/>
                    </a:lnTo>
                    <a:lnTo>
                      <a:pt x="234" y="474"/>
                    </a:lnTo>
                    <a:lnTo>
                      <a:pt x="228" y="468"/>
                    </a:lnTo>
                    <a:lnTo>
                      <a:pt x="222" y="468"/>
                    </a:lnTo>
                    <a:lnTo>
                      <a:pt x="216" y="462"/>
                    </a:lnTo>
                    <a:lnTo>
                      <a:pt x="216" y="456"/>
                    </a:lnTo>
                    <a:lnTo>
                      <a:pt x="210" y="456"/>
                    </a:lnTo>
                    <a:lnTo>
                      <a:pt x="210" y="450"/>
                    </a:lnTo>
                    <a:lnTo>
                      <a:pt x="204" y="456"/>
                    </a:lnTo>
                    <a:lnTo>
                      <a:pt x="204" y="450"/>
                    </a:lnTo>
                    <a:lnTo>
                      <a:pt x="204" y="444"/>
                    </a:lnTo>
                    <a:lnTo>
                      <a:pt x="210" y="444"/>
                    </a:lnTo>
                    <a:lnTo>
                      <a:pt x="210" y="438"/>
                    </a:lnTo>
                    <a:lnTo>
                      <a:pt x="210" y="432"/>
                    </a:lnTo>
                    <a:lnTo>
                      <a:pt x="210" y="426"/>
                    </a:lnTo>
                    <a:lnTo>
                      <a:pt x="204" y="426"/>
                    </a:lnTo>
                    <a:lnTo>
                      <a:pt x="198" y="420"/>
                    </a:lnTo>
                    <a:lnTo>
                      <a:pt x="192" y="420"/>
                    </a:lnTo>
                    <a:lnTo>
                      <a:pt x="186" y="414"/>
                    </a:lnTo>
                    <a:lnTo>
                      <a:pt x="180" y="408"/>
                    </a:lnTo>
                    <a:lnTo>
                      <a:pt x="174" y="408"/>
                    </a:lnTo>
                    <a:lnTo>
                      <a:pt x="168" y="408"/>
                    </a:lnTo>
                    <a:lnTo>
                      <a:pt x="168" y="402"/>
                    </a:lnTo>
                    <a:lnTo>
                      <a:pt x="162" y="402"/>
                    </a:lnTo>
                    <a:lnTo>
                      <a:pt x="156" y="402"/>
                    </a:lnTo>
                    <a:lnTo>
                      <a:pt x="156" y="396"/>
                    </a:lnTo>
                    <a:lnTo>
                      <a:pt x="150" y="396"/>
                    </a:lnTo>
                    <a:lnTo>
                      <a:pt x="150" y="390"/>
                    </a:lnTo>
                    <a:lnTo>
                      <a:pt x="144" y="390"/>
                    </a:lnTo>
                    <a:lnTo>
                      <a:pt x="138" y="390"/>
                    </a:lnTo>
                    <a:lnTo>
                      <a:pt x="138" y="384"/>
                    </a:lnTo>
                    <a:lnTo>
                      <a:pt x="132" y="384"/>
                    </a:lnTo>
                    <a:lnTo>
                      <a:pt x="126" y="384"/>
                    </a:lnTo>
                    <a:lnTo>
                      <a:pt x="126" y="378"/>
                    </a:lnTo>
                    <a:lnTo>
                      <a:pt x="120" y="378"/>
                    </a:lnTo>
                    <a:lnTo>
                      <a:pt x="114" y="372"/>
                    </a:lnTo>
                    <a:lnTo>
                      <a:pt x="108" y="372"/>
                    </a:lnTo>
                    <a:lnTo>
                      <a:pt x="102" y="366"/>
                    </a:lnTo>
                    <a:lnTo>
                      <a:pt x="96" y="366"/>
                    </a:lnTo>
                    <a:lnTo>
                      <a:pt x="90" y="360"/>
                    </a:lnTo>
                    <a:lnTo>
                      <a:pt x="84" y="360"/>
                    </a:lnTo>
                    <a:lnTo>
                      <a:pt x="84" y="354"/>
                    </a:lnTo>
                    <a:lnTo>
                      <a:pt x="78" y="354"/>
                    </a:lnTo>
                    <a:lnTo>
                      <a:pt x="72" y="354"/>
                    </a:lnTo>
                    <a:lnTo>
                      <a:pt x="72" y="348"/>
                    </a:lnTo>
                    <a:lnTo>
                      <a:pt x="66" y="348"/>
                    </a:lnTo>
                    <a:lnTo>
                      <a:pt x="60" y="348"/>
                    </a:lnTo>
                    <a:lnTo>
                      <a:pt x="60" y="342"/>
                    </a:lnTo>
                    <a:lnTo>
                      <a:pt x="54" y="342"/>
                    </a:lnTo>
                    <a:lnTo>
                      <a:pt x="48" y="336"/>
                    </a:lnTo>
                    <a:lnTo>
                      <a:pt x="42" y="336"/>
                    </a:lnTo>
                    <a:lnTo>
                      <a:pt x="42" y="330"/>
                    </a:lnTo>
                    <a:lnTo>
                      <a:pt x="36" y="330"/>
                    </a:lnTo>
                    <a:lnTo>
                      <a:pt x="30" y="330"/>
                    </a:lnTo>
                    <a:lnTo>
                      <a:pt x="30" y="324"/>
                    </a:lnTo>
                    <a:lnTo>
                      <a:pt x="24" y="324"/>
                    </a:lnTo>
                    <a:lnTo>
                      <a:pt x="18" y="318"/>
                    </a:lnTo>
                    <a:lnTo>
                      <a:pt x="12" y="318"/>
                    </a:lnTo>
                    <a:lnTo>
                      <a:pt x="12" y="312"/>
                    </a:lnTo>
                    <a:lnTo>
                      <a:pt x="6" y="312"/>
                    </a:lnTo>
                    <a:lnTo>
                      <a:pt x="6" y="318"/>
                    </a:lnTo>
                    <a:lnTo>
                      <a:pt x="6" y="312"/>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6" y="246"/>
                    </a:lnTo>
                    <a:lnTo>
                      <a:pt x="6" y="240"/>
                    </a:lnTo>
                    <a:lnTo>
                      <a:pt x="6" y="234"/>
                    </a:lnTo>
                    <a:lnTo>
                      <a:pt x="12" y="234"/>
                    </a:lnTo>
                    <a:lnTo>
                      <a:pt x="6" y="234"/>
                    </a:lnTo>
                    <a:lnTo>
                      <a:pt x="12" y="234"/>
                    </a:lnTo>
                    <a:lnTo>
                      <a:pt x="12" y="228"/>
                    </a:lnTo>
                    <a:lnTo>
                      <a:pt x="12" y="222"/>
                    </a:lnTo>
                    <a:lnTo>
                      <a:pt x="18" y="222"/>
                    </a:lnTo>
                    <a:lnTo>
                      <a:pt x="18" y="216"/>
                    </a:lnTo>
                    <a:lnTo>
                      <a:pt x="24" y="216"/>
                    </a:lnTo>
                    <a:lnTo>
                      <a:pt x="24" y="210"/>
                    </a:lnTo>
                    <a:lnTo>
                      <a:pt x="30" y="210"/>
                    </a:lnTo>
                    <a:lnTo>
                      <a:pt x="30" y="204"/>
                    </a:lnTo>
                    <a:lnTo>
                      <a:pt x="30" y="198"/>
                    </a:lnTo>
                    <a:lnTo>
                      <a:pt x="36" y="198"/>
                    </a:lnTo>
                    <a:lnTo>
                      <a:pt x="36" y="192"/>
                    </a:lnTo>
                    <a:lnTo>
                      <a:pt x="42" y="192"/>
                    </a:lnTo>
                    <a:lnTo>
                      <a:pt x="48" y="192"/>
                    </a:lnTo>
                    <a:lnTo>
                      <a:pt x="48" y="186"/>
                    </a:lnTo>
                    <a:lnTo>
                      <a:pt x="48" y="180"/>
                    </a:lnTo>
                    <a:lnTo>
                      <a:pt x="48" y="174"/>
                    </a:lnTo>
                    <a:lnTo>
                      <a:pt x="54" y="174"/>
                    </a:lnTo>
                    <a:lnTo>
                      <a:pt x="54" y="168"/>
                    </a:lnTo>
                    <a:lnTo>
                      <a:pt x="60" y="168"/>
                    </a:lnTo>
                    <a:lnTo>
                      <a:pt x="60" y="162"/>
                    </a:lnTo>
                    <a:lnTo>
                      <a:pt x="60" y="156"/>
                    </a:lnTo>
                    <a:lnTo>
                      <a:pt x="60" y="150"/>
                    </a:lnTo>
                    <a:lnTo>
                      <a:pt x="60" y="144"/>
                    </a:lnTo>
                    <a:lnTo>
                      <a:pt x="54" y="138"/>
                    </a:lnTo>
                    <a:lnTo>
                      <a:pt x="54" y="132"/>
                    </a:lnTo>
                    <a:lnTo>
                      <a:pt x="54" y="126"/>
                    </a:lnTo>
                    <a:lnTo>
                      <a:pt x="54" y="120"/>
                    </a:lnTo>
                    <a:lnTo>
                      <a:pt x="54" y="114"/>
                    </a:lnTo>
                    <a:lnTo>
                      <a:pt x="48" y="114"/>
                    </a:lnTo>
                    <a:lnTo>
                      <a:pt x="48" y="108"/>
                    </a:lnTo>
                    <a:lnTo>
                      <a:pt x="48" y="102"/>
                    </a:lnTo>
                    <a:lnTo>
                      <a:pt x="42" y="102"/>
                    </a:lnTo>
                    <a:lnTo>
                      <a:pt x="42" y="96"/>
                    </a:lnTo>
                    <a:lnTo>
                      <a:pt x="36" y="96"/>
                    </a:lnTo>
                    <a:lnTo>
                      <a:pt x="36" y="90"/>
                    </a:lnTo>
                    <a:lnTo>
                      <a:pt x="36" y="84"/>
                    </a:lnTo>
                    <a:lnTo>
                      <a:pt x="30" y="84"/>
                    </a:lnTo>
                    <a:lnTo>
                      <a:pt x="30" y="78"/>
                    </a:lnTo>
                    <a:lnTo>
                      <a:pt x="30" y="72"/>
                    </a:lnTo>
                    <a:lnTo>
                      <a:pt x="24" y="72"/>
                    </a:lnTo>
                    <a:lnTo>
                      <a:pt x="24" y="66"/>
                    </a:lnTo>
                    <a:lnTo>
                      <a:pt x="24" y="60"/>
                    </a:lnTo>
                    <a:lnTo>
                      <a:pt x="30" y="60"/>
                    </a:lnTo>
                    <a:lnTo>
                      <a:pt x="30" y="54"/>
                    </a:lnTo>
                    <a:lnTo>
                      <a:pt x="24" y="54"/>
                    </a:lnTo>
                    <a:lnTo>
                      <a:pt x="24" y="48"/>
                    </a:lnTo>
                    <a:lnTo>
                      <a:pt x="18" y="48"/>
                    </a:lnTo>
                    <a:lnTo>
                      <a:pt x="18" y="54"/>
                    </a:lnTo>
                    <a:lnTo>
                      <a:pt x="18" y="48"/>
                    </a:lnTo>
                    <a:lnTo>
                      <a:pt x="12" y="48"/>
                    </a:lnTo>
                    <a:lnTo>
                      <a:pt x="12" y="42"/>
                    </a:lnTo>
                    <a:lnTo>
                      <a:pt x="18" y="42"/>
                    </a:lnTo>
                    <a:lnTo>
                      <a:pt x="12" y="42"/>
                    </a:lnTo>
                    <a:lnTo>
                      <a:pt x="6" y="42"/>
                    </a:lnTo>
                    <a:lnTo>
                      <a:pt x="12" y="42"/>
                    </a:lnTo>
                    <a:lnTo>
                      <a:pt x="12" y="36"/>
                    </a:lnTo>
                    <a:lnTo>
                      <a:pt x="6" y="36"/>
                    </a:lnTo>
                    <a:lnTo>
                      <a:pt x="6" y="30"/>
                    </a:lnTo>
                    <a:lnTo>
                      <a:pt x="6" y="24"/>
                    </a:lnTo>
                    <a:lnTo>
                      <a:pt x="0" y="24"/>
                    </a:lnTo>
                    <a:close/>
                    <a:moveTo>
                      <a:pt x="390" y="372"/>
                    </a:moveTo>
                    <a:lnTo>
                      <a:pt x="402" y="372"/>
                    </a:lnTo>
                    <a:lnTo>
                      <a:pt x="402" y="378"/>
                    </a:lnTo>
                    <a:lnTo>
                      <a:pt x="390" y="378"/>
                    </a:lnTo>
                    <a:lnTo>
                      <a:pt x="390" y="372"/>
                    </a:lnTo>
                    <a:close/>
                    <a:moveTo>
                      <a:pt x="384" y="384"/>
                    </a:moveTo>
                    <a:lnTo>
                      <a:pt x="390" y="384"/>
                    </a:lnTo>
                    <a:lnTo>
                      <a:pt x="390" y="390"/>
                    </a:lnTo>
                    <a:lnTo>
                      <a:pt x="384" y="390"/>
                    </a:lnTo>
                    <a:lnTo>
                      <a:pt x="384" y="384"/>
                    </a:lnTo>
                    <a:close/>
                    <a:moveTo>
                      <a:pt x="318" y="480"/>
                    </a:moveTo>
                    <a:lnTo>
                      <a:pt x="318" y="486"/>
                    </a:lnTo>
                    <a:lnTo>
                      <a:pt x="319" y="486"/>
                    </a:lnTo>
                    <a:lnTo>
                      <a:pt x="318" y="480"/>
                    </a:lnTo>
                    <a:close/>
                    <a:moveTo>
                      <a:pt x="402" y="366"/>
                    </a:moveTo>
                    <a:lnTo>
                      <a:pt x="402" y="372"/>
                    </a:lnTo>
                    <a:lnTo>
                      <a:pt x="403" y="372"/>
                    </a:lnTo>
                    <a:lnTo>
                      <a:pt x="402" y="366"/>
                    </a:lnTo>
                    <a:close/>
                    <a:moveTo>
                      <a:pt x="300" y="516"/>
                    </a:moveTo>
                    <a:lnTo>
                      <a:pt x="306" y="516"/>
                    </a:lnTo>
                    <a:lnTo>
                      <a:pt x="300" y="516"/>
                    </a:lnTo>
                    <a:close/>
                    <a:moveTo>
                      <a:pt x="408" y="366"/>
                    </a:moveTo>
                    <a:lnTo>
                      <a:pt x="408" y="372"/>
                    </a:lnTo>
                    <a:lnTo>
                      <a:pt x="409" y="372"/>
                    </a:lnTo>
                    <a:lnTo>
                      <a:pt x="408" y="366"/>
                    </a:lnTo>
                    <a:close/>
                    <a:moveTo>
                      <a:pt x="420" y="354"/>
                    </a:moveTo>
                    <a:lnTo>
                      <a:pt x="420" y="360"/>
                    </a:lnTo>
                    <a:lnTo>
                      <a:pt x="421" y="360"/>
                    </a:lnTo>
                    <a:lnTo>
                      <a:pt x="420" y="354"/>
                    </a:lnTo>
                    <a:close/>
                    <a:moveTo>
                      <a:pt x="402" y="366"/>
                    </a:moveTo>
                    <a:lnTo>
                      <a:pt x="402" y="372"/>
                    </a:lnTo>
                    <a:lnTo>
                      <a:pt x="403" y="372"/>
                    </a:lnTo>
                    <a:lnTo>
                      <a:pt x="402" y="366"/>
                    </a:lnTo>
                    <a:close/>
                    <a:moveTo>
                      <a:pt x="294" y="516"/>
                    </a:moveTo>
                    <a:lnTo>
                      <a:pt x="300" y="516"/>
                    </a:lnTo>
                    <a:lnTo>
                      <a:pt x="294" y="51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4" name="Freeform 45"/>
              <p:cNvSpPr>
                <a:spLocks noEditPoints="1"/>
              </p:cNvSpPr>
              <p:nvPr>
                <p:custDataLst>
                  <p:tags r:id="rId41"/>
                </p:custDataLst>
              </p:nvPr>
            </p:nvSpPr>
            <p:spPr bwMode="gray">
              <a:xfrm>
                <a:off x="4044579" y="2199157"/>
                <a:ext cx="777152" cy="715673"/>
              </a:xfrm>
              <a:custGeom>
                <a:avLst/>
                <a:gdLst>
                  <a:gd name="T0" fmla="*/ 14501 w 618"/>
                  <a:gd name="T1" fmla="*/ 64371 h 606"/>
                  <a:gd name="T2" fmla="*/ 23201 w 618"/>
                  <a:gd name="T3" fmla="*/ 49742 h 606"/>
                  <a:gd name="T4" fmla="*/ 26101 w 618"/>
                  <a:gd name="T5" fmla="*/ 40964 h 606"/>
                  <a:gd name="T6" fmla="*/ 23201 w 618"/>
                  <a:gd name="T7" fmla="*/ 30235 h 606"/>
                  <a:gd name="T8" fmla="*/ 29968 w 618"/>
                  <a:gd name="T9" fmla="*/ 17556 h 606"/>
                  <a:gd name="T10" fmla="*/ 23201 w 618"/>
                  <a:gd name="T11" fmla="*/ 1951 h 606"/>
                  <a:gd name="T12" fmla="*/ 44469 w 618"/>
                  <a:gd name="T13" fmla="*/ 0 h 606"/>
                  <a:gd name="T14" fmla="*/ 67670 w 618"/>
                  <a:gd name="T15" fmla="*/ 0 h 606"/>
                  <a:gd name="T16" fmla="*/ 90870 w 618"/>
                  <a:gd name="T17" fmla="*/ 0 h 606"/>
                  <a:gd name="T18" fmla="*/ 106338 w 618"/>
                  <a:gd name="T19" fmla="*/ 6827 h 606"/>
                  <a:gd name="T20" fmla="*/ 120838 w 618"/>
                  <a:gd name="T21" fmla="*/ 17556 h 606"/>
                  <a:gd name="T22" fmla="*/ 140173 w 618"/>
                  <a:gd name="T23" fmla="*/ 28284 h 606"/>
                  <a:gd name="T24" fmla="*/ 157573 w 618"/>
                  <a:gd name="T25" fmla="*/ 37063 h 606"/>
                  <a:gd name="T26" fmla="*/ 165307 w 618"/>
                  <a:gd name="T27" fmla="*/ 49742 h 606"/>
                  <a:gd name="T28" fmla="*/ 180774 w 618"/>
                  <a:gd name="T29" fmla="*/ 64371 h 606"/>
                  <a:gd name="T30" fmla="*/ 193341 w 618"/>
                  <a:gd name="T31" fmla="*/ 76075 h 606"/>
                  <a:gd name="T32" fmla="*/ 193341 w 618"/>
                  <a:gd name="T33" fmla="*/ 81927 h 606"/>
                  <a:gd name="T34" fmla="*/ 191409 w 618"/>
                  <a:gd name="T35" fmla="*/ 90705 h 606"/>
                  <a:gd name="T36" fmla="*/ 188508 w 618"/>
                  <a:gd name="T37" fmla="*/ 103385 h 606"/>
                  <a:gd name="T38" fmla="*/ 188508 w 618"/>
                  <a:gd name="T39" fmla="*/ 110212 h 606"/>
                  <a:gd name="T40" fmla="*/ 198175 w 618"/>
                  <a:gd name="T41" fmla="*/ 117039 h 606"/>
                  <a:gd name="T42" fmla="*/ 198175 w 618"/>
                  <a:gd name="T43" fmla="*/ 127768 h 606"/>
                  <a:gd name="T44" fmla="*/ 195275 w 618"/>
                  <a:gd name="T45" fmla="*/ 137521 h 606"/>
                  <a:gd name="T46" fmla="*/ 198175 w 618"/>
                  <a:gd name="T47" fmla="*/ 147274 h 606"/>
                  <a:gd name="T48" fmla="*/ 199142 w 618"/>
                  <a:gd name="T49" fmla="*/ 158003 h 606"/>
                  <a:gd name="T50" fmla="*/ 202042 w 618"/>
                  <a:gd name="T51" fmla="*/ 163855 h 606"/>
                  <a:gd name="T52" fmla="*/ 205909 w 618"/>
                  <a:gd name="T53" fmla="*/ 174584 h 606"/>
                  <a:gd name="T54" fmla="*/ 209776 w 618"/>
                  <a:gd name="T55" fmla="*/ 185312 h 606"/>
                  <a:gd name="T56" fmla="*/ 218476 w 618"/>
                  <a:gd name="T57" fmla="*/ 190188 h 606"/>
                  <a:gd name="T58" fmla="*/ 203976 w 618"/>
                  <a:gd name="T59" fmla="*/ 200917 h 606"/>
                  <a:gd name="T60" fmla="*/ 184641 w 618"/>
                  <a:gd name="T61" fmla="*/ 207744 h 606"/>
                  <a:gd name="T62" fmla="*/ 170141 w 618"/>
                  <a:gd name="T63" fmla="*/ 207744 h 606"/>
                  <a:gd name="T64" fmla="*/ 159507 w 618"/>
                  <a:gd name="T65" fmla="*/ 215547 h 606"/>
                  <a:gd name="T66" fmla="*/ 140173 w 618"/>
                  <a:gd name="T67" fmla="*/ 215547 h 606"/>
                  <a:gd name="T68" fmla="*/ 125672 w 618"/>
                  <a:gd name="T69" fmla="*/ 213596 h 606"/>
                  <a:gd name="T70" fmla="*/ 108271 w 618"/>
                  <a:gd name="T71" fmla="*/ 207744 h 606"/>
                  <a:gd name="T72" fmla="*/ 104404 w 618"/>
                  <a:gd name="T73" fmla="*/ 197016 h 606"/>
                  <a:gd name="T74" fmla="*/ 101505 w 618"/>
                  <a:gd name="T75" fmla="*/ 183361 h 606"/>
                  <a:gd name="T76" fmla="*/ 90870 w 618"/>
                  <a:gd name="T77" fmla="*/ 174584 h 606"/>
                  <a:gd name="T78" fmla="*/ 78303 w 618"/>
                  <a:gd name="T79" fmla="*/ 172633 h 606"/>
                  <a:gd name="T80" fmla="*/ 67670 w 618"/>
                  <a:gd name="T81" fmla="*/ 167756 h 606"/>
                  <a:gd name="T82" fmla="*/ 53169 w 618"/>
                  <a:gd name="T83" fmla="*/ 161904 h 606"/>
                  <a:gd name="T84" fmla="*/ 36735 w 618"/>
                  <a:gd name="T85" fmla="*/ 153126 h 606"/>
                  <a:gd name="T86" fmla="*/ 26101 w 618"/>
                  <a:gd name="T87" fmla="*/ 136545 h 606"/>
                  <a:gd name="T88" fmla="*/ 14501 w 618"/>
                  <a:gd name="T89" fmla="*/ 118015 h 606"/>
                  <a:gd name="T90" fmla="*/ 3867 w 618"/>
                  <a:gd name="T91" fmla="*/ 103385 h 606"/>
                  <a:gd name="T92" fmla="*/ 1933 w 618"/>
                  <a:gd name="T93" fmla="*/ 86804 h 606"/>
                  <a:gd name="T94" fmla="*/ 195275 w 618"/>
                  <a:gd name="T95" fmla="*/ 101434 h 606"/>
                  <a:gd name="T96" fmla="*/ 199142 w 618"/>
                  <a:gd name="T97" fmla="*/ 103385 h 606"/>
                  <a:gd name="T98" fmla="*/ 202042 w 618"/>
                  <a:gd name="T99" fmla="*/ 108261 h 606"/>
                  <a:gd name="T100" fmla="*/ 198175 w 618"/>
                  <a:gd name="T101" fmla="*/ 106311 h 606"/>
                  <a:gd name="T102" fmla="*/ 205909 w 618"/>
                  <a:gd name="T103" fmla="*/ 86804 h 606"/>
                  <a:gd name="T104" fmla="*/ 203976 w 618"/>
                  <a:gd name="T105" fmla="*/ 79976 h 606"/>
                  <a:gd name="T106" fmla="*/ 205909 w 618"/>
                  <a:gd name="T107" fmla="*/ 79976 h 606"/>
                  <a:gd name="T108" fmla="*/ 207843 w 618"/>
                  <a:gd name="T109" fmla="*/ 79976 h 606"/>
                  <a:gd name="T110" fmla="*/ 203976 w 618"/>
                  <a:gd name="T111" fmla="*/ 90705 h 606"/>
                  <a:gd name="T112" fmla="*/ 207843 w 618"/>
                  <a:gd name="T113" fmla="*/ 136545 h 606"/>
                  <a:gd name="T114" fmla="*/ 202042 w 618"/>
                  <a:gd name="T115" fmla="*/ 140447 h 606"/>
                  <a:gd name="T116" fmla="*/ 203976 w 618"/>
                  <a:gd name="T117" fmla="*/ 87779 h 606"/>
                  <a:gd name="T118" fmla="*/ 216543 w 618"/>
                  <a:gd name="T119" fmla="*/ 185312 h 606"/>
                  <a:gd name="T120" fmla="*/ 198175 w 618"/>
                  <a:gd name="T121" fmla="*/ 136545 h 606"/>
                  <a:gd name="T122" fmla="*/ 205909 w 618"/>
                  <a:gd name="T123" fmla="*/ 79976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8" h="606">
                    <a:moveTo>
                      <a:pt x="6" y="192"/>
                    </a:moveTo>
                    <a:lnTo>
                      <a:pt x="12" y="192"/>
                    </a:lnTo>
                    <a:lnTo>
                      <a:pt x="18" y="192"/>
                    </a:lnTo>
                    <a:lnTo>
                      <a:pt x="24" y="192"/>
                    </a:lnTo>
                    <a:lnTo>
                      <a:pt x="30" y="192"/>
                    </a:lnTo>
                    <a:lnTo>
                      <a:pt x="30" y="186"/>
                    </a:lnTo>
                    <a:lnTo>
                      <a:pt x="30" y="192"/>
                    </a:lnTo>
                    <a:lnTo>
                      <a:pt x="30" y="186"/>
                    </a:lnTo>
                    <a:lnTo>
                      <a:pt x="36" y="186"/>
                    </a:lnTo>
                    <a:lnTo>
                      <a:pt x="42" y="186"/>
                    </a:lnTo>
                    <a:lnTo>
                      <a:pt x="42" y="180"/>
                    </a:lnTo>
                    <a:lnTo>
                      <a:pt x="42" y="174"/>
                    </a:lnTo>
                    <a:lnTo>
                      <a:pt x="48" y="174"/>
                    </a:lnTo>
                    <a:lnTo>
                      <a:pt x="48" y="168"/>
                    </a:lnTo>
                    <a:lnTo>
                      <a:pt x="54" y="168"/>
                    </a:lnTo>
                    <a:lnTo>
                      <a:pt x="54" y="162"/>
                    </a:lnTo>
                    <a:lnTo>
                      <a:pt x="54" y="156"/>
                    </a:lnTo>
                    <a:lnTo>
                      <a:pt x="60" y="156"/>
                    </a:lnTo>
                    <a:lnTo>
                      <a:pt x="60" y="150"/>
                    </a:lnTo>
                    <a:lnTo>
                      <a:pt x="60" y="144"/>
                    </a:lnTo>
                    <a:lnTo>
                      <a:pt x="66" y="144"/>
                    </a:lnTo>
                    <a:lnTo>
                      <a:pt x="66" y="138"/>
                    </a:lnTo>
                    <a:lnTo>
                      <a:pt x="72" y="138"/>
                    </a:lnTo>
                    <a:lnTo>
                      <a:pt x="78" y="138"/>
                    </a:lnTo>
                    <a:lnTo>
                      <a:pt x="78" y="132"/>
                    </a:lnTo>
                    <a:lnTo>
                      <a:pt x="72" y="132"/>
                    </a:lnTo>
                    <a:lnTo>
                      <a:pt x="78" y="132"/>
                    </a:lnTo>
                    <a:lnTo>
                      <a:pt x="78" y="126"/>
                    </a:lnTo>
                    <a:lnTo>
                      <a:pt x="84" y="126"/>
                    </a:lnTo>
                    <a:lnTo>
                      <a:pt x="84" y="120"/>
                    </a:lnTo>
                    <a:lnTo>
                      <a:pt x="84" y="114"/>
                    </a:lnTo>
                    <a:lnTo>
                      <a:pt x="78" y="114"/>
                    </a:lnTo>
                    <a:lnTo>
                      <a:pt x="72" y="114"/>
                    </a:lnTo>
                    <a:lnTo>
                      <a:pt x="72" y="108"/>
                    </a:lnTo>
                    <a:lnTo>
                      <a:pt x="66" y="108"/>
                    </a:lnTo>
                    <a:lnTo>
                      <a:pt x="60" y="108"/>
                    </a:lnTo>
                    <a:lnTo>
                      <a:pt x="60" y="102"/>
                    </a:lnTo>
                    <a:lnTo>
                      <a:pt x="66" y="102"/>
                    </a:lnTo>
                    <a:lnTo>
                      <a:pt x="60" y="96"/>
                    </a:lnTo>
                    <a:lnTo>
                      <a:pt x="66" y="96"/>
                    </a:lnTo>
                    <a:lnTo>
                      <a:pt x="60" y="96"/>
                    </a:lnTo>
                    <a:lnTo>
                      <a:pt x="60" y="90"/>
                    </a:lnTo>
                    <a:lnTo>
                      <a:pt x="66" y="90"/>
                    </a:lnTo>
                    <a:lnTo>
                      <a:pt x="66" y="84"/>
                    </a:lnTo>
                    <a:lnTo>
                      <a:pt x="66" y="78"/>
                    </a:lnTo>
                    <a:lnTo>
                      <a:pt x="72" y="78"/>
                    </a:lnTo>
                    <a:lnTo>
                      <a:pt x="78" y="78"/>
                    </a:lnTo>
                    <a:lnTo>
                      <a:pt x="84" y="78"/>
                    </a:lnTo>
                    <a:lnTo>
                      <a:pt x="84" y="72"/>
                    </a:lnTo>
                    <a:lnTo>
                      <a:pt x="84" y="66"/>
                    </a:lnTo>
                    <a:lnTo>
                      <a:pt x="90" y="66"/>
                    </a:lnTo>
                    <a:lnTo>
                      <a:pt x="90" y="60"/>
                    </a:lnTo>
                    <a:lnTo>
                      <a:pt x="84" y="60"/>
                    </a:lnTo>
                    <a:lnTo>
                      <a:pt x="84" y="54"/>
                    </a:lnTo>
                    <a:lnTo>
                      <a:pt x="84" y="48"/>
                    </a:lnTo>
                    <a:lnTo>
                      <a:pt x="84" y="42"/>
                    </a:lnTo>
                    <a:lnTo>
                      <a:pt x="84" y="36"/>
                    </a:lnTo>
                    <a:lnTo>
                      <a:pt x="78" y="30"/>
                    </a:lnTo>
                    <a:lnTo>
                      <a:pt x="78" y="24"/>
                    </a:lnTo>
                    <a:lnTo>
                      <a:pt x="72" y="24"/>
                    </a:lnTo>
                    <a:lnTo>
                      <a:pt x="72" y="18"/>
                    </a:lnTo>
                    <a:lnTo>
                      <a:pt x="66" y="18"/>
                    </a:lnTo>
                    <a:lnTo>
                      <a:pt x="72" y="18"/>
                    </a:lnTo>
                    <a:lnTo>
                      <a:pt x="66" y="18"/>
                    </a:lnTo>
                    <a:lnTo>
                      <a:pt x="66" y="12"/>
                    </a:lnTo>
                    <a:lnTo>
                      <a:pt x="66" y="6"/>
                    </a:lnTo>
                    <a:lnTo>
                      <a:pt x="72" y="6"/>
                    </a:lnTo>
                    <a:lnTo>
                      <a:pt x="78" y="6"/>
                    </a:lnTo>
                    <a:lnTo>
                      <a:pt x="78" y="0"/>
                    </a:lnTo>
                    <a:lnTo>
                      <a:pt x="84" y="0"/>
                    </a:lnTo>
                    <a:lnTo>
                      <a:pt x="90" y="0"/>
                    </a:lnTo>
                    <a:lnTo>
                      <a:pt x="96" y="0"/>
                    </a:lnTo>
                    <a:lnTo>
                      <a:pt x="102" y="0"/>
                    </a:lnTo>
                    <a:lnTo>
                      <a:pt x="108" y="0"/>
                    </a:lnTo>
                    <a:lnTo>
                      <a:pt x="114" y="0"/>
                    </a:lnTo>
                    <a:lnTo>
                      <a:pt x="120" y="0"/>
                    </a:lnTo>
                    <a:lnTo>
                      <a:pt x="126" y="0"/>
                    </a:lnTo>
                    <a:lnTo>
                      <a:pt x="132" y="0"/>
                    </a:lnTo>
                    <a:lnTo>
                      <a:pt x="138" y="0"/>
                    </a:lnTo>
                    <a:lnTo>
                      <a:pt x="144" y="0"/>
                    </a:lnTo>
                    <a:lnTo>
                      <a:pt x="150" y="0"/>
                    </a:lnTo>
                    <a:lnTo>
                      <a:pt x="156" y="0"/>
                    </a:lnTo>
                    <a:lnTo>
                      <a:pt x="162" y="0"/>
                    </a:lnTo>
                    <a:lnTo>
                      <a:pt x="168" y="0"/>
                    </a:lnTo>
                    <a:lnTo>
                      <a:pt x="174" y="0"/>
                    </a:lnTo>
                    <a:lnTo>
                      <a:pt x="180" y="0"/>
                    </a:lnTo>
                    <a:lnTo>
                      <a:pt x="186" y="0"/>
                    </a:lnTo>
                    <a:lnTo>
                      <a:pt x="192" y="0"/>
                    </a:lnTo>
                    <a:lnTo>
                      <a:pt x="198" y="0"/>
                    </a:lnTo>
                    <a:lnTo>
                      <a:pt x="204" y="0"/>
                    </a:lnTo>
                    <a:lnTo>
                      <a:pt x="210" y="0"/>
                    </a:lnTo>
                    <a:lnTo>
                      <a:pt x="216" y="0"/>
                    </a:lnTo>
                    <a:lnTo>
                      <a:pt x="222" y="0"/>
                    </a:lnTo>
                    <a:lnTo>
                      <a:pt x="228" y="0"/>
                    </a:lnTo>
                    <a:lnTo>
                      <a:pt x="234" y="0"/>
                    </a:lnTo>
                    <a:lnTo>
                      <a:pt x="240" y="0"/>
                    </a:lnTo>
                    <a:lnTo>
                      <a:pt x="246" y="0"/>
                    </a:lnTo>
                    <a:lnTo>
                      <a:pt x="252" y="0"/>
                    </a:lnTo>
                    <a:lnTo>
                      <a:pt x="258" y="0"/>
                    </a:lnTo>
                    <a:lnTo>
                      <a:pt x="264" y="0"/>
                    </a:lnTo>
                    <a:lnTo>
                      <a:pt x="264" y="6"/>
                    </a:lnTo>
                    <a:lnTo>
                      <a:pt x="264" y="0"/>
                    </a:lnTo>
                    <a:lnTo>
                      <a:pt x="270" y="0"/>
                    </a:lnTo>
                    <a:lnTo>
                      <a:pt x="270" y="6"/>
                    </a:lnTo>
                    <a:lnTo>
                      <a:pt x="276" y="6"/>
                    </a:lnTo>
                    <a:lnTo>
                      <a:pt x="282" y="12"/>
                    </a:lnTo>
                    <a:lnTo>
                      <a:pt x="288" y="12"/>
                    </a:lnTo>
                    <a:lnTo>
                      <a:pt x="288" y="18"/>
                    </a:lnTo>
                    <a:lnTo>
                      <a:pt x="294" y="18"/>
                    </a:lnTo>
                    <a:lnTo>
                      <a:pt x="300" y="18"/>
                    </a:lnTo>
                    <a:lnTo>
                      <a:pt x="300" y="24"/>
                    </a:lnTo>
                    <a:lnTo>
                      <a:pt x="306" y="24"/>
                    </a:lnTo>
                    <a:lnTo>
                      <a:pt x="312" y="30"/>
                    </a:lnTo>
                    <a:lnTo>
                      <a:pt x="318" y="30"/>
                    </a:lnTo>
                    <a:lnTo>
                      <a:pt x="318" y="36"/>
                    </a:lnTo>
                    <a:lnTo>
                      <a:pt x="324" y="36"/>
                    </a:lnTo>
                    <a:lnTo>
                      <a:pt x="330" y="36"/>
                    </a:lnTo>
                    <a:lnTo>
                      <a:pt x="330" y="42"/>
                    </a:lnTo>
                    <a:lnTo>
                      <a:pt x="336" y="42"/>
                    </a:lnTo>
                    <a:lnTo>
                      <a:pt x="342" y="42"/>
                    </a:lnTo>
                    <a:lnTo>
                      <a:pt x="342" y="48"/>
                    </a:lnTo>
                    <a:lnTo>
                      <a:pt x="348" y="48"/>
                    </a:lnTo>
                    <a:lnTo>
                      <a:pt x="354" y="54"/>
                    </a:lnTo>
                    <a:lnTo>
                      <a:pt x="360" y="54"/>
                    </a:lnTo>
                    <a:lnTo>
                      <a:pt x="366" y="60"/>
                    </a:lnTo>
                    <a:lnTo>
                      <a:pt x="372" y="60"/>
                    </a:lnTo>
                    <a:lnTo>
                      <a:pt x="378" y="66"/>
                    </a:lnTo>
                    <a:lnTo>
                      <a:pt x="384" y="66"/>
                    </a:lnTo>
                    <a:lnTo>
                      <a:pt x="384" y="72"/>
                    </a:lnTo>
                    <a:lnTo>
                      <a:pt x="390" y="72"/>
                    </a:lnTo>
                    <a:lnTo>
                      <a:pt x="396" y="72"/>
                    </a:lnTo>
                    <a:lnTo>
                      <a:pt x="396" y="78"/>
                    </a:lnTo>
                    <a:lnTo>
                      <a:pt x="402" y="78"/>
                    </a:lnTo>
                    <a:lnTo>
                      <a:pt x="408" y="78"/>
                    </a:lnTo>
                    <a:lnTo>
                      <a:pt x="408" y="84"/>
                    </a:lnTo>
                    <a:lnTo>
                      <a:pt x="414" y="84"/>
                    </a:lnTo>
                    <a:lnTo>
                      <a:pt x="414" y="90"/>
                    </a:lnTo>
                    <a:lnTo>
                      <a:pt x="420" y="90"/>
                    </a:lnTo>
                    <a:lnTo>
                      <a:pt x="426" y="90"/>
                    </a:lnTo>
                    <a:lnTo>
                      <a:pt x="426" y="96"/>
                    </a:lnTo>
                    <a:lnTo>
                      <a:pt x="432" y="96"/>
                    </a:lnTo>
                    <a:lnTo>
                      <a:pt x="438" y="96"/>
                    </a:lnTo>
                    <a:lnTo>
                      <a:pt x="444" y="102"/>
                    </a:lnTo>
                    <a:lnTo>
                      <a:pt x="450" y="108"/>
                    </a:lnTo>
                    <a:lnTo>
                      <a:pt x="456" y="108"/>
                    </a:lnTo>
                    <a:lnTo>
                      <a:pt x="462" y="114"/>
                    </a:lnTo>
                    <a:lnTo>
                      <a:pt x="468" y="114"/>
                    </a:lnTo>
                    <a:lnTo>
                      <a:pt x="468" y="120"/>
                    </a:lnTo>
                    <a:lnTo>
                      <a:pt x="468" y="126"/>
                    </a:lnTo>
                    <a:lnTo>
                      <a:pt x="468" y="132"/>
                    </a:lnTo>
                    <a:lnTo>
                      <a:pt x="462" y="132"/>
                    </a:lnTo>
                    <a:lnTo>
                      <a:pt x="462" y="138"/>
                    </a:lnTo>
                    <a:lnTo>
                      <a:pt x="462" y="144"/>
                    </a:lnTo>
                    <a:lnTo>
                      <a:pt x="468" y="138"/>
                    </a:lnTo>
                    <a:lnTo>
                      <a:pt x="468" y="144"/>
                    </a:lnTo>
                    <a:lnTo>
                      <a:pt x="474" y="144"/>
                    </a:lnTo>
                    <a:lnTo>
                      <a:pt x="474" y="150"/>
                    </a:lnTo>
                    <a:lnTo>
                      <a:pt x="480" y="156"/>
                    </a:lnTo>
                    <a:lnTo>
                      <a:pt x="486" y="156"/>
                    </a:lnTo>
                    <a:lnTo>
                      <a:pt x="492" y="162"/>
                    </a:lnTo>
                    <a:lnTo>
                      <a:pt x="498" y="168"/>
                    </a:lnTo>
                    <a:lnTo>
                      <a:pt x="504" y="168"/>
                    </a:lnTo>
                    <a:lnTo>
                      <a:pt x="504" y="174"/>
                    </a:lnTo>
                    <a:lnTo>
                      <a:pt x="510" y="174"/>
                    </a:lnTo>
                    <a:lnTo>
                      <a:pt x="510" y="180"/>
                    </a:lnTo>
                    <a:lnTo>
                      <a:pt x="516" y="180"/>
                    </a:lnTo>
                    <a:lnTo>
                      <a:pt x="522" y="186"/>
                    </a:lnTo>
                    <a:lnTo>
                      <a:pt x="528" y="186"/>
                    </a:lnTo>
                    <a:lnTo>
                      <a:pt x="528" y="192"/>
                    </a:lnTo>
                    <a:lnTo>
                      <a:pt x="534" y="192"/>
                    </a:lnTo>
                    <a:lnTo>
                      <a:pt x="534" y="198"/>
                    </a:lnTo>
                    <a:lnTo>
                      <a:pt x="540" y="198"/>
                    </a:lnTo>
                    <a:lnTo>
                      <a:pt x="546" y="204"/>
                    </a:lnTo>
                    <a:lnTo>
                      <a:pt x="552" y="204"/>
                    </a:lnTo>
                    <a:lnTo>
                      <a:pt x="552" y="210"/>
                    </a:lnTo>
                    <a:lnTo>
                      <a:pt x="546" y="210"/>
                    </a:lnTo>
                    <a:lnTo>
                      <a:pt x="546" y="216"/>
                    </a:lnTo>
                    <a:lnTo>
                      <a:pt x="546" y="210"/>
                    </a:lnTo>
                    <a:lnTo>
                      <a:pt x="552" y="210"/>
                    </a:lnTo>
                    <a:lnTo>
                      <a:pt x="552" y="216"/>
                    </a:lnTo>
                    <a:lnTo>
                      <a:pt x="552" y="222"/>
                    </a:lnTo>
                    <a:lnTo>
                      <a:pt x="546" y="222"/>
                    </a:lnTo>
                    <a:lnTo>
                      <a:pt x="546" y="216"/>
                    </a:lnTo>
                    <a:lnTo>
                      <a:pt x="552" y="216"/>
                    </a:lnTo>
                    <a:lnTo>
                      <a:pt x="546" y="216"/>
                    </a:lnTo>
                    <a:lnTo>
                      <a:pt x="546" y="222"/>
                    </a:lnTo>
                    <a:lnTo>
                      <a:pt x="546" y="228"/>
                    </a:lnTo>
                    <a:lnTo>
                      <a:pt x="546" y="234"/>
                    </a:lnTo>
                    <a:lnTo>
                      <a:pt x="540" y="234"/>
                    </a:lnTo>
                    <a:lnTo>
                      <a:pt x="540" y="240"/>
                    </a:lnTo>
                    <a:lnTo>
                      <a:pt x="540" y="234"/>
                    </a:lnTo>
                    <a:lnTo>
                      <a:pt x="546" y="234"/>
                    </a:lnTo>
                    <a:lnTo>
                      <a:pt x="546" y="240"/>
                    </a:lnTo>
                    <a:lnTo>
                      <a:pt x="540" y="240"/>
                    </a:lnTo>
                    <a:lnTo>
                      <a:pt x="540" y="246"/>
                    </a:lnTo>
                    <a:lnTo>
                      <a:pt x="534" y="246"/>
                    </a:lnTo>
                    <a:lnTo>
                      <a:pt x="540" y="246"/>
                    </a:lnTo>
                    <a:lnTo>
                      <a:pt x="540" y="252"/>
                    </a:lnTo>
                    <a:lnTo>
                      <a:pt x="540" y="258"/>
                    </a:lnTo>
                    <a:lnTo>
                      <a:pt x="534" y="258"/>
                    </a:lnTo>
                    <a:lnTo>
                      <a:pt x="534" y="264"/>
                    </a:lnTo>
                    <a:lnTo>
                      <a:pt x="534" y="270"/>
                    </a:lnTo>
                    <a:lnTo>
                      <a:pt x="528" y="270"/>
                    </a:lnTo>
                    <a:lnTo>
                      <a:pt x="528" y="276"/>
                    </a:lnTo>
                    <a:lnTo>
                      <a:pt x="528" y="282"/>
                    </a:lnTo>
                    <a:lnTo>
                      <a:pt x="528" y="288"/>
                    </a:lnTo>
                    <a:lnTo>
                      <a:pt x="534" y="288"/>
                    </a:lnTo>
                    <a:lnTo>
                      <a:pt x="528" y="288"/>
                    </a:lnTo>
                    <a:lnTo>
                      <a:pt x="534" y="288"/>
                    </a:lnTo>
                    <a:lnTo>
                      <a:pt x="534" y="294"/>
                    </a:lnTo>
                    <a:lnTo>
                      <a:pt x="528" y="294"/>
                    </a:lnTo>
                    <a:lnTo>
                      <a:pt x="528" y="300"/>
                    </a:lnTo>
                    <a:lnTo>
                      <a:pt x="534" y="300"/>
                    </a:lnTo>
                    <a:lnTo>
                      <a:pt x="528" y="300"/>
                    </a:lnTo>
                    <a:lnTo>
                      <a:pt x="528" y="306"/>
                    </a:lnTo>
                    <a:lnTo>
                      <a:pt x="534" y="306"/>
                    </a:lnTo>
                    <a:lnTo>
                      <a:pt x="528" y="306"/>
                    </a:lnTo>
                    <a:lnTo>
                      <a:pt x="528" y="300"/>
                    </a:lnTo>
                    <a:lnTo>
                      <a:pt x="534" y="300"/>
                    </a:lnTo>
                    <a:lnTo>
                      <a:pt x="534" y="306"/>
                    </a:lnTo>
                    <a:lnTo>
                      <a:pt x="540" y="306"/>
                    </a:lnTo>
                    <a:lnTo>
                      <a:pt x="546" y="306"/>
                    </a:lnTo>
                    <a:lnTo>
                      <a:pt x="540" y="306"/>
                    </a:lnTo>
                    <a:lnTo>
                      <a:pt x="546" y="306"/>
                    </a:lnTo>
                    <a:lnTo>
                      <a:pt x="546" y="312"/>
                    </a:lnTo>
                    <a:lnTo>
                      <a:pt x="552" y="312"/>
                    </a:lnTo>
                    <a:lnTo>
                      <a:pt x="552" y="318"/>
                    </a:lnTo>
                    <a:lnTo>
                      <a:pt x="552" y="324"/>
                    </a:lnTo>
                    <a:lnTo>
                      <a:pt x="558" y="324"/>
                    </a:lnTo>
                    <a:lnTo>
                      <a:pt x="552" y="324"/>
                    </a:lnTo>
                    <a:lnTo>
                      <a:pt x="558" y="324"/>
                    </a:lnTo>
                    <a:lnTo>
                      <a:pt x="558" y="330"/>
                    </a:lnTo>
                    <a:lnTo>
                      <a:pt x="558" y="324"/>
                    </a:lnTo>
                    <a:lnTo>
                      <a:pt x="558" y="330"/>
                    </a:lnTo>
                    <a:lnTo>
                      <a:pt x="564" y="330"/>
                    </a:lnTo>
                    <a:lnTo>
                      <a:pt x="570" y="330"/>
                    </a:lnTo>
                    <a:lnTo>
                      <a:pt x="570" y="336"/>
                    </a:lnTo>
                    <a:lnTo>
                      <a:pt x="570" y="342"/>
                    </a:lnTo>
                    <a:lnTo>
                      <a:pt x="570" y="348"/>
                    </a:lnTo>
                    <a:lnTo>
                      <a:pt x="564" y="348"/>
                    </a:lnTo>
                    <a:lnTo>
                      <a:pt x="564" y="354"/>
                    </a:lnTo>
                    <a:lnTo>
                      <a:pt x="558" y="354"/>
                    </a:lnTo>
                    <a:lnTo>
                      <a:pt x="564" y="354"/>
                    </a:lnTo>
                    <a:lnTo>
                      <a:pt x="558" y="354"/>
                    </a:lnTo>
                    <a:lnTo>
                      <a:pt x="558" y="348"/>
                    </a:lnTo>
                    <a:lnTo>
                      <a:pt x="558" y="354"/>
                    </a:lnTo>
                    <a:lnTo>
                      <a:pt x="558" y="360"/>
                    </a:lnTo>
                    <a:lnTo>
                      <a:pt x="558" y="366"/>
                    </a:lnTo>
                    <a:lnTo>
                      <a:pt x="552" y="372"/>
                    </a:lnTo>
                    <a:lnTo>
                      <a:pt x="558" y="372"/>
                    </a:lnTo>
                    <a:lnTo>
                      <a:pt x="558" y="378"/>
                    </a:lnTo>
                    <a:lnTo>
                      <a:pt x="552" y="378"/>
                    </a:lnTo>
                    <a:lnTo>
                      <a:pt x="552" y="384"/>
                    </a:lnTo>
                    <a:lnTo>
                      <a:pt x="558" y="384"/>
                    </a:lnTo>
                    <a:lnTo>
                      <a:pt x="558" y="378"/>
                    </a:lnTo>
                    <a:lnTo>
                      <a:pt x="564" y="378"/>
                    </a:lnTo>
                    <a:lnTo>
                      <a:pt x="564" y="384"/>
                    </a:lnTo>
                    <a:lnTo>
                      <a:pt x="564" y="390"/>
                    </a:lnTo>
                    <a:lnTo>
                      <a:pt x="558" y="390"/>
                    </a:lnTo>
                    <a:lnTo>
                      <a:pt x="564" y="390"/>
                    </a:lnTo>
                    <a:lnTo>
                      <a:pt x="564" y="396"/>
                    </a:lnTo>
                    <a:lnTo>
                      <a:pt x="564" y="402"/>
                    </a:lnTo>
                    <a:lnTo>
                      <a:pt x="558" y="402"/>
                    </a:lnTo>
                    <a:lnTo>
                      <a:pt x="558" y="408"/>
                    </a:lnTo>
                    <a:lnTo>
                      <a:pt x="552" y="408"/>
                    </a:lnTo>
                    <a:lnTo>
                      <a:pt x="558" y="414"/>
                    </a:lnTo>
                    <a:lnTo>
                      <a:pt x="558" y="420"/>
                    </a:lnTo>
                    <a:lnTo>
                      <a:pt x="558" y="426"/>
                    </a:lnTo>
                    <a:lnTo>
                      <a:pt x="558" y="420"/>
                    </a:lnTo>
                    <a:lnTo>
                      <a:pt x="558" y="426"/>
                    </a:lnTo>
                    <a:lnTo>
                      <a:pt x="558" y="432"/>
                    </a:lnTo>
                    <a:lnTo>
                      <a:pt x="564" y="432"/>
                    </a:lnTo>
                    <a:lnTo>
                      <a:pt x="564" y="438"/>
                    </a:lnTo>
                    <a:lnTo>
                      <a:pt x="570" y="438"/>
                    </a:lnTo>
                    <a:lnTo>
                      <a:pt x="564" y="438"/>
                    </a:lnTo>
                    <a:lnTo>
                      <a:pt x="570" y="438"/>
                    </a:lnTo>
                    <a:lnTo>
                      <a:pt x="570" y="444"/>
                    </a:lnTo>
                    <a:lnTo>
                      <a:pt x="564" y="444"/>
                    </a:lnTo>
                    <a:lnTo>
                      <a:pt x="564" y="450"/>
                    </a:lnTo>
                    <a:lnTo>
                      <a:pt x="570" y="450"/>
                    </a:lnTo>
                    <a:lnTo>
                      <a:pt x="564" y="456"/>
                    </a:lnTo>
                    <a:lnTo>
                      <a:pt x="570" y="456"/>
                    </a:lnTo>
                    <a:lnTo>
                      <a:pt x="570" y="450"/>
                    </a:lnTo>
                    <a:lnTo>
                      <a:pt x="576" y="450"/>
                    </a:lnTo>
                    <a:lnTo>
                      <a:pt x="576" y="456"/>
                    </a:lnTo>
                    <a:lnTo>
                      <a:pt x="570" y="456"/>
                    </a:lnTo>
                    <a:lnTo>
                      <a:pt x="576" y="456"/>
                    </a:lnTo>
                    <a:lnTo>
                      <a:pt x="576" y="462"/>
                    </a:lnTo>
                    <a:lnTo>
                      <a:pt x="576" y="468"/>
                    </a:lnTo>
                    <a:lnTo>
                      <a:pt x="576" y="474"/>
                    </a:lnTo>
                    <a:lnTo>
                      <a:pt x="570" y="474"/>
                    </a:lnTo>
                    <a:lnTo>
                      <a:pt x="576" y="474"/>
                    </a:lnTo>
                    <a:lnTo>
                      <a:pt x="576" y="480"/>
                    </a:lnTo>
                    <a:lnTo>
                      <a:pt x="582" y="480"/>
                    </a:lnTo>
                    <a:lnTo>
                      <a:pt x="576" y="480"/>
                    </a:lnTo>
                    <a:lnTo>
                      <a:pt x="582" y="480"/>
                    </a:lnTo>
                    <a:lnTo>
                      <a:pt x="582" y="486"/>
                    </a:lnTo>
                    <a:lnTo>
                      <a:pt x="582" y="492"/>
                    </a:lnTo>
                    <a:lnTo>
                      <a:pt x="576" y="492"/>
                    </a:lnTo>
                    <a:lnTo>
                      <a:pt x="582" y="492"/>
                    </a:lnTo>
                    <a:lnTo>
                      <a:pt x="582" y="498"/>
                    </a:lnTo>
                    <a:lnTo>
                      <a:pt x="582" y="504"/>
                    </a:lnTo>
                    <a:lnTo>
                      <a:pt x="576" y="504"/>
                    </a:lnTo>
                    <a:lnTo>
                      <a:pt x="582" y="504"/>
                    </a:lnTo>
                    <a:lnTo>
                      <a:pt x="588" y="504"/>
                    </a:lnTo>
                    <a:lnTo>
                      <a:pt x="588" y="510"/>
                    </a:lnTo>
                    <a:lnTo>
                      <a:pt x="594" y="510"/>
                    </a:lnTo>
                    <a:lnTo>
                      <a:pt x="594" y="516"/>
                    </a:lnTo>
                    <a:lnTo>
                      <a:pt x="594" y="510"/>
                    </a:lnTo>
                    <a:lnTo>
                      <a:pt x="594" y="516"/>
                    </a:lnTo>
                    <a:lnTo>
                      <a:pt x="600" y="516"/>
                    </a:lnTo>
                    <a:lnTo>
                      <a:pt x="600" y="522"/>
                    </a:lnTo>
                    <a:lnTo>
                      <a:pt x="606" y="522"/>
                    </a:lnTo>
                    <a:lnTo>
                      <a:pt x="612" y="522"/>
                    </a:lnTo>
                    <a:lnTo>
                      <a:pt x="606" y="522"/>
                    </a:lnTo>
                    <a:lnTo>
                      <a:pt x="606" y="516"/>
                    </a:lnTo>
                    <a:lnTo>
                      <a:pt x="612" y="522"/>
                    </a:lnTo>
                    <a:lnTo>
                      <a:pt x="612" y="528"/>
                    </a:lnTo>
                    <a:lnTo>
                      <a:pt x="618" y="528"/>
                    </a:lnTo>
                    <a:lnTo>
                      <a:pt x="618" y="522"/>
                    </a:lnTo>
                    <a:lnTo>
                      <a:pt x="618" y="528"/>
                    </a:lnTo>
                    <a:lnTo>
                      <a:pt x="618" y="534"/>
                    </a:lnTo>
                    <a:lnTo>
                      <a:pt x="612" y="540"/>
                    </a:lnTo>
                    <a:lnTo>
                      <a:pt x="606" y="540"/>
                    </a:lnTo>
                    <a:lnTo>
                      <a:pt x="600" y="546"/>
                    </a:lnTo>
                    <a:lnTo>
                      <a:pt x="600" y="552"/>
                    </a:lnTo>
                    <a:lnTo>
                      <a:pt x="594" y="552"/>
                    </a:lnTo>
                    <a:lnTo>
                      <a:pt x="588" y="552"/>
                    </a:lnTo>
                    <a:lnTo>
                      <a:pt x="582" y="558"/>
                    </a:lnTo>
                    <a:lnTo>
                      <a:pt x="576" y="558"/>
                    </a:lnTo>
                    <a:lnTo>
                      <a:pt x="570" y="558"/>
                    </a:lnTo>
                    <a:lnTo>
                      <a:pt x="570" y="564"/>
                    </a:lnTo>
                    <a:lnTo>
                      <a:pt x="564" y="564"/>
                    </a:lnTo>
                    <a:lnTo>
                      <a:pt x="558" y="564"/>
                    </a:lnTo>
                    <a:lnTo>
                      <a:pt x="558" y="570"/>
                    </a:lnTo>
                    <a:lnTo>
                      <a:pt x="552" y="570"/>
                    </a:lnTo>
                    <a:lnTo>
                      <a:pt x="546" y="570"/>
                    </a:lnTo>
                    <a:lnTo>
                      <a:pt x="540" y="570"/>
                    </a:lnTo>
                    <a:lnTo>
                      <a:pt x="534" y="570"/>
                    </a:lnTo>
                    <a:lnTo>
                      <a:pt x="528" y="576"/>
                    </a:lnTo>
                    <a:lnTo>
                      <a:pt x="522" y="576"/>
                    </a:lnTo>
                    <a:lnTo>
                      <a:pt x="516" y="576"/>
                    </a:lnTo>
                    <a:lnTo>
                      <a:pt x="516" y="582"/>
                    </a:lnTo>
                    <a:lnTo>
                      <a:pt x="510" y="582"/>
                    </a:lnTo>
                    <a:lnTo>
                      <a:pt x="510" y="588"/>
                    </a:lnTo>
                    <a:lnTo>
                      <a:pt x="510" y="582"/>
                    </a:lnTo>
                    <a:lnTo>
                      <a:pt x="504" y="582"/>
                    </a:lnTo>
                    <a:lnTo>
                      <a:pt x="498" y="582"/>
                    </a:lnTo>
                    <a:lnTo>
                      <a:pt x="498" y="576"/>
                    </a:lnTo>
                    <a:lnTo>
                      <a:pt x="492" y="576"/>
                    </a:lnTo>
                    <a:lnTo>
                      <a:pt x="486" y="576"/>
                    </a:lnTo>
                    <a:lnTo>
                      <a:pt x="480" y="576"/>
                    </a:lnTo>
                    <a:lnTo>
                      <a:pt x="480" y="582"/>
                    </a:lnTo>
                    <a:lnTo>
                      <a:pt x="474" y="582"/>
                    </a:lnTo>
                    <a:lnTo>
                      <a:pt x="474" y="588"/>
                    </a:lnTo>
                    <a:lnTo>
                      <a:pt x="474" y="594"/>
                    </a:lnTo>
                    <a:lnTo>
                      <a:pt x="468" y="594"/>
                    </a:lnTo>
                    <a:lnTo>
                      <a:pt x="468" y="600"/>
                    </a:lnTo>
                    <a:lnTo>
                      <a:pt x="462" y="600"/>
                    </a:lnTo>
                    <a:lnTo>
                      <a:pt x="456" y="600"/>
                    </a:lnTo>
                    <a:lnTo>
                      <a:pt x="456" y="606"/>
                    </a:lnTo>
                    <a:lnTo>
                      <a:pt x="450" y="606"/>
                    </a:lnTo>
                    <a:lnTo>
                      <a:pt x="450" y="600"/>
                    </a:lnTo>
                    <a:lnTo>
                      <a:pt x="444" y="600"/>
                    </a:lnTo>
                    <a:lnTo>
                      <a:pt x="438" y="600"/>
                    </a:lnTo>
                    <a:lnTo>
                      <a:pt x="432" y="600"/>
                    </a:lnTo>
                    <a:lnTo>
                      <a:pt x="432" y="594"/>
                    </a:lnTo>
                    <a:lnTo>
                      <a:pt x="426" y="594"/>
                    </a:lnTo>
                    <a:lnTo>
                      <a:pt x="420" y="594"/>
                    </a:lnTo>
                    <a:lnTo>
                      <a:pt x="414" y="600"/>
                    </a:lnTo>
                    <a:lnTo>
                      <a:pt x="408" y="600"/>
                    </a:lnTo>
                    <a:lnTo>
                      <a:pt x="402" y="606"/>
                    </a:lnTo>
                    <a:lnTo>
                      <a:pt x="402" y="600"/>
                    </a:lnTo>
                    <a:lnTo>
                      <a:pt x="396" y="600"/>
                    </a:lnTo>
                    <a:lnTo>
                      <a:pt x="390" y="600"/>
                    </a:lnTo>
                    <a:lnTo>
                      <a:pt x="384" y="600"/>
                    </a:lnTo>
                    <a:lnTo>
                      <a:pt x="384" y="594"/>
                    </a:lnTo>
                    <a:lnTo>
                      <a:pt x="378" y="594"/>
                    </a:lnTo>
                    <a:lnTo>
                      <a:pt x="372" y="588"/>
                    </a:lnTo>
                    <a:lnTo>
                      <a:pt x="366" y="588"/>
                    </a:lnTo>
                    <a:lnTo>
                      <a:pt x="366" y="582"/>
                    </a:lnTo>
                    <a:lnTo>
                      <a:pt x="360" y="582"/>
                    </a:lnTo>
                    <a:lnTo>
                      <a:pt x="360" y="588"/>
                    </a:lnTo>
                    <a:lnTo>
                      <a:pt x="354" y="588"/>
                    </a:lnTo>
                    <a:lnTo>
                      <a:pt x="354" y="594"/>
                    </a:lnTo>
                    <a:lnTo>
                      <a:pt x="348" y="594"/>
                    </a:lnTo>
                    <a:lnTo>
                      <a:pt x="342" y="594"/>
                    </a:lnTo>
                    <a:lnTo>
                      <a:pt x="336" y="594"/>
                    </a:lnTo>
                    <a:lnTo>
                      <a:pt x="330" y="594"/>
                    </a:lnTo>
                    <a:lnTo>
                      <a:pt x="324" y="594"/>
                    </a:lnTo>
                    <a:lnTo>
                      <a:pt x="318" y="594"/>
                    </a:lnTo>
                    <a:lnTo>
                      <a:pt x="312" y="594"/>
                    </a:lnTo>
                    <a:lnTo>
                      <a:pt x="312" y="588"/>
                    </a:lnTo>
                    <a:lnTo>
                      <a:pt x="312" y="582"/>
                    </a:lnTo>
                    <a:lnTo>
                      <a:pt x="306" y="582"/>
                    </a:lnTo>
                    <a:lnTo>
                      <a:pt x="306" y="576"/>
                    </a:lnTo>
                    <a:lnTo>
                      <a:pt x="300" y="570"/>
                    </a:lnTo>
                    <a:lnTo>
                      <a:pt x="294" y="570"/>
                    </a:lnTo>
                    <a:lnTo>
                      <a:pt x="294" y="564"/>
                    </a:lnTo>
                    <a:lnTo>
                      <a:pt x="294" y="558"/>
                    </a:lnTo>
                    <a:lnTo>
                      <a:pt x="300" y="558"/>
                    </a:lnTo>
                    <a:lnTo>
                      <a:pt x="294" y="558"/>
                    </a:lnTo>
                    <a:lnTo>
                      <a:pt x="300" y="552"/>
                    </a:lnTo>
                    <a:lnTo>
                      <a:pt x="294" y="552"/>
                    </a:lnTo>
                    <a:lnTo>
                      <a:pt x="300" y="552"/>
                    </a:lnTo>
                    <a:lnTo>
                      <a:pt x="300" y="546"/>
                    </a:lnTo>
                    <a:lnTo>
                      <a:pt x="294" y="546"/>
                    </a:lnTo>
                    <a:lnTo>
                      <a:pt x="294" y="540"/>
                    </a:lnTo>
                    <a:lnTo>
                      <a:pt x="294" y="534"/>
                    </a:lnTo>
                    <a:lnTo>
                      <a:pt x="294" y="528"/>
                    </a:lnTo>
                    <a:lnTo>
                      <a:pt x="294" y="522"/>
                    </a:lnTo>
                    <a:lnTo>
                      <a:pt x="294" y="516"/>
                    </a:lnTo>
                    <a:lnTo>
                      <a:pt x="294" y="510"/>
                    </a:lnTo>
                    <a:lnTo>
                      <a:pt x="288" y="510"/>
                    </a:lnTo>
                    <a:lnTo>
                      <a:pt x="294" y="510"/>
                    </a:lnTo>
                    <a:lnTo>
                      <a:pt x="288" y="510"/>
                    </a:lnTo>
                    <a:lnTo>
                      <a:pt x="294" y="510"/>
                    </a:lnTo>
                    <a:lnTo>
                      <a:pt x="288" y="510"/>
                    </a:lnTo>
                    <a:lnTo>
                      <a:pt x="288" y="504"/>
                    </a:lnTo>
                    <a:lnTo>
                      <a:pt x="288" y="498"/>
                    </a:lnTo>
                    <a:lnTo>
                      <a:pt x="282" y="498"/>
                    </a:lnTo>
                    <a:lnTo>
                      <a:pt x="282" y="492"/>
                    </a:lnTo>
                    <a:lnTo>
                      <a:pt x="276" y="492"/>
                    </a:lnTo>
                    <a:lnTo>
                      <a:pt x="270" y="480"/>
                    </a:lnTo>
                    <a:lnTo>
                      <a:pt x="264" y="480"/>
                    </a:lnTo>
                    <a:lnTo>
                      <a:pt x="264" y="474"/>
                    </a:lnTo>
                    <a:lnTo>
                      <a:pt x="264" y="480"/>
                    </a:lnTo>
                    <a:lnTo>
                      <a:pt x="258" y="480"/>
                    </a:lnTo>
                    <a:lnTo>
                      <a:pt x="258" y="486"/>
                    </a:lnTo>
                    <a:lnTo>
                      <a:pt x="252" y="486"/>
                    </a:lnTo>
                    <a:lnTo>
                      <a:pt x="252" y="480"/>
                    </a:lnTo>
                    <a:lnTo>
                      <a:pt x="246" y="480"/>
                    </a:lnTo>
                    <a:lnTo>
                      <a:pt x="246" y="486"/>
                    </a:lnTo>
                    <a:lnTo>
                      <a:pt x="246" y="480"/>
                    </a:lnTo>
                    <a:lnTo>
                      <a:pt x="240" y="480"/>
                    </a:lnTo>
                    <a:lnTo>
                      <a:pt x="234" y="480"/>
                    </a:lnTo>
                    <a:lnTo>
                      <a:pt x="234" y="486"/>
                    </a:lnTo>
                    <a:lnTo>
                      <a:pt x="228" y="486"/>
                    </a:lnTo>
                    <a:lnTo>
                      <a:pt x="228" y="480"/>
                    </a:lnTo>
                    <a:lnTo>
                      <a:pt x="222" y="480"/>
                    </a:lnTo>
                    <a:lnTo>
                      <a:pt x="222" y="474"/>
                    </a:lnTo>
                    <a:lnTo>
                      <a:pt x="216" y="474"/>
                    </a:lnTo>
                    <a:lnTo>
                      <a:pt x="216" y="480"/>
                    </a:lnTo>
                    <a:lnTo>
                      <a:pt x="216" y="474"/>
                    </a:lnTo>
                    <a:lnTo>
                      <a:pt x="210" y="474"/>
                    </a:lnTo>
                    <a:lnTo>
                      <a:pt x="204" y="474"/>
                    </a:lnTo>
                    <a:lnTo>
                      <a:pt x="204" y="468"/>
                    </a:lnTo>
                    <a:lnTo>
                      <a:pt x="204" y="474"/>
                    </a:lnTo>
                    <a:lnTo>
                      <a:pt x="204" y="468"/>
                    </a:lnTo>
                    <a:lnTo>
                      <a:pt x="198" y="468"/>
                    </a:lnTo>
                    <a:lnTo>
                      <a:pt x="192" y="468"/>
                    </a:lnTo>
                    <a:lnTo>
                      <a:pt x="192" y="462"/>
                    </a:lnTo>
                    <a:lnTo>
                      <a:pt x="186" y="462"/>
                    </a:lnTo>
                    <a:lnTo>
                      <a:pt x="180" y="462"/>
                    </a:lnTo>
                    <a:lnTo>
                      <a:pt x="174" y="456"/>
                    </a:lnTo>
                    <a:lnTo>
                      <a:pt x="180" y="456"/>
                    </a:lnTo>
                    <a:lnTo>
                      <a:pt x="174" y="456"/>
                    </a:lnTo>
                    <a:lnTo>
                      <a:pt x="168" y="456"/>
                    </a:lnTo>
                    <a:lnTo>
                      <a:pt x="162" y="456"/>
                    </a:lnTo>
                    <a:lnTo>
                      <a:pt x="162" y="450"/>
                    </a:lnTo>
                    <a:lnTo>
                      <a:pt x="156" y="450"/>
                    </a:lnTo>
                    <a:lnTo>
                      <a:pt x="150" y="450"/>
                    </a:lnTo>
                    <a:lnTo>
                      <a:pt x="144" y="450"/>
                    </a:lnTo>
                    <a:lnTo>
                      <a:pt x="144" y="444"/>
                    </a:lnTo>
                    <a:lnTo>
                      <a:pt x="138" y="444"/>
                    </a:lnTo>
                    <a:lnTo>
                      <a:pt x="132" y="444"/>
                    </a:lnTo>
                    <a:lnTo>
                      <a:pt x="126" y="438"/>
                    </a:lnTo>
                    <a:lnTo>
                      <a:pt x="126" y="432"/>
                    </a:lnTo>
                    <a:lnTo>
                      <a:pt x="120" y="432"/>
                    </a:lnTo>
                    <a:lnTo>
                      <a:pt x="120" y="426"/>
                    </a:lnTo>
                    <a:lnTo>
                      <a:pt x="114" y="426"/>
                    </a:lnTo>
                    <a:lnTo>
                      <a:pt x="108" y="426"/>
                    </a:lnTo>
                    <a:lnTo>
                      <a:pt x="102" y="426"/>
                    </a:lnTo>
                    <a:lnTo>
                      <a:pt x="96" y="426"/>
                    </a:lnTo>
                    <a:lnTo>
                      <a:pt x="90" y="420"/>
                    </a:lnTo>
                    <a:lnTo>
                      <a:pt x="90" y="414"/>
                    </a:lnTo>
                    <a:lnTo>
                      <a:pt x="84" y="408"/>
                    </a:lnTo>
                    <a:lnTo>
                      <a:pt x="84" y="402"/>
                    </a:lnTo>
                    <a:lnTo>
                      <a:pt x="78" y="402"/>
                    </a:lnTo>
                    <a:lnTo>
                      <a:pt x="78" y="396"/>
                    </a:lnTo>
                    <a:lnTo>
                      <a:pt x="78" y="390"/>
                    </a:lnTo>
                    <a:lnTo>
                      <a:pt x="72" y="390"/>
                    </a:lnTo>
                    <a:lnTo>
                      <a:pt x="72" y="384"/>
                    </a:lnTo>
                    <a:lnTo>
                      <a:pt x="72" y="378"/>
                    </a:lnTo>
                    <a:lnTo>
                      <a:pt x="66" y="372"/>
                    </a:lnTo>
                    <a:lnTo>
                      <a:pt x="66" y="366"/>
                    </a:lnTo>
                    <a:lnTo>
                      <a:pt x="66" y="360"/>
                    </a:lnTo>
                    <a:lnTo>
                      <a:pt x="60" y="360"/>
                    </a:lnTo>
                    <a:lnTo>
                      <a:pt x="60" y="354"/>
                    </a:lnTo>
                    <a:lnTo>
                      <a:pt x="60" y="348"/>
                    </a:lnTo>
                    <a:lnTo>
                      <a:pt x="54" y="342"/>
                    </a:lnTo>
                    <a:lnTo>
                      <a:pt x="54" y="336"/>
                    </a:lnTo>
                    <a:lnTo>
                      <a:pt x="48" y="336"/>
                    </a:lnTo>
                    <a:lnTo>
                      <a:pt x="48" y="330"/>
                    </a:lnTo>
                    <a:lnTo>
                      <a:pt x="42" y="330"/>
                    </a:lnTo>
                    <a:lnTo>
                      <a:pt x="42" y="324"/>
                    </a:lnTo>
                    <a:lnTo>
                      <a:pt x="36" y="324"/>
                    </a:lnTo>
                    <a:lnTo>
                      <a:pt x="36" y="318"/>
                    </a:lnTo>
                    <a:lnTo>
                      <a:pt x="30" y="318"/>
                    </a:lnTo>
                    <a:lnTo>
                      <a:pt x="24" y="312"/>
                    </a:lnTo>
                    <a:lnTo>
                      <a:pt x="24" y="306"/>
                    </a:lnTo>
                    <a:lnTo>
                      <a:pt x="18" y="306"/>
                    </a:lnTo>
                    <a:lnTo>
                      <a:pt x="18" y="300"/>
                    </a:lnTo>
                    <a:lnTo>
                      <a:pt x="18" y="294"/>
                    </a:lnTo>
                    <a:lnTo>
                      <a:pt x="18" y="288"/>
                    </a:lnTo>
                    <a:lnTo>
                      <a:pt x="12" y="288"/>
                    </a:lnTo>
                    <a:lnTo>
                      <a:pt x="12" y="282"/>
                    </a:lnTo>
                    <a:lnTo>
                      <a:pt x="12" y="276"/>
                    </a:lnTo>
                    <a:lnTo>
                      <a:pt x="18" y="276"/>
                    </a:lnTo>
                    <a:lnTo>
                      <a:pt x="18" y="270"/>
                    </a:lnTo>
                    <a:lnTo>
                      <a:pt x="18" y="264"/>
                    </a:lnTo>
                    <a:lnTo>
                      <a:pt x="18" y="258"/>
                    </a:lnTo>
                    <a:lnTo>
                      <a:pt x="12" y="258"/>
                    </a:lnTo>
                    <a:lnTo>
                      <a:pt x="12" y="252"/>
                    </a:lnTo>
                    <a:lnTo>
                      <a:pt x="12" y="246"/>
                    </a:lnTo>
                    <a:lnTo>
                      <a:pt x="12" y="240"/>
                    </a:lnTo>
                    <a:lnTo>
                      <a:pt x="6" y="240"/>
                    </a:lnTo>
                    <a:lnTo>
                      <a:pt x="6" y="234"/>
                    </a:lnTo>
                    <a:lnTo>
                      <a:pt x="6" y="228"/>
                    </a:lnTo>
                    <a:lnTo>
                      <a:pt x="6" y="222"/>
                    </a:lnTo>
                    <a:lnTo>
                      <a:pt x="0" y="222"/>
                    </a:lnTo>
                    <a:lnTo>
                      <a:pt x="0" y="216"/>
                    </a:lnTo>
                    <a:lnTo>
                      <a:pt x="0" y="210"/>
                    </a:lnTo>
                    <a:lnTo>
                      <a:pt x="0" y="204"/>
                    </a:lnTo>
                    <a:lnTo>
                      <a:pt x="6" y="198"/>
                    </a:lnTo>
                    <a:lnTo>
                      <a:pt x="6" y="192"/>
                    </a:lnTo>
                    <a:close/>
                    <a:moveTo>
                      <a:pt x="552" y="288"/>
                    </a:moveTo>
                    <a:lnTo>
                      <a:pt x="552" y="282"/>
                    </a:lnTo>
                    <a:lnTo>
                      <a:pt x="552" y="276"/>
                    </a:lnTo>
                    <a:lnTo>
                      <a:pt x="552" y="270"/>
                    </a:lnTo>
                    <a:lnTo>
                      <a:pt x="558" y="270"/>
                    </a:lnTo>
                    <a:lnTo>
                      <a:pt x="558" y="264"/>
                    </a:lnTo>
                    <a:lnTo>
                      <a:pt x="558" y="270"/>
                    </a:lnTo>
                    <a:lnTo>
                      <a:pt x="558" y="276"/>
                    </a:lnTo>
                    <a:lnTo>
                      <a:pt x="558" y="282"/>
                    </a:lnTo>
                    <a:lnTo>
                      <a:pt x="564" y="282"/>
                    </a:lnTo>
                    <a:lnTo>
                      <a:pt x="564" y="288"/>
                    </a:lnTo>
                    <a:lnTo>
                      <a:pt x="564" y="294"/>
                    </a:lnTo>
                    <a:lnTo>
                      <a:pt x="564" y="288"/>
                    </a:lnTo>
                    <a:lnTo>
                      <a:pt x="564" y="294"/>
                    </a:lnTo>
                    <a:lnTo>
                      <a:pt x="564" y="288"/>
                    </a:lnTo>
                    <a:lnTo>
                      <a:pt x="564" y="294"/>
                    </a:lnTo>
                    <a:lnTo>
                      <a:pt x="564" y="288"/>
                    </a:lnTo>
                    <a:lnTo>
                      <a:pt x="570" y="288"/>
                    </a:lnTo>
                    <a:lnTo>
                      <a:pt x="570" y="294"/>
                    </a:lnTo>
                    <a:lnTo>
                      <a:pt x="570" y="288"/>
                    </a:lnTo>
                    <a:lnTo>
                      <a:pt x="564" y="288"/>
                    </a:lnTo>
                    <a:lnTo>
                      <a:pt x="570" y="288"/>
                    </a:lnTo>
                    <a:lnTo>
                      <a:pt x="570" y="294"/>
                    </a:lnTo>
                    <a:lnTo>
                      <a:pt x="570" y="300"/>
                    </a:lnTo>
                    <a:lnTo>
                      <a:pt x="570" y="306"/>
                    </a:lnTo>
                    <a:lnTo>
                      <a:pt x="564" y="306"/>
                    </a:lnTo>
                    <a:lnTo>
                      <a:pt x="564" y="300"/>
                    </a:lnTo>
                    <a:lnTo>
                      <a:pt x="564" y="294"/>
                    </a:lnTo>
                    <a:lnTo>
                      <a:pt x="564" y="300"/>
                    </a:lnTo>
                    <a:lnTo>
                      <a:pt x="558" y="300"/>
                    </a:lnTo>
                    <a:lnTo>
                      <a:pt x="564" y="300"/>
                    </a:lnTo>
                    <a:lnTo>
                      <a:pt x="558" y="300"/>
                    </a:lnTo>
                    <a:lnTo>
                      <a:pt x="558" y="294"/>
                    </a:lnTo>
                    <a:lnTo>
                      <a:pt x="558" y="300"/>
                    </a:lnTo>
                    <a:lnTo>
                      <a:pt x="558" y="294"/>
                    </a:lnTo>
                    <a:lnTo>
                      <a:pt x="558" y="300"/>
                    </a:lnTo>
                    <a:lnTo>
                      <a:pt x="552" y="300"/>
                    </a:lnTo>
                    <a:lnTo>
                      <a:pt x="552" y="294"/>
                    </a:lnTo>
                    <a:lnTo>
                      <a:pt x="552" y="288"/>
                    </a:lnTo>
                    <a:close/>
                    <a:moveTo>
                      <a:pt x="576" y="246"/>
                    </a:moveTo>
                    <a:lnTo>
                      <a:pt x="576" y="240"/>
                    </a:lnTo>
                    <a:lnTo>
                      <a:pt x="576" y="246"/>
                    </a:lnTo>
                    <a:lnTo>
                      <a:pt x="576" y="240"/>
                    </a:lnTo>
                    <a:lnTo>
                      <a:pt x="582" y="240"/>
                    </a:lnTo>
                    <a:lnTo>
                      <a:pt x="576" y="240"/>
                    </a:lnTo>
                    <a:lnTo>
                      <a:pt x="582" y="240"/>
                    </a:lnTo>
                    <a:lnTo>
                      <a:pt x="582" y="234"/>
                    </a:lnTo>
                    <a:lnTo>
                      <a:pt x="582" y="240"/>
                    </a:lnTo>
                    <a:lnTo>
                      <a:pt x="576" y="234"/>
                    </a:lnTo>
                    <a:lnTo>
                      <a:pt x="582" y="234"/>
                    </a:lnTo>
                    <a:lnTo>
                      <a:pt x="576" y="234"/>
                    </a:lnTo>
                    <a:lnTo>
                      <a:pt x="582" y="234"/>
                    </a:lnTo>
                    <a:lnTo>
                      <a:pt x="576" y="234"/>
                    </a:lnTo>
                    <a:lnTo>
                      <a:pt x="576" y="228"/>
                    </a:lnTo>
                    <a:lnTo>
                      <a:pt x="582" y="228"/>
                    </a:lnTo>
                    <a:lnTo>
                      <a:pt x="576" y="228"/>
                    </a:lnTo>
                    <a:lnTo>
                      <a:pt x="576" y="222"/>
                    </a:lnTo>
                    <a:lnTo>
                      <a:pt x="576" y="228"/>
                    </a:lnTo>
                    <a:lnTo>
                      <a:pt x="576" y="222"/>
                    </a:lnTo>
                    <a:lnTo>
                      <a:pt x="576" y="228"/>
                    </a:lnTo>
                    <a:lnTo>
                      <a:pt x="576" y="222"/>
                    </a:lnTo>
                    <a:lnTo>
                      <a:pt x="582" y="222"/>
                    </a:lnTo>
                    <a:lnTo>
                      <a:pt x="576" y="222"/>
                    </a:lnTo>
                    <a:lnTo>
                      <a:pt x="576" y="216"/>
                    </a:lnTo>
                    <a:lnTo>
                      <a:pt x="576" y="222"/>
                    </a:lnTo>
                    <a:lnTo>
                      <a:pt x="582" y="222"/>
                    </a:lnTo>
                    <a:lnTo>
                      <a:pt x="576" y="222"/>
                    </a:lnTo>
                    <a:lnTo>
                      <a:pt x="582" y="222"/>
                    </a:lnTo>
                    <a:lnTo>
                      <a:pt x="582" y="216"/>
                    </a:lnTo>
                    <a:lnTo>
                      <a:pt x="582" y="222"/>
                    </a:lnTo>
                    <a:lnTo>
                      <a:pt x="588" y="222"/>
                    </a:lnTo>
                    <a:lnTo>
                      <a:pt x="582" y="222"/>
                    </a:lnTo>
                    <a:lnTo>
                      <a:pt x="588" y="222"/>
                    </a:lnTo>
                    <a:lnTo>
                      <a:pt x="588" y="216"/>
                    </a:lnTo>
                    <a:lnTo>
                      <a:pt x="588" y="222"/>
                    </a:lnTo>
                    <a:lnTo>
                      <a:pt x="588" y="228"/>
                    </a:lnTo>
                    <a:lnTo>
                      <a:pt x="588" y="222"/>
                    </a:lnTo>
                    <a:lnTo>
                      <a:pt x="588" y="228"/>
                    </a:lnTo>
                    <a:lnTo>
                      <a:pt x="588" y="222"/>
                    </a:lnTo>
                    <a:lnTo>
                      <a:pt x="588" y="228"/>
                    </a:lnTo>
                    <a:lnTo>
                      <a:pt x="588" y="234"/>
                    </a:lnTo>
                    <a:lnTo>
                      <a:pt x="588" y="228"/>
                    </a:lnTo>
                    <a:lnTo>
                      <a:pt x="588" y="234"/>
                    </a:lnTo>
                    <a:lnTo>
                      <a:pt x="588" y="240"/>
                    </a:lnTo>
                    <a:lnTo>
                      <a:pt x="582" y="240"/>
                    </a:lnTo>
                    <a:lnTo>
                      <a:pt x="588" y="240"/>
                    </a:lnTo>
                    <a:lnTo>
                      <a:pt x="582" y="240"/>
                    </a:lnTo>
                    <a:lnTo>
                      <a:pt x="582" y="246"/>
                    </a:lnTo>
                    <a:lnTo>
                      <a:pt x="582" y="252"/>
                    </a:lnTo>
                    <a:lnTo>
                      <a:pt x="576" y="252"/>
                    </a:lnTo>
                    <a:lnTo>
                      <a:pt x="576" y="246"/>
                    </a:lnTo>
                    <a:close/>
                    <a:moveTo>
                      <a:pt x="570" y="390"/>
                    </a:moveTo>
                    <a:lnTo>
                      <a:pt x="576" y="390"/>
                    </a:lnTo>
                    <a:lnTo>
                      <a:pt x="576" y="384"/>
                    </a:lnTo>
                    <a:lnTo>
                      <a:pt x="582" y="384"/>
                    </a:lnTo>
                    <a:lnTo>
                      <a:pt x="576" y="384"/>
                    </a:lnTo>
                    <a:lnTo>
                      <a:pt x="582" y="384"/>
                    </a:lnTo>
                    <a:lnTo>
                      <a:pt x="582" y="378"/>
                    </a:lnTo>
                    <a:lnTo>
                      <a:pt x="588" y="378"/>
                    </a:lnTo>
                    <a:lnTo>
                      <a:pt x="582" y="378"/>
                    </a:lnTo>
                    <a:lnTo>
                      <a:pt x="588" y="378"/>
                    </a:lnTo>
                    <a:lnTo>
                      <a:pt x="588" y="372"/>
                    </a:lnTo>
                    <a:lnTo>
                      <a:pt x="588" y="378"/>
                    </a:lnTo>
                    <a:lnTo>
                      <a:pt x="588" y="384"/>
                    </a:lnTo>
                    <a:lnTo>
                      <a:pt x="588" y="390"/>
                    </a:lnTo>
                    <a:lnTo>
                      <a:pt x="582" y="390"/>
                    </a:lnTo>
                    <a:lnTo>
                      <a:pt x="582" y="384"/>
                    </a:lnTo>
                    <a:lnTo>
                      <a:pt x="582" y="390"/>
                    </a:lnTo>
                    <a:lnTo>
                      <a:pt x="582" y="384"/>
                    </a:lnTo>
                    <a:lnTo>
                      <a:pt x="582" y="390"/>
                    </a:lnTo>
                    <a:lnTo>
                      <a:pt x="576" y="390"/>
                    </a:lnTo>
                    <a:lnTo>
                      <a:pt x="570" y="390"/>
                    </a:lnTo>
                    <a:close/>
                    <a:moveTo>
                      <a:pt x="582" y="390"/>
                    </a:moveTo>
                    <a:lnTo>
                      <a:pt x="582" y="396"/>
                    </a:lnTo>
                    <a:lnTo>
                      <a:pt x="583" y="396"/>
                    </a:lnTo>
                    <a:lnTo>
                      <a:pt x="582" y="390"/>
                    </a:lnTo>
                    <a:close/>
                    <a:moveTo>
                      <a:pt x="564" y="444"/>
                    </a:moveTo>
                    <a:lnTo>
                      <a:pt x="570" y="444"/>
                    </a:lnTo>
                    <a:lnTo>
                      <a:pt x="570" y="450"/>
                    </a:lnTo>
                    <a:lnTo>
                      <a:pt x="564" y="450"/>
                    </a:lnTo>
                    <a:lnTo>
                      <a:pt x="564" y="444"/>
                    </a:lnTo>
                    <a:close/>
                    <a:moveTo>
                      <a:pt x="570" y="246"/>
                    </a:moveTo>
                    <a:lnTo>
                      <a:pt x="576" y="246"/>
                    </a:lnTo>
                    <a:lnTo>
                      <a:pt x="576" y="252"/>
                    </a:lnTo>
                    <a:lnTo>
                      <a:pt x="570" y="252"/>
                    </a:lnTo>
                    <a:lnTo>
                      <a:pt x="570" y="246"/>
                    </a:lnTo>
                    <a:close/>
                    <a:moveTo>
                      <a:pt x="576" y="222"/>
                    </a:moveTo>
                    <a:lnTo>
                      <a:pt x="576" y="228"/>
                    </a:lnTo>
                    <a:lnTo>
                      <a:pt x="577" y="228"/>
                    </a:lnTo>
                    <a:lnTo>
                      <a:pt x="576" y="222"/>
                    </a:lnTo>
                    <a:close/>
                    <a:moveTo>
                      <a:pt x="558" y="360"/>
                    </a:moveTo>
                    <a:lnTo>
                      <a:pt x="564" y="360"/>
                    </a:lnTo>
                    <a:lnTo>
                      <a:pt x="558" y="360"/>
                    </a:lnTo>
                    <a:close/>
                    <a:moveTo>
                      <a:pt x="612" y="516"/>
                    </a:moveTo>
                    <a:lnTo>
                      <a:pt x="612" y="522"/>
                    </a:lnTo>
                    <a:lnTo>
                      <a:pt x="613" y="522"/>
                    </a:lnTo>
                    <a:lnTo>
                      <a:pt x="612" y="516"/>
                    </a:lnTo>
                    <a:close/>
                    <a:moveTo>
                      <a:pt x="546" y="228"/>
                    </a:moveTo>
                    <a:lnTo>
                      <a:pt x="546" y="234"/>
                    </a:lnTo>
                    <a:lnTo>
                      <a:pt x="547" y="234"/>
                    </a:lnTo>
                    <a:lnTo>
                      <a:pt x="546" y="228"/>
                    </a:lnTo>
                    <a:close/>
                    <a:moveTo>
                      <a:pt x="558" y="378"/>
                    </a:moveTo>
                    <a:lnTo>
                      <a:pt x="558" y="384"/>
                    </a:lnTo>
                    <a:lnTo>
                      <a:pt x="559" y="384"/>
                    </a:lnTo>
                    <a:lnTo>
                      <a:pt x="558" y="378"/>
                    </a:lnTo>
                    <a:close/>
                    <a:moveTo>
                      <a:pt x="582" y="246"/>
                    </a:moveTo>
                    <a:lnTo>
                      <a:pt x="582" y="252"/>
                    </a:lnTo>
                    <a:lnTo>
                      <a:pt x="583" y="252"/>
                    </a:lnTo>
                    <a:lnTo>
                      <a:pt x="582" y="246"/>
                    </a:lnTo>
                    <a:close/>
                    <a:moveTo>
                      <a:pt x="576" y="228"/>
                    </a:moveTo>
                    <a:lnTo>
                      <a:pt x="576" y="234"/>
                    </a:lnTo>
                    <a:lnTo>
                      <a:pt x="577" y="234"/>
                    </a:lnTo>
                    <a:lnTo>
                      <a:pt x="576" y="228"/>
                    </a:lnTo>
                    <a:close/>
                    <a:moveTo>
                      <a:pt x="582" y="222"/>
                    </a:moveTo>
                    <a:lnTo>
                      <a:pt x="588" y="222"/>
                    </a:lnTo>
                    <a:lnTo>
                      <a:pt x="582" y="222"/>
                    </a:lnTo>
                    <a:close/>
                    <a:moveTo>
                      <a:pt x="570" y="240"/>
                    </a:moveTo>
                    <a:lnTo>
                      <a:pt x="576" y="240"/>
                    </a:lnTo>
                    <a:lnTo>
                      <a:pt x="570" y="240"/>
                    </a:lnTo>
                    <a:close/>
                    <a:moveTo>
                      <a:pt x="570" y="408"/>
                    </a:moveTo>
                    <a:lnTo>
                      <a:pt x="576" y="408"/>
                    </a:lnTo>
                    <a:lnTo>
                      <a:pt x="570" y="408"/>
                    </a:lnTo>
                    <a:close/>
                    <a:moveTo>
                      <a:pt x="552" y="384"/>
                    </a:moveTo>
                    <a:lnTo>
                      <a:pt x="558" y="384"/>
                    </a:lnTo>
                    <a:lnTo>
                      <a:pt x="552" y="38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5" name="Freeform 46"/>
              <p:cNvSpPr>
                <a:spLocks/>
              </p:cNvSpPr>
              <p:nvPr>
                <p:custDataLst>
                  <p:tags r:id="rId42"/>
                </p:custDataLst>
              </p:nvPr>
            </p:nvSpPr>
            <p:spPr bwMode="gray">
              <a:xfrm>
                <a:off x="4022006" y="2285038"/>
                <a:ext cx="128987" cy="141628"/>
              </a:xfrm>
              <a:custGeom>
                <a:avLst/>
                <a:gdLst>
                  <a:gd name="T0" fmla="*/ 8787 w 102"/>
                  <a:gd name="T1" fmla="*/ 41010 h 120"/>
                  <a:gd name="T2" fmla="*/ 8787 w 102"/>
                  <a:gd name="T3" fmla="*/ 37104 h 120"/>
                  <a:gd name="T4" fmla="*/ 6835 w 102"/>
                  <a:gd name="T5" fmla="*/ 34175 h 120"/>
                  <a:gd name="T6" fmla="*/ 3906 w 102"/>
                  <a:gd name="T7" fmla="*/ 32222 h 120"/>
                  <a:gd name="T8" fmla="*/ 3906 w 102"/>
                  <a:gd name="T9" fmla="*/ 28317 h 120"/>
                  <a:gd name="T10" fmla="*/ 3906 w 102"/>
                  <a:gd name="T11" fmla="*/ 23434 h 120"/>
                  <a:gd name="T12" fmla="*/ 3906 w 102"/>
                  <a:gd name="T13" fmla="*/ 19529 h 120"/>
                  <a:gd name="T14" fmla="*/ 3906 w 102"/>
                  <a:gd name="T15" fmla="*/ 15623 h 120"/>
                  <a:gd name="T16" fmla="*/ 1953 w 102"/>
                  <a:gd name="T17" fmla="*/ 12694 h 120"/>
                  <a:gd name="T18" fmla="*/ 0 w 102"/>
                  <a:gd name="T19" fmla="*/ 10741 h 120"/>
                  <a:gd name="T20" fmla="*/ 1953 w 102"/>
                  <a:gd name="T21" fmla="*/ 8788 h 120"/>
                  <a:gd name="T22" fmla="*/ 3906 w 102"/>
                  <a:gd name="T23" fmla="*/ 6835 h 120"/>
                  <a:gd name="T24" fmla="*/ 6835 w 102"/>
                  <a:gd name="T25" fmla="*/ 8788 h 120"/>
                  <a:gd name="T26" fmla="*/ 8787 w 102"/>
                  <a:gd name="T27" fmla="*/ 10741 h 120"/>
                  <a:gd name="T28" fmla="*/ 12693 w 102"/>
                  <a:gd name="T29" fmla="*/ 10741 h 120"/>
                  <a:gd name="T30" fmla="*/ 17576 w 102"/>
                  <a:gd name="T31" fmla="*/ 10741 h 120"/>
                  <a:gd name="T32" fmla="*/ 19529 w 102"/>
                  <a:gd name="T33" fmla="*/ 8788 h 120"/>
                  <a:gd name="T34" fmla="*/ 19529 w 102"/>
                  <a:gd name="T35" fmla="*/ 3906 h 120"/>
                  <a:gd name="T36" fmla="*/ 19529 w 102"/>
                  <a:gd name="T37" fmla="*/ 0 h 120"/>
                  <a:gd name="T38" fmla="*/ 21481 w 102"/>
                  <a:gd name="T39" fmla="*/ 1953 h 120"/>
                  <a:gd name="T40" fmla="*/ 23434 w 102"/>
                  <a:gd name="T41" fmla="*/ 1953 h 120"/>
                  <a:gd name="T42" fmla="*/ 28316 w 102"/>
                  <a:gd name="T43" fmla="*/ 1953 h 120"/>
                  <a:gd name="T44" fmla="*/ 28316 w 102"/>
                  <a:gd name="T45" fmla="*/ 1953 h 120"/>
                  <a:gd name="T46" fmla="*/ 30269 w 102"/>
                  <a:gd name="T47" fmla="*/ 0 h 120"/>
                  <a:gd name="T48" fmla="*/ 32222 w 102"/>
                  <a:gd name="T49" fmla="*/ 1953 h 120"/>
                  <a:gd name="T50" fmla="*/ 30269 w 102"/>
                  <a:gd name="T51" fmla="*/ 3906 h 120"/>
                  <a:gd name="T52" fmla="*/ 28316 w 102"/>
                  <a:gd name="T53" fmla="*/ 6835 h 120"/>
                  <a:gd name="T54" fmla="*/ 30269 w 102"/>
                  <a:gd name="T55" fmla="*/ 8788 h 120"/>
                  <a:gd name="T56" fmla="*/ 30269 w 102"/>
                  <a:gd name="T57" fmla="*/ 10741 h 120"/>
                  <a:gd name="T58" fmla="*/ 28316 w 102"/>
                  <a:gd name="T59" fmla="*/ 12694 h 120"/>
                  <a:gd name="T60" fmla="*/ 32222 w 102"/>
                  <a:gd name="T61" fmla="*/ 12694 h 120"/>
                  <a:gd name="T62" fmla="*/ 34175 w 102"/>
                  <a:gd name="T63" fmla="*/ 15623 h 120"/>
                  <a:gd name="T64" fmla="*/ 37104 w 102"/>
                  <a:gd name="T65" fmla="*/ 17576 h 120"/>
                  <a:gd name="T66" fmla="*/ 34175 w 102"/>
                  <a:gd name="T67" fmla="*/ 19529 h 120"/>
                  <a:gd name="T68" fmla="*/ 32222 w 102"/>
                  <a:gd name="T69" fmla="*/ 22458 h 120"/>
                  <a:gd name="T70" fmla="*/ 34175 w 102"/>
                  <a:gd name="T71" fmla="*/ 23434 h 120"/>
                  <a:gd name="T72" fmla="*/ 30269 w 102"/>
                  <a:gd name="T73" fmla="*/ 23434 h 120"/>
                  <a:gd name="T74" fmla="*/ 28316 w 102"/>
                  <a:gd name="T75" fmla="*/ 26364 h 120"/>
                  <a:gd name="T76" fmla="*/ 28316 w 102"/>
                  <a:gd name="T77" fmla="*/ 30270 h 120"/>
                  <a:gd name="T78" fmla="*/ 26363 w 102"/>
                  <a:gd name="T79" fmla="*/ 32222 h 120"/>
                  <a:gd name="T80" fmla="*/ 23434 w 102"/>
                  <a:gd name="T81" fmla="*/ 34175 h 120"/>
                  <a:gd name="T82" fmla="*/ 21481 w 102"/>
                  <a:gd name="T83" fmla="*/ 37104 h 120"/>
                  <a:gd name="T84" fmla="*/ 21481 w 102"/>
                  <a:gd name="T85" fmla="*/ 41010 h 120"/>
                  <a:gd name="T86" fmla="*/ 17576 w 102"/>
                  <a:gd name="T87" fmla="*/ 41010 h 120"/>
                  <a:gd name="T88" fmla="*/ 17576 w 102"/>
                  <a:gd name="T89" fmla="*/ 41010 h 120"/>
                  <a:gd name="T90" fmla="*/ 15623 w 102"/>
                  <a:gd name="T91" fmla="*/ 42963 h 120"/>
                  <a:gd name="T92" fmla="*/ 10740 w 102"/>
                  <a:gd name="T93" fmla="*/ 42963 h 1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2" h="120">
                    <a:moveTo>
                      <a:pt x="24" y="120"/>
                    </a:moveTo>
                    <a:lnTo>
                      <a:pt x="24" y="114"/>
                    </a:lnTo>
                    <a:lnTo>
                      <a:pt x="24" y="108"/>
                    </a:lnTo>
                    <a:lnTo>
                      <a:pt x="24" y="102"/>
                    </a:lnTo>
                    <a:lnTo>
                      <a:pt x="18" y="102"/>
                    </a:lnTo>
                    <a:lnTo>
                      <a:pt x="18" y="96"/>
                    </a:lnTo>
                    <a:lnTo>
                      <a:pt x="18" y="90"/>
                    </a:lnTo>
                    <a:lnTo>
                      <a:pt x="12" y="90"/>
                    </a:lnTo>
                    <a:lnTo>
                      <a:pt x="12" y="84"/>
                    </a:lnTo>
                    <a:lnTo>
                      <a:pt x="12" y="78"/>
                    </a:lnTo>
                    <a:lnTo>
                      <a:pt x="12" y="72"/>
                    </a:lnTo>
                    <a:lnTo>
                      <a:pt x="12" y="66"/>
                    </a:lnTo>
                    <a:lnTo>
                      <a:pt x="12" y="60"/>
                    </a:lnTo>
                    <a:lnTo>
                      <a:pt x="12" y="54"/>
                    </a:lnTo>
                    <a:lnTo>
                      <a:pt x="12" y="48"/>
                    </a:lnTo>
                    <a:lnTo>
                      <a:pt x="12" y="42"/>
                    </a:lnTo>
                    <a:lnTo>
                      <a:pt x="12" y="36"/>
                    </a:lnTo>
                    <a:lnTo>
                      <a:pt x="6" y="36"/>
                    </a:lnTo>
                    <a:lnTo>
                      <a:pt x="6" y="30"/>
                    </a:lnTo>
                    <a:lnTo>
                      <a:pt x="0" y="30"/>
                    </a:lnTo>
                    <a:lnTo>
                      <a:pt x="0" y="24"/>
                    </a:lnTo>
                    <a:lnTo>
                      <a:pt x="6" y="24"/>
                    </a:lnTo>
                    <a:lnTo>
                      <a:pt x="6" y="18"/>
                    </a:lnTo>
                    <a:lnTo>
                      <a:pt x="12" y="18"/>
                    </a:lnTo>
                    <a:lnTo>
                      <a:pt x="18" y="18"/>
                    </a:lnTo>
                    <a:lnTo>
                      <a:pt x="18" y="24"/>
                    </a:lnTo>
                    <a:lnTo>
                      <a:pt x="18" y="30"/>
                    </a:lnTo>
                    <a:lnTo>
                      <a:pt x="24" y="30"/>
                    </a:lnTo>
                    <a:lnTo>
                      <a:pt x="30" y="30"/>
                    </a:lnTo>
                    <a:lnTo>
                      <a:pt x="36" y="30"/>
                    </a:lnTo>
                    <a:lnTo>
                      <a:pt x="42" y="30"/>
                    </a:lnTo>
                    <a:lnTo>
                      <a:pt x="48" y="30"/>
                    </a:lnTo>
                    <a:lnTo>
                      <a:pt x="48" y="24"/>
                    </a:lnTo>
                    <a:lnTo>
                      <a:pt x="54" y="24"/>
                    </a:lnTo>
                    <a:lnTo>
                      <a:pt x="54" y="18"/>
                    </a:lnTo>
                    <a:lnTo>
                      <a:pt x="54" y="12"/>
                    </a:lnTo>
                    <a:lnTo>
                      <a:pt x="54" y="6"/>
                    </a:lnTo>
                    <a:lnTo>
                      <a:pt x="54" y="0"/>
                    </a:lnTo>
                    <a:lnTo>
                      <a:pt x="54" y="6"/>
                    </a:lnTo>
                    <a:lnTo>
                      <a:pt x="60" y="6"/>
                    </a:lnTo>
                    <a:lnTo>
                      <a:pt x="66" y="12"/>
                    </a:lnTo>
                    <a:lnTo>
                      <a:pt x="66" y="6"/>
                    </a:lnTo>
                    <a:lnTo>
                      <a:pt x="72" y="6"/>
                    </a:lnTo>
                    <a:lnTo>
                      <a:pt x="78" y="6"/>
                    </a:lnTo>
                    <a:lnTo>
                      <a:pt x="78" y="0"/>
                    </a:lnTo>
                    <a:lnTo>
                      <a:pt x="78" y="6"/>
                    </a:lnTo>
                    <a:lnTo>
                      <a:pt x="78" y="0"/>
                    </a:lnTo>
                    <a:lnTo>
                      <a:pt x="84" y="0"/>
                    </a:lnTo>
                    <a:lnTo>
                      <a:pt x="84" y="6"/>
                    </a:lnTo>
                    <a:lnTo>
                      <a:pt x="90" y="6"/>
                    </a:lnTo>
                    <a:lnTo>
                      <a:pt x="84" y="6"/>
                    </a:lnTo>
                    <a:lnTo>
                      <a:pt x="84" y="12"/>
                    </a:lnTo>
                    <a:lnTo>
                      <a:pt x="84" y="18"/>
                    </a:lnTo>
                    <a:lnTo>
                      <a:pt x="78" y="18"/>
                    </a:lnTo>
                    <a:lnTo>
                      <a:pt x="78" y="24"/>
                    </a:lnTo>
                    <a:lnTo>
                      <a:pt x="84" y="24"/>
                    </a:lnTo>
                    <a:lnTo>
                      <a:pt x="78" y="24"/>
                    </a:lnTo>
                    <a:lnTo>
                      <a:pt x="84" y="30"/>
                    </a:lnTo>
                    <a:lnTo>
                      <a:pt x="78" y="30"/>
                    </a:lnTo>
                    <a:lnTo>
                      <a:pt x="78" y="36"/>
                    </a:lnTo>
                    <a:lnTo>
                      <a:pt x="84" y="36"/>
                    </a:lnTo>
                    <a:lnTo>
                      <a:pt x="90" y="36"/>
                    </a:lnTo>
                    <a:lnTo>
                      <a:pt x="90" y="42"/>
                    </a:lnTo>
                    <a:lnTo>
                      <a:pt x="96" y="42"/>
                    </a:lnTo>
                    <a:lnTo>
                      <a:pt x="102" y="42"/>
                    </a:lnTo>
                    <a:lnTo>
                      <a:pt x="102" y="48"/>
                    </a:lnTo>
                    <a:lnTo>
                      <a:pt x="102" y="54"/>
                    </a:lnTo>
                    <a:lnTo>
                      <a:pt x="96" y="54"/>
                    </a:lnTo>
                    <a:lnTo>
                      <a:pt x="96" y="60"/>
                    </a:lnTo>
                    <a:lnTo>
                      <a:pt x="90" y="60"/>
                    </a:lnTo>
                    <a:lnTo>
                      <a:pt x="96" y="60"/>
                    </a:lnTo>
                    <a:lnTo>
                      <a:pt x="96" y="66"/>
                    </a:lnTo>
                    <a:lnTo>
                      <a:pt x="90" y="66"/>
                    </a:lnTo>
                    <a:lnTo>
                      <a:pt x="84" y="66"/>
                    </a:lnTo>
                    <a:lnTo>
                      <a:pt x="84" y="72"/>
                    </a:lnTo>
                    <a:lnTo>
                      <a:pt x="78" y="72"/>
                    </a:lnTo>
                    <a:lnTo>
                      <a:pt x="78" y="78"/>
                    </a:lnTo>
                    <a:lnTo>
                      <a:pt x="78" y="84"/>
                    </a:lnTo>
                    <a:lnTo>
                      <a:pt x="72" y="84"/>
                    </a:lnTo>
                    <a:lnTo>
                      <a:pt x="72" y="90"/>
                    </a:lnTo>
                    <a:lnTo>
                      <a:pt x="72" y="96"/>
                    </a:lnTo>
                    <a:lnTo>
                      <a:pt x="66" y="96"/>
                    </a:lnTo>
                    <a:lnTo>
                      <a:pt x="66" y="102"/>
                    </a:lnTo>
                    <a:lnTo>
                      <a:pt x="60" y="102"/>
                    </a:lnTo>
                    <a:lnTo>
                      <a:pt x="60" y="108"/>
                    </a:lnTo>
                    <a:lnTo>
                      <a:pt x="60" y="114"/>
                    </a:lnTo>
                    <a:lnTo>
                      <a:pt x="54" y="114"/>
                    </a:lnTo>
                    <a:lnTo>
                      <a:pt x="48" y="114"/>
                    </a:lnTo>
                    <a:lnTo>
                      <a:pt x="48" y="120"/>
                    </a:lnTo>
                    <a:lnTo>
                      <a:pt x="48" y="114"/>
                    </a:lnTo>
                    <a:lnTo>
                      <a:pt x="48" y="120"/>
                    </a:lnTo>
                    <a:lnTo>
                      <a:pt x="42" y="120"/>
                    </a:lnTo>
                    <a:lnTo>
                      <a:pt x="36" y="120"/>
                    </a:lnTo>
                    <a:lnTo>
                      <a:pt x="30" y="120"/>
                    </a:lnTo>
                    <a:lnTo>
                      <a:pt x="24" y="12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6" name="Freeform 47"/>
              <p:cNvSpPr>
                <a:spLocks/>
              </p:cNvSpPr>
              <p:nvPr>
                <p:custDataLst>
                  <p:tags r:id="rId43"/>
                </p:custDataLst>
              </p:nvPr>
            </p:nvSpPr>
            <p:spPr bwMode="gray">
              <a:xfrm>
                <a:off x="4012333" y="2206690"/>
                <a:ext cx="143500" cy="113001"/>
              </a:xfrm>
              <a:custGeom>
                <a:avLst/>
                <a:gdLst>
                  <a:gd name="T0" fmla="*/ 31937 w 114"/>
                  <a:gd name="T1" fmla="*/ 26113 h 96"/>
                  <a:gd name="T2" fmla="*/ 30002 w 114"/>
                  <a:gd name="T3" fmla="*/ 23212 h 96"/>
                  <a:gd name="T4" fmla="*/ 30002 w 114"/>
                  <a:gd name="T5" fmla="*/ 23212 h 96"/>
                  <a:gd name="T6" fmla="*/ 27098 w 114"/>
                  <a:gd name="T7" fmla="*/ 26113 h 96"/>
                  <a:gd name="T8" fmla="*/ 26131 w 114"/>
                  <a:gd name="T9" fmla="*/ 27080 h 96"/>
                  <a:gd name="T10" fmla="*/ 21291 w 114"/>
                  <a:gd name="T11" fmla="*/ 26113 h 96"/>
                  <a:gd name="T12" fmla="*/ 21291 w 114"/>
                  <a:gd name="T13" fmla="*/ 26113 h 96"/>
                  <a:gd name="T14" fmla="*/ 21291 w 114"/>
                  <a:gd name="T15" fmla="*/ 29982 h 96"/>
                  <a:gd name="T16" fmla="*/ 19356 w 114"/>
                  <a:gd name="T17" fmla="*/ 31916 h 96"/>
                  <a:gd name="T18" fmla="*/ 17421 w 114"/>
                  <a:gd name="T19" fmla="*/ 33851 h 96"/>
                  <a:gd name="T20" fmla="*/ 12581 w 114"/>
                  <a:gd name="T21" fmla="*/ 33851 h 96"/>
                  <a:gd name="T22" fmla="*/ 8710 w 114"/>
                  <a:gd name="T23" fmla="*/ 33851 h 96"/>
                  <a:gd name="T24" fmla="*/ 8710 w 114"/>
                  <a:gd name="T25" fmla="*/ 29982 h 96"/>
                  <a:gd name="T26" fmla="*/ 3872 w 114"/>
                  <a:gd name="T27" fmla="*/ 29982 h 96"/>
                  <a:gd name="T28" fmla="*/ 1935 w 114"/>
                  <a:gd name="T29" fmla="*/ 31916 h 96"/>
                  <a:gd name="T30" fmla="*/ 0 w 114"/>
                  <a:gd name="T31" fmla="*/ 29982 h 96"/>
                  <a:gd name="T32" fmla="*/ 0 w 114"/>
                  <a:gd name="T33" fmla="*/ 26113 h 96"/>
                  <a:gd name="T34" fmla="*/ 1935 w 114"/>
                  <a:gd name="T35" fmla="*/ 23212 h 96"/>
                  <a:gd name="T36" fmla="*/ 6775 w 114"/>
                  <a:gd name="T37" fmla="*/ 21277 h 96"/>
                  <a:gd name="T38" fmla="*/ 3872 w 114"/>
                  <a:gd name="T39" fmla="*/ 17409 h 96"/>
                  <a:gd name="T40" fmla="*/ 6775 w 114"/>
                  <a:gd name="T41" fmla="*/ 14508 h 96"/>
                  <a:gd name="T42" fmla="*/ 6775 w 114"/>
                  <a:gd name="T43" fmla="*/ 10639 h 96"/>
                  <a:gd name="T44" fmla="*/ 8710 w 114"/>
                  <a:gd name="T45" fmla="*/ 8705 h 96"/>
                  <a:gd name="T46" fmla="*/ 12581 w 114"/>
                  <a:gd name="T47" fmla="*/ 8705 h 96"/>
                  <a:gd name="T48" fmla="*/ 14517 w 114"/>
                  <a:gd name="T49" fmla="*/ 6770 h 96"/>
                  <a:gd name="T50" fmla="*/ 17421 w 114"/>
                  <a:gd name="T51" fmla="*/ 6770 h 96"/>
                  <a:gd name="T52" fmla="*/ 19356 w 114"/>
                  <a:gd name="T53" fmla="*/ 6770 h 96"/>
                  <a:gd name="T54" fmla="*/ 21291 w 114"/>
                  <a:gd name="T55" fmla="*/ 6770 h 96"/>
                  <a:gd name="T56" fmla="*/ 26131 w 114"/>
                  <a:gd name="T57" fmla="*/ 6770 h 96"/>
                  <a:gd name="T58" fmla="*/ 26131 w 114"/>
                  <a:gd name="T59" fmla="*/ 6770 h 96"/>
                  <a:gd name="T60" fmla="*/ 27098 w 114"/>
                  <a:gd name="T61" fmla="*/ 3869 h 96"/>
                  <a:gd name="T62" fmla="*/ 27098 w 114"/>
                  <a:gd name="T63" fmla="*/ 0 h 96"/>
                  <a:gd name="T64" fmla="*/ 31937 w 114"/>
                  <a:gd name="T65" fmla="*/ 0 h 96"/>
                  <a:gd name="T66" fmla="*/ 31937 w 114"/>
                  <a:gd name="T67" fmla="*/ 3869 h 96"/>
                  <a:gd name="T68" fmla="*/ 31937 w 114"/>
                  <a:gd name="T69" fmla="*/ 3869 h 96"/>
                  <a:gd name="T70" fmla="*/ 33873 w 114"/>
                  <a:gd name="T71" fmla="*/ 6770 h 96"/>
                  <a:gd name="T72" fmla="*/ 36777 w 114"/>
                  <a:gd name="T73" fmla="*/ 8705 h 96"/>
                  <a:gd name="T74" fmla="*/ 37744 w 114"/>
                  <a:gd name="T75" fmla="*/ 12573 h 96"/>
                  <a:gd name="T76" fmla="*/ 37744 w 114"/>
                  <a:gd name="T77" fmla="*/ 17409 h 96"/>
                  <a:gd name="T78" fmla="*/ 40647 w 114"/>
                  <a:gd name="T79" fmla="*/ 19343 h 96"/>
                  <a:gd name="T80" fmla="*/ 37744 w 114"/>
                  <a:gd name="T81" fmla="*/ 21277 h 96"/>
                  <a:gd name="T82" fmla="*/ 37744 w 114"/>
                  <a:gd name="T83" fmla="*/ 26113 h 96"/>
                  <a:gd name="T84" fmla="*/ 33873 w 114"/>
                  <a:gd name="T85" fmla="*/ 26113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4" h="96">
                    <a:moveTo>
                      <a:pt x="96" y="72"/>
                    </a:moveTo>
                    <a:lnTo>
                      <a:pt x="90" y="72"/>
                    </a:lnTo>
                    <a:lnTo>
                      <a:pt x="90" y="66"/>
                    </a:lnTo>
                    <a:lnTo>
                      <a:pt x="84" y="66"/>
                    </a:lnTo>
                    <a:lnTo>
                      <a:pt x="84" y="72"/>
                    </a:lnTo>
                    <a:lnTo>
                      <a:pt x="84" y="66"/>
                    </a:lnTo>
                    <a:lnTo>
                      <a:pt x="84" y="72"/>
                    </a:lnTo>
                    <a:lnTo>
                      <a:pt x="78" y="72"/>
                    </a:lnTo>
                    <a:lnTo>
                      <a:pt x="72" y="72"/>
                    </a:lnTo>
                    <a:lnTo>
                      <a:pt x="72" y="78"/>
                    </a:lnTo>
                    <a:lnTo>
                      <a:pt x="66" y="72"/>
                    </a:lnTo>
                    <a:lnTo>
                      <a:pt x="60" y="72"/>
                    </a:lnTo>
                    <a:lnTo>
                      <a:pt x="60" y="66"/>
                    </a:lnTo>
                    <a:lnTo>
                      <a:pt x="60" y="72"/>
                    </a:lnTo>
                    <a:lnTo>
                      <a:pt x="60" y="78"/>
                    </a:lnTo>
                    <a:lnTo>
                      <a:pt x="60" y="84"/>
                    </a:lnTo>
                    <a:lnTo>
                      <a:pt x="60" y="90"/>
                    </a:lnTo>
                    <a:lnTo>
                      <a:pt x="54" y="90"/>
                    </a:lnTo>
                    <a:lnTo>
                      <a:pt x="54" y="96"/>
                    </a:lnTo>
                    <a:lnTo>
                      <a:pt x="48" y="96"/>
                    </a:lnTo>
                    <a:lnTo>
                      <a:pt x="42" y="96"/>
                    </a:lnTo>
                    <a:lnTo>
                      <a:pt x="36" y="96"/>
                    </a:lnTo>
                    <a:lnTo>
                      <a:pt x="30" y="96"/>
                    </a:lnTo>
                    <a:lnTo>
                      <a:pt x="24" y="96"/>
                    </a:lnTo>
                    <a:lnTo>
                      <a:pt x="24" y="90"/>
                    </a:lnTo>
                    <a:lnTo>
                      <a:pt x="24" y="84"/>
                    </a:lnTo>
                    <a:lnTo>
                      <a:pt x="18" y="84"/>
                    </a:lnTo>
                    <a:lnTo>
                      <a:pt x="12" y="84"/>
                    </a:lnTo>
                    <a:lnTo>
                      <a:pt x="12" y="90"/>
                    </a:lnTo>
                    <a:lnTo>
                      <a:pt x="6" y="90"/>
                    </a:lnTo>
                    <a:lnTo>
                      <a:pt x="0" y="90"/>
                    </a:lnTo>
                    <a:lnTo>
                      <a:pt x="0" y="84"/>
                    </a:lnTo>
                    <a:lnTo>
                      <a:pt x="0" y="78"/>
                    </a:lnTo>
                    <a:lnTo>
                      <a:pt x="0" y="72"/>
                    </a:lnTo>
                    <a:lnTo>
                      <a:pt x="6" y="72"/>
                    </a:lnTo>
                    <a:lnTo>
                      <a:pt x="6" y="66"/>
                    </a:lnTo>
                    <a:lnTo>
                      <a:pt x="12" y="66"/>
                    </a:lnTo>
                    <a:lnTo>
                      <a:pt x="18" y="60"/>
                    </a:lnTo>
                    <a:lnTo>
                      <a:pt x="18" y="54"/>
                    </a:lnTo>
                    <a:lnTo>
                      <a:pt x="12" y="48"/>
                    </a:lnTo>
                    <a:lnTo>
                      <a:pt x="12" y="42"/>
                    </a:lnTo>
                    <a:lnTo>
                      <a:pt x="18" y="42"/>
                    </a:lnTo>
                    <a:lnTo>
                      <a:pt x="18" y="36"/>
                    </a:lnTo>
                    <a:lnTo>
                      <a:pt x="18" y="30"/>
                    </a:lnTo>
                    <a:lnTo>
                      <a:pt x="24" y="30"/>
                    </a:lnTo>
                    <a:lnTo>
                      <a:pt x="24" y="24"/>
                    </a:lnTo>
                    <a:lnTo>
                      <a:pt x="30" y="24"/>
                    </a:lnTo>
                    <a:lnTo>
                      <a:pt x="36" y="24"/>
                    </a:lnTo>
                    <a:lnTo>
                      <a:pt x="36" y="18"/>
                    </a:lnTo>
                    <a:lnTo>
                      <a:pt x="42" y="18"/>
                    </a:lnTo>
                    <a:lnTo>
                      <a:pt x="48" y="12"/>
                    </a:lnTo>
                    <a:lnTo>
                      <a:pt x="48" y="18"/>
                    </a:lnTo>
                    <a:lnTo>
                      <a:pt x="54" y="12"/>
                    </a:lnTo>
                    <a:lnTo>
                      <a:pt x="54" y="18"/>
                    </a:lnTo>
                    <a:lnTo>
                      <a:pt x="60" y="24"/>
                    </a:lnTo>
                    <a:lnTo>
                      <a:pt x="60" y="18"/>
                    </a:lnTo>
                    <a:lnTo>
                      <a:pt x="66" y="18"/>
                    </a:lnTo>
                    <a:lnTo>
                      <a:pt x="72" y="18"/>
                    </a:lnTo>
                    <a:lnTo>
                      <a:pt x="72" y="12"/>
                    </a:lnTo>
                    <a:lnTo>
                      <a:pt x="72" y="18"/>
                    </a:lnTo>
                    <a:lnTo>
                      <a:pt x="72" y="12"/>
                    </a:lnTo>
                    <a:lnTo>
                      <a:pt x="78" y="12"/>
                    </a:lnTo>
                    <a:lnTo>
                      <a:pt x="78" y="6"/>
                    </a:lnTo>
                    <a:lnTo>
                      <a:pt x="78" y="0"/>
                    </a:lnTo>
                    <a:lnTo>
                      <a:pt x="84" y="0"/>
                    </a:lnTo>
                    <a:lnTo>
                      <a:pt x="90" y="0"/>
                    </a:lnTo>
                    <a:lnTo>
                      <a:pt x="90" y="6"/>
                    </a:lnTo>
                    <a:lnTo>
                      <a:pt x="90" y="12"/>
                    </a:lnTo>
                    <a:lnTo>
                      <a:pt x="96" y="12"/>
                    </a:lnTo>
                    <a:lnTo>
                      <a:pt x="90" y="12"/>
                    </a:lnTo>
                    <a:lnTo>
                      <a:pt x="96" y="12"/>
                    </a:lnTo>
                    <a:lnTo>
                      <a:pt x="96" y="18"/>
                    </a:lnTo>
                    <a:lnTo>
                      <a:pt x="102" y="18"/>
                    </a:lnTo>
                    <a:lnTo>
                      <a:pt x="102" y="24"/>
                    </a:lnTo>
                    <a:lnTo>
                      <a:pt x="108" y="30"/>
                    </a:lnTo>
                    <a:lnTo>
                      <a:pt x="108" y="36"/>
                    </a:lnTo>
                    <a:lnTo>
                      <a:pt x="108" y="42"/>
                    </a:lnTo>
                    <a:lnTo>
                      <a:pt x="108" y="48"/>
                    </a:lnTo>
                    <a:lnTo>
                      <a:pt x="108" y="54"/>
                    </a:lnTo>
                    <a:lnTo>
                      <a:pt x="114" y="54"/>
                    </a:lnTo>
                    <a:lnTo>
                      <a:pt x="114" y="60"/>
                    </a:lnTo>
                    <a:lnTo>
                      <a:pt x="108" y="60"/>
                    </a:lnTo>
                    <a:lnTo>
                      <a:pt x="108" y="66"/>
                    </a:lnTo>
                    <a:lnTo>
                      <a:pt x="108" y="72"/>
                    </a:lnTo>
                    <a:lnTo>
                      <a:pt x="102" y="72"/>
                    </a:lnTo>
                    <a:lnTo>
                      <a:pt x="96" y="7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7" name="Freeform 48"/>
              <p:cNvSpPr>
                <a:spLocks noEditPoints="1"/>
              </p:cNvSpPr>
              <p:nvPr>
                <p:custDataLst>
                  <p:tags r:id="rId44"/>
                </p:custDataLst>
              </p:nvPr>
            </p:nvSpPr>
            <p:spPr bwMode="gray">
              <a:xfrm>
                <a:off x="2841765" y="1781807"/>
                <a:ext cx="1346313" cy="1246024"/>
              </a:xfrm>
              <a:custGeom>
                <a:avLst/>
                <a:gdLst>
                  <a:gd name="T0" fmla="*/ 335643 w 1068"/>
                  <a:gd name="T1" fmla="*/ 276204 h 1056"/>
                  <a:gd name="T2" fmla="*/ 320122 w 1068"/>
                  <a:gd name="T3" fmla="*/ 295655 h 1056"/>
                  <a:gd name="T4" fmla="*/ 324003 w 1068"/>
                  <a:gd name="T5" fmla="*/ 313160 h 1056"/>
                  <a:gd name="T6" fmla="*/ 323032 w 1068"/>
                  <a:gd name="T7" fmla="*/ 338447 h 1056"/>
                  <a:gd name="T8" fmla="*/ 339524 w 1068"/>
                  <a:gd name="T9" fmla="*/ 355952 h 1056"/>
                  <a:gd name="T10" fmla="*/ 350194 w 1068"/>
                  <a:gd name="T11" fmla="*/ 368595 h 1056"/>
                  <a:gd name="T12" fmla="*/ 335643 w 1068"/>
                  <a:gd name="T13" fmla="*/ 374431 h 1056"/>
                  <a:gd name="T14" fmla="*/ 323032 w 1068"/>
                  <a:gd name="T15" fmla="*/ 362760 h 1056"/>
                  <a:gd name="T16" fmla="*/ 305572 w 1068"/>
                  <a:gd name="T17" fmla="*/ 354008 h 1056"/>
                  <a:gd name="T18" fmla="*/ 292961 w 1068"/>
                  <a:gd name="T19" fmla="*/ 345254 h 1056"/>
                  <a:gd name="T20" fmla="*/ 271619 w 1068"/>
                  <a:gd name="T21" fmla="*/ 343309 h 1056"/>
                  <a:gd name="T22" fmla="*/ 256098 w 1068"/>
                  <a:gd name="T23" fmla="*/ 332611 h 1056"/>
                  <a:gd name="T24" fmla="*/ 236697 w 1068"/>
                  <a:gd name="T25" fmla="*/ 327749 h 1056"/>
                  <a:gd name="T26" fmla="*/ 218265 w 1068"/>
                  <a:gd name="T27" fmla="*/ 329693 h 1056"/>
                  <a:gd name="T28" fmla="*/ 198864 w 1068"/>
                  <a:gd name="T29" fmla="*/ 325804 h 1056"/>
                  <a:gd name="T30" fmla="*/ 194983 w 1068"/>
                  <a:gd name="T31" fmla="*/ 299545 h 1056"/>
                  <a:gd name="T32" fmla="*/ 194983 w 1068"/>
                  <a:gd name="T33" fmla="*/ 279121 h 1056"/>
                  <a:gd name="T34" fmla="*/ 192073 w 1068"/>
                  <a:gd name="T35" fmla="*/ 254808 h 1056"/>
                  <a:gd name="T36" fmla="*/ 166851 w 1068"/>
                  <a:gd name="T37" fmla="*/ 245082 h 1056"/>
                  <a:gd name="T38" fmla="*/ 145510 w 1068"/>
                  <a:gd name="T39" fmla="*/ 256753 h 1056"/>
                  <a:gd name="T40" fmla="*/ 121259 w 1068"/>
                  <a:gd name="T41" fmla="*/ 265505 h 1056"/>
                  <a:gd name="T42" fmla="*/ 104767 w 1068"/>
                  <a:gd name="T43" fmla="*/ 263560 h 1056"/>
                  <a:gd name="T44" fmla="*/ 94096 w 1068"/>
                  <a:gd name="T45" fmla="*/ 248972 h 1056"/>
                  <a:gd name="T46" fmla="*/ 90216 w 1068"/>
                  <a:gd name="T47" fmla="*/ 229521 h 1056"/>
                  <a:gd name="T48" fmla="*/ 72755 w 1068"/>
                  <a:gd name="T49" fmla="*/ 225631 h 1056"/>
                  <a:gd name="T50" fmla="*/ 40743 w 1068"/>
                  <a:gd name="T51" fmla="*/ 225631 h 1056"/>
                  <a:gd name="T52" fmla="*/ 17462 w 1068"/>
                  <a:gd name="T53" fmla="*/ 222714 h 1056"/>
                  <a:gd name="T54" fmla="*/ 0 w 1068"/>
                  <a:gd name="T55" fmla="*/ 220768 h 1056"/>
                  <a:gd name="T56" fmla="*/ 14551 w 1068"/>
                  <a:gd name="T57" fmla="*/ 201317 h 1056"/>
                  <a:gd name="T58" fmla="*/ 30072 w 1068"/>
                  <a:gd name="T59" fmla="*/ 197427 h 1056"/>
                  <a:gd name="T60" fmla="*/ 44623 w 1068"/>
                  <a:gd name="T61" fmla="*/ 199372 h 1056"/>
                  <a:gd name="T62" fmla="*/ 62084 w 1068"/>
                  <a:gd name="T63" fmla="*/ 192564 h 1056"/>
                  <a:gd name="T64" fmla="*/ 78575 w 1068"/>
                  <a:gd name="T65" fmla="*/ 176031 h 1056"/>
                  <a:gd name="T66" fmla="*/ 78575 w 1068"/>
                  <a:gd name="T67" fmla="*/ 150745 h 1056"/>
                  <a:gd name="T68" fmla="*/ 96037 w 1068"/>
                  <a:gd name="T69" fmla="*/ 128376 h 1056"/>
                  <a:gd name="T70" fmla="*/ 110587 w 1068"/>
                  <a:gd name="T71" fmla="*/ 105035 h 1056"/>
                  <a:gd name="T72" fmla="*/ 115438 w 1068"/>
                  <a:gd name="T73" fmla="*/ 79749 h 1056"/>
                  <a:gd name="T74" fmla="*/ 124169 w 1068"/>
                  <a:gd name="T75" fmla="*/ 51545 h 1056"/>
                  <a:gd name="T76" fmla="*/ 126108 w 1068"/>
                  <a:gd name="T77" fmla="*/ 23341 h 1056"/>
                  <a:gd name="T78" fmla="*/ 143570 w 1068"/>
                  <a:gd name="T79" fmla="*/ 3890 h 1056"/>
                  <a:gd name="T80" fmla="*/ 166851 w 1068"/>
                  <a:gd name="T81" fmla="*/ 19451 h 1056"/>
                  <a:gd name="T82" fmla="*/ 195954 w 1068"/>
                  <a:gd name="T83" fmla="*/ 23341 h 1056"/>
                  <a:gd name="T84" fmla="*/ 211475 w 1068"/>
                  <a:gd name="T85" fmla="*/ 10698 h 1056"/>
                  <a:gd name="T86" fmla="*/ 234756 w 1068"/>
                  <a:gd name="T87" fmla="*/ 10698 h 1056"/>
                  <a:gd name="T88" fmla="*/ 249308 w 1068"/>
                  <a:gd name="T89" fmla="*/ 8753 h 1056"/>
                  <a:gd name="T90" fmla="*/ 266768 w 1068"/>
                  <a:gd name="T91" fmla="*/ 0 h 1056"/>
                  <a:gd name="T92" fmla="*/ 275499 w 1068"/>
                  <a:gd name="T93" fmla="*/ 3890 h 1056"/>
                  <a:gd name="T94" fmla="*/ 290050 w 1068"/>
                  <a:gd name="T95" fmla="*/ 6808 h 1056"/>
                  <a:gd name="T96" fmla="*/ 309452 w 1068"/>
                  <a:gd name="T97" fmla="*/ 12643 h 1056"/>
                  <a:gd name="T98" fmla="*/ 324003 w 1068"/>
                  <a:gd name="T99" fmla="*/ 19451 h 1056"/>
                  <a:gd name="T100" fmla="*/ 343404 w 1068"/>
                  <a:gd name="T101" fmla="*/ 14588 h 1056"/>
                  <a:gd name="T102" fmla="*/ 354074 w 1068"/>
                  <a:gd name="T103" fmla="*/ 26259 h 1056"/>
                  <a:gd name="T104" fmla="*/ 371536 w 1068"/>
                  <a:gd name="T105" fmla="*/ 37929 h 1056"/>
                  <a:gd name="T106" fmla="*/ 367656 w 1068"/>
                  <a:gd name="T107" fmla="*/ 56408 h 1056"/>
                  <a:gd name="T108" fmla="*/ 371536 w 1068"/>
                  <a:gd name="T109" fmla="*/ 74886 h 1056"/>
                  <a:gd name="T110" fmla="*/ 352135 w 1068"/>
                  <a:gd name="T111" fmla="*/ 92392 h 1056"/>
                  <a:gd name="T112" fmla="*/ 346314 w 1068"/>
                  <a:gd name="T113" fmla="*/ 121568 h 1056"/>
                  <a:gd name="T114" fmla="*/ 337584 w 1068"/>
                  <a:gd name="T115" fmla="*/ 141019 h 1056"/>
                  <a:gd name="T116" fmla="*/ 335643 w 1068"/>
                  <a:gd name="T117" fmla="*/ 165333 h 1056"/>
                  <a:gd name="T118" fmla="*/ 342434 w 1068"/>
                  <a:gd name="T119" fmla="*/ 192564 h 1056"/>
                  <a:gd name="T120" fmla="*/ 346314 w 1068"/>
                  <a:gd name="T121" fmla="*/ 220768 h 1056"/>
                  <a:gd name="T122" fmla="*/ 354074 w 1068"/>
                  <a:gd name="T123" fmla="*/ 245082 h 1056"/>
                  <a:gd name="T124" fmla="*/ 367656 w 1068"/>
                  <a:gd name="T125" fmla="*/ 270368 h 10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68" h="1056">
                    <a:moveTo>
                      <a:pt x="1038" y="756"/>
                    </a:moveTo>
                    <a:lnTo>
                      <a:pt x="1032" y="762"/>
                    </a:lnTo>
                    <a:lnTo>
                      <a:pt x="1026" y="762"/>
                    </a:lnTo>
                    <a:lnTo>
                      <a:pt x="1020" y="762"/>
                    </a:lnTo>
                    <a:lnTo>
                      <a:pt x="1014" y="762"/>
                    </a:lnTo>
                    <a:lnTo>
                      <a:pt x="1008" y="762"/>
                    </a:lnTo>
                    <a:lnTo>
                      <a:pt x="1002" y="762"/>
                    </a:lnTo>
                    <a:lnTo>
                      <a:pt x="990" y="762"/>
                    </a:lnTo>
                    <a:lnTo>
                      <a:pt x="984" y="768"/>
                    </a:lnTo>
                    <a:lnTo>
                      <a:pt x="978" y="768"/>
                    </a:lnTo>
                    <a:lnTo>
                      <a:pt x="972" y="768"/>
                    </a:lnTo>
                    <a:lnTo>
                      <a:pt x="966" y="768"/>
                    </a:lnTo>
                    <a:lnTo>
                      <a:pt x="960" y="768"/>
                    </a:lnTo>
                    <a:lnTo>
                      <a:pt x="954" y="768"/>
                    </a:lnTo>
                    <a:lnTo>
                      <a:pt x="948" y="768"/>
                    </a:lnTo>
                    <a:lnTo>
                      <a:pt x="942" y="774"/>
                    </a:lnTo>
                    <a:lnTo>
                      <a:pt x="936" y="774"/>
                    </a:lnTo>
                    <a:lnTo>
                      <a:pt x="930" y="774"/>
                    </a:lnTo>
                    <a:lnTo>
                      <a:pt x="936" y="780"/>
                    </a:lnTo>
                    <a:lnTo>
                      <a:pt x="936" y="786"/>
                    </a:lnTo>
                    <a:lnTo>
                      <a:pt x="930" y="786"/>
                    </a:lnTo>
                    <a:lnTo>
                      <a:pt x="930" y="792"/>
                    </a:lnTo>
                    <a:lnTo>
                      <a:pt x="924" y="798"/>
                    </a:lnTo>
                    <a:lnTo>
                      <a:pt x="924" y="804"/>
                    </a:lnTo>
                    <a:lnTo>
                      <a:pt x="918" y="804"/>
                    </a:lnTo>
                    <a:lnTo>
                      <a:pt x="918" y="810"/>
                    </a:lnTo>
                    <a:lnTo>
                      <a:pt x="912" y="810"/>
                    </a:lnTo>
                    <a:lnTo>
                      <a:pt x="906" y="810"/>
                    </a:lnTo>
                    <a:lnTo>
                      <a:pt x="906" y="816"/>
                    </a:lnTo>
                    <a:lnTo>
                      <a:pt x="900" y="816"/>
                    </a:lnTo>
                    <a:lnTo>
                      <a:pt x="900" y="822"/>
                    </a:lnTo>
                    <a:lnTo>
                      <a:pt x="900" y="828"/>
                    </a:lnTo>
                    <a:lnTo>
                      <a:pt x="906" y="828"/>
                    </a:lnTo>
                    <a:lnTo>
                      <a:pt x="906" y="822"/>
                    </a:lnTo>
                    <a:lnTo>
                      <a:pt x="912" y="822"/>
                    </a:lnTo>
                    <a:lnTo>
                      <a:pt x="912" y="828"/>
                    </a:lnTo>
                    <a:lnTo>
                      <a:pt x="912" y="834"/>
                    </a:lnTo>
                    <a:lnTo>
                      <a:pt x="918" y="834"/>
                    </a:lnTo>
                    <a:lnTo>
                      <a:pt x="912" y="834"/>
                    </a:lnTo>
                    <a:lnTo>
                      <a:pt x="918" y="834"/>
                    </a:lnTo>
                    <a:lnTo>
                      <a:pt x="918" y="840"/>
                    </a:lnTo>
                    <a:lnTo>
                      <a:pt x="918" y="846"/>
                    </a:lnTo>
                    <a:lnTo>
                      <a:pt x="918" y="852"/>
                    </a:lnTo>
                    <a:lnTo>
                      <a:pt x="918" y="858"/>
                    </a:lnTo>
                    <a:lnTo>
                      <a:pt x="918" y="864"/>
                    </a:lnTo>
                    <a:lnTo>
                      <a:pt x="918" y="870"/>
                    </a:lnTo>
                    <a:lnTo>
                      <a:pt x="912" y="870"/>
                    </a:lnTo>
                    <a:lnTo>
                      <a:pt x="912" y="876"/>
                    </a:lnTo>
                    <a:lnTo>
                      <a:pt x="918" y="876"/>
                    </a:lnTo>
                    <a:lnTo>
                      <a:pt x="918" y="882"/>
                    </a:lnTo>
                    <a:lnTo>
                      <a:pt x="918" y="888"/>
                    </a:lnTo>
                    <a:lnTo>
                      <a:pt x="918" y="894"/>
                    </a:lnTo>
                    <a:lnTo>
                      <a:pt x="918" y="900"/>
                    </a:lnTo>
                    <a:lnTo>
                      <a:pt x="912" y="900"/>
                    </a:lnTo>
                    <a:lnTo>
                      <a:pt x="912" y="906"/>
                    </a:lnTo>
                    <a:lnTo>
                      <a:pt x="912" y="912"/>
                    </a:lnTo>
                    <a:lnTo>
                      <a:pt x="912" y="918"/>
                    </a:lnTo>
                    <a:lnTo>
                      <a:pt x="906" y="918"/>
                    </a:lnTo>
                    <a:lnTo>
                      <a:pt x="906" y="924"/>
                    </a:lnTo>
                    <a:lnTo>
                      <a:pt x="906" y="930"/>
                    </a:lnTo>
                    <a:lnTo>
                      <a:pt x="906" y="936"/>
                    </a:lnTo>
                    <a:lnTo>
                      <a:pt x="906" y="942"/>
                    </a:lnTo>
                    <a:lnTo>
                      <a:pt x="900" y="948"/>
                    </a:lnTo>
                    <a:lnTo>
                      <a:pt x="906" y="948"/>
                    </a:lnTo>
                    <a:lnTo>
                      <a:pt x="906" y="954"/>
                    </a:lnTo>
                    <a:lnTo>
                      <a:pt x="906" y="960"/>
                    </a:lnTo>
                    <a:lnTo>
                      <a:pt x="906" y="966"/>
                    </a:lnTo>
                    <a:lnTo>
                      <a:pt x="912" y="966"/>
                    </a:lnTo>
                    <a:lnTo>
                      <a:pt x="918" y="966"/>
                    </a:lnTo>
                    <a:lnTo>
                      <a:pt x="918" y="972"/>
                    </a:lnTo>
                    <a:lnTo>
                      <a:pt x="924" y="972"/>
                    </a:lnTo>
                    <a:lnTo>
                      <a:pt x="924" y="978"/>
                    </a:lnTo>
                    <a:lnTo>
                      <a:pt x="930" y="978"/>
                    </a:lnTo>
                    <a:lnTo>
                      <a:pt x="930" y="984"/>
                    </a:lnTo>
                    <a:lnTo>
                      <a:pt x="936" y="984"/>
                    </a:lnTo>
                    <a:lnTo>
                      <a:pt x="936" y="990"/>
                    </a:lnTo>
                    <a:lnTo>
                      <a:pt x="936" y="996"/>
                    </a:lnTo>
                    <a:lnTo>
                      <a:pt x="942" y="996"/>
                    </a:lnTo>
                    <a:lnTo>
                      <a:pt x="948" y="996"/>
                    </a:lnTo>
                    <a:lnTo>
                      <a:pt x="954" y="996"/>
                    </a:lnTo>
                    <a:lnTo>
                      <a:pt x="960" y="996"/>
                    </a:lnTo>
                    <a:lnTo>
                      <a:pt x="966" y="1002"/>
                    </a:lnTo>
                    <a:lnTo>
                      <a:pt x="966" y="996"/>
                    </a:lnTo>
                    <a:lnTo>
                      <a:pt x="960" y="990"/>
                    </a:lnTo>
                    <a:lnTo>
                      <a:pt x="966" y="984"/>
                    </a:lnTo>
                    <a:lnTo>
                      <a:pt x="972" y="984"/>
                    </a:lnTo>
                    <a:lnTo>
                      <a:pt x="978" y="984"/>
                    </a:lnTo>
                    <a:lnTo>
                      <a:pt x="984" y="984"/>
                    </a:lnTo>
                    <a:lnTo>
                      <a:pt x="984" y="990"/>
                    </a:lnTo>
                    <a:lnTo>
                      <a:pt x="984" y="996"/>
                    </a:lnTo>
                    <a:lnTo>
                      <a:pt x="984" y="1002"/>
                    </a:lnTo>
                    <a:lnTo>
                      <a:pt x="984" y="1008"/>
                    </a:lnTo>
                    <a:lnTo>
                      <a:pt x="984" y="1014"/>
                    </a:lnTo>
                    <a:lnTo>
                      <a:pt x="984" y="1020"/>
                    </a:lnTo>
                    <a:lnTo>
                      <a:pt x="984" y="1026"/>
                    </a:lnTo>
                    <a:lnTo>
                      <a:pt x="984" y="1032"/>
                    </a:lnTo>
                    <a:lnTo>
                      <a:pt x="984" y="1038"/>
                    </a:lnTo>
                    <a:lnTo>
                      <a:pt x="984" y="1044"/>
                    </a:lnTo>
                    <a:lnTo>
                      <a:pt x="984" y="1050"/>
                    </a:lnTo>
                    <a:lnTo>
                      <a:pt x="984" y="1056"/>
                    </a:lnTo>
                    <a:lnTo>
                      <a:pt x="978" y="1056"/>
                    </a:lnTo>
                    <a:lnTo>
                      <a:pt x="972" y="1056"/>
                    </a:lnTo>
                    <a:lnTo>
                      <a:pt x="972" y="1050"/>
                    </a:lnTo>
                    <a:lnTo>
                      <a:pt x="972" y="1044"/>
                    </a:lnTo>
                    <a:lnTo>
                      <a:pt x="966" y="1044"/>
                    </a:lnTo>
                    <a:lnTo>
                      <a:pt x="960" y="1044"/>
                    </a:lnTo>
                    <a:lnTo>
                      <a:pt x="960" y="1050"/>
                    </a:lnTo>
                    <a:lnTo>
                      <a:pt x="954" y="1050"/>
                    </a:lnTo>
                    <a:lnTo>
                      <a:pt x="948" y="1050"/>
                    </a:lnTo>
                    <a:lnTo>
                      <a:pt x="948" y="1056"/>
                    </a:lnTo>
                    <a:lnTo>
                      <a:pt x="948" y="1050"/>
                    </a:lnTo>
                    <a:lnTo>
                      <a:pt x="942" y="1050"/>
                    </a:lnTo>
                    <a:lnTo>
                      <a:pt x="936" y="1050"/>
                    </a:lnTo>
                    <a:lnTo>
                      <a:pt x="936" y="1056"/>
                    </a:lnTo>
                    <a:lnTo>
                      <a:pt x="936" y="1050"/>
                    </a:lnTo>
                    <a:lnTo>
                      <a:pt x="936" y="1044"/>
                    </a:lnTo>
                    <a:lnTo>
                      <a:pt x="930" y="1044"/>
                    </a:lnTo>
                    <a:lnTo>
                      <a:pt x="930" y="1038"/>
                    </a:lnTo>
                    <a:lnTo>
                      <a:pt x="930" y="1032"/>
                    </a:lnTo>
                    <a:lnTo>
                      <a:pt x="924" y="1032"/>
                    </a:lnTo>
                    <a:lnTo>
                      <a:pt x="924" y="1026"/>
                    </a:lnTo>
                    <a:lnTo>
                      <a:pt x="924" y="1020"/>
                    </a:lnTo>
                    <a:lnTo>
                      <a:pt x="918" y="1020"/>
                    </a:lnTo>
                    <a:lnTo>
                      <a:pt x="912" y="1020"/>
                    </a:lnTo>
                    <a:lnTo>
                      <a:pt x="912" y="1026"/>
                    </a:lnTo>
                    <a:lnTo>
                      <a:pt x="912" y="1020"/>
                    </a:lnTo>
                    <a:lnTo>
                      <a:pt x="912" y="1014"/>
                    </a:lnTo>
                    <a:lnTo>
                      <a:pt x="906" y="1014"/>
                    </a:lnTo>
                    <a:lnTo>
                      <a:pt x="912" y="1014"/>
                    </a:lnTo>
                    <a:lnTo>
                      <a:pt x="912" y="1008"/>
                    </a:lnTo>
                    <a:lnTo>
                      <a:pt x="906" y="1008"/>
                    </a:lnTo>
                    <a:lnTo>
                      <a:pt x="906" y="1002"/>
                    </a:lnTo>
                    <a:lnTo>
                      <a:pt x="900" y="1002"/>
                    </a:lnTo>
                    <a:lnTo>
                      <a:pt x="900" y="996"/>
                    </a:lnTo>
                    <a:lnTo>
                      <a:pt x="894" y="996"/>
                    </a:lnTo>
                    <a:lnTo>
                      <a:pt x="888" y="996"/>
                    </a:lnTo>
                    <a:lnTo>
                      <a:pt x="888" y="990"/>
                    </a:lnTo>
                    <a:lnTo>
                      <a:pt x="882" y="990"/>
                    </a:lnTo>
                    <a:lnTo>
                      <a:pt x="876" y="990"/>
                    </a:lnTo>
                    <a:lnTo>
                      <a:pt x="876" y="984"/>
                    </a:lnTo>
                    <a:lnTo>
                      <a:pt x="870" y="984"/>
                    </a:lnTo>
                    <a:lnTo>
                      <a:pt x="870" y="990"/>
                    </a:lnTo>
                    <a:lnTo>
                      <a:pt x="864" y="990"/>
                    </a:lnTo>
                    <a:lnTo>
                      <a:pt x="858" y="990"/>
                    </a:lnTo>
                    <a:lnTo>
                      <a:pt x="858" y="984"/>
                    </a:lnTo>
                    <a:lnTo>
                      <a:pt x="852" y="984"/>
                    </a:lnTo>
                    <a:lnTo>
                      <a:pt x="852" y="978"/>
                    </a:lnTo>
                    <a:lnTo>
                      <a:pt x="852" y="972"/>
                    </a:lnTo>
                    <a:lnTo>
                      <a:pt x="852" y="966"/>
                    </a:lnTo>
                    <a:lnTo>
                      <a:pt x="846" y="966"/>
                    </a:lnTo>
                    <a:lnTo>
                      <a:pt x="846" y="960"/>
                    </a:lnTo>
                    <a:lnTo>
                      <a:pt x="840" y="960"/>
                    </a:lnTo>
                    <a:lnTo>
                      <a:pt x="840" y="954"/>
                    </a:lnTo>
                    <a:lnTo>
                      <a:pt x="840" y="948"/>
                    </a:lnTo>
                    <a:lnTo>
                      <a:pt x="834" y="948"/>
                    </a:lnTo>
                    <a:lnTo>
                      <a:pt x="828" y="948"/>
                    </a:lnTo>
                    <a:lnTo>
                      <a:pt x="828" y="954"/>
                    </a:lnTo>
                    <a:lnTo>
                      <a:pt x="828" y="960"/>
                    </a:lnTo>
                    <a:lnTo>
                      <a:pt x="828" y="966"/>
                    </a:lnTo>
                    <a:lnTo>
                      <a:pt x="822" y="966"/>
                    </a:lnTo>
                    <a:lnTo>
                      <a:pt x="822" y="972"/>
                    </a:lnTo>
                    <a:lnTo>
                      <a:pt x="816" y="972"/>
                    </a:lnTo>
                    <a:lnTo>
                      <a:pt x="810" y="972"/>
                    </a:lnTo>
                    <a:lnTo>
                      <a:pt x="804" y="972"/>
                    </a:lnTo>
                    <a:lnTo>
                      <a:pt x="798" y="972"/>
                    </a:lnTo>
                    <a:lnTo>
                      <a:pt x="798" y="966"/>
                    </a:lnTo>
                    <a:lnTo>
                      <a:pt x="792" y="966"/>
                    </a:lnTo>
                    <a:lnTo>
                      <a:pt x="792" y="972"/>
                    </a:lnTo>
                    <a:lnTo>
                      <a:pt x="786" y="972"/>
                    </a:lnTo>
                    <a:lnTo>
                      <a:pt x="780" y="966"/>
                    </a:lnTo>
                    <a:lnTo>
                      <a:pt x="774" y="972"/>
                    </a:lnTo>
                    <a:lnTo>
                      <a:pt x="768" y="966"/>
                    </a:lnTo>
                    <a:lnTo>
                      <a:pt x="768" y="972"/>
                    </a:lnTo>
                    <a:lnTo>
                      <a:pt x="768" y="966"/>
                    </a:lnTo>
                    <a:lnTo>
                      <a:pt x="762" y="966"/>
                    </a:lnTo>
                    <a:lnTo>
                      <a:pt x="762" y="960"/>
                    </a:lnTo>
                    <a:lnTo>
                      <a:pt x="756" y="960"/>
                    </a:lnTo>
                    <a:lnTo>
                      <a:pt x="750" y="960"/>
                    </a:lnTo>
                    <a:lnTo>
                      <a:pt x="750" y="954"/>
                    </a:lnTo>
                    <a:lnTo>
                      <a:pt x="750" y="960"/>
                    </a:lnTo>
                    <a:lnTo>
                      <a:pt x="744" y="960"/>
                    </a:lnTo>
                    <a:lnTo>
                      <a:pt x="744" y="954"/>
                    </a:lnTo>
                    <a:lnTo>
                      <a:pt x="738" y="954"/>
                    </a:lnTo>
                    <a:lnTo>
                      <a:pt x="732" y="954"/>
                    </a:lnTo>
                    <a:lnTo>
                      <a:pt x="732" y="948"/>
                    </a:lnTo>
                    <a:lnTo>
                      <a:pt x="732" y="942"/>
                    </a:lnTo>
                    <a:lnTo>
                      <a:pt x="732" y="936"/>
                    </a:lnTo>
                    <a:lnTo>
                      <a:pt x="732" y="930"/>
                    </a:lnTo>
                    <a:lnTo>
                      <a:pt x="732" y="924"/>
                    </a:lnTo>
                    <a:lnTo>
                      <a:pt x="732" y="930"/>
                    </a:lnTo>
                    <a:lnTo>
                      <a:pt x="726" y="930"/>
                    </a:lnTo>
                    <a:lnTo>
                      <a:pt x="720" y="930"/>
                    </a:lnTo>
                    <a:lnTo>
                      <a:pt x="714" y="930"/>
                    </a:lnTo>
                    <a:lnTo>
                      <a:pt x="708" y="930"/>
                    </a:lnTo>
                    <a:lnTo>
                      <a:pt x="702" y="930"/>
                    </a:lnTo>
                    <a:lnTo>
                      <a:pt x="702" y="936"/>
                    </a:lnTo>
                    <a:lnTo>
                      <a:pt x="696" y="936"/>
                    </a:lnTo>
                    <a:lnTo>
                      <a:pt x="690" y="942"/>
                    </a:lnTo>
                    <a:lnTo>
                      <a:pt x="684" y="942"/>
                    </a:lnTo>
                    <a:lnTo>
                      <a:pt x="678" y="942"/>
                    </a:lnTo>
                    <a:lnTo>
                      <a:pt x="678" y="936"/>
                    </a:lnTo>
                    <a:lnTo>
                      <a:pt x="672" y="936"/>
                    </a:lnTo>
                    <a:lnTo>
                      <a:pt x="678" y="936"/>
                    </a:lnTo>
                    <a:lnTo>
                      <a:pt x="678" y="930"/>
                    </a:lnTo>
                    <a:lnTo>
                      <a:pt x="678" y="924"/>
                    </a:lnTo>
                    <a:lnTo>
                      <a:pt x="678" y="918"/>
                    </a:lnTo>
                    <a:lnTo>
                      <a:pt x="672" y="918"/>
                    </a:lnTo>
                    <a:lnTo>
                      <a:pt x="666" y="918"/>
                    </a:lnTo>
                    <a:lnTo>
                      <a:pt x="666" y="912"/>
                    </a:lnTo>
                    <a:lnTo>
                      <a:pt x="660" y="912"/>
                    </a:lnTo>
                    <a:lnTo>
                      <a:pt x="654" y="912"/>
                    </a:lnTo>
                    <a:lnTo>
                      <a:pt x="654" y="918"/>
                    </a:lnTo>
                    <a:lnTo>
                      <a:pt x="648" y="918"/>
                    </a:lnTo>
                    <a:lnTo>
                      <a:pt x="642" y="918"/>
                    </a:lnTo>
                    <a:lnTo>
                      <a:pt x="636" y="918"/>
                    </a:lnTo>
                    <a:lnTo>
                      <a:pt x="636" y="912"/>
                    </a:lnTo>
                    <a:lnTo>
                      <a:pt x="630" y="912"/>
                    </a:lnTo>
                    <a:lnTo>
                      <a:pt x="624" y="912"/>
                    </a:lnTo>
                    <a:lnTo>
                      <a:pt x="624" y="918"/>
                    </a:lnTo>
                    <a:lnTo>
                      <a:pt x="618" y="918"/>
                    </a:lnTo>
                    <a:lnTo>
                      <a:pt x="612" y="918"/>
                    </a:lnTo>
                    <a:lnTo>
                      <a:pt x="612" y="924"/>
                    </a:lnTo>
                    <a:lnTo>
                      <a:pt x="612" y="918"/>
                    </a:lnTo>
                    <a:lnTo>
                      <a:pt x="612" y="924"/>
                    </a:lnTo>
                    <a:lnTo>
                      <a:pt x="606" y="924"/>
                    </a:lnTo>
                    <a:lnTo>
                      <a:pt x="600" y="924"/>
                    </a:lnTo>
                    <a:lnTo>
                      <a:pt x="600" y="918"/>
                    </a:lnTo>
                    <a:lnTo>
                      <a:pt x="594" y="918"/>
                    </a:lnTo>
                    <a:lnTo>
                      <a:pt x="594" y="924"/>
                    </a:lnTo>
                    <a:lnTo>
                      <a:pt x="588" y="924"/>
                    </a:lnTo>
                    <a:lnTo>
                      <a:pt x="582" y="918"/>
                    </a:lnTo>
                    <a:lnTo>
                      <a:pt x="576" y="918"/>
                    </a:lnTo>
                    <a:lnTo>
                      <a:pt x="576" y="924"/>
                    </a:lnTo>
                    <a:lnTo>
                      <a:pt x="570" y="924"/>
                    </a:lnTo>
                    <a:lnTo>
                      <a:pt x="564" y="924"/>
                    </a:lnTo>
                    <a:lnTo>
                      <a:pt x="564" y="930"/>
                    </a:lnTo>
                    <a:lnTo>
                      <a:pt x="564" y="924"/>
                    </a:lnTo>
                    <a:lnTo>
                      <a:pt x="558" y="924"/>
                    </a:lnTo>
                    <a:lnTo>
                      <a:pt x="558" y="918"/>
                    </a:lnTo>
                    <a:lnTo>
                      <a:pt x="558" y="912"/>
                    </a:lnTo>
                    <a:lnTo>
                      <a:pt x="558" y="906"/>
                    </a:lnTo>
                    <a:lnTo>
                      <a:pt x="564" y="906"/>
                    </a:lnTo>
                    <a:lnTo>
                      <a:pt x="564" y="900"/>
                    </a:lnTo>
                    <a:lnTo>
                      <a:pt x="564" y="894"/>
                    </a:lnTo>
                    <a:lnTo>
                      <a:pt x="564" y="888"/>
                    </a:lnTo>
                    <a:lnTo>
                      <a:pt x="564" y="882"/>
                    </a:lnTo>
                    <a:lnTo>
                      <a:pt x="564" y="876"/>
                    </a:lnTo>
                    <a:lnTo>
                      <a:pt x="564" y="870"/>
                    </a:lnTo>
                    <a:lnTo>
                      <a:pt x="558" y="870"/>
                    </a:lnTo>
                    <a:lnTo>
                      <a:pt x="558" y="864"/>
                    </a:lnTo>
                    <a:lnTo>
                      <a:pt x="558" y="858"/>
                    </a:lnTo>
                    <a:lnTo>
                      <a:pt x="558" y="852"/>
                    </a:lnTo>
                    <a:lnTo>
                      <a:pt x="552" y="852"/>
                    </a:lnTo>
                    <a:lnTo>
                      <a:pt x="546" y="852"/>
                    </a:lnTo>
                    <a:lnTo>
                      <a:pt x="546" y="846"/>
                    </a:lnTo>
                    <a:lnTo>
                      <a:pt x="546" y="840"/>
                    </a:lnTo>
                    <a:lnTo>
                      <a:pt x="540" y="840"/>
                    </a:lnTo>
                    <a:lnTo>
                      <a:pt x="540" y="834"/>
                    </a:lnTo>
                    <a:lnTo>
                      <a:pt x="540" y="828"/>
                    </a:lnTo>
                    <a:lnTo>
                      <a:pt x="534" y="828"/>
                    </a:lnTo>
                    <a:lnTo>
                      <a:pt x="534" y="822"/>
                    </a:lnTo>
                    <a:lnTo>
                      <a:pt x="540" y="822"/>
                    </a:lnTo>
                    <a:lnTo>
                      <a:pt x="540" y="816"/>
                    </a:lnTo>
                    <a:lnTo>
                      <a:pt x="540" y="810"/>
                    </a:lnTo>
                    <a:lnTo>
                      <a:pt x="540" y="804"/>
                    </a:lnTo>
                    <a:lnTo>
                      <a:pt x="540" y="798"/>
                    </a:lnTo>
                    <a:lnTo>
                      <a:pt x="540" y="792"/>
                    </a:lnTo>
                    <a:lnTo>
                      <a:pt x="540" y="786"/>
                    </a:lnTo>
                    <a:lnTo>
                      <a:pt x="540" y="780"/>
                    </a:lnTo>
                    <a:lnTo>
                      <a:pt x="546" y="780"/>
                    </a:lnTo>
                    <a:lnTo>
                      <a:pt x="540" y="780"/>
                    </a:lnTo>
                    <a:lnTo>
                      <a:pt x="546" y="780"/>
                    </a:lnTo>
                    <a:lnTo>
                      <a:pt x="546" y="774"/>
                    </a:lnTo>
                    <a:lnTo>
                      <a:pt x="546" y="768"/>
                    </a:lnTo>
                    <a:lnTo>
                      <a:pt x="540" y="768"/>
                    </a:lnTo>
                    <a:lnTo>
                      <a:pt x="546" y="768"/>
                    </a:lnTo>
                    <a:lnTo>
                      <a:pt x="546" y="762"/>
                    </a:lnTo>
                    <a:lnTo>
                      <a:pt x="540" y="762"/>
                    </a:lnTo>
                    <a:lnTo>
                      <a:pt x="540" y="756"/>
                    </a:lnTo>
                    <a:lnTo>
                      <a:pt x="540" y="750"/>
                    </a:lnTo>
                    <a:lnTo>
                      <a:pt x="534" y="750"/>
                    </a:lnTo>
                    <a:lnTo>
                      <a:pt x="534" y="744"/>
                    </a:lnTo>
                    <a:lnTo>
                      <a:pt x="534" y="738"/>
                    </a:lnTo>
                    <a:lnTo>
                      <a:pt x="534" y="732"/>
                    </a:lnTo>
                    <a:lnTo>
                      <a:pt x="534" y="726"/>
                    </a:lnTo>
                    <a:lnTo>
                      <a:pt x="540" y="726"/>
                    </a:lnTo>
                    <a:lnTo>
                      <a:pt x="540" y="720"/>
                    </a:lnTo>
                    <a:lnTo>
                      <a:pt x="540" y="714"/>
                    </a:lnTo>
                    <a:lnTo>
                      <a:pt x="540" y="708"/>
                    </a:lnTo>
                    <a:lnTo>
                      <a:pt x="534" y="708"/>
                    </a:lnTo>
                    <a:lnTo>
                      <a:pt x="528" y="708"/>
                    </a:lnTo>
                    <a:lnTo>
                      <a:pt x="522" y="708"/>
                    </a:lnTo>
                    <a:lnTo>
                      <a:pt x="516" y="708"/>
                    </a:lnTo>
                    <a:lnTo>
                      <a:pt x="510" y="708"/>
                    </a:lnTo>
                    <a:lnTo>
                      <a:pt x="504" y="708"/>
                    </a:lnTo>
                    <a:lnTo>
                      <a:pt x="492" y="708"/>
                    </a:lnTo>
                    <a:lnTo>
                      <a:pt x="486" y="708"/>
                    </a:lnTo>
                    <a:lnTo>
                      <a:pt x="480" y="708"/>
                    </a:lnTo>
                    <a:lnTo>
                      <a:pt x="474" y="708"/>
                    </a:lnTo>
                    <a:lnTo>
                      <a:pt x="468" y="708"/>
                    </a:lnTo>
                    <a:lnTo>
                      <a:pt x="468" y="702"/>
                    </a:lnTo>
                    <a:lnTo>
                      <a:pt x="468" y="696"/>
                    </a:lnTo>
                    <a:lnTo>
                      <a:pt x="468" y="690"/>
                    </a:lnTo>
                    <a:lnTo>
                      <a:pt x="468" y="684"/>
                    </a:lnTo>
                    <a:lnTo>
                      <a:pt x="462" y="684"/>
                    </a:lnTo>
                    <a:lnTo>
                      <a:pt x="456" y="684"/>
                    </a:lnTo>
                    <a:lnTo>
                      <a:pt x="456" y="690"/>
                    </a:lnTo>
                    <a:lnTo>
                      <a:pt x="450" y="690"/>
                    </a:lnTo>
                    <a:lnTo>
                      <a:pt x="444" y="690"/>
                    </a:lnTo>
                    <a:lnTo>
                      <a:pt x="438" y="690"/>
                    </a:lnTo>
                    <a:lnTo>
                      <a:pt x="432" y="690"/>
                    </a:lnTo>
                    <a:lnTo>
                      <a:pt x="426" y="690"/>
                    </a:lnTo>
                    <a:lnTo>
                      <a:pt x="420" y="690"/>
                    </a:lnTo>
                    <a:lnTo>
                      <a:pt x="408" y="690"/>
                    </a:lnTo>
                    <a:lnTo>
                      <a:pt x="414" y="696"/>
                    </a:lnTo>
                    <a:lnTo>
                      <a:pt x="408" y="696"/>
                    </a:lnTo>
                    <a:lnTo>
                      <a:pt x="408" y="702"/>
                    </a:lnTo>
                    <a:lnTo>
                      <a:pt x="408" y="708"/>
                    </a:lnTo>
                    <a:lnTo>
                      <a:pt x="408" y="714"/>
                    </a:lnTo>
                    <a:lnTo>
                      <a:pt x="408" y="720"/>
                    </a:lnTo>
                    <a:lnTo>
                      <a:pt x="402" y="720"/>
                    </a:lnTo>
                    <a:lnTo>
                      <a:pt x="402" y="726"/>
                    </a:lnTo>
                    <a:lnTo>
                      <a:pt x="402" y="732"/>
                    </a:lnTo>
                    <a:lnTo>
                      <a:pt x="402" y="738"/>
                    </a:lnTo>
                    <a:lnTo>
                      <a:pt x="402" y="744"/>
                    </a:lnTo>
                    <a:lnTo>
                      <a:pt x="396" y="744"/>
                    </a:lnTo>
                    <a:lnTo>
                      <a:pt x="390" y="744"/>
                    </a:lnTo>
                    <a:lnTo>
                      <a:pt x="384" y="744"/>
                    </a:lnTo>
                    <a:lnTo>
                      <a:pt x="378" y="744"/>
                    </a:lnTo>
                    <a:lnTo>
                      <a:pt x="372" y="744"/>
                    </a:lnTo>
                    <a:lnTo>
                      <a:pt x="366" y="744"/>
                    </a:lnTo>
                    <a:lnTo>
                      <a:pt x="354" y="744"/>
                    </a:lnTo>
                    <a:lnTo>
                      <a:pt x="348" y="744"/>
                    </a:lnTo>
                    <a:lnTo>
                      <a:pt x="348" y="750"/>
                    </a:lnTo>
                    <a:lnTo>
                      <a:pt x="342" y="750"/>
                    </a:lnTo>
                    <a:lnTo>
                      <a:pt x="342" y="744"/>
                    </a:lnTo>
                    <a:lnTo>
                      <a:pt x="342" y="750"/>
                    </a:lnTo>
                    <a:lnTo>
                      <a:pt x="342" y="744"/>
                    </a:lnTo>
                    <a:lnTo>
                      <a:pt x="336" y="744"/>
                    </a:lnTo>
                    <a:lnTo>
                      <a:pt x="330" y="744"/>
                    </a:lnTo>
                    <a:lnTo>
                      <a:pt x="330" y="750"/>
                    </a:lnTo>
                    <a:lnTo>
                      <a:pt x="324" y="750"/>
                    </a:lnTo>
                    <a:lnTo>
                      <a:pt x="318" y="750"/>
                    </a:lnTo>
                    <a:lnTo>
                      <a:pt x="312" y="750"/>
                    </a:lnTo>
                    <a:lnTo>
                      <a:pt x="306" y="750"/>
                    </a:lnTo>
                    <a:lnTo>
                      <a:pt x="306" y="756"/>
                    </a:lnTo>
                    <a:lnTo>
                      <a:pt x="300" y="756"/>
                    </a:lnTo>
                    <a:lnTo>
                      <a:pt x="300" y="750"/>
                    </a:lnTo>
                    <a:lnTo>
                      <a:pt x="294" y="750"/>
                    </a:lnTo>
                    <a:lnTo>
                      <a:pt x="300" y="750"/>
                    </a:lnTo>
                    <a:lnTo>
                      <a:pt x="294" y="744"/>
                    </a:lnTo>
                    <a:lnTo>
                      <a:pt x="294" y="738"/>
                    </a:lnTo>
                    <a:lnTo>
                      <a:pt x="288" y="738"/>
                    </a:lnTo>
                    <a:lnTo>
                      <a:pt x="288" y="732"/>
                    </a:lnTo>
                    <a:lnTo>
                      <a:pt x="282" y="726"/>
                    </a:lnTo>
                    <a:lnTo>
                      <a:pt x="288" y="726"/>
                    </a:lnTo>
                    <a:lnTo>
                      <a:pt x="282" y="726"/>
                    </a:lnTo>
                    <a:lnTo>
                      <a:pt x="282" y="720"/>
                    </a:lnTo>
                    <a:lnTo>
                      <a:pt x="276" y="720"/>
                    </a:lnTo>
                    <a:lnTo>
                      <a:pt x="276" y="714"/>
                    </a:lnTo>
                    <a:lnTo>
                      <a:pt x="282" y="714"/>
                    </a:lnTo>
                    <a:lnTo>
                      <a:pt x="276" y="714"/>
                    </a:lnTo>
                    <a:lnTo>
                      <a:pt x="276" y="708"/>
                    </a:lnTo>
                    <a:lnTo>
                      <a:pt x="270" y="708"/>
                    </a:lnTo>
                    <a:lnTo>
                      <a:pt x="270" y="702"/>
                    </a:lnTo>
                    <a:lnTo>
                      <a:pt x="264" y="702"/>
                    </a:lnTo>
                    <a:lnTo>
                      <a:pt x="270" y="702"/>
                    </a:lnTo>
                    <a:lnTo>
                      <a:pt x="264" y="696"/>
                    </a:lnTo>
                    <a:lnTo>
                      <a:pt x="270" y="696"/>
                    </a:lnTo>
                    <a:lnTo>
                      <a:pt x="270" y="690"/>
                    </a:lnTo>
                    <a:lnTo>
                      <a:pt x="264" y="690"/>
                    </a:lnTo>
                    <a:lnTo>
                      <a:pt x="264" y="684"/>
                    </a:lnTo>
                    <a:lnTo>
                      <a:pt x="264" y="678"/>
                    </a:lnTo>
                    <a:lnTo>
                      <a:pt x="258" y="678"/>
                    </a:lnTo>
                    <a:lnTo>
                      <a:pt x="258" y="672"/>
                    </a:lnTo>
                    <a:lnTo>
                      <a:pt x="258" y="666"/>
                    </a:lnTo>
                    <a:lnTo>
                      <a:pt x="252" y="666"/>
                    </a:lnTo>
                    <a:lnTo>
                      <a:pt x="258" y="666"/>
                    </a:lnTo>
                    <a:lnTo>
                      <a:pt x="252" y="660"/>
                    </a:lnTo>
                    <a:lnTo>
                      <a:pt x="252" y="654"/>
                    </a:lnTo>
                    <a:lnTo>
                      <a:pt x="252" y="660"/>
                    </a:lnTo>
                    <a:lnTo>
                      <a:pt x="252" y="654"/>
                    </a:lnTo>
                    <a:lnTo>
                      <a:pt x="252" y="648"/>
                    </a:lnTo>
                    <a:lnTo>
                      <a:pt x="252" y="642"/>
                    </a:lnTo>
                    <a:lnTo>
                      <a:pt x="246" y="642"/>
                    </a:lnTo>
                    <a:lnTo>
                      <a:pt x="252" y="642"/>
                    </a:lnTo>
                    <a:lnTo>
                      <a:pt x="246" y="642"/>
                    </a:lnTo>
                    <a:lnTo>
                      <a:pt x="246" y="636"/>
                    </a:lnTo>
                    <a:lnTo>
                      <a:pt x="246" y="630"/>
                    </a:lnTo>
                    <a:lnTo>
                      <a:pt x="240" y="630"/>
                    </a:lnTo>
                    <a:lnTo>
                      <a:pt x="234" y="630"/>
                    </a:lnTo>
                    <a:lnTo>
                      <a:pt x="234" y="624"/>
                    </a:lnTo>
                    <a:lnTo>
                      <a:pt x="228" y="624"/>
                    </a:lnTo>
                    <a:lnTo>
                      <a:pt x="222" y="624"/>
                    </a:lnTo>
                    <a:lnTo>
                      <a:pt x="222" y="630"/>
                    </a:lnTo>
                    <a:lnTo>
                      <a:pt x="216" y="630"/>
                    </a:lnTo>
                    <a:lnTo>
                      <a:pt x="216" y="624"/>
                    </a:lnTo>
                    <a:lnTo>
                      <a:pt x="216" y="630"/>
                    </a:lnTo>
                    <a:lnTo>
                      <a:pt x="210" y="630"/>
                    </a:lnTo>
                    <a:lnTo>
                      <a:pt x="204" y="630"/>
                    </a:lnTo>
                    <a:lnTo>
                      <a:pt x="198" y="624"/>
                    </a:lnTo>
                    <a:lnTo>
                      <a:pt x="192" y="624"/>
                    </a:lnTo>
                    <a:lnTo>
                      <a:pt x="186" y="630"/>
                    </a:lnTo>
                    <a:lnTo>
                      <a:pt x="180" y="630"/>
                    </a:lnTo>
                    <a:lnTo>
                      <a:pt x="174" y="630"/>
                    </a:lnTo>
                    <a:lnTo>
                      <a:pt x="168" y="624"/>
                    </a:lnTo>
                    <a:lnTo>
                      <a:pt x="162" y="624"/>
                    </a:lnTo>
                    <a:lnTo>
                      <a:pt x="156" y="624"/>
                    </a:lnTo>
                    <a:lnTo>
                      <a:pt x="156" y="630"/>
                    </a:lnTo>
                    <a:lnTo>
                      <a:pt x="150" y="630"/>
                    </a:lnTo>
                    <a:lnTo>
                      <a:pt x="144" y="630"/>
                    </a:lnTo>
                    <a:lnTo>
                      <a:pt x="138" y="630"/>
                    </a:lnTo>
                    <a:lnTo>
                      <a:pt x="132" y="630"/>
                    </a:lnTo>
                    <a:lnTo>
                      <a:pt x="126" y="630"/>
                    </a:lnTo>
                    <a:lnTo>
                      <a:pt x="120" y="630"/>
                    </a:lnTo>
                    <a:lnTo>
                      <a:pt x="114" y="630"/>
                    </a:lnTo>
                    <a:lnTo>
                      <a:pt x="114" y="624"/>
                    </a:lnTo>
                    <a:lnTo>
                      <a:pt x="108" y="624"/>
                    </a:lnTo>
                    <a:lnTo>
                      <a:pt x="108" y="630"/>
                    </a:lnTo>
                    <a:lnTo>
                      <a:pt x="102" y="630"/>
                    </a:lnTo>
                    <a:lnTo>
                      <a:pt x="102" y="624"/>
                    </a:lnTo>
                    <a:lnTo>
                      <a:pt x="96" y="624"/>
                    </a:lnTo>
                    <a:lnTo>
                      <a:pt x="90" y="630"/>
                    </a:lnTo>
                    <a:lnTo>
                      <a:pt x="84" y="630"/>
                    </a:lnTo>
                    <a:lnTo>
                      <a:pt x="78" y="630"/>
                    </a:lnTo>
                    <a:lnTo>
                      <a:pt x="72" y="624"/>
                    </a:lnTo>
                    <a:lnTo>
                      <a:pt x="66" y="624"/>
                    </a:lnTo>
                    <a:lnTo>
                      <a:pt x="66" y="630"/>
                    </a:lnTo>
                    <a:lnTo>
                      <a:pt x="60" y="624"/>
                    </a:lnTo>
                    <a:lnTo>
                      <a:pt x="54" y="630"/>
                    </a:lnTo>
                    <a:lnTo>
                      <a:pt x="48" y="630"/>
                    </a:lnTo>
                    <a:lnTo>
                      <a:pt x="48" y="624"/>
                    </a:lnTo>
                    <a:lnTo>
                      <a:pt x="48" y="630"/>
                    </a:lnTo>
                    <a:lnTo>
                      <a:pt x="42" y="630"/>
                    </a:lnTo>
                    <a:lnTo>
                      <a:pt x="36" y="630"/>
                    </a:lnTo>
                    <a:lnTo>
                      <a:pt x="30" y="630"/>
                    </a:lnTo>
                    <a:lnTo>
                      <a:pt x="30" y="636"/>
                    </a:lnTo>
                    <a:lnTo>
                      <a:pt x="24" y="636"/>
                    </a:lnTo>
                    <a:lnTo>
                      <a:pt x="18" y="636"/>
                    </a:lnTo>
                    <a:lnTo>
                      <a:pt x="12" y="636"/>
                    </a:lnTo>
                    <a:lnTo>
                      <a:pt x="18" y="636"/>
                    </a:lnTo>
                    <a:lnTo>
                      <a:pt x="18" y="630"/>
                    </a:lnTo>
                    <a:lnTo>
                      <a:pt x="12" y="636"/>
                    </a:lnTo>
                    <a:lnTo>
                      <a:pt x="12" y="630"/>
                    </a:lnTo>
                    <a:lnTo>
                      <a:pt x="6" y="630"/>
                    </a:lnTo>
                    <a:lnTo>
                      <a:pt x="6" y="624"/>
                    </a:lnTo>
                    <a:lnTo>
                      <a:pt x="0" y="624"/>
                    </a:lnTo>
                    <a:lnTo>
                      <a:pt x="0" y="618"/>
                    </a:lnTo>
                    <a:lnTo>
                      <a:pt x="6" y="618"/>
                    </a:lnTo>
                    <a:lnTo>
                      <a:pt x="12" y="618"/>
                    </a:lnTo>
                    <a:lnTo>
                      <a:pt x="18" y="618"/>
                    </a:lnTo>
                    <a:lnTo>
                      <a:pt x="18" y="612"/>
                    </a:lnTo>
                    <a:lnTo>
                      <a:pt x="18" y="606"/>
                    </a:lnTo>
                    <a:lnTo>
                      <a:pt x="18" y="600"/>
                    </a:lnTo>
                    <a:lnTo>
                      <a:pt x="18" y="594"/>
                    </a:lnTo>
                    <a:lnTo>
                      <a:pt x="18" y="588"/>
                    </a:lnTo>
                    <a:lnTo>
                      <a:pt x="18" y="582"/>
                    </a:lnTo>
                    <a:lnTo>
                      <a:pt x="24" y="582"/>
                    </a:lnTo>
                    <a:lnTo>
                      <a:pt x="24" y="576"/>
                    </a:lnTo>
                    <a:lnTo>
                      <a:pt x="30" y="576"/>
                    </a:lnTo>
                    <a:lnTo>
                      <a:pt x="30" y="570"/>
                    </a:lnTo>
                    <a:lnTo>
                      <a:pt x="36" y="570"/>
                    </a:lnTo>
                    <a:lnTo>
                      <a:pt x="36" y="564"/>
                    </a:lnTo>
                    <a:lnTo>
                      <a:pt x="42" y="564"/>
                    </a:lnTo>
                    <a:lnTo>
                      <a:pt x="48" y="564"/>
                    </a:lnTo>
                    <a:lnTo>
                      <a:pt x="48" y="558"/>
                    </a:lnTo>
                    <a:lnTo>
                      <a:pt x="54" y="558"/>
                    </a:lnTo>
                    <a:lnTo>
                      <a:pt x="60" y="558"/>
                    </a:lnTo>
                    <a:lnTo>
                      <a:pt x="60" y="564"/>
                    </a:lnTo>
                    <a:lnTo>
                      <a:pt x="66" y="564"/>
                    </a:lnTo>
                    <a:lnTo>
                      <a:pt x="66" y="570"/>
                    </a:lnTo>
                    <a:lnTo>
                      <a:pt x="72" y="576"/>
                    </a:lnTo>
                    <a:lnTo>
                      <a:pt x="72" y="570"/>
                    </a:lnTo>
                    <a:lnTo>
                      <a:pt x="78" y="570"/>
                    </a:lnTo>
                    <a:lnTo>
                      <a:pt x="78" y="564"/>
                    </a:lnTo>
                    <a:lnTo>
                      <a:pt x="84" y="564"/>
                    </a:lnTo>
                    <a:lnTo>
                      <a:pt x="84" y="558"/>
                    </a:lnTo>
                    <a:lnTo>
                      <a:pt x="90" y="558"/>
                    </a:lnTo>
                    <a:lnTo>
                      <a:pt x="90" y="552"/>
                    </a:lnTo>
                    <a:lnTo>
                      <a:pt x="84" y="552"/>
                    </a:lnTo>
                    <a:lnTo>
                      <a:pt x="84" y="546"/>
                    </a:lnTo>
                    <a:lnTo>
                      <a:pt x="90" y="546"/>
                    </a:lnTo>
                    <a:lnTo>
                      <a:pt x="96" y="546"/>
                    </a:lnTo>
                    <a:lnTo>
                      <a:pt x="96" y="552"/>
                    </a:lnTo>
                    <a:lnTo>
                      <a:pt x="102" y="552"/>
                    </a:lnTo>
                    <a:lnTo>
                      <a:pt x="102" y="546"/>
                    </a:lnTo>
                    <a:lnTo>
                      <a:pt x="108" y="546"/>
                    </a:lnTo>
                    <a:lnTo>
                      <a:pt x="114" y="546"/>
                    </a:lnTo>
                    <a:lnTo>
                      <a:pt x="114" y="540"/>
                    </a:lnTo>
                    <a:lnTo>
                      <a:pt x="120" y="540"/>
                    </a:lnTo>
                    <a:lnTo>
                      <a:pt x="126" y="540"/>
                    </a:lnTo>
                    <a:lnTo>
                      <a:pt x="126" y="546"/>
                    </a:lnTo>
                    <a:lnTo>
                      <a:pt x="126" y="552"/>
                    </a:lnTo>
                    <a:lnTo>
                      <a:pt x="120" y="552"/>
                    </a:lnTo>
                    <a:lnTo>
                      <a:pt x="120" y="558"/>
                    </a:lnTo>
                    <a:lnTo>
                      <a:pt x="126" y="558"/>
                    </a:lnTo>
                    <a:lnTo>
                      <a:pt x="120" y="558"/>
                    </a:lnTo>
                    <a:lnTo>
                      <a:pt x="126" y="558"/>
                    </a:lnTo>
                    <a:lnTo>
                      <a:pt x="126" y="564"/>
                    </a:lnTo>
                    <a:lnTo>
                      <a:pt x="126" y="570"/>
                    </a:lnTo>
                    <a:lnTo>
                      <a:pt x="132" y="570"/>
                    </a:lnTo>
                    <a:lnTo>
                      <a:pt x="138" y="570"/>
                    </a:lnTo>
                    <a:lnTo>
                      <a:pt x="138" y="576"/>
                    </a:lnTo>
                    <a:lnTo>
                      <a:pt x="144" y="570"/>
                    </a:lnTo>
                    <a:lnTo>
                      <a:pt x="150" y="570"/>
                    </a:lnTo>
                    <a:lnTo>
                      <a:pt x="150" y="564"/>
                    </a:lnTo>
                    <a:lnTo>
                      <a:pt x="150" y="558"/>
                    </a:lnTo>
                    <a:lnTo>
                      <a:pt x="156" y="558"/>
                    </a:lnTo>
                    <a:lnTo>
                      <a:pt x="162" y="552"/>
                    </a:lnTo>
                    <a:lnTo>
                      <a:pt x="168" y="546"/>
                    </a:lnTo>
                    <a:lnTo>
                      <a:pt x="168" y="540"/>
                    </a:lnTo>
                    <a:lnTo>
                      <a:pt x="174" y="540"/>
                    </a:lnTo>
                    <a:lnTo>
                      <a:pt x="180" y="540"/>
                    </a:lnTo>
                    <a:lnTo>
                      <a:pt x="186" y="540"/>
                    </a:lnTo>
                    <a:lnTo>
                      <a:pt x="186" y="534"/>
                    </a:lnTo>
                    <a:lnTo>
                      <a:pt x="186" y="528"/>
                    </a:lnTo>
                    <a:lnTo>
                      <a:pt x="186" y="522"/>
                    </a:lnTo>
                    <a:lnTo>
                      <a:pt x="192" y="522"/>
                    </a:lnTo>
                    <a:lnTo>
                      <a:pt x="198" y="522"/>
                    </a:lnTo>
                    <a:lnTo>
                      <a:pt x="204" y="522"/>
                    </a:lnTo>
                    <a:lnTo>
                      <a:pt x="210" y="522"/>
                    </a:lnTo>
                    <a:lnTo>
                      <a:pt x="210" y="516"/>
                    </a:lnTo>
                    <a:lnTo>
                      <a:pt x="210" y="510"/>
                    </a:lnTo>
                    <a:lnTo>
                      <a:pt x="216" y="510"/>
                    </a:lnTo>
                    <a:lnTo>
                      <a:pt x="216" y="504"/>
                    </a:lnTo>
                    <a:lnTo>
                      <a:pt x="216" y="498"/>
                    </a:lnTo>
                    <a:lnTo>
                      <a:pt x="222" y="498"/>
                    </a:lnTo>
                    <a:lnTo>
                      <a:pt x="222" y="492"/>
                    </a:lnTo>
                    <a:lnTo>
                      <a:pt x="222" y="486"/>
                    </a:lnTo>
                    <a:lnTo>
                      <a:pt x="228" y="486"/>
                    </a:lnTo>
                    <a:lnTo>
                      <a:pt x="228" y="480"/>
                    </a:lnTo>
                    <a:lnTo>
                      <a:pt x="222" y="480"/>
                    </a:lnTo>
                    <a:lnTo>
                      <a:pt x="222" y="474"/>
                    </a:lnTo>
                    <a:lnTo>
                      <a:pt x="222" y="468"/>
                    </a:lnTo>
                    <a:lnTo>
                      <a:pt x="222" y="462"/>
                    </a:lnTo>
                    <a:lnTo>
                      <a:pt x="222" y="456"/>
                    </a:lnTo>
                    <a:lnTo>
                      <a:pt x="222" y="450"/>
                    </a:lnTo>
                    <a:lnTo>
                      <a:pt x="228" y="450"/>
                    </a:lnTo>
                    <a:lnTo>
                      <a:pt x="228" y="444"/>
                    </a:lnTo>
                    <a:lnTo>
                      <a:pt x="228" y="438"/>
                    </a:lnTo>
                    <a:lnTo>
                      <a:pt x="222" y="438"/>
                    </a:lnTo>
                    <a:lnTo>
                      <a:pt x="222" y="432"/>
                    </a:lnTo>
                    <a:lnTo>
                      <a:pt x="222" y="426"/>
                    </a:lnTo>
                    <a:lnTo>
                      <a:pt x="222" y="420"/>
                    </a:lnTo>
                    <a:lnTo>
                      <a:pt x="228" y="420"/>
                    </a:lnTo>
                    <a:lnTo>
                      <a:pt x="228" y="414"/>
                    </a:lnTo>
                    <a:lnTo>
                      <a:pt x="234" y="414"/>
                    </a:lnTo>
                    <a:lnTo>
                      <a:pt x="234" y="408"/>
                    </a:lnTo>
                    <a:lnTo>
                      <a:pt x="240" y="408"/>
                    </a:lnTo>
                    <a:lnTo>
                      <a:pt x="240" y="402"/>
                    </a:lnTo>
                    <a:lnTo>
                      <a:pt x="246" y="402"/>
                    </a:lnTo>
                    <a:lnTo>
                      <a:pt x="246" y="396"/>
                    </a:lnTo>
                    <a:lnTo>
                      <a:pt x="252" y="390"/>
                    </a:lnTo>
                    <a:lnTo>
                      <a:pt x="252" y="384"/>
                    </a:lnTo>
                    <a:lnTo>
                      <a:pt x="252" y="378"/>
                    </a:lnTo>
                    <a:lnTo>
                      <a:pt x="258" y="378"/>
                    </a:lnTo>
                    <a:lnTo>
                      <a:pt x="258" y="372"/>
                    </a:lnTo>
                    <a:lnTo>
                      <a:pt x="264" y="366"/>
                    </a:lnTo>
                    <a:lnTo>
                      <a:pt x="270" y="366"/>
                    </a:lnTo>
                    <a:lnTo>
                      <a:pt x="270" y="360"/>
                    </a:lnTo>
                    <a:lnTo>
                      <a:pt x="276" y="360"/>
                    </a:lnTo>
                    <a:lnTo>
                      <a:pt x="282" y="360"/>
                    </a:lnTo>
                    <a:lnTo>
                      <a:pt x="282" y="354"/>
                    </a:lnTo>
                    <a:lnTo>
                      <a:pt x="288" y="354"/>
                    </a:lnTo>
                    <a:lnTo>
                      <a:pt x="294" y="348"/>
                    </a:lnTo>
                    <a:lnTo>
                      <a:pt x="300" y="342"/>
                    </a:lnTo>
                    <a:lnTo>
                      <a:pt x="300" y="336"/>
                    </a:lnTo>
                    <a:lnTo>
                      <a:pt x="306" y="336"/>
                    </a:lnTo>
                    <a:lnTo>
                      <a:pt x="306" y="330"/>
                    </a:lnTo>
                    <a:lnTo>
                      <a:pt x="312" y="324"/>
                    </a:lnTo>
                    <a:lnTo>
                      <a:pt x="312" y="318"/>
                    </a:lnTo>
                    <a:lnTo>
                      <a:pt x="306" y="312"/>
                    </a:lnTo>
                    <a:lnTo>
                      <a:pt x="306" y="306"/>
                    </a:lnTo>
                    <a:lnTo>
                      <a:pt x="312" y="306"/>
                    </a:lnTo>
                    <a:lnTo>
                      <a:pt x="312" y="300"/>
                    </a:lnTo>
                    <a:lnTo>
                      <a:pt x="312" y="294"/>
                    </a:lnTo>
                    <a:lnTo>
                      <a:pt x="312" y="288"/>
                    </a:lnTo>
                    <a:lnTo>
                      <a:pt x="318" y="288"/>
                    </a:lnTo>
                    <a:lnTo>
                      <a:pt x="318" y="282"/>
                    </a:lnTo>
                    <a:lnTo>
                      <a:pt x="324" y="282"/>
                    </a:lnTo>
                    <a:lnTo>
                      <a:pt x="324" y="276"/>
                    </a:lnTo>
                    <a:lnTo>
                      <a:pt x="324" y="270"/>
                    </a:lnTo>
                    <a:lnTo>
                      <a:pt x="318" y="270"/>
                    </a:lnTo>
                    <a:lnTo>
                      <a:pt x="318" y="264"/>
                    </a:lnTo>
                    <a:lnTo>
                      <a:pt x="318" y="258"/>
                    </a:lnTo>
                    <a:lnTo>
                      <a:pt x="318" y="252"/>
                    </a:lnTo>
                    <a:lnTo>
                      <a:pt x="318" y="246"/>
                    </a:lnTo>
                    <a:lnTo>
                      <a:pt x="318" y="240"/>
                    </a:lnTo>
                    <a:lnTo>
                      <a:pt x="318" y="234"/>
                    </a:lnTo>
                    <a:lnTo>
                      <a:pt x="324" y="234"/>
                    </a:lnTo>
                    <a:lnTo>
                      <a:pt x="324" y="228"/>
                    </a:lnTo>
                    <a:lnTo>
                      <a:pt x="324" y="222"/>
                    </a:lnTo>
                    <a:lnTo>
                      <a:pt x="324" y="216"/>
                    </a:lnTo>
                    <a:lnTo>
                      <a:pt x="330" y="216"/>
                    </a:lnTo>
                    <a:lnTo>
                      <a:pt x="330" y="210"/>
                    </a:lnTo>
                    <a:lnTo>
                      <a:pt x="330" y="204"/>
                    </a:lnTo>
                    <a:lnTo>
                      <a:pt x="330" y="198"/>
                    </a:lnTo>
                    <a:lnTo>
                      <a:pt x="330" y="192"/>
                    </a:lnTo>
                    <a:lnTo>
                      <a:pt x="330" y="186"/>
                    </a:lnTo>
                    <a:lnTo>
                      <a:pt x="330" y="180"/>
                    </a:lnTo>
                    <a:lnTo>
                      <a:pt x="330" y="174"/>
                    </a:lnTo>
                    <a:lnTo>
                      <a:pt x="336" y="174"/>
                    </a:lnTo>
                    <a:lnTo>
                      <a:pt x="336" y="168"/>
                    </a:lnTo>
                    <a:lnTo>
                      <a:pt x="336" y="162"/>
                    </a:lnTo>
                    <a:lnTo>
                      <a:pt x="342" y="156"/>
                    </a:lnTo>
                    <a:lnTo>
                      <a:pt x="342" y="150"/>
                    </a:lnTo>
                    <a:lnTo>
                      <a:pt x="348" y="150"/>
                    </a:lnTo>
                    <a:lnTo>
                      <a:pt x="348" y="144"/>
                    </a:lnTo>
                    <a:lnTo>
                      <a:pt x="348" y="138"/>
                    </a:lnTo>
                    <a:lnTo>
                      <a:pt x="348" y="132"/>
                    </a:lnTo>
                    <a:lnTo>
                      <a:pt x="354" y="132"/>
                    </a:lnTo>
                    <a:lnTo>
                      <a:pt x="354" y="126"/>
                    </a:lnTo>
                    <a:lnTo>
                      <a:pt x="360" y="126"/>
                    </a:lnTo>
                    <a:lnTo>
                      <a:pt x="360" y="120"/>
                    </a:lnTo>
                    <a:lnTo>
                      <a:pt x="360" y="114"/>
                    </a:lnTo>
                    <a:lnTo>
                      <a:pt x="360" y="108"/>
                    </a:lnTo>
                    <a:lnTo>
                      <a:pt x="360" y="102"/>
                    </a:lnTo>
                    <a:lnTo>
                      <a:pt x="360" y="96"/>
                    </a:lnTo>
                    <a:lnTo>
                      <a:pt x="360" y="90"/>
                    </a:lnTo>
                    <a:lnTo>
                      <a:pt x="360" y="84"/>
                    </a:lnTo>
                    <a:lnTo>
                      <a:pt x="360" y="78"/>
                    </a:lnTo>
                    <a:lnTo>
                      <a:pt x="360" y="72"/>
                    </a:lnTo>
                    <a:lnTo>
                      <a:pt x="360" y="66"/>
                    </a:lnTo>
                    <a:lnTo>
                      <a:pt x="354" y="66"/>
                    </a:lnTo>
                    <a:lnTo>
                      <a:pt x="354" y="60"/>
                    </a:lnTo>
                    <a:lnTo>
                      <a:pt x="360" y="54"/>
                    </a:lnTo>
                    <a:lnTo>
                      <a:pt x="360" y="60"/>
                    </a:lnTo>
                    <a:lnTo>
                      <a:pt x="360" y="54"/>
                    </a:lnTo>
                    <a:lnTo>
                      <a:pt x="366" y="54"/>
                    </a:lnTo>
                    <a:lnTo>
                      <a:pt x="372" y="48"/>
                    </a:lnTo>
                    <a:lnTo>
                      <a:pt x="372" y="42"/>
                    </a:lnTo>
                    <a:lnTo>
                      <a:pt x="378" y="42"/>
                    </a:lnTo>
                    <a:lnTo>
                      <a:pt x="378" y="36"/>
                    </a:lnTo>
                    <a:lnTo>
                      <a:pt x="384" y="30"/>
                    </a:lnTo>
                    <a:lnTo>
                      <a:pt x="384" y="24"/>
                    </a:lnTo>
                    <a:lnTo>
                      <a:pt x="390" y="24"/>
                    </a:lnTo>
                    <a:lnTo>
                      <a:pt x="390" y="18"/>
                    </a:lnTo>
                    <a:lnTo>
                      <a:pt x="396" y="18"/>
                    </a:lnTo>
                    <a:lnTo>
                      <a:pt x="402" y="18"/>
                    </a:lnTo>
                    <a:lnTo>
                      <a:pt x="402" y="12"/>
                    </a:lnTo>
                    <a:lnTo>
                      <a:pt x="408" y="12"/>
                    </a:lnTo>
                    <a:lnTo>
                      <a:pt x="414" y="12"/>
                    </a:lnTo>
                    <a:lnTo>
                      <a:pt x="420" y="12"/>
                    </a:lnTo>
                    <a:lnTo>
                      <a:pt x="426" y="18"/>
                    </a:lnTo>
                    <a:lnTo>
                      <a:pt x="432" y="18"/>
                    </a:lnTo>
                    <a:lnTo>
                      <a:pt x="432" y="24"/>
                    </a:lnTo>
                    <a:lnTo>
                      <a:pt x="438" y="24"/>
                    </a:lnTo>
                    <a:lnTo>
                      <a:pt x="444" y="24"/>
                    </a:lnTo>
                    <a:lnTo>
                      <a:pt x="444" y="30"/>
                    </a:lnTo>
                    <a:lnTo>
                      <a:pt x="450" y="30"/>
                    </a:lnTo>
                    <a:lnTo>
                      <a:pt x="450" y="36"/>
                    </a:lnTo>
                    <a:lnTo>
                      <a:pt x="456" y="36"/>
                    </a:lnTo>
                    <a:lnTo>
                      <a:pt x="462" y="42"/>
                    </a:lnTo>
                    <a:lnTo>
                      <a:pt x="462" y="48"/>
                    </a:lnTo>
                    <a:lnTo>
                      <a:pt x="462" y="54"/>
                    </a:lnTo>
                    <a:lnTo>
                      <a:pt x="468" y="54"/>
                    </a:lnTo>
                    <a:lnTo>
                      <a:pt x="474" y="54"/>
                    </a:lnTo>
                    <a:lnTo>
                      <a:pt x="480" y="54"/>
                    </a:lnTo>
                    <a:lnTo>
                      <a:pt x="486" y="54"/>
                    </a:lnTo>
                    <a:lnTo>
                      <a:pt x="492" y="54"/>
                    </a:lnTo>
                    <a:lnTo>
                      <a:pt x="498" y="54"/>
                    </a:lnTo>
                    <a:lnTo>
                      <a:pt x="498" y="60"/>
                    </a:lnTo>
                    <a:lnTo>
                      <a:pt x="504" y="60"/>
                    </a:lnTo>
                    <a:lnTo>
                      <a:pt x="510" y="60"/>
                    </a:lnTo>
                    <a:lnTo>
                      <a:pt x="516" y="60"/>
                    </a:lnTo>
                    <a:lnTo>
                      <a:pt x="522" y="60"/>
                    </a:lnTo>
                    <a:lnTo>
                      <a:pt x="528" y="60"/>
                    </a:lnTo>
                    <a:lnTo>
                      <a:pt x="534" y="60"/>
                    </a:lnTo>
                    <a:lnTo>
                      <a:pt x="540" y="60"/>
                    </a:lnTo>
                    <a:lnTo>
                      <a:pt x="540" y="66"/>
                    </a:lnTo>
                    <a:lnTo>
                      <a:pt x="546" y="66"/>
                    </a:lnTo>
                    <a:lnTo>
                      <a:pt x="552" y="66"/>
                    </a:lnTo>
                    <a:lnTo>
                      <a:pt x="558" y="66"/>
                    </a:lnTo>
                    <a:lnTo>
                      <a:pt x="558" y="72"/>
                    </a:lnTo>
                    <a:lnTo>
                      <a:pt x="564" y="72"/>
                    </a:lnTo>
                    <a:lnTo>
                      <a:pt x="570" y="72"/>
                    </a:lnTo>
                    <a:lnTo>
                      <a:pt x="576" y="66"/>
                    </a:lnTo>
                    <a:lnTo>
                      <a:pt x="576" y="60"/>
                    </a:lnTo>
                    <a:lnTo>
                      <a:pt x="582" y="60"/>
                    </a:lnTo>
                    <a:lnTo>
                      <a:pt x="582" y="54"/>
                    </a:lnTo>
                    <a:lnTo>
                      <a:pt x="582" y="48"/>
                    </a:lnTo>
                    <a:lnTo>
                      <a:pt x="588" y="48"/>
                    </a:lnTo>
                    <a:lnTo>
                      <a:pt x="588" y="42"/>
                    </a:lnTo>
                    <a:lnTo>
                      <a:pt x="588" y="36"/>
                    </a:lnTo>
                    <a:lnTo>
                      <a:pt x="594" y="36"/>
                    </a:lnTo>
                    <a:lnTo>
                      <a:pt x="600" y="36"/>
                    </a:lnTo>
                    <a:lnTo>
                      <a:pt x="594" y="36"/>
                    </a:lnTo>
                    <a:lnTo>
                      <a:pt x="594" y="30"/>
                    </a:lnTo>
                    <a:lnTo>
                      <a:pt x="600" y="30"/>
                    </a:lnTo>
                    <a:lnTo>
                      <a:pt x="600" y="36"/>
                    </a:lnTo>
                    <a:lnTo>
                      <a:pt x="606" y="36"/>
                    </a:lnTo>
                    <a:lnTo>
                      <a:pt x="612" y="36"/>
                    </a:lnTo>
                    <a:lnTo>
                      <a:pt x="618" y="36"/>
                    </a:lnTo>
                    <a:lnTo>
                      <a:pt x="618" y="42"/>
                    </a:lnTo>
                    <a:lnTo>
                      <a:pt x="624" y="42"/>
                    </a:lnTo>
                    <a:lnTo>
                      <a:pt x="630" y="42"/>
                    </a:lnTo>
                    <a:lnTo>
                      <a:pt x="630" y="36"/>
                    </a:lnTo>
                    <a:lnTo>
                      <a:pt x="636" y="36"/>
                    </a:lnTo>
                    <a:lnTo>
                      <a:pt x="642" y="36"/>
                    </a:lnTo>
                    <a:lnTo>
                      <a:pt x="642" y="30"/>
                    </a:lnTo>
                    <a:lnTo>
                      <a:pt x="648" y="36"/>
                    </a:lnTo>
                    <a:lnTo>
                      <a:pt x="648" y="30"/>
                    </a:lnTo>
                    <a:lnTo>
                      <a:pt x="654" y="30"/>
                    </a:lnTo>
                    <a:lnTo>
                      <a:pt x="660" y="30"/>
                    </a:lnTo>
                    <a:lnTo>
                      <a:pt x="660" y="24"/>
                    </a:lnTo>
                    <a:lnTo>
                      <a:pt x="666" y="24"/>
                    </a:lnTo>
                    <a:lnTo>
                      <a:pt x="672" y="24"/>
                    </a:lnTo>
                    <a:lnTo>
                      <a:pt x="672" y="18"/>
                    </a:lnTo>
                    <a:lnTo>
                      <a:pt x="678" y="18"/>
                    </a:lnTo>
                    <a:lnTo>
                      <a:pt x="684" y="18"/>
                    </a:lnTo>
                    <a:lnTo>
                      <a:pt x="678" y="18"/>
                    </a:lnTo>
                    <a:lnTo>
                      <a:pt x="678" y="12"/>
                    </a:lnTo>
                    <a:lnTo>
                      <a:pt x="684" y="12"/>
                    </a:lnTo>
                    <a:lnTo>
                      <a:pt x="684" y="18"/>
                    </a:lnTo>
                    <a:lnTo>
                      <a:pt x="684" y="12"/>
                    </a:lnTo>
                    <a:lnTo>
                      <a:pt x="684" y="18"/>
                    </a:lnTo>
                    <a:lnTo>
                      <a:pt x="690" y="18"/>
                    </a:lnTo>
                    <a:lnTo>
                      <a:pt x="696" y="18"/>
                    </a:lnTo>
                    <a:lnTo>
                      <a:pt x="696" y="24"/>
                    </a:lnTo>
                    <a:lnTo>
                      <a:pt x="702" y="24"/>
                    </a:lnTo>
                    <a:lnTo>
                      <a:pt x="708" y="24"/>
                    </a:lnTo>
                    <a:lnTo>
                      <a:pt x="714" y="24"/>
                    </a:lnTo>
                    <a:lnTo>
                      <a:pt x="720" y="24"/>
                    </a:lnTo>
                    <a:lnTo>
                      <a:pt x="720" y="18"/>
                    </a:lnTo>
                    <a:lnTo>
                      <a:pt x="726" y="18"/>
                    </a:lnTo>
                    <a:lnTo>
                      <a:pt x="732" y="18"/>
                    </a:lnTo>
                    <a:lnTo>
                      <a:pt x="732" y="12"/>
                    </a:lnTo>
                    <a:lnTo>
                      <a:pt x="732" y="6"/>
                    </a:lnTo>
                    <a:lnTo>
                      <a:pt x="738" y="6"/>
                    </a:lnTo>
                    <a:lnTo>
                      <a:pt x="732" y="6"/>
                    </a:lnTo>
                    <a:lnTo>
                      <a:pt x="732" y="0"/>
                    </a:lnTo>
                    <a:lnTo>
                      <a:pt x="738" y="0"/>
                    </a:lnTo>
                    <a:lnTo>
                      <a:pt x="744" y="0"/>
                    </a:lnTo>
                    <a:lnTo>
                      <a:pt x="750" y="0"/>
                    </a:lnTo>
                    <a:lnTo>
                      <a:pt x="750" y="6"/>
                    </a:lnTo>
                    <a:lnTo>
                      <a:pt x="750" y="0"/>
                    </a:lnTo>
                    <a:lnTo>
                      <a:pt x="750" y="6"/>
                    </a:lnTo>
                    <a:lnTo>
                      <a:pt x="756" y="6"/>
                    </a:lnTo>
                    <a:lnTo>
                      <a:pt x="762" y="6"/>
                    </a:lnTo>
                    <a:lnTo>
                      <a:pt x="762" y="12"/>
                    </a:lnTo>
                    <a:lnTo>
                      <a:pt x="762" y="6"/>
                    </a:lnTo>
                    <a:lnTo>
                      <a:pt x="762" y="12"/>
                    </a:lnTo>
                    <a:lnTo>
                      <a:pt x="768" y="12"/>
                    </a:lnTo>
                    <a:lnTo>
                      <a:pt x="762" y="12"/>
                    </a:lnTo>
                    <a:lnTo>
                      <a:pt x="768" y="12"/>
                    </a:lnTo>
                    <a:lnTo>
                      <a:pt x="768" y="6"/>
                    </a:lnTo>
                    <a:lnTo>
                      <a:pt x="768" y="12"/>
                    </a:lnTo>
                    <a:lnTo>
                      <a:pt x="774" y="12"/>
                    </a:lnTo>
                    <a:lnTo>
                      <a:pt x="774" y="6"/>
                    </a:lnTo>
                    <a:lnTo>
                      <a:pt x="774" y="12"/>
                    </a:lnTo>
                    <a:lnTo>
                      <a:pt x="774" y="6"/>
                    </a:lnTo>
                    <a:lnTo>
                      <a:pt x="774" y="12"/>
                    </a:lnTo>
                    <a:lnTo>
                      <a:pt x="774" y="6"/>
                    </a:lnTo>
                    <a:lnTo>
                      <a:pt x="780" y="6"/>
                    </a:lnTo>
                    <a:lnTo>
                      <a:pt x="780" y="12"/>
                    </a:lnTo>
                    <a:lnTo>
                      <a:pt x="786" y="12"/>
                    </a:lnTo>
                    <a:lnTo>
                      <a:pt x="780" y="12"/>
                    </a:lnTo>
                    <a:lnTo>
                      <a:pt x="786" y="12"/>
                    </a:lnTo>
                    <a:lnTo>
                      <a:pt x="792" y="12"/>
                    </a:lnTo>
                    <a:lnTo>
                      <a:pt x="792" y="18"/>
                    </a:lnTo>
                    <a:lnTo>
                      <a:pt x="798" y="18"/>
                    </a:lnTo>
                    <a:lnTo>
                      <a:pt x="792" y="18"/>
                    </a:lnTo>
                    <a:lnTo>
                      <a:pt x="798" y="18"/>
                    </a:lnTo>
                    <a:lnTo>
                      <a:pt x="804" y="18"/>
                    </a:lnTo>
                    <a:lnTo>
                      <a:pt x="810" y="18"/>
                    </a:lnTo>
                    <a:lnTo>
                      <a:pt x="810" y="12"/>
                    </a:lnTo>
                    <a:lnTo>
                      <a:pt x="810" y="18"/>
                    </a:lnTo>
                    <a:lnTo>
                      <a:pt x="816" y="18"/>
                    </a:lnTo>
                    <a:lnTo>
                      <a:pt x="822" y="18"/>
                    </a:lnTo>
                    <a:lnTo>
                      <a:pt x="822" y="12"/>
                    </a:lnTo>
                    <a:lnTo>
                      <a:pt x="828" y="12"/>
                    </a:lnTo>
                    <a:lnTo>
                      <a:pt x="834" y="12"/>
                    </a:lnTo>
                    <a:lnTo>
                      <a:pt x="840" y="12"/>
                    </a:lnTo>
                    <a:lnTo>
                      <a:pt x="846" y="12"/>
                    </a:lnTo>
                    <a:lnTo>
                      <a:pt x="846" y="18"/>
                    </a:lnTo>
                    <a:lnTo>
                      <a:pt x="852" y="18"/>
                    </a:lnTo>
                    <a:lnTo>
                      <a:pt x="852" y="24"/>
                    </a:lnTo>
                    <a:lnTo>
                      <a:pt x="858" y="24"/>
                    </a:lnTo>
                    <a:lnTo>
                      <a:pt x="858" y="30"/>
                    </a:lnTo>
                    <a:lnTo>
                      <a:pt x="858" y="24"/>
                    </a:lnTo>
                    <a:lnTo>
                      <a:pt x="864" y="24"/>
                    </a:lnTo>
                    <a:lnTo>
                      <a:pt x="864" y="30"/>
                    </a:lnTo>
                    <a:lnTo>
                      <a:pt x="870" y="30"/>
                    </a:lnTo>
                    <a:lnTo>
                      <a:pt x="870" y="36"/>
                    </a:lnTo>
                    <a:lnTo>
                      <a:pt x="870" y="42"/>
                    </a:lnTo>
                    <a:lnTo>
                      <a:pt x="876" y="48"/>
                    </a:lnTo>
                    <a:lnTo>
                      <a:pt x="876" y="42"/>
                    </a:lnTo>
                    <a:lnTo>
                      <a:pt x="876" y="48"/>
                    </a:lnTo>
                    <a:lnTo>
                      <a:pt x="882" y="48"/>
                    </a:lnTo>
                    <a:lnTo>
                      <a:pt x="882" y="54"/>
                    </a:lnTo>
                    <a:lnTo>
                      <a:pt x="888" y="54"/>
                    </a:lnTo>
                    <a:lnTo>
                      <a:pt x="894" y="54"/>
                    </a:lnTo>
                    <a:lnTo>
                      <a:pt x="894" y="60"/>
                    </a:lnTo>
                    <a:lnTo>
                      <a:pt x="894" y="54"/>
                    </a:lnTo>
                    <a:lnTo>
                      <a:pt x="894" y="60"/>
                    </a:lnTo>
                    <a:lnTo>
                      <a:pt x="900" y="60"/>
                    </a:lnTo>
                    <a:lnTo>
                      <a:pt x="900" y="54"/>
                    </a:lnTo>
                    <a:lnTo>
                      <a:pt x="900" y="60"/>
                    </a:lnTo>
                    <a:lnTo>
                      <a:pt x="906" y="60"/>
                    </a:lnTo>
                    <a:lnTo>
                      <a:pt x="912" y="54"/>
                    </a:lnTo>
                    <a:lnTo>
                      <a:pt x="918" y="54"/>
                    </a:lnTo>
                    <a:lnTo>
                      <a:pt x="918" y="48"/>
                    </a:lnTo>
                    <a:lnTo>
                      <a:pt x="924" y="48"/>
                    </a:lnTo>
                    <a:lnTo>
                      <a:pt x="918" y="48"/>
                    </a:lnTo>
                    <a:lnTo>
                      <a:pt x="924" y="48"/>
                    </a:lnTo>
                    <a:lnTo>
                      <a:pt x="930" y="48"/>
                    </a:lnTo>
                    <a:lnTo>
                      <a:pt x="936" y="48"/>
                    </a:lnTo>
                    <a:lnTo>
                      <a:pt x="942" y="54"/>
                    </a:lnTo>
                    <a:lnTo>
                      <a:pt x="948" y="54"/>
                    </a:lnTo>
                    <a:lnTo>
                      <a:pt x="948" y="60"/>
                    </a:lnTo>
                    <a:lnTo>
                      <a:pt x="948" y="54"/>
                    </a:lnTo>
                    <a:lnTo>
                      <a:pt x="954" y="54"/>
                    </a:lnTo>
                    <a:lnTo>
                      <a:pt x="954" y="48"/>
                    </a:lnTo>
                    <a:lnTo>
                      <a:pt x="960" y="48"/>
                    </a:lnTo>
                    <a:lnTo>
                      <a:pt x="960" y="42"/>
                    </a:lnTo>
                    <a:lnTo>
                      <a:pt x="966" y="42"/>
                    </a:lnTo>
                    <a:lnTo>
                      <a:pt x="960" y="42"/>
                    </a:lnTo>
                    <a:lnTo>
                      <a:pt x="966" y="42"/>
                    </a:lnTo>
                    <a:lnTo>
                      <a:pt x="966" y="36"/>
                    </a:lnTo>
                    <a:lnTo>
                      <a:pt x="966" y="42"/>
                    </a:lnTo>
                    <a:lnTo>
                      <a:pt x="972" y="42"/>
                    </a:lnTo>
                    <a:lnTo>
                      <a:pt x="978" y="42"/>
                    </a:lnTo>
                    <a:lnTo>
                      <a:pt x="978" y="48"/>
                    </a:lnTo>
                    <a:lnTo>
                      <a:pt x="984" y="48"/>
                    </a:lnTo>
                    <a:lnTo>
                      <a:pt x="978" y="48"/>
                    </a:lnTo>
                    <a:lnTo>
                      <a:pt x="984" y="48"/>
                    </a:lnTo>
                    <a:lnTo>
                      <a:pt x="984" y="54"/>
                    </a:lnTo>
                    <a:lnTo>
                      <a:pt x="984" y="60"/>
                    </a:lnTo>
                    <a:lnTo>
                      <a:pt x="990" y="60"/>
                    </a:lnTo>
                    <a:lnTo>
                      <a:pt x="990" y="66"/>
                    </a:lnTo>
                    <a:lnTo>
                      <a:pt x="996" y="66"/>
                    </a:lnTo>
                    <a:lnTo>
                      <a:pt x="996" y="72"/>
                    </a:lnTo>
                    <a:lnTo>
                      <a:pt x="1002" y="72"/>
                    </a:lnTo>
                    <a:lnTo>
                      <a:pt x="1002" y="78"/>
                    </a:lnTo>
                    <a:lnTo>
                      <a:pt x="1008" y="78"/>
                    </a:lnTo>
                    <a:lnTo>
                      <a:pt x="1014" y="78"/>
                    </a:lnTo>
                    <a:lnTo>
                      <a:pt x="1014" y="84"/>
                    </a:lnTo>
                    <a:lnTo>
                      <a:pt x="1020" y="84"/>
                    </a:lnTo>
                    <a:lnTo>
                      <a:pt x="1026" y="84"/>
                    </a:lnTo>
                    <a:lnTo>
                      <a:pt x="1026" y="90"/>
                    </a:lnTo>
                    <a:lnTo>
                      <a:pt x="1026" y="96"/>
                    </a:lnTo>
                    <a:lnTo>
                      <a:pt x="1026" y="102"/>
                    </a:lnTo>
                    <a:lnTo>
                      <a:pt x="1026" y="96"/>
                    </a:lnTo>
                    <a:lnTo>
                      <a:pt x="1032" y="96"/>
                    </a:lnTo>
                    <a:lnTo>
                      <a:pt x="1038" y="96"/>
                    </a:lnTo>
                    <a:lnTo>
                      <a:pt x="1038" y="102"/>
                    </a:lnTo>
                    <a:lnTo>
                      <a:pt x="1038" y="108"/>
                    </a:lnTo>
                    <a:lnTo>
                      <a:pt x="1044" y="108"/>
                    </a:lnTo>
                    <a:lnTo>
                      <a:pt x="1044" y="102"/>
                    </a:lnTo>
                    <a:lnTo>
                      <a:pt x="1044" y="108"/>
                    </a:lnTo>
                    <a:lnTo>
                      <a:pt x="1044" y="114"/>
                    </a:lnTo>
                    <a:lnTo>
                      <a:pt x="1038" y="114"/>
                    </a:lnTo>
                    <a:lnTo>
                      <a:pt x="1038" y="120"/>
                    </a:lnTo>
                    <a:lnTo>
                      <a:pt x="1038" y="126"/>
                    </a:lnTo>
                    <a:lnTo>
                      <a:pt x="1038" y="132"/>
                    </a:lnTo>
                    <a:lnTo>
                      <a:pt x="1032" y="132"/>
                    </a:lnTo>
                    <a:lnTo>
                      <a:pt x="1038" y="132"/>
                    </a:lnTo>
                    <a:lnTo>
                      <a:pt x="1038" y="138"/>
                    </a:lnTo>
                    <a:lnTo>
                      <a:pt x="1044" y="138"/>
                    </a:lnTo>
                    <a:lnTo>
                      <a:pt x="1044" y="144"/>
                    </a:lnTo>
                    <a:lnTo>
                      <a:pt x="1038" y="144"/>
                    </a:lnTo>
                    <a:lnTo>
                      <a:pt x="1038" y="150"/>
                    </a:lnTo>
                    <a:lnTo>
                      <a:pt x="1038" y="156"/>
                    </a:lnTo>
                    <a:lnTo>
                      <a:pt x="1032" y="156"/>
                    </a:lnTo>
                    <a:lnTo>
                      <a:pt x="1032" y="162"/>
                    </a:lnTo>
                    <a:lnTo>
                      <a:pt x="1038" y="162"/>
                    </a:lnTo>
                    <a:lnTo>
                      <a:pt x="1038" y="168"/>
                    </a:lnTo>
                    <a:lnTo>
                      <a:pt x="1044" y="168"/>
                    </a:lnTo>
                    <a:lnTo>
                      <a:pt x="1050" y="168"/>
                    </a:lnTo>
                    <a:lnTo>
                      <a:pt x="1050" y="174"/>
                    </a:lnTo>
                    <a:lnTo>
                      <a:pt x="1056" y="174"/>
                    </a:lnTo>
                    <a:lnTo>
                      <a:pt x="1062" y="174"/>
                    </a:lnTo>
                    <a:lnTo>
                      <a:pt x="1062" y="180"/>
                    </a:lnTo>
                    <a:lnTo>
                      <a:pt x="1068" y="180"/>
                    </a:lnTo>
                    <a:lnTo>
                      <a:pt x="1062" y="186"/>
                    </a:lnTo>
                    <a:lnTo>
                      <a:pt x="1056" y="192"/>
                    </a:lnTo>
                    <a:lnTo>
                      <a:pt x="1050" y="198"/>
                    </a:lnTo>
                    <a:lnTo>
                      <a:pt x="1050" y="204"/>
                    </a:lnTo>
                    <a:lnTo>
                      <a:pt x="1044" y="204"/>
                    </a:lnTo>
                    <a:lnTo>
                      <a:pt x="1044" y="210"/>
                    </a:lnTo>
                    <a:lnTo>
                      <a:pt x="1038" y="210"/>
                    </a:lnTo>
                    <a:lnTo>
                      <a:pt x="1032" y="216"/>
                    </a:lnTo>
                    <a:lnTo>
                      <a:pt x="1032" y="222"/>
                    </a:lnTo>
                    <a:lnTo>
                      <a:pt x="1026" y="222"/>
                    </a:lnTo>
                    <a:lnTo>
                      <a:pt x="1020" y="228"/>
                    </a:lnTo>
                    <a:lnTo>
                      <a:pt x="1020" y="234"/>
                    </a:lnTo>
                    <a:lnTo>
                      <a:pt x="1014" y="234"/>
                    </a:lnTo>
                    <a:lnTo>
                      <a:pt x="1008" y="234"/>
                    </a:lnTo>
                    <a:lnTo>
                      <a:pt x="1008" y="240"/>
                    </a:lnTo>
                    <a:lnTo>
                      <a:pt x="1002" y="246"/>
                    </a:lnTo>
                    <a:lnTo>
                      <a:pt x="1008" y="246"/>
                    </a:lnTo>
                    <a:lnTo>
                      <a:pt x="1002" y="246"/>
                    </a:lnTo>
                    <a:lnTo>
                      <a:pt x="1002" y="252"/>
                    </a:lnTo>
                    <a:lnTo>
                      <a:pt x="996" y="252"/>
                    </a:lnTo>
                    <a:lnTo>
                      <a:pt x="990" y="252"/>
                    </a:lnTo>
                    <a:lnTo>
                      <a:pt x="990" y="258"/>
                    </a:lnTo>
                    <a:lnTo>
                      <a:pt x="990" y="264"/>
                    </a:lnTo>
                    <a:lnTo>
                      <a:pt x="990" y="270"/>
                    </a:lnTo>
                    <a:lnTo>
                      <a:pt x="990" y="276"/>
                    </a:lnTo>
                    <a:lnTo>
                      <a:pt x="984" y="276"/>
                    </a:lnTo>
                    <a:lnTo>
                      <a:pt x="984" y="282"/>
                    </a:lnTo>
                    <a:lnTo>
                      <a:pt x="984" y="288"/>
                    </a:lnTo>
                    <a:lnTo>
                      <a:pt x="978" y="288"/>
                    </a:lnTo>
                    <a:lnTo>
                      <a:pt x="978" y="294"/>
                    </a:lnTo>
                    <a:lnTo>
                      <a:pt x="978" y="300"/>
                    </a:lnTo>
                    <a:lnTo>
                      <a:pt x="978" y="306"/>
                    </a:lnTo>
                    <a:lnTo>
                      <a:pt x="978" y="312"/>
                    </a:lnTo>
                    <a:lnTo>
                      <a:pt x="972" y="318"/>
                    </a:lnTo>
                    <a:lnTo>
                      <a:pt x="972" y="324"/>
                    </a:lnTo>
                    <a:lnTo>
                      <a:pt x="972" y="330"/>
                    </a:lnTo>
                    <a:lnTo>
                      <a:pt x="972" y="336"/>
                    </a:lnTo>
                    <a:lnTo>
                      <a:pt x="972" y="342"/>
                    </a:lnTo>
                    <a:lnTo>
                      <a:pt x="972" y="348"/>
                    </a:lnTo>
                    <a:lnTo>
                      <a:pt x="972" y="354"/>
                    </a:lnTo>
                    <a:lnTo>
                      <a:pt x="972" y="360"/>
                    </a:lnTo>
                    <a:lnTo>
                      <a:pt x="966" y="360"/>
                    </a:lnTo>
                    <a:lnTo>
                      <a:pt x="972" y="366"/>
                    </a:lnTo>
                    <a:lnTo>
                      <a:pt x="966" y="366"/>
                    </a:lnTo>
                    <a:lnTo>
                      <a:pt x="972" y="366"/>
                    </a:lnTo>
                    <a:lnTo>
                      <a:pt x="972" y="372"/>
                    </a:lnTo>
                    <a:lnTo>
                      <a:pt x="972" y="378"/>
                    </a:lnTo>
                    <a:lnTo>
                      <a:pt x="966" y="378"/>
                    </a:lnTo>
                    <a:lnTo>
                      <a:pt x="966" y="384"/>
                    </a:lnTo>
                    <a:lnTo>
                      <a:pt x="960" y="384"/>
                    </a:lnTo>
                    <a:lnTo>
                      <a:pt x="954" y="384"/>
                    </a:lnTo>
                    <a:lnTo>
                      <a:pt x="954" y="390"/>
                    </a:lnTo>
                    <a:lnTo>
                      <a:pt x="948" y="390"/>
                    </a:lnTo>
                    <a:lnTo>
                      <a:pt x="948" y="396"/>
                    </a:lnTo>
                    <a:lnTo>
                      <a:pt x="948" y="402"/>
                    </a:lnTo>
                    <a:lnTo>
                      <a:pt x="942" y="402"/>
                    </a:lnTo>
                    <a:lnTo>
                      <a:pt x="942" y="408"/>
                    </a:lnTo>
                    <a:lnTo>
                      <a:pt x="948" y="414"/>
                    </a:lnTo>
                    <a:lnTo>
                      <a:pt x="948" y="420"/>
                    </a:lnTo>
                    <a:lnTo>
                      <a:pt x="942" y="426"/>
                    </a:lnTo>
                    <a:lnTo>
                      <a:pt x="936" y="426"/>
                    </a:lnTo>
                    <a:lnTo>
                      <a:pt x="936" y="432"/>
                    </a:lnTo>
                    <a:lnTo>
                      <a:pt x="930" y="432"/>
                    </a:lnTo>
                    <a:lnTo>
                      <a:pt x="930" y="438"/>
                    </a:lnTo>
                    <a:lnTo>
                      <a:pt x="930" y="444"/>
                    </a:lnTo>
                    <a:lnTo>
                      <a:pt x="930" y="450"/>
                    </a:lnTo>
                    <a:lnTo>
                      <a:pt x="936" y="450"/>
                    </a:lnTo>
                    <a:lnTo>
                      <a:pt x="936" y="456"/>
                    </a:lnTo>
                    <a:lnTo>
                      <a:pt x="942" y="456"/>
                    </a:lnTo>
                    <a:lnTo>
                      <a:pt x="942" y="462"/>
                    </a:lnTo>
                    <a:lnTo>
                      <a:pt x="948" y="462"/>
                    </a:lnTo>
                    <a:lnTo>
                      <a:pt x="948" y="468"/>
                    </a:lnTo>
                    <a:lnTo>
                      <a:pt x="948" y="474"/>
                    </a:lnTo>
                    <a:lnTo>
                      <a:pt x="948" y="480"/>
                    </a:lnTo>
                    <a:lnTo>
                      <a:pt x="948" y="486"/>
                    </a:lnTo>
                    <a:lnTo>
                      <a:pt x="948" y="492"/>
                    </a:lnTo>
                    <a:lnTo>
                      <a:pt x="948" y="498"/>
                    </a:lnTo>
                    <a:lnTo>
                      <a:pt x="948" y="504"/>
                    </a:lnTo>
                    <a:lnTo>
                      <a:pt x="948" y="510"/>
                    </a:lnTo>
                    <a:lnTo>
                      <a:pt x="948" y="516"/>
                    </a:lnTo>
                    <a:lnTo>
                      <a:pt x="954" y="516"/>
                    </a:lnTo>
                    <a:lnTo>
                      <a:pt x="954" y="522"/>
                    </a:lnTo>
                    <a:lnTo>
                      <a:pt x="954" y="528"/>
                    </a:lnTo>
                    <a:lnTo>
                      <a:pt x="960" y="528"/>
                    </a:lnTo>
                    <a:lnTo>
                      <a:pt x="960" y="534"/>
                    </a:lnTo>
                    <a:lnTo>
                      <a:pt x="960" y="540"/>
                    </a:lnTo>
                    <a:lnTo>
                      <a:pt x="960" y="546"/>
                    </a:lnTo>
                    <a:lnTo>
                      <a:pt x="960" y="552"/>
                    </a:lnTo>
                    <a:lnTo>
                      <a:pt x="954" y="558"/>
                    </a:lnTo>
                    <a:lnTo>
                      <a:pt x="954" y="564"/>
                    </a:lnTo>
                    <a:lnTo>
                      <a:pt x="954" y="570"/>
                    </a:lnTo>
                    <a:lnTo>
                      <a:pt x="954" y="576"/>
                    </a:lnTo>
                    <a:lnTo>
                      <a:pt x="960" y="576"/>
                    </a:lnTo>
                    <a:lnTo>
                      <a:pt x="960" y="582"/>
                    </a:lnTo>
                    <a:lnTo>
                      <a:pt x="960" y="588"/>
                    </a:lnTo>
                    <a:lnTo>
                      <a:pt x="960" y="594"/>
                    </a:lnTo>
                    <a:lnTo>
                      <a:pt x="966" y="594"/>
                    </a:lnTo>
                    <a:lnTo>
                      <a:pt x="966" y="600"/>
                    </a:lnTo>
                    <a:lnTo>
                      <a:pt x="966" y="606"/>
                    </a:lnTo>
                    <a:lnTo>
                      <a:pt x="966" y="612"/>
                    </a:lnTo>
                    <a:lnTo>
                      <a:pt x="972" y="612"/>
                    </a:lnTo>
                    <a:lnTo>
                      <a:pt x="972" y="618"/>
                    </a:lnTo>
                    <a:lnTo>
                      <a:pt x="972" y="624"/>
                    </a:lnTo>
                    <a:lnTo>
                      <a:pt x="972" y="630"/>
                    </a:lnTo>
                    <a:lnTo>
                      <a:pt x="966" y="630"/>
                    </a:lnTo>
                    <a:lnTo>
                      <a:pt x="966" y="636"/>
                    </a:lnTo>
                    <a:lnTo>
                      <a:pt x="966" y="642"/>
                    </a:lnTo>
                    <a:lnTo>
                      <a:pt x="972" y="642"/>
                    </a:lnTo>
                    <a:lnTo>
                      <a:pt x="972" y="648"/>
                    </a:lnTo>
                    <a:lnTo>
                      <a:pt x="972" y="654"/>
                    </a:lnTo>
                    <a:lnTo>
                      <a:pt x="972" y="660"/>
                    </a:lnTo>
                    <a:lnTo>
                      <a:pt x="978" y="660"/>
                    </a:lnTo>
                    <a:lnTo>
                      <a:pt x="978" y="666"/>
                    </a:lnTo>
                    <a:lnTo>
                      <a:pt x="984" y="672"/>
                    </a:lnTo>
                    <a:lnTo>
                      <a:pt x="990" y="672"/>
                    </a:lnTo>
                    <a:lnTo>
                      <a:pt x="990" y="678"/>
                    </a:lnTo>
                    <a:lnTo>
                      <a:pt x="996" y="678"/>
                    </a:lnTo>
                    <a:lnTo>
                      <a:pt x="996" y="684"/>
                    </a:lnTo>
                    <a:lnTo>
                      <a:pt x="1002" y="684"/>
                    </a:lnTo>
                    <a:lnTo>
                      <a:pt x="1002" y="690"/>
                    </a:lnTo>
                    <a:lnTo>
                      <a:pt x="1008" y="690"/>
                    </a:lnTo>
                    <a:lnTo>
                      <a:pt x="1008" y="696"/>
                    </a:lnTo>
                    <a:lnTo>
                      <a:pt x="1014" y="702"/>
                    </a:lnTo>
                    <a:lnTo>
                      <a:pt x="1014" y="708"/>
                    </a:lnTo>
                    <a:lnTo>
                      <a:pt x="1014" y="714"/>
                    </a:lnTo>
                    <a:lnTo>
                      <a:pt x="1020" y="714"/>
                    </a:lnTo>
                    <a:lnTo>
                      <a:pt x="1020" y="720"/>
                    </a:lnTo>
                    <a:lnTo>
                      <a:pt x="1020" y="726"/>
                    </a:lnTo>
                    <a:lnTo>
                      <a:pt x="1026" y="732"/>
                    </a:lnTo>
                    <a:lnTo>
                      <a:pt x="1026" y="738"/>
                    </a:lnTo>
                    <a:lnTo>
                      <a:pt x="1026" y="744"/>
                    </a:lnTo>
                    <a:lnTo>
                      <a:pt x="1032" y="744"/>
                    </a:lnTo>
                    <a:lnTo>
                      <a:pt x="1032" y="750"/>
                    </a:lnTo>
                    <a:lnTo>
                      <a:pt x="1032" y="756"/>
                    </a:lnTo>
                    <a:lnTo>
                      <a:pt x="1038" y="756"/>
                    </a:lnTo>
                    <a:close/>
                    <a:moveTo>
                      <a:pt x="12" y="636"/>
                    </a:moveTo>
                    <a:lnTo>
                      <a:pt x="18" y="636"/>
                    </a:lnTo>
                    <a:lnTo>
                      <a:pt x="12" y="636"/>
                    </a:lnTo>
                    <a:close/>
                    <a:moveTo>
                      <a:pt x="36" y="630"/>
                    </a:moveTo>
                    <a:lnTo>
                      <a:pt x="42" y="630"/>
                    </a:lnTo>
                    <a:lnTo>
                      <a:pt x="36" y="630"/>
                    </a:lnTo>
                    <a:close/>
                    <a:moveTo>
                      <a:pt x="12" y="636"/>
                    </a:moveTo>
                    <a:lnTo>
                      <a:pt x="18" y="636"/>
                    </a:lnTo>
                    <a:lnTo>
                      <a:pt x="12" y="636"/>
                    </a:lnTo>
                    <a:close/>
                    <a:moveTo>
                      <a:pt x="36" y="630"/>
                    </a:moveTo>
                    <a:lnTo>
                      <a:pt x="42" y="630"/>
                    </a:lnTo>
                    <a:lnTo>
                      <a:pt x="36" y="63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8" name="Freeform 49"/>
              <p:cNvSpPr>
                <a:spLocks/>
              </p:cNvSpPr>
              <p:nvPr>
                <p:custDataLst>
                  <p:tags r:id="rId45"/>
                </p:custDataLst>
              </p:nvPr>
            </p:nvSpPr>
            <p:spPr bwMode="gray">
              <a:xfrm>
                <a:off x="2772434" y="1894809"/>
                <a:ext cx="522401" cy="574045"/>
              </a:xfrm>
              <a:custGeom>
                <a:avLst/>
                <a:gdLst>
                  <a:gd name="T0" fmla="*/ 30126 w 414"/>
                  <a:gd name="T1" fmla="*/ 163809 h 486"/>
                  <a:gd name="T2" fmla="*/ 19436 w 414"/>
                  <a:gd name="T3" fmla="*/ 167709 h 486"/>
                  <a:gd name="T4" fmla="*/ 14577 w 414"/>
                  <a:gd name="T5" fmla="*/ 172584 h 486"/>
                  <a:gd name="T6" fmla="*/ 8746 w 414"/>
                  <a:gd name="T7" fmla="*/ 161858 h 486"/>
                  <a:gd name="T8" fmla="*/ 0 w 414"/>
                  <a:gd name="T9" fmla="*/ 153083 h 486"/>
                  <a:gd name="T10" fmla="*/ 8746 w 414"/>
                  <a:gd name="T11" fmla="*/ 144308 h 486"/>
                  <a:gd name="T12" fmla="*/ 14577 w 414"/>
                  <a:gd name="T13" fmla="*/ 142358 h 486"/>
                  <a:gd name="T14" fmla="*/ 14577 w 414"/>
                  <a:gd name="T15" fmla="*/ 131632 h 486"/>
                  <a:gd name="T16" fmla="*/ 8746 w 414"/>
                  <a:gd name="T17" fmla="*/ 124807 h 486"/>
                  <a:gd name="T18" fmla="*/ 14577 w 414"/>
                  <a:gd name="T19" fmla="*/ 120906 h 486"/>
                  <a:gd name="T20" fmla="*/ 26239 w 414"/>
                  <a:gd name="T21" fmla="*/ 117006 h 486"/>
                  <a:gd name="T22" fmla="*/ 32069 w 414"/>
                  <a:gd name="T23" fmla="*/ 112131 h 486"/>
                  <a:gd name="T24" fmla="*/ 40815 w 414"/>
                  <a:gd name="T25" fmla="*/ 120906 h 486"/>
                  <a:gd name="T26" fmla="*/ 53448 w 414"/>
                  <a:gd name="T27" fmla="*/ 117006 h 486"/>
                  <a:gd name="T28" fmla="*/ 60251 w 414"/>
                  <a:gd name="T29" fmla="*/ 117981 h 486"/>
                  <a:gd name="T30" fmla="*/ 64138 w 414"/>
                  <a:gd name="T31" fmla="*/ 105306 h 486"/>
                  <a:gd name="T32" fmla="*/ 64138 w 414"/>
                  <a:gd name="T33" fmla="*/ 97505 h 486"/>
                  <a:gd name="T34" fmla="*/ 62195 w 414"/>
                  <a:gd name="T35" fmla="*/ 81904 h 486"/>
                  <a:gd name="T36" fmla="*/ 53448 w 414"/>
                  <a:gd name="T37" fmla="*/ 73129 h 486"/>
                  <a:gd name="T38" fmla="*/ 57335 w 414"/>
                  <a:gd name="T39" fmla="*/ 64354 h 486"/>
                  <a:gd name="T40" fmla="*/ 64138 w 414"/>
                  <a:gd name="T41" fmla="*/ 57528 h 486"/>
                  <a:gd name="T42" fmla="*/ 62195 w 414"/>
                  <a:gd name="T43" fmla="*/ 47778 h 486"/>
                  <a:gd name="T44" fmla="*/ 49561 w 414"/>
                  <a:gd name="T45" fmla="*/ 47778 h 486"/>
                  <a:gd name="T46" fmla="*/ 37899 w 414"/>
                  <a:gd name="T47" fmla="*/ 47778 h 486"/>
                  <a:gd name="T48" fmla="*/ 37899 w 414"/>
                  <a:gd name="T49" fmla="*/ 42902 h 486"/>
                  <a:gd name="T50" fmla="*/ 40815 w 414"/>
                  <a:gd name="T51" fmla="*/ 37052 h 486"/>
                  <a:gd name="T52" fmla="*/ 47618 w 414"/>
                  <a:gd name="T53" fmla="*/ 30227 h 486"/>
                  <a:gd name="T54" fmla="*/ 64138 w 414"/>
                  <a:gd name="T55" fmla="*/ 30227 h 486"/>
                  <a:gd name="T56" fmla="*/ 72884 w 414"/>
                  <a:gd name="T57" fmla="*/ 32176 h 486"/>
                  <a:gd name="T58" fmla="*/ 76772 w 414"/>
                  <a:gd name="T59" fmla="*/ 32176 h 486"/>
                  <a:gd name="T60" fmla="*/ 87461 w 414"/>
                  <a:gd name="T61" fmla="*/ 34127 h 486"/>
                  <a:gd name="T62" fmla="*/ 96207 w 414"/>
                  <a:gd name="T63" fmla="*/ 39002 h 486"/>
                  <a:gd name="T64" fmla="*/ 98151 w 414"/>
                  <a:gd name="T65" fmla="*/ 28276 h 486"/>
                  <a:gd name="T66" fmla="*/ 104953 w 414"/>
                  <a:gd name="T67" fmla="*/ 17551 h 486"/>
                  <a:gd name="T68" fmla="*/ 106897 w 414"/>
                  <a:gd name="T69" fmla="*/ 3900 h 486"/>
                  <a:gd name="T70" fmla="*/ 120501 w 414"/>
                  <a:gd name="T71" fmla="*/ 0 h 486"/>
                  <a:gd name="T72" fmla="*/ 133135 w 414"/>
                  <a:gd name="T73" fmla="*/ 0 h 486"/>
                  <a:gd name="T74" fmla="*/ 141881 w 414"/>
                  <a:gd name="T75" fmla="*/ 0 h 486"/>
                  <a:gd name="T76" fmla="*/ 147712 w 414"/>
                  <a:gd name="T77" fmla="*/ 3900 h 486"/>
                  <a:gd name="T78" fmla="*/ 143825 w 414"/>
                  <a:gd name="T79" fmla="*/ 17551 h 486"/>
                  <a:gd name="T80" fmla="*/ 137022 w 414"/>
                  <a:gd name="T81" fmla="*/ 30227 h 486"/>
                  <a:gd name="T82" fmla="*/ 135078 w 414"/>
                  <a:gd name="T83" fmla="*/ 44852 h 486"/>
                  <a:gd name="T84" fmla="*/ 133135 w 414"/>
                  <a:gd name="T85" fmla="*/ 60454 h 486"/>
                  <a:gd name="T86" fmla="*/ 131191 w 414"/>
                  <a:gd name="T87" fmla="*/ 71179 h 486"/>
                  <a:gd name="T88" fmla="*/ 128276 w 414"/>
                  <a:gd name="T89" fmla="*/ 86779 h 486"/>
                  <a:gd name="T90" fmla="*/ 115643 w 414"/>
                  <a:gd name="T91" fmla="*/ 94580 h 486"/>
                  <a:gd name="T92" fmla="*/ 106897 w 414"/>
                  <a:gd name="T93" fmla="*/ 107255 h 486"/>
                  <a:gd name="T94" fmla="*/ 98151 w 414"/>
                  <a:gd name="T95" fmla="*/ 117006 h 486"/>
                  <a:gd name="T96" fmla="*/ 98151 w 414"/>
                  <a:gd name="T97" fmla="*/ 129682 h 486"/>
                  <a:gd name="T98" fmla="*/ 98151 w 414"/>
                  <a:gd name="T99" fmla="*/ 142358 h 486"/>
                  <a:gd name="T100" fmla="*/ 92320 w 414"/>
                  <a:gd name="T101" fmla="*/ 153083 h 486"/>
                  <a:gd name="T102" fmla="*/ 81630 w 414"/>
                  <a:gd name="T103" fmla="*/ 159909 h 486"/>
                  <a:gd name="T104" fmla="*/ 70940 w 414"/>
                  <a:gd name="T105" fmla="*/ 170634 h 486"/>
                  <a:gd name="T106" fmla="*/ 64138 w 414"/>
                  <a:gd name="T107" fmla="*/ 165759 h 486"/>
                  <a:gd name="T108" fmla="*/ 60251 w 414"/>
                  <a:gd name="T109" fmla="*/ 161858 h 486"/>
                  <a:gd name="T110" fmla="*/ 49561 w 414"/>
                  <a:gd name="T111" fmla="*/ 163809 h 486"/>
                  <a:gd name="T112" fmla="*/ 44703 w 414"/>
                  <a:gd name="T113" fmla="*/ 172584 h 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4" h="486">
                    <a:moveTo>
                      <a:pt x="108" y="462"/>
                    </a:moveTo>
                    <a:lnTo>
                      <a:pt x="102" y="462"/>
                    </a:lnTo>
                    <a:lnTo>
                      <a:pt x="102" y="456"/>
                    </a:lnTo>
                    <a:lnTo>
                      <a:pt x="96" y="456"/>
                    </a:lnTo>
                    <a:lnTo>
                      <a:pt x="96" y="450"/>
                    </a:lnTo>
                    <a:lnTo>
                      <a:pt x="90" y="450"/>
                    </a:lnTo>
                    <a:lnTo>
                      <a:pt x="84" y="450"/>
                    </a:lnTo>
                    <a:lnTo>
                      <a:pt x="84" y="456"/>
                    </a:lnTo>
                    <a:lnTo>
                      <a:pt x="78" y="456"/>
                    </a:lnTo>
                    <a:lnTo>
                      <a:pt x="72" y="462"/>
                    </a:lnTo>
                    <a:lnTo>
                      <a:pt x="66" y="462"/>
                    </a:lnTo>
                    <a:lnTo>
                      <a:pt x="66" y="468"/>
                    </a:lnTo>
                    <a:lnTo>
                      <a:pt x="60" y="468"/>
                    </a:lnTo>
                    <a:lnTo>
                      <a:pt x="60" y="474"/>
                    </a:lnTo>
                    <a:lnTo>
                      <a:pt x="60" y="468"/>
                    </a:lnTo>
                    <a:lnTo>
                      <a:pt x="54" y="468"/>
                    </a:lnTo>
                    <a:lnTo>
                      <a:pt x="54" y="474"/>
                    </a:lnTo>
                    <a:lnTo>
                      <a:pt x="54" y="480"/>
                    </a:lnTo>
                    <a:lnTo>
                      <a:pt x="48" y="480"/>
                    </a:lnTo>
                    <a:lnTo>
                      <a:pt x="48" y="486"/>
                    </a:lnTo>
                    <a:lnTo>
                      <a:pt x="42" y="486"/>
                    </a:lnTo>
                    <a:lnTo>
                      <a:pt x="42" y="480"/>
                    </a:lnTo>
                    <a:lnTo>
                      <a:pt x="42" y="474"/>
                    </a:lnTo>
                    <a:lnTo>
                      <a:pt x="42" y="480"/>
                    </a:lnTo>
                    <a:lnTo>
                      <a:pt x="36" y="474"/>
                    </a:lnTo>
                    <a:lnTo>
                      <a:pt x="36" y="468"/>
                    </a:lnTo>
                    <a:lnTo>
                      <a:pt x="30" y="468"/>
                    </a:lnTo>
                    <a:lnTo>
                      <a:pt x="30" y="462"/>
                    </a:lnTo>
                    <a:lnTo>
                      <a:pt x="36" y="462"/>
                    </a:lnTo>
                    <a:lnTo>
                      <a:pt x="30" y="456"/>
                    </a:lnTo>
                    <a:lnTo>
                      <a:pt x="30" y="450"/>
                    </a:lnTo>
                    <a:lnTo>
                      <a:pt x="24" y="450"/>
                    </a:lnTo>
                    <a:lnTo>
                      <a:pt x="18" y="444"/>
                    </a:lnTo>
                    <a:lnTo>
                      <a:pt x="12" y="438"/>
                    </a:lnTo>
                    <a:lnTo>
                      <a:pt x="12" y="432"/>
                    </a:lnTo>
                    <a:lnTo>
                      <a:pt x="6" y="432"/>
                    </a:lnTo>
                    <a:lnTo>
                      <a:pt x="6" y="426"/>
                    </a:lnTo>
                    <a:lnTo>
                      <a:pt x="0" y="426"/>
                    </a:lnTo>
                    <a:lnTo>
                      <a:pt x="6" y="426"/>
                    </a:lnTo>
                    <a:lnTo>
                      <a:pt x="0" y="426"/>
                    </a:lnTo>
                    <a:lnTo>
                      <a:pt x="0" y="420"/>
                    </a:lnTo>
                    <a:lnTo>
                      <a:pt x="0" y="414"/>
                    </a:lnTo>
                    <a:lnTo>
                      <a:pt x="0" y="408"/>
                    </a:lnTo>
                    <a:lnTo>
                      <a:pt x="6" y="408"/>
                    </a:lnTo>
                    <a:lnTo>
                      <a:pt x="6" y="402"/>
                    </a:lnTo>
                    <a:lnTo>
                      <a:pt x="12" y="402"/>
                    </a:lnTo>
                    <a:lnTo>
                      <a:pt x="18" y="402"/>
                    </a:lnTo>
                    <a:lnTo>
                      <a:pt x="24" y="402"/>
                    </a:lnTo>
                    <a:lnTo>
                      <a:pt x="24" y="408"/>
                    </a:lnTo>
                    <a:lnTo>
                      <a:pt x="30" y="408"/>
                    </a:lnTo>
                    <a:lnTo>
                      <a:pt x="36" y="408"/>
                    </a:lnTo>
                    <a:lnTo>
                      <a:pt x="36" y="414"/>
                    </a:lnTo>
                    <a:lnTo>
                      <a:pt x="42" y="408"/>
                    </a:lnTo>
                    <a:lnTo>
                      <a:pt x="42" y="402"/>
                    </a:lnTo>
                    <a:lnTo>
                      <a:pt x="36" y="402"/>
                    </a:lnTo>
                    <a:lnTo>
                      <a:pt x="42" y="396"/>
                    </a:lnTo>
                    <a:lnTo>
                      <a:pt x="48" y="390"/>
                    </a:lnTo>
                    <a:lnTo>
                      <a:pt x="48" y="384"/>
                    </a:lnTo>
                    <a:lnTo>
                      <a:pt x="42" y="384"/>
                    </a:lnTo>
                    <a:lnTo>
                      <a:pt x="42" y="378"/>
                    </a:lnTo>
                    <a:lnTo>
                      <a:pt x="48" y="378"/>
                    </a:lnTo>
                    <a:lnTo>
                      <a:pt x="48" y="372"/>
                    </a:lnTo>
                    <a:lnTo>
                      <a:pt x="48" y="366"/>
                    </a:lnTo>
                    <a:lnTo>
                      <a:pt x="42" y="366"/>
                    </a:lnTo>
                    <a:lnTo>
                      <a:pt x="36" y="366"/>
                    </a:lnTo>
                    <a:lnTo>
                      <a:pt x="36" y="360"/>
                    </a:lnTo>
                    <a:lnTo>
                      <a:pt x="30" y="360"/>
                    </a:lnTo>
                    <a:lnTo>
                      <a:pt x="24" y="360"/>
                    </a:lnTo>
                    <a:lnTo>
                      <a:pt x="24" y="354"/>
                    </a:lnTo>
                    <a:lnTo>
                      <a:pt x="30" y="354"/>
                    </a:lnTo>
                    <a:lnTo>
                      <a:pt x="30" y="348"/>
                    </a:lnTo>
                    <a:lnTo>
                      <a:pt x="24" y="348"/>
                    </a:lnTo>
                    <a:lnTo>
                      <a:pt x="24" y="342"/>
                    </a:lnTo>
                    <a:lnTo>
                      <a:pt x="24" y="336"/>
                    </a:lnTo>
                    <a:lnTo>
                      <a:pt x="24" y="330"/>
                    </a:lnTo>
                    <a:lnTo>
                      <a:pt x="24" y="336"/>
                    </a:lnTo>
                    <a:lnTo>
                      <a:pt x="30" y="336"/>
                    </a:lnTo>
                    <a:lnTo>
                      <a:pt x="30" y="342"/>
                    </a:lnTo>
                    <a:lnTo>
                      <a:pt x="36" y="336"/>
                    </a:lnTo>
                    <a:lnTo>
                      <a:pt x="42" y="336"/>
                    </a:lnTo>
                    <a:lnTo>
                      <a:pt x="48" y="336"/>
                    </a:lnTo>
                    <a:lnTo>
                      <a:pt x="48" y="342"/>
                    </a:lnTo>
                    <a:lnTo>
                      <a:pt x="54" y="336"/>
                    </a:lnTo>
                    <a:lnTo>
                      <a:pt x="60" y="336"/>
                    </a:lnTo>
                    <a:lnTo>
                      <a:pt x="66" y="336"/>
                    </a:lnTo>
                    <a:lnTo>
                      <a:pt x="72" y="336"/>
                    </a:lnTo>
                    <a:lnTo>
                      <a:pt x="72" y="330"/>
                    </a:lnTo>
                    <a:lnTo>
                      <a:pt x="72" y="324"/>
                    </a:lnTo>
                    <a:lnTo>
                      <a:pt x="72" y="318"/>
                    </a:lnTo>
                    <a:lnTo>
                      <a:pt x="72" y="312"/>
                    </a:lnTo>
                    <a:lnTo>
                      <a:pt x="72" y="306"/>
                    </a:lnTo>
                    <a:lnTo>
                      <a:pt x="72" y="312"/>
                    </a:lnTo>
                    <a:lnTo>
                      <a:pt x="78" y="306"/>
                    </a:lnTo>
                    <a:lnTo>
                      <a:pt x="84" y="306"/>
                    </a:lnTo>
                    <a:lnTo>
                      <a:pt x="90" y="306"/>
                    </a:lnTo>
                    <a:lnTo>
                      <a:pt x="90" y="312"/>
                    </a:lnTo>
                    <a:lnTo>
                      <a:pt x="90" y="318"/>
                    </a:lnTo>
                    <a:lnTo>
                      <a:pt x="96" y="318"/>
                    </a:lnTo>
                    <a:lnTo>
                      <a:pt x="96" y="324"/>
                    </a:lnTo>
                    <a:lnTo>
                      <a:pt x="102" y="324"/>
                    </a:lnTo>
                    <a:lnTo>
                      <a:pt x="102" y="330"/>
                    </a:lnTo>
                    <a:lnTo>
                      <a:pt x="102" y="336"/>
                    </a:lnTo>
                    <a:lnTo>
                      <a:pt x="108" y="336"/>
                    </a:lnTo>
                    <a:lnTo>
                      <a:pt x="114" y="336"/>
                    </a:lnTo>
                    <a:lnTo>
                      <a:pt x="120" y="336"/>
                    </a:lnTo>
                    <a:lnTo>
                      <a:pt x="126" y="336"/>
                    </a:lnTo>
                    <a:lnTo>
                      <a:pt x="132" y="336"/>
                    </a:lnTo>
                    <a:lnTo>
                      <a:pt x="132" y="330"/>
                    </a:lnTo>
                    <a:lnTo>
                      <a:pt x="138" y="330"/>
                    </a:lnTo>
                    <a:lnTo>
                      <a:pt x="138" y="324"/>
                    </a:lnTo>
                    <a:lnTo>
                      <a:pt x="144" y="324"/>
                    </a:lnTo>
                    <a:lnTo>
                      <a:pt x="150" y="324"/>
                    </a:lnTo>
                    <a:lnTo>
                      <a:pt x="150" y="330"/>
                    </a:lnTo>
                    <a:lnTo>
                      <a:pt x="150" y="336"/>
                    </a:lnTo>
                    <a:lnTo>
                      <a:pt x="150" y="342"/>
                    </a:lnTo>
                    <a:lnTo>
                      <a:pt x="156" y="342"/>
                    </a:lnTo>
                    <a:lnTo>
                      <a:pt x="162" y="342"/>
                    </a:lnTo>
                    <a:lnTo>
                      <a:pt x="162" y="336"/>
                    </a:lnTo>
                    <a:lnTo>
                      <a:pt x="168" y="336"/>
                    </a:lnTo>
                    <a:lnTo>
                      <a:pt x="168" y="330"/>
                    </a:lnTo>
                    <a:lnTo>
                      <a:pt x="162" y="324"/>
                    </a:lnTo>
                    <a:lnTo>
                      <a:pt x="168" y="324"/>
                    </a:lnTo>
                    <a:lnTo>
                      <a:pt x="168" y="318"/>
                    </a:lnTo>
                    <a:lnTo>
                      <a:pt x="168" y="312"/>
                    </a:lnTo>
                    <a:lnTo>
                      <a:pt x="174" y="312"/>
                    </a:lnTo>
                    <a:lnTo>
                      <a:pt x="180" y="306"/>
                    </a:lnTo>
                    <a:lnTo>
                      <a:pt x="180" y="300"/>
                    </a:lnTo>
                    <a:lnTo>
                      <a:pt x="180" y="294"/>
                    </a:lnTo>
                    <a:lnTo>
                      <a:pt x="174" y="294"/>
                    </a:lnTo>
                    <a:lnTo>
                      <a:pt x="180" y="294"/>
                    </a:lnTo>
                    <a:lnTo>
                      <a:pt x="180" y="288"/>
                    </a:lnTo>
                    <a:lnTo>
                      <a:pt x="180" y="282"/>
                    </a:lnTo>
                    <a:lnTo>
                      <a:pt x="186" y="282"/>
                    </a:lnTo>
                    <a:lnTo>
                      <a:pt x="180" y="282"/>
                    </a:lnTo>
                    <a:lnTo>
                      <a:pt x="180" y="276"/>
                    </a:lnTo>
                    <a:lnTo>
                      <a:pt x="180" y="270"/>
                    </a:lnTo>
                    <a:lnTo>
                      <a:pt x="180" y="264"/>
                    </a:lnTo>
                    <a:lnTo>
                      <a:pt x="180" y="258"/>
                    </a:lnTo>
                    <a:lnTo>
                      <a:pt x="180" y="252"/>
                    </a:lnTo>
                    <a:lnTo>
                      <a:pt x="180" y="246"/>
                    </a:lnTo>
                    <a:lnTo>
                      <a:pt x="186" y="240"/>
                    </a:lnTo>
                    <a:lnTo>
                      <a:pt x="180" y="234"/>
                    </a:lnTo>
                    <a:lnTo>
                      <a:pt x="180" y="228"/>
                    </a:lnTo>
                    <a:lnTo>
                      <a:pt x="174" y="228"/>
                    </a:lnTo>
                    <a:lnTo>
                      <a:pt x="168" y="228"/>
                    </a:lnTo>
                    <a:lnTo>
                      <a:pt x="168" y="222"/>
                    </a:lnTo>
                    <a:lnTo>
                      <a:pt x="162" y="222"/>
                    </a:lnTo>
                    <a:lnTo>
                      <a:pt x="162" y="216"/>
                    </a:lnTo>
                    <a:lnTo>
                      <a:pt x="156" y="216"/>
                    </a:lnTo>
                    <a:lnTo>
                      <a:pt x="150" y="216"/>
                    </a:lnTo>
                    <a:lnTo>
                      <a:pt x="150" y="210"/>
                    </a:lnTo>
                    <a:lnTo>
                      <a:pt x="150" y="204"/>
                    </a:lnTo>
                    <a:lnTo>
                      <a:pt x="156" y="204"/>
                    </a:lnTo>
                    <a:lnTo>
                      <a:pt x="156" y="198"/>
                    </a:lnTo>
                    <a:lnTo>
                      <a:pt x="150" y="198"/>
                    </a:lnTo>
                    <a:lnTo>
                      <a:pt x="150" y="192"/>
                    </a:lnTo>
                    <a:lnTo>
                      <a:pt x="150" y="186"/>
                    </a:lnTo>
                    <a:lnTo>
                      <a:pt x="156" y="186"/>
                    </a:lnTo>
                    <a:lnTo>
                      <a:pt x="156" y="180"/>
                    </a:lnTo>
                    <a:lnTo>
                      <a:pt x="162" y="180"/>
                    </a:lnTo>
                    <a:lnTo>
                      <a:pt x="162" y="174"/>
                    </a:lnTo>
                    <a:lnTo>
                      <a:pt x="168" y="174"/>
                    </a:lnTo>
                    <a:lnTo>
                      <a:pt x="174" y="174"/>
                    </a:lnTo>
                    <a:lnTo>
                      <a:pt x="174" y="168"/>
                    </a:lnTo>
                    <a:lnTo>
                      <a:pt x="180" y="168"/>
                    </a:lnTo>
                    <a:lnTo>
                      <a:pt x="174" y="168"/>
                    </a:lnTo>
                    <a:lnTo>
                      <a:pt x="174" y="162"/>
                    </a:lnTo>
                    <a:lnTo>
                      <a:pt x="180" y="162"/>
                    </a:lnTo>
                    <a:lnTo>
                      <a:pt x="180" y="156"/>
                    </a:lnTo>
                    <a:lnTo>
                      <a:pt x="186" y="156"/>
                    </a:lnTo>
                    <a:lnTo>
                      <a:pt x="186" y="150"/>
                    </a:lnTo>
                    <a:lnTo>
                      <a:pt x="180" y="150"/>
                    </a:lnTo>
                    <a:lnTo>
                      <a:pt x="180" y="144"/>
                    </a:lnTo>
                    <a:lnTo>
                      <a:pt x="174" y="144"/>
                    </a:lnTo>
                    <a:lnTo>
                      <a:pt x="174" y="138"/>
                    </a:lnTo>
                    <a:lnTo>
                      <a:pt x="174" y="132"/>
                    </a:lnTo>
                    <a:lnTo>
                      <a:pt x="174" y="126"/>
                    </a:lnTo>
                    <a:lnTo>
                      <a:pt x="168" y="126"/>
                    </a:lnTo>
                    <a:lnTo>
                      <a:pt x="162" y="126"/>
                    </a:lnTo>
                    <a:lnTo>
                      <a:pt x="156" y="126"/>
                    </a:lnTo>
                    <a:lnTo>
                      <a:pt x="150" y="126"/>
                    </a:lnTo>
                    <a:lnTo>
                      <a:pt x="144" y="126"/>
                    </a:lnTo>
                    <a:lnTo>
                      <a:pt x="138" y="126"/>
                    </a:lnTo>
                    <a:lnTo>
                      <a:pt x="138" y="132"/>
                    </a:lnTo>
                    <a:lnTo>
                      <a:pt x="132" y="132"/>
                    </a:lnTo>
                    <a:lnTo>
                      <a:pt x="126" y="132"/>
                    </a:lnTo>
                    <a:lnTo>
                      <a:pt x="120" y="132"/>
                    </a:lnTo>
                    <a:lnTo>
                      <a:pt x="120" y="138"/>
                    </a:lnTo>
                    <a:lnTo>
                      <a:pt x="114" y="132"/>
                    </a:lnTo>
                    <a:lnTo>
                      <a:pt x="114" y="138"/>
                    </a:lnTo>
                    <a:lnTo>
                      <a:pt x="108" y="138"/>
                    </a:lnTo>
                    <a:lnTo>
                      <a:pt x="108" y="132"/>
                    </a:lnTo>
                    <a:lnTo>
                      <a:pt x="114" y="132"/>
                    </a:lnTo>
                    <a:lnTo>
                      <a:pt x="114" y="126"/>
                    </a:lnTo>
                    <a:lnTo>
                      <a:pt x="114" y="132"/>
                    </a:lnTo>
                    <a:lnTo>
                      <a:pt x="114" y="126"/>
                    </a:lnTo>
                    <a:lnTo>
                      <a:pt x="114" y="120"/>
                    </a:lnTo>
                    <a:lnTo>
                      <a:pt x="108" y="120"/>
                    </a:lnTo>
                    <a:lnTo>
                      <a:pt x="114" y="120"/>
                    </a:lnTo>
                    <a:lnTo>
                      <a:pt x="108" y="120"/>
                    </a:lnTo>
                    <a:lnTo>
                      <a:pt x="114" y="120"/>
                    </a:lnTo>
                    <a:lnTo>
                      <a:pt x="108" y="120"/>
                    </a:lnTo>
                    <a:lnTo>
                      <a:pt x="108" y="114"/>
                    </a:lnTo>
                    <a:lnTo>
                      <a:pt x="108" y="108"/>
                    </a:lnTo>
                    <a:lnTo>
                      <a:pt x="108" y="102"/>
                    </a:lnTo>
                    <a:lnTo>
                      <a:pt x="114" y="102"/>
                    </a:lnTo>
                    <a:lnTo>
                      <a:pt x="108" y="102"/>
                    </a:lnTo>
                    <a:lnTo>
                      <a:pt x="114" y="102"/>
                    </a:lnTo>
                    <a:lnTo>
                      <a:pt x="108" y="102"/>
                    </a:lnTo>
                    <a:lnTo>
                      <a:pt x="108" y="96"/>
                    </a:lnTo>
                    <a:lnTo>
                      <a:pt x="114" y="96"/>
                    </a:lnTo>
                    <a:lnTo>
                      <a:pt x="114" y="90"/>
                    </a:lnTo>
                    <a:lnTo>
                      <a:pt x="114" y="84"/>
                    </a:lnTo>
                    <a:lnTo>
                      <a:pt x="120" y="84"/>
                    </a:lnTo>
                    <a:lnTo>
                      <a:pt x="126" y="84"/>
                    </a:lnTo>
                    <a:lnTo>
                      <a:pt x="132" y="84"/>
                    </a:lnTo>
                    <a:lnTo>
                      <a:pt x="138" y="84"/>
                    </a:lnTo>
                    <a:lnTo>
                      <a:pt x="144" y="84"/>
                    </a:lnTo>
                    <a:lnTo>
                      <a:pt x="150" y="84"/>
                    </a:lnTo>
                    <a:lnTo>
                      <a:pt x="156" y="84"/>
                    </a:lnTo>
                    <a:lnTo>
                      <a:pt x="162" y="84"/>
                    </a:lnTo>
                    <a:lnTo>
                      <a:pt x="168" y="84"/>
                    </a:lnTo>
                    <a:lnTo>
                      <a:pt x="174" y="84"/>
                    </a:lnTo>
                    <a:lnTo>
                      <a:pt x="180" y="84"/>
                    </a:lnTo>
                    <a:lnTo>
                      <a:pt x="186" y="84"/>
                    </a:lnTo>
                    <a:lnTo>
                      <a:pt x="186" y="78"/>
                    </a:lnTo>
                    <a:lnTo>
                      <a:pt x="192" y="84"/>
                    </a:lnTo>
                    <a:lnTo>
                      <a:pt x="198" y="84"/>
                    </a:lnTo>
                    <a:lnTo>
                      <a:pt x="198" y="90"/>
                    </a:lnTo>
                    <a:lnTo>
                      <a:pt x="198" y="84"/>
                    </a:lnTo>
                    <a:lnTo>
                      <a:pt x="198" y="90"/>
                    </a:lnTo>
                    <a:lnTo>
                      <a:pt x="204" y="90"/>
                    </a:lnTo>
                    <a:lnTo>
                      <a:pt x="204" y="84"/>
                    </a:lnTo>
                    <a:lnTo>
                      <a:pt x="204" y="90"/>
                    </a:lnTo>
                    <a:lnTo>
                      <a:pt x="210" y="90"/>
                    </a:lnTo>
                    <a:lnTo>
                      <a:pt x="216" y="90"/>
                    </a:lnTo>
                    <a:lnTo>
                      <a:pt x="216" y="96"/>
                    </a:lnTo>
                    <a:lnTo>
                      <a:pt x="216" y="90"/>
                    </a:lnTo>
                    <a:lnTo>
                      <a:pt x="216" y="96"/>
                    </a:lnTo>
                    <a:lnTo>
                      <a:pt x="216" y="90"/>
                    </a:lnTo>
                    <a:lnTo>
                      <a:pt x="222" y="90"/>
                    </a:lnTo>
                    <a:lnTo>
                      <a:pt x="228" y="90"/>
                    </a:lnTo>
                    <a:lnTo>
                      <a:pt x="222" y="90"/>
                    </a:lnTo>
                    <a:lnTo>
                      <a:pt x="228" y="90"/>
                    </a:lnTo>
                    <a:lnTo>
                      <a:pt x="228" y="96"/>
                    </a:lnTo>
                    <a:lnTo>
                      <a:pt x="234" y="96"/>
                    </a:lnTo>
                    <a:lnTo>
                      <a:pt x="240" y="96"/>
                    </a:lnTo>
                    <a:lnTo>
                      <a:pt x="246" y="96"/>
                    </a:lnTo>
                    <a:lnTo>
                      <a:pt x="252" y="96"/>
                    </a:lnTo>
                    <a:lnTo>
                      <a:pt x="258" y="96"/>
                    </a:lnTo>
                    <a:lnTo>
                      <a:pt x="258" y="102"/>
                    </a:lnTo>
                    <a:lnTo>
                      <a:pt x="264" y="102"/>
                    </a:lnTo>
                    <a:lnTo>
                      <a:pt x="264" y="108"/>
                    </a:lnTo>
                    <a:lnTo>
                      <a:pt x="270" y="108"/>
                    </a:lnTo>
                    <a:lnTo>
                      <a:pt x="270" y="114"/>
                    </a:lnTo>
                    <a:lnTo>
                      <a:pt x="270" y="108"/>
                    </a:lnTo>
                    <a:lnTo>
                      <a:pt x="276" y="108"/>
                    </a:lnTo>
                    <a:lnTo>
                      <a:pt x="276" y="102"/>
                    </a:lnTo>
                    <a:lnTo>
                      <a:pt x="276" y="96"/>
                    </a:lnTo>
                    <a:lnTo>
                      <a:pt x="270" y="96"/>
                    </a:lnTo>
                    <a:lnTo>
                      <a:pt x="270" y="90"/>
                    </a:lnTo>
                    <a:lnTo>
                      <a:pt x="270" y="84"/>
                    </a:lnTo>
                    <a:lnTo>
                      <a:pt x="276" y="84"/>
                    </a:lnTo>
                    <a:lnTo>
                      <a:pt x="276" y="78"/>
                    </a:lnTo>
                    <a:lnTo>
                      <a:pt x="282" y="78"/>
                    </a:lnTo>
                    <a:lnTo>
                      <a:pt x="282" y="72"/>
                    </a:lnTo>
                    <a:lnTo>
                      <a:pt x="282" y="66"/>
                    </a:lnTo>
                    <a:lnTo>
                      <a:pt x="288" y="66"/>
                    </a:lnTo>
                    <a:lnTo>
                      <a:pt x="288" y="60"/>
                    </a:lnTo>
                    <a:lnTo>
                      <a:pt x="288" y="54"/>
                    </a:lnTo>
                    <a:lnTo>
                      <a:pt x="294" y="54"/>
                    </a:lnTo>
                    <a:lnTo>
                      <a:pt x="294" y="48"/>
                    </a:lnTo>
                    <a:lnTo>
                      <a:pt x="294" y="42"/>
                    </a:lnTo>
                    <a:lnTo>
                      <a:pt x="294" y="36"/>
                    </a:lnTo>
                    <a:lnTo>
                      <a:pt x="300" y="30"/>
                    </a:lnTo>
                    <a:lnTo>
                      <a:pt x="294" y="30"/>
                    </a:lnTo>
                    <a:lnTo>
                      <a:pt x="294" y="24"/>
                    </a:lnTo>
                    <a:lnTo>
                      <a:pt x="300" y="24"/>
                    </a:lnTo>
                    <a:lnTo>
                      <a:pt x="300" y="18"/>
                    </a:lnTo>
                    <a:lnTo>
                      <a:pt x="300" y="12"/>
                    </a:lnTo>
                    <a:lnTo>
                      <a:pt x="300" y="6"/>
                    </a:lnTo>
                    <a:lnTo>
                      <a:pt x="306" y="6"/>
                    </a:lnTo>
                    <a:lnTo>
                      <a:pt x="312" y="6"/>
                    </a:lnTo>
                    <a:lnTo>
                      <a:pt x="318" y="6"/>
                    </a:lnTo>
                    <a:lnTo>
                      <a:pt x="324" y="6"/>
                    </a:lnTo>
                    <a:lnTo>
                      <a:pt x="330" y="6"/>
                    </a:lnTo>
                    <a:lnTo>
                      <a:pt x="336" y="6"/>
                    </a:lnTo>
                    <a:lnTo>
                      <a:pt x="336" y="0"/>
                    </a:lnTo>
                    <a:lnTo>
                      <a:pt x="342" y="0"/>
                    </a:lnTo>
                    <a:lnTo>
                      <a:pt x="348" y="0"/>
                    </a:lnTo>
                    <a:lnTo>
                      <a:pt x="354" y="0"/>
                    </a:lnTo>
                    <a:lnTo>
                      <a:pt x="360" y="0"/>
                    </a:lnTo>
                    <a:lnTo>
                      <a:pt x="366" y="0"/>
                    </a:lnTo>
                    <a:lnTo>
                      <a:pt x="372" y="0"/>
                    </a:lnTo>
                    <a:lnTo>
                      <a:pt x="372" y="6"/>
                    </a:lnTo>
                    <a:lnTo>
                      <a:pt x="372" y="0"/>
                    </a:lnTo>
                    <a:lnTo>
                      <a:pt x="378" y="0"/>
                    </a:lnTo>
                    <a:lnTo>
                      <a:pt x="378" y="6"/>
                    </a:lnTo>
                    <a:lnTo>
                      <a:pt x="384" y="6"/>
                    </a:lnTo>
                    <a:lnTo>
                      <a:pt x="390" y="6"/>
                    </a:lnTo>
                    <a:lnTo>
                      <a:pt x="390" y="12"/>
                    </a:lnTo>
                    <a:lnTo>
                      <a:pt x="390" y="6"/>
                    </a:lnTo>
                    <a:lnTo>
                      <a:pt x="396" y="6"/>
                    </a:lnTo>
                    <a:lnTo>
                      <a:pt x="396" y="0"/>
                    </a:lnTo>
                    <a:lnTo>
                      <a:pt x="402" y="6"/>
                    </a:lnTo>
                    <a:lnTo>
                      <a:pt x="402" y="0"/>
                    </a:lnTo>
                    <a:lnTo>
                      <a:pt x="402" y="6"/>
                    </a:lnTo>
                    <a:lnTo>
                      <a:pt x="402" y="0"/>
                    </a:lnTo>
                    <a:lnTo>
                      <a:pt x="408" y="0"/>
                    </a:lnTo>
                    <a:lnTo>
                      <a:pt x="408" y="6"/>
                    </a:lnTo>
                    <a:lnTo>
                      <a:pt x="414" y="6"/>
                    </a:lnTo>
                    <a:lnTo>
                      <a:pt x="414" y="12"/>
                    </a:lnTo>
                    <a:lnTo>
                      <a:pt x="414" y="18"/>
                    </a:lnTo>
                    <a:lnTo>
                      <a:pt x="414" y="24"/>
                    </a:lnTo>
                    <a:lnTo>
                      <a:pt x="414" y="30"/>
                    </a:lnTo>
                    <a:lnTo>
                      <a:pt x="408" y="30"/>
                    </a:lnTo>
                    <a:lnTo>
                      <a:pt x="408" y="36"/>
                    </a:lnTo>
                    <a:lnTo>
                      <a:pt x="402" y="36"/>
                    </a:lnTo>
                    <a:lnTo>
                      <a:pt x="402" y="42"/>
                    </a:lnTo>
                    <a:lnTo>
                      <a:pt x="402" y="48"/>
                    </a:lnTo>
                    <a:lnTo>
                      <a:pt x="402" y="54"/>
                    </a:lnTo>
                    <a:lnTo>
                      <a:pt x="396" y="54"/>
                    </a:lnTo>
                    <a:lnTo>
                      <a:pt x="396" y="60"/>
                    </a:lnTo>
                    <a:lnTo>
                      <a:pt x="390" y="66"/>
                    </a:lnTo>
                    <a:lnTo>
                      <a:pt x="390" y="72"/>
                    </a:lnTo>
                    <a:lnTo>
                      <a:pt x="390" y="78"/>
                    </a:lnTo>
                    <a:lnTo>
                      <a:pt x="384" y="78"/>
                    </a:lnTo>
                    <a:lnTo>
                      <a:pt x="384" y="84"/>
                    </a:lnTo>
                    <a:lnTo>
                      <a:pt x="384" y="90"/>
                    </a:lnTo>
                    <a:lnTo>
                      <a:pt x="384" y="96"/>
                    </a:lnTo>
                    <a:lnTo>
                      <a:pt x="384" y="102"/>
                    </a:lnTo>
                    <a:lnTo>
                      <a:pt x="384" y="108"/>
                    </a:lnTo>
                    <a:lnTo>
                      <a:pt x="384" y="114"/>
                    </a:lnTo>
                    <a:lnTo>
                      <a:pt x="384" y="120"/>
                    </a:lnTo>
                    <a:lnTo>
                      <a:pt x="378" y="120"/>
                    </a:lnTo>
                    <a:lnTo>
                      <a:pt x="378" y="126"/>
                    </a:lnTo>
                    <a:lnTo>
                      <a:pt x="378" y="132"/>
                    </a:lnTo>
                    <a:lnTo>
                      <a:pt x="378" y="138"/>
                    </a:lnTo>
                    <a:lnTo>
                      <a:pt x="372" y="138"/>
                    </a:lnTo>
                    <a:lnTo>
                      <a:pt x="372" y="144"/>
                    </a:lnTo>
                    <a:lnTo>
                      <a:pt x="372" y="150"/>
                    </a:lnTo>
                    <a:lnTo>
                      <a:pt x="372" y="156"/>
                    </a:lnTo>
                    <a:lnTo>
                      <a:pt x="372" y="162"/>
                    </a:lnTo>
                    <a:lnTo>
                      <a:pt x="372" y="168"/>
                    </a:lnTo>
                    <a:lnTo>
                      <a:pt x="372" y="174"/>
                    </a:lnTo>
                    <a:lnTo>
                      <a:pt x="378" y="174"/>
                    </a:lnTo>
                    <a:lnTo>
                      <a:pt x="378" y="180"/>
                    </a:lnTo>
                    <a:lnTo>
                      <a:pt x="378" y="186"/>
                    </a:lnTo>
                    <a:lnTo>
                      <a:pt x="372" y="186"/>
                    </a:lnTo>
                    <a:lnTo>
                      <a:pt x="372" y="192"/>
                    </a:lnTo>
                    <a:lnTo>
                      <a:pt x="366" y="192"/>
                    </a:lnTo>
                    <a:lnTo>
                      <a:pt x="366" y="198"/>
                    </a:lnTo>
                    <a:lnTo>
                      <a:pt x="366" y="204"/>
                    </a:lnTo>
                    <a:lnTo>
                      <a:pt x="366" y="210"/>
                    </a:lnTo>
                    <a:lnTo>
                      <a:pt x="360" y="210"/>
                    </a:lnTo>
                    <a:lnTo>
                      <a:pt x="360" y="216"/>
                    </a:lnTo>
                    <a:lnTo>
                      <a:pt x="366" y="222"/>
                    </a:lnTo>
                    <a:lnTo>
                      <a:pt x="366" y="228"/>
                    </a:lnTo>
                    <a:lnTo>
                      <a:pt x="360" y="234"/>
                    </a:lnTo>
                    <a:lnTo>
                      <a:pt x="360" y="240"/>
                    </a:lnTo>
                    <a:lnTo>
                      <a:pt x="354" y="240"/>
                    </a:lnTo>
                    <a:lnTo>
                      <a:pt x="354" y="246"/>
                    </a:lnTo>
                    <a:lnTo>
                      <a:pt x="348" y="252"/>
                    </a:lnTo>
                    <a:lnTo>
                      <a:pt x="342" y="258"/>
                    </a:lnTo>
                    <a:lnTo>
                      <a:pt x="336" y="258"/>
                    </a:lnTo>
                    <a:lnTo>
                      <a:pt x="336" y="264"/>
                    </a:lnTo>
                    <a:lnTo>
                      <a:pt x="330" y="264"/>
                    </a:lnTo>
                    <a:lnTo>
                      <a:pt x="324" y="264"/>
                    </a:lnTo>
                    <a:lnTo>
                      <a:pt x="324" y="270"/>
                    </a:lnTo>
                    <a:lnTo>
                      <a:pt x="318" y="270"/>
                    </a:lnTo>
                    <a:lnTo>
                      <a:pt x="312" y="276"/>
                    </a:lnTo>
                    <a:lnTo>
                      <a:pt x="312" y="282"/>
                    </a:lnTo>
                    <a:lnTo>
                      <a:pt x="306" y="282"/>
                    </a:lnTo>
                    <a:lnTo>
                      <a:pt x="306" y="288"/>
                    </a:lnTo>
                    <a:lnTo>
                      <a:pt x="306" y="294"/>
                    </a:lnTo>
                    <a:lnTo>
                      <a:pt x="300" y="300"/>
                    </a:lnTo>
                    <a:lnTo>
                      <a:pt x="300" y="306"/>
                    </a:lnTo>
                    <a:lnTo>
                      <a:pt x="294" y="306"/>
                    </a:lnTo>
                    <a:lnTo>
                      <a:pt x="294" y="312"/>
                    </a:lnTo>
                    <a:lnTo>
                      <a:pt x="288" y="312"/>
                    </a:lnTo>
                    <a:lnTo>
                      <a:pt x="288" y="318"/>
                    </a:lnTo>
                    <a:lnTo>
                      <a:pt x="282" y="318"/>
                    </a:lnTo>
                    <a:lnTo>
                      <a:pt x="282" y="324"/>
                    </a:lnTo>
                    <a:lnTo>
                      <a:pt x="276" y="324"/>
                    </a:lnTo>
                    <a:lnTo>
                      <a:pt x="276" y="330"/>
                    </a:lnTo>
                    <a:lnTo>
                      <a:pt x="276" y="336"/>
                    </a:lnTo>
                    <a:lnTo>
                      <a:pt x="276" y="342"/>
                    </a:lnTo>
                    <a:lnTo>
                      <a:pt x="282" y="342"/>
                    </a:lnTo>
                    <a:lnTo>
                      <a:pt x="282" y="348"/>
                    </a:lnTo>
                    <a:lnTo>
                      <a:pt x="282" y="354"/>
                    </a:lnTo>
                    <a:lnTo>
                      <a:pt x="276" y="354"/>
                    </a:lnTo>
                    <a:lnTo>
                      <a:pt x="276" y="360"/>
                    </a:lnTo>
                    <a:lnTo>
                      <a:pt x="276" y="366"/>
                    </a:lnTo>
                    <a:lnTo>
                      <a:pt x="276" y="372"/>
                    </a:lnTo>
                    <a:lnTo>
                      <a:pt x="276" y="378"/>
                    </a:lnTo>
                    <a:lnTo>
                      <a:pt x="276" y="384"/>
                    </a:lnTo>
                    <a:lnTo>
                      <a:pt x="282" y="384"/>
                    </a:lnTo>
                    <a:lnTo>
                      <a:pt x="282" y="390"/>
                    </a:lnTo>
                    <a:lnTo>
                      <a:pt x="276" y="390"/>
                    </a:lnTo>
                    <a:lnTo>
                      <a:pt x="276" y="396"/>
                    </a:lnTo>
                    <a:lnTo>
                      <a:pt x="276" y="402"/>
                    </a:lnTo>
                    <a:lnTo>
                      <a:pt x="270" y="402"/>
                    </a:lnTo>
                    <a:lnTo>
                      <a:pt x="270" y="408"/>
                    </a:lnTo>
                    <a:lnTo>
                      <a:pt x="270" y="414"/>
                    </a:lnTo>
                    <a:lnTo>
                      <a:pt x="264" y="414"/>
                    </a:lnTo>
                    <a:lnTo>
                      <a:pt x="264" y="420"/>
                    </a:lnTo>
                    <a:lnTo>
                      <a:pt x="264" y="426"/>
                    </a:lnTo>
                    <a:lnTo>
                      <a:pt x="258" y="426"/>
                    </a:lnTo>
                    <a:lnTo>
                      <a:pt x="252" y="426"/>
                    </a:lnTo>
                    <a:lnTo>
                      <a:pt x="246" y="426"/>
                    </a:lnTo>
                    <a:lnTo>
                      <a:pt x="240" y="426"/>
                    </a:lnTo>
                    <a:lnTo>
                      <a:pt x="240" y="432"/>
                    </a:lnTo>
                    <a:lnTo>
                      <a:pt x="240" y="438"/>
                    </a:lnTo>
                    <a:lnTo>
                      <a:pt x="240" y="444"/>
                    </a:lnTo>
                    <a:lnTo>
                      <a:pt x="234" y="444"/>
                    </a:lnTo>
                    <a:lnTo>
                      <a:pt x="228" y="444"/>
                    </a:lnTo>
                    <a:lnTo>
                      <a:pt x="222" y="444"/>
                    </a:lnTo>
                    <a:lnTo>
                      <a:pt x="222" y="450"/>
                    </a:lnTo>
                    <a:lnTo>
                      <a:pt x="216" y="456"/>
                    </a:lnTo>
                    <a:lnTo>
                      <a:pt x="210" y="462"/>
                    </a:lnTo>
                    <a:lnTo>
                      <a:pt x="204" y="462"/>
                    </a:lnTo>
                    <a:lnTo>
                      <a:pt x="204" y="468"/>
                    </a:lnTo>
                    <a:lnTo>
                      <a:pt x="204" y="474"/>
                    </a:lnTo>
                    <a:lnTo>
                      <a:pt x="198" y="474"/>
                    </a:lnTo>
                    <a:lnTo>
                      <a:pt x="192" y="480"/>
                    </a:lnTo>
                    <a:lnTo>
                      <a:pt x="192" y="474"/>
                    </a:lnTo>
                    <a:lnTo>
                      <a:pt x="186" y="474"/>
                    </a:lnTo>
                    <a:lnTo>
                      <a:pt x="180" y="474"/>
                    </a:lnTo>
                    <a:lnTo>
                      <a:pt x="180" y="468"/>
                    </a:lnTo>
                    <a:lnTo>
                      <a:pt x="180" y="462"/>
                    </a:lnTo>
                    <a:lnTo>
                      <a:pt x="174" y="462"/>
                    </a:lnTo>
                    <a:lnTo>
                      <a:pt x="180" y="462"/>
                    </a:lnTo>
                    <a:lnTo>
                      <a:pt x="174" y="462"/>
                    </a:lnTo>
                    <a:lnTo>
                      <a:pt x="174" y="456"/>
                    </a:lnTo>
                    <a:lnTo>
                      <a:pt x="180" y="456"/>
                    </a:lnTo>
                    <a:lnTo>
                      <a:pt x="180" y="450"/>
                    </a:lnTo>
                    <a:lnTo>
                      <a:pt x="180" y="444"/>
                    </a:lnTo>
                    <a:lnTo>
                      <a:pt x="174" y="444"/>
                    </a:lnTo>
                    <a:lnTo>
                      <a:pt x="168" y="444"/>
                    </a:lnTo>
                    <a:lnTo>
                      <a:pt x="168" y="450"/>
                    </a:lnTo>
                    <a:lnTo>
                      <a:pt x="162" y="450"/>
                    </a:lnTo>
                    <a:lnTo>
                      <a:pt x="156" y="450"/>
                    </a:lnTo>
                    <a:lnTo>
                      <a:pt x="156" y="456"/>
                    </a:lnTo>
                    <a:lnTo>
                      <a:pt x="150" y="456"/>
                    </a:lnTo>
                    <a:lnTo>
                      <a:pt x="150" y="450"/>
                    </a:lnTo>
                    <a:lnTo>
                      <a:pt x="144" y="450"/>
                    </a:lnTo>
                    <a:lnTo>
                      <a:pt x="138" y="450"/>
                    </a:lnTo>
                    <a:lnTo>
                      <a:pt x="138" y="456"/>
                    </a:lnTo>
                    <a:lnTo>
                      <a:pt x="144" y="456"/>
                    </a:lnTo>
                    <a:lnTo>
                      <a:pt x="144" y="462"/>
                    </a:lnTo>
                    <a:lnTo>
                      <a:pt x="138" y="462"/>
                    </a:lnTo>
                    <a:lnTo>
                      <a:pt x="138" y="468"/>
                    </a:lnTo>
                    <a:lnTo>
                      <a:pt x="132" y="468"/>
                    </a:lnTo>
                    <a:lnTo>
                      <a:pt x="132" y="474"/>
                    </a:lnTo>
                    <a:lnTo>
                      <a:pt x="126" y="474"/>
                    </a:lnTo>
                    <a:lnTo>
                      <a:pt x="126" y="480"/>
                    </a:lnTo>
                    <a:lnTo>
                      <a:pt x="120" y="474"/>
                    </a:lnTo>
                    <a:lnTo>
                      <a:pt x="120" y="468"/>
                    </a:lnTo>
                    <a:lnTo>
                      <a:pt x="114" y="468"/>
                    </a:lnTo>
                    <a:lnTo>
                      <a:pt x="114" y="462"/>
                    </a:lnTo>
                    <a:lnTo>
                      <a:pt x="108" y="46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299" name="Freeform 50"/>
              <p:cNvSpPr>
                <a:spLocks noEditPoints="1"/>
              </p:cNvSpPr>
              <p:nvPr>
                <p:custDataLst>
                  <p:tags r:id="rId46"/>
                </p:custDataLst>
              </p:nvPr>
            </p:nvSpPr>
            <p:spPr bwMode="gray">
              <a:xfrm>
                <a:off x="2599912" y="1980688"/>
                <a:ext cx="407925" cy="415843"/>
              </a:xfrm>
              <a:custGeom>
                <a:avLst/>
                <a:gdLst>
                  <a:gd name="T0" fmla="*/ 44504 w 324"/>
                  <a:gd name="T1" fmla="*/ 120720 h 354"/>
                  <a:gd name="T2" fmla="*/ 37731 w 324"/>
                  <a:gd name="T3" fmla="*/ 113960 h 354"/>
                  <a:gd name="T4" fmla="*/ 29991 w 324"/>
                  <a:gd name="T5" fmla="*/ 104302 h 354"/>
                  <a:gd name="T6" fmla="*/ 27089 w 324"/>
                  <a:gd name="T7" fmla="*/ 101405 h 354"/>
                  <a:gd name="T8" fmla="*/ 19350 w 324"/>
                  <a:gd name="T9" fmla="*/ 95611 h 354"/>
                  <a:gd name="T10" fmla="*/ 12577 w 324"/>
                  <a:gd name="T11" fmla="*/ 86918 h 354"/>
                  <a:gd name="T12" fmla="*/ 8707 w 324"/>
                  <a:gd name="T13" fmla="*/ 78227 h 354"/>
                  <a:gd name="T14" fmla="*/ 6772 w 324"/>
                  <a:gd name="T15" fmla="*/ 71466 h 354"/>
                  <a:gd name="T16" fmla="*/ 1935 w 324"/>
                  <a:gd name="T17" fmla="*/ 65672 h 354"/>
                  <a:gd name="T18" fmla="*/ 0 w 324"/>
                  <a:gd name="T19" fmla="*/ 59877 h 354"/>
                  <a:gd name="T20" fmla="*/ 3870 w 324"/>
                  <a:gd name="T21" fmla="*/ 60843 h 354"/>
                  <a:gd name="T22" fmla="*/ 6772 w 324"/>
                  <a:gd name="T23" fmla="*/ 59877 h 354"/>
                  <a:gd name="T24" fmla="*/ 6772 w 324"/>
                  <a:gd name="T25" fmla="*/ 59877 h 354"/>
                  <a:gd name="T26" fmla="*/ 10642 w 324"/>
                  <a:gd name="T27" fmla="*/ 51186 h 354"/>
                  <a:gd name="T28" fmla="*/ 10642 w 324"/>
                  <a:gd name="T29" fmla="*/ 42493 h 354"/>
                  <a:gd name="T30" fmla="*/ 14512 w 324"/>
                  <a:gd name="T31" fmla="*/ 42493 h 354"/>
                  <a:gd name="T32" fmla="*/ 19350 w 324"/>
                  <a:gd name="T33" fmla="*/ 44425 h 354"/>
                  <a:gd name="T34" fmla="*/ 17415 w 324"/>
                  <a:gd name="T35" fmla="*/ 40562 h 354"/>
                  <a:gd name="T36" fmla="*/ 10642 w 324"/>
                  <a:gd name="T37" fmla="*/ 33801 h 354"/>
                  <a:gd name="T38" fmla="*/ 17415 w 324"/>
                  <a:gd name="T39" fmla="*/ 31870 h 354"/>
                  <a:gd name="T40" fmla="*/ 21285 w 324"/>
                  <a:gd name="T41" fmla="*/ 26076 h 354"/>
                  <a:gd name="T42" fmla="*/ 31926 w 324"/>
                  <a:gd name="T43" fmla="*/ 27041 h 354"/>
                  <a:gd name="T44" fmla="*/ 44504 w 324"/>
                  <a:gd name="T45" fmla="*/ 27041 h 354"/>
                  <a:gd name="T46" fmla="*/ 51276 w 324"/>
                  <a:gd name="T47" fmla="*/ 21247 h 354"/>
                  <a:gd name="T48" fmla="*/ 51276 w 324"/>
                  <a:gd name="T49" fmla="*/ 8692 h 354"/>
                  <a:gd name="T50" fmla="*/ 55146 w 324"/>
                  <a:gd name="T51" fmla="*/ 0 h 354"/>
                  <a:gd name="T52" fmla="*/ 59984 w 324"/>
                  <a:gd name="T53" fmla="*/ 0 h 354"/>
                  <a:gd name="T54" fmla="*/ 70626 w 324"/>
                  <a:gd name="T55" fmla="*/ 1931 h 354"/>
                  <a:gd name="T56" fmla="*/ 83203 w 324"/>
                  <a:gd name="T57" fmla="*/ 1931 h 354"/>
                  <a:gd name="T58" fmla="*/ 90943 w 324"/>
                  <a:gd name="T59" fmla="*/ 1931 h 354"/>
                  <a:gd name="T60" fmla="*/ 87073 w 324"/>
                  <a:gd name="T61" fmla="*/ 10624 h 354"/>
                  <a:gd name="T62" fmla="*/ 87073 w 324"/>
                  <a:gd name="T63" fmla="*/ 14486 h 354"/>
                  <a:gd name="T64" fmla="*/ 89008 w 324"/>
                  <a:gd name="T65" fmla="*/ 17383 h 354"/>
                  <a:gd name="T66" fmla="*/ 87073 w 324"/>
                  <a:gd name="T67" fmla="*/ 23179 h 354"/>
                  <a:gd name="T68" fmla="*/ 95780 w 324"/>
                  <a:gd name="T69" fmla="*/ 21247 h 354"/>
                  <a:gd name="T70" fmla="*/ 105455 w 324"/>
                  <a:gd name="T71" fmla="*/ 19315 h 354"/>
                  <a:gd name="T72" fmla="*/ 112227 w 324"/>
                  <a:gd name="T73" fmla="*/ 26076 h 354"/>
                  <a:gd name="T74" fmla="*/ 110292 w 324"/>
                  <a:gd name="T75" fmla="*/ 31870 h 354"/>
                  <a:gd name="T76" fmla="*/ 105455 w 324"/>
                  <a:gd name="T77" fmla="*/ 35733 h 354"/>
                  <a:gd name="T78" fmla="*/ 101585 w 324"/>
                  <a:gd name="T79" fmla="*/ 44425 h 354"/>
                  <a:gd name="T80" fmla="*/ 104487 w 324"/>
                  <a:gd name="T81" fmla="*/ 51186 h 354"/>
                  <a:gd name="T82" fmla="*/ 112227 w 324"/>
                  <a:gd name="T83" fmla="*/ 55048 h 354"/>
                  <a:gd name="T84" fmla="*/ 112227 w 324"/>
                  <a:gd name="T85" fmla="*/ 67603 h 354"/>
                  <a:gd name="T86" fmla="*/ 112227 w 324"/>
                  <a:gd name="T87" fmla="*/ 76295 h 354"/>
                  <a:gd name="T88" fmla="*/ 110292 w 324"/>
                  <a:gd name="T89" fmla="*/ 84987 h 354"/>
                  <a:gd name="T90" fmla="*/ 108357 w 324"/>
                  <a:gd name="T91" fmla="*/ 93679 h 354"/>
                  <a:gd name="T92" fmla="*/ 101585 w 324"/>
                  <a:gd name="T93" fmla="*/ 90781 h 354"/>
                  <a:gd name="T94" fmla="*/ 95780 w 324"/>
                  <a:gd name="T95" fmla="*/ 93679 h 354"/>
                  <a:gd name="T96" fmla="*/ 85138 w 324"/>
                  <a:gd name="T97" fmla="*/ 90781 h 354"/>
                  <a:gd name="T98" fmla="*/ 80300 w 324"/>
                  <a:gd name="T99" fmla="*/ 82090 h 354"/>
                  <a:gd name="T100" fmla="*/ 74496 w 324"/>
                  <a:gd name="T101" fmla="*/ 86918 h 354"/>
                  <a:gd name="T102" fmla="*/ 67724 w 324"/>
                  <a:gd name="T103" fmla="*/ 93679 h 354"/>
                  <a:gd name="T104" fmla="*/ 59984 w 324"/>
                  <a:gd name="T105" fmla="*/ 93679 h 354"/>
                  <a:gd name="T106" fmla="*/ 59984 w 324"/>
                  <a:gd name="T107" fmla="*/ 97542 h 354"/>
                  <a:gd name="T108" fmla="*/ 61919 w 324"/>
                  <a:gd name="T109" fmla="*/ 104302 h 354"/>
                  <a:gd name="T110" fmla="*/ 63854 w 324"/>
                  <a:gd name="T111" fmla="*/ 110097 h 354"/>
                  <a:gd name="T112" fmla="*/ 63854 w 324"/>
                  <a:gd name="T113" fmla="*/ 118788 h 354"/>
                  <a:gd name="T114" fmla="*/ 55146 w 324"/>
                  <a:gd name="T115" fmla="*/ 115891 h 354"/>
                  <a:gd name="T116" fmla="*/ 48374 w 324"/>
                  <a:gd name="T117" fmla="*/ 122652 h 354"/>
                  <a:gd name="T118" fmla="*/ 1935 w 324"/>
                  <a:gd name="T119" fmla="*/ 63740 h 354"/>
                  <a:gd name="T120" fmla="*/ 12577 w 324"/>
                  <a:gd name="T121" fmla="*/ 3187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24" h="354">
                    <a:moveTo>
                      <a:pt x="138" y="354"/>
                    </a:moveTo>
                    <a:lnTo>
                      <a:pt x="138" y="348"/>
                    </a:lnTo>
                    <a:lnTo>
                      <a:pt x="138" y="354"/>
                    </a:lnTo>
                    <a:lnTo>
                      <a:pt x="132" y="348"/>
                    </a:lnTo>
                    <a:lnTo>
                      <a:pt x="126" y="348"/>
                    </a:lnTo>
                    <a:lnTo>
                      <a:pt x="126" y="342"/>
                    </a:lnTo>
                    <a:lnTo>
                      <a:pt x="126" y="336"/>
                    </a:lnTo>
                    <a:lnTo>
                      <a:pt x="120" y="336"/>
                    </a:lnTo>
                    <a:lnTo>
                      <a:pt x="120" y="330"/>
                    </a:lnTo>
                    <a:lnTo>
                      <a:pt x="114" y="330"/>
                    </a:lnTo>
                    <a:lnTo>
                      <a:pt x="114" y="324"/>
                    </a:lnTo>
                    <a:lnTo>
                      <a:pt x="108" y="324"/>
                    </a:lnTo>
                    <a:lnTo>
                      <a:pt x="108" y="318"/>
                    </a:lnTo>
                    <a:lnTo>
                      <a:pt x="102" y="312"/>
                    </a:lnTo>
                    <a:lnTo>
                      <a:pt x="96" y="306"/>
                    </a:lnTo>
                    <a:lnTo>
                      <a:pt x="90" y="306"/>
                    </a:lnTo>
                    <a:lnTo>
                      <a:pt x="90" y="300"/>
                    </a:lnTo>
                    <a:lnTo>
                      <a:pt x="84" y="294"/>
                    </a:lnTo>
                    <a:lnTo>
                      <a:pt x="84" y="300"/>
                    </a:lnTo>
                    <a:lnTo>
                      <a:pt x="90" y="300"/>
                    </a:lnTo>
                    <a:lnTo>
                      <a:pt x="84" y="300"/>
                    </a:lnTo>
                    <a:lnTo>
                      <a:pt x="84" y="294"/>
                    </a:lnTo>
                    <a:lnTo>
                      <a:pt x="78" y="294"/>
                    </a:lnTo>
                    <a:lnTo>
                      <a:pt x="78" y="288"/>
                    </a:lnTo>
                    <a:lnTo>
                      <a:pt x="72" y="288"/>
                    </a:lnTo>
                    <a:lnTo>
                      <a:pt x="72" y="282"/>
                    </a:lnTo>
                    <a:lnTo>
                      <a:pt x="66" y="282"/>
                    </a:lnTo>
                    <a:lnTo>
                      <a:pt x="66" y="276"/>
                    </a:lnTo>
                    <a:lnTo>
                      <a:pt x="60" y="276"/>
                    </a:lnTo>
                    <a:lnTo>
                      <a:pt x="54" y="270"/>
                    </a:lnTo>
                    <a:lnTo>
                      <a:pt x="48" y="264"/>
                    </a:lnTo>
                    <a:lnTo>
                      <a:pt x="48" y="258"/>
                    </a:lnTo>
                    <a:lnTo>
                      <a:pt x="48" y="252"/>
                    </a:lnTo>
                    <a:lnTo>
                      <a:pt x="42" y="252"/>
                    </a:lnTo>
                    <a:lnTo>
                      <a:pt x="42" y="246"/>
                    </a:lnTo>
                    <a:lnTo>
                      <a:pt x="36" y="246"/>
                    </a:lnTo>
                    <a:lnTo>
                      <a:pt x="36" y="240"/>
                    </a:lnTo>
                    <a:lnTo>
                      <a:pt x="30" y="240"/>
                    </a:lnTo>
                    <a:lnTo>
                      <a:pt x="30" y="234"/>
                    </a:lnTo>
                    <a:lnTo>
                      <a:pt x="30" y="228"/>
                    </a:lnTo>
                    <a:lnTo>
                      <a:pt x="30" y="222"/>
                    </a:lnTo>
                    <a:lnTo>
                      <a:pt x="24" y="222"/>
                    </a:lnTo>
                    <a:lnTo>
                      <a:pt x="24" y="216"/>
                    </a:lnTo>
                    <a:lnTo>
                      <a:pt x="24" y="210"/>
                    </a:lnTo>
                    <a:lnTo>
                      <a:pt x="18" y="210"/>
                    </a:lnTo>
                    <a:lnTo>
                      <a:pt x="18" y="204"/>
                    </a:lnTo>
                    <a:lnTo>
                      <a:pt x="12" y="204"/>
                    </a:lnTo>
                    <a:lnTo>
                      <a:pt x="18" y="204"/>
                    </a:lnTo>
                    <a:lnTo>
                      <a:pt x="12" y="204"/>
                    </a:lnTo>
                    <a:lnTo>
                      <a:pt x="18" y="204"/>
                    </a:lnTo>
                    <a:lnTo>
                      <a:pt x="18" y="198"/>
                    </a:lnTo>
                    <a:lnTo>
                      <a:pt x="12" y="198"/>
                    </a:lnTo>
                    <a:lnTo>
                      <a:pt x="12" y="192"/>
                    </a:lnTo>
                    <a:lnTo>
                      <a:pt x="6" y="186"/>
                    </a:lnTo>
                    <a:lnTo>
                      <a:pt x="12" y="192"/>
                    </a:lnTo>
                    <a:lnTo>
                      <a:pt x="12" y="186"/>
                    </a:lnTo>
                    <a:lnTo>
                      <a:pt x="6" y="186"/>
                    </a:lnTo>
                    <a:lnTo>
                      <a:pt x="6" y="180"/>
                    </a:lnTo>
                    <a:lnTo>
                      <a:pt x="0" y="174"/>
                    </a:lnTo>
                    <a:lnTo>
                      <a:pt x="0" y="168"/>
                    </a:lnTo>
                    <a:lnTo>
                      <a:pt x="6" y="168"/>
                    </a:lnTo>
                    <a:lnTo>
                      <a:pt x="0" y="168"/>
                    </a:lnTo>
                    <a:lnTo>
                      <a:pt x="6" y="174"/>
                    </a:lnTo>
                    <a:lnTo>
                      <a:pt x="6" y="180"/>
                    </a:lnTo>
                    <a:lnTo>
                      <a:pt x="6" y="174"/>
                    </a:lnTo>
                    <a:lnTo>
                      <a:pt x="12" y="174"/>
                    </a:lnTo>
                    <a:lnTo>
                      <a:pt x="12" y="168"/>
                    </a:lnTo>
                    <a:lnTo>
                      <a:pt x="18" y="168"/>
                    </a:lnTo>
                    <a:lnTo>
                      <a:pt x="12" y="168"/>
                    </a:lnTo>
                    <a:lnTo>
                      <a:pt x="18" y="168"/>
                    </a:lnTo>
                    <a:lnTo>
                      <a:pt x="12" y="168"/>
                    </a:lnTo>
                    <a:lnTo>
                      <a:pt x="18" y="168"/>
                    </a:lnTo>
                    <a:lnTo>
                      <a:pt x="18" y="174"/>
                    </a:lnTo>
                    <a:lnTo>
                      <a:pt x="18" y="168"/>
                    </a:lnTo>
                    <a:lnTo>
                      <a:pt x="18" y="174"/>
                    </a:lnTo>
                    <a:lnTo>
                      <a:pt x="18" y="168"/>
                    </a:lnTo>
                    <a:lnTo>
                      <a:pt x="24" y="168"/>
                    </a:lnTo>
                    <a:lnTo>
                      <a:pt x="18" y="168"/>
                    </a:lnTo>
                    <a:lnTo>
                      <a:pt x="24" y="168"/>
                    </a:lnTo>
                    <a:lnTo>
                      <a:pt x="24" y="162"/>
                    </a:lnTo>
                    <a:lnTo>
                      <a:pt x="30" y="162"/>
                    </a:lnTo>
                    <a:lnTo>
                      <a:pt x="30" y="156"/>
                    </a:lnTo>
                    <a:lnTo>
                      <a:pt x="30" y="150"/>
                    </a:lnTo>
                    <a:lnTo>
                      <a:pt x="30" y="144"/>
                    </a:lnTo>
                    <a:lnTo>
                      <a:pt x="36" y="144"/>
                    </a:lnTo>
                    <a:lnTo>
                      <a:pt x="36" y="138"/>
                    </a:lnTo>
                    <a:lnTo>
                      <a:pt x="36" y="132"/>
                    </a:lnTo>
                    <a:lnTo>
                      <a:pt x="36" y="126"/>
                    </a:lnTo>
                    <a:lnTo>
                      <a:pt x="36" y="120"/>
                    </a:lnTo>
                    <a:lnTo>
                      <a:pt x="30" y="120"/>
                    </a:lnTo>
                    <a:lnTo>
                      <a:pt x="36" y="120"/>
                    </a:lnTo>
                    <a:lnTo>
                      <a:pt x="30" y="120"/>
                    </a:lnTo>
                    <a:lnTo>
                      <a:pt x="30" y="114"/>
                    </a:lnTo>
                    <a:lnTo>
                      <a:pt x="36" y="114"/>
                    </a:lnTo>
                    <a:lnTo>
                      <a:pt x="36" y="120"/>
                    </a:lnTo>
                    <a:lnTo>
                      <a:pt x="42" y="120"/>
                    </a:lnTo>
                    <a:lnTo>
                      <a:pt x="42" y="126"/>
                    </a:lnTo>
                    <a:lnTo>
                      <a:pt x="42" y="120"/>
                    </a:lnTo>
                    <a:lnTo>
                      <a:pt x="48" y="120"/>
                    </a:lnTo>
                    <a:lnTo>
                      <a:pt x="48" y="126"/>
                    </a:lnTo>
                    <a:lnTo>
                      <a:pt x="48" y="120"/>
                    </a:lnTo>
                    <a:lnTo>
                      <a:pt x="54" y="126"/>
                    </a:lnTo>
                    <a:lnTo>
                      <a:pt x="60" y="126"/>
                    </a:lnTo>
                    <a:lnTo>
                      <a:pt x="66" y="120"/>
                    </a:lnTo>
                    <a:lnTo>
                      <a:pt x="60" y="120"/>
                    </a:lnTo>
                    <a:lnTo>
                      <a:pt x="54" y="120"/>
                    </a:lnTo>
                    <a:lnTo>
                      <a:pt x="48" y="120"/>
                    </a:lnTo>
                    <a:lnTo>
                      <a:pt x="48" y="114"/>
                    </a:lnTo>
                    <a:lnTo>
                      <a:pt x="42" y="114"/>
                    </a:lnTo>
                    <a:lnTo>
                      <a:pt x="42" y="108"/>
                    </a:lnTo>
                    <a:lnTo>
                      <a:pt x="36" y="108"/>
                    </a:lnTo>
                    <a:lnTo>
                      <a:pt x="36" y="102"/>
                    </a:lnTo>
                    <a:lnTo>
                      <a:pt x="30" y="102"/>
                    </a:lnTo>
                    <a:lnTo>
                      <a:pt x="30" y="96"/>
                    </a:lnTo>
                    <a:lnTo>
                      <a:pt x="36" y="96"/>
                    </a:lnTo>
                    <a:lnTo>
                      <a:pt x="42" y="96"/>
                    </a:lnTo>
                    <a:lnTo>
                      <a:pt x="48" y="96"/>
                    </a:lnTo>
                    <a:lnTo>
                      <a:pt x="48" y="102"/>
                    </a:lnTo>
                    <a:lnTo>
                      <a:pt x="48" y="96"/>
                    </a:lnTo>
                    <a:lnTo>
                      <a:pt x="48" y="90"/>
                    </a:lnTo>
                    <a:lnTo>
                      <a:pt x="48" y="84"/>
                    </a:lnTo>
                    <a:lnTo>
                      <a:pt x="48" y="78"/>
                    </a:lnTo>
                    <a:lnTo>
                      <a:pt x="48" y="72"/>
                    </a:lnTo>
                    <a:lnTo>
                      <a:pt x="48" y="78"/>
                    </a:lnTo>
                    <a:lnTo>
                      <a:pt x="54" y="72"/>
                    </a:lnTo>
                    <a:lnTo>
                      <a:pt x="60" y="72"/>
                    </a:lnTo>
                    <a:lnTo>
                      <a:pt x="60" y="78"/>
                    </a:lnTo>
                    <a:lnTo>
                      <a:pt x="66" y="78"/>
                    </a:lnTo>
                    <a:lnTo>
                      <a:pt x="72" y="78"/>
                    </a:lnTo>
                    <a:lnTo>
                      <a:pt x="78" y="78"/>
                    </a:lnTo>
                    <a:lnTo>
                      <a:pt x="84" y="78"/>
                    </a:lnTo>
                    <a:lnTo>
                      <a:pt x="90" y="78"/>
                    </a:lnTo>
                    <a:lnTo>
                      <a:pt x="96" y="78"/>
                    </a:lnTo>
                    <a:lnTo>
                      <a:pt x="102" y="78"/>
                    </a:lnTo>
                    <a:lnTo>
                      <a:pt x="108" y="78"/>
                    </a:lnTo>
                    <a:lnTo>
                      <a:pt x="114" y="78"/>
                    </a:lnTo>
                    <a:lnTo>
                      <a:pt x="120" y="78"/>
                    </a:lnTo>
                    <a:lnTo>
                      <a:pt x="126" y="78"/>
                    </a:lnTo>
                    <a:lnTo>
                      <a:pt x="132" y="78"/>
                    </a:lnTo>
                    <a:lnTo>
                      <a:pt x="138" y="78"/>
                    </a:lnTo>
                    <a:lnTo>
                      <a:pt x="144" y="78"/>
                    </a:lnTo>
                    <a:lnTo>
                      <a:pt x="144" y="72"/>
                    </a:lnTo>
                    <a:lnTo>
                      <a:pt x="144" y="66"/>
                    </a:lnTo>
                    <a:lnTo>
                      <a:pt x="144" y="60"/>
                    </a:lnTo>
                    <a:lnTo>
                      <a:pt x="144" y="54"/>
                    </a:lnTo>
                    <a:lnTo>
                      <a:pt x="144" y="48"/>
                    </a:lnTo>
                    <a:lnTo>
                      <a:pt x="144" y="42"/>
                    </a:lnTo>
                    <a:lnTo>
                      <a:pt x="144" y="36"/>
                    </a:lnTo>
                    <a:lnTo>
                      <a:pt x="144" y="30"/>
                    </a:lnTo>
                    <a:lnTo>
                      <a:pt x="144" y="24"/>
                    </a:lnTo>
                    <a:lnTo>
                      <a:pt x="144" y="18"/>
                    </a:lnTo>
                    <a:lnTo>
                      <a:pt x="144" y="12"/>
                    </a:lnTo>
                    <a:lnTo>
                      <a:pt x="144" y="6"/>
                    </a:lnTo>
                    <a:lnTo>
                      <a:pt x="150" y="6"/>
                    </a:lnTo>
                    <a:lnTo>
                      <a:pt x="156" y="6"/>
                    </a:lnTo>
                    <a:lnTo>
                      <a:pt x="156" y="0"/>
                    </a:lnTo>
                    <a:lnTo>
                      <a:pt x="162" y="0"/>
                    </a:lnTo>
                    <a:lnTo>
                      <a:pt x="162" y="6"/>
                    </a:lnTo>
                    <a:lnTo>
                      <a:pt x="162" y="0"/>
                    </a:lnTo>
                    <a:lnTo>
                      <a:pt x="162" y="6"/>
                    </a:lnTo>
                    <a:lnTo>
                      <a:pt x="162" y="0"/>
                    </a:lnTo>
                    <a:lnTo>
                      <a:pt x="168" y="0"/>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34" y="6"/>
                    </a:lnTo>
                    <a:lnTo>
                      <a:pt x="240" y="6"/>
                    </a:lnTo>
                    <a:lnTo>
                      <a:pt x="246" y="6"/>
                    </a:lnTo>
                    <a:lnTo>
                      <a:pt x="252" y="6"/>
                    </a:lnTo>
                    <a:lnTo>
                      <a:pt x="246" y="6"/>
                    </a:lnTo>
                    <a:lnTo>
                      <a:pt x="252" y="6"/>
                    </a:lnTo>
                    <a:lnTo>
                      <a:pt x="258" y="6"/>
                    </a:lnTo>
                    <a:lnTo>
                      <a:pt x="252" y="6"/>
                    </a:lnTo>
                    <a:lnTo>
                      <a:pt x="252" y="12"/>
                    </a:lnTo>
                    <a:lnTo>
                      <a:pt x="252" y="18"/>
                    </a:lnTo>
                    <a:lnTo>
                      <a:pt x="252" y="24"/>
                    </a:lnTo>
                    <a:lnTo>
                      <a:pt x="246" y="24"/>
                    </a:lnTo>
                    <a:lnTo>
                      <a:pt x="246" y="30"/>
                    </a:lnTo>
                    <a:lnTo>
                      <a:pt x="252" y="30"/>
                    </a:lnTo>
                    <a:lnTo>
                      <a:pt x="246" y="30"/>
                    </a:lnTo>
                    <a:lnTo>
                      <a:pt x="252" y="30"/>
                    </a:lnTo>
                    <a:lnTo>
                      <a:pt x="246" y="30"/>
                    </a:lnTo>
                    <a:lnTo>
                      <a:pt x="246" y="36"/>
                    </a:lnTo>
                    <a:lnTo>
                      <a:pt x="246" y="42"/>
                    </a:lnTo>
                    <a:lnTo>
                      <a:pt x="246" y="48"/>
                    </a:lnTo>
                    <a:lnTo>
                      <a:pt x="252" y="48"/>
                    </a:lnTo>
                    <a:lnTo>
                      <a:pt x="246" y="48"/>
                    </a:lnTo>
                    <a:lnTo>
                      <a:pt x="252" y="48"/>
                    </a:lnTo>
                    <a:lnTo>
                      <a:pt x="246" y="48"/>
                    </a:lnTo>
                    <a:lnTo>
                      <a:pt x="252" y="48"/>
                    </a:lnTo>
                    <a:lnTo>
                      <a:pt x="252" y="54"/>
                    </a:lnTo>
                    <a:lnTo>
                      <a:pt x="252" y="60"/>
                    </a:lnTo>
                    <a:lnTo>
                      <a:pt x="252" y="54"/>
                    </a:lnTo>
                    <a:lnTo>
                      <a:pt x="252" y="60"/>
                    </a:lnTo>
                    <a:lnTo>
                      <a:pt x="246" y="60"/>
                    </a:lnTo>
                    <a:lnTo>
                      <a:pt x="246" y="66"/>
                    </a:lnTo>
                    <a:lnTo>
                      <a:pt x="252" y="66"/>
                    </a:lnTo>
                    <a:lnTo>
                      <a:pt x="252" y="60"/>
                    </a:lnTo>
                    <a:lnTo>
                      <a:pt x="258" y="66"/>
                    </a:lnTo>
                    <a:lnTo>
                      <a:pt x="258" y="60"/>
                    </a:lnTo>
                    <a:lnTo>
                      <a:pt x="264" y="60"/>
                    </a:lnTo>
                    <a:lnTo>
                      <a:pt x="270" y="60"/>
                    </a:lnTo>
                    <a:lnTo>
                      <a:pt x="276" y="60"/>
                    </a:lnTo>
                    <a:lnTo>
                      <a:pt x="276" y="54"/>
                    </a:lnTo>
                    <a:lnTo>
                      <a:pt x="282" y="54"/>
                    </a:lnTo>
                    <a:lnTo>
                      <a:pt x="288" y="54"/>
                    </a:lnTo>
                    <a:lnTo>
                      <a:pt x="294" y="54"/>
                    </a:lnTo>
                    <a:lnTo>
                      <a:pt x="300" y="54"/>
                    </a:lnTo>
                    <a:lnTo>
                      <a:pt x="306" y="54"/>
                    </a:lnTo>
                    <a:lnTo>
                      <a:pt x="312" y="54"/>
                    </a:lnTo>
                    <a:lnTo>
                      <a:pt x="312" y="60"/>
                    </a:lnTo>
                    <a:lnTo>
                      <a:pt x="312" y="66"/>
                    </a:lnTo>
                    <a:lnTo>
                      <a:pt x="312" y="72"/>
                    </a:lnTo>
                    <a:lnTo>
                      <a:pt x="318" y="72"/>
                    </a:lnTo>
                    <a:lnTo>
                      <a:pt x="318" y="78"/>
                    </a:lnTo>
                    <a:lnTo>
                      <a:pt x="324" y="78"/>
                    </a:lnTo>
                    <a:lnTo>
                      <a:pt x="324" y="84"/>
                    </a:lnTo>
                    <a:lnTo>
                      <a:pt x="318" y="84"/>
                    </a:lnTo>
                    <a:lnTo>
                      <a:pt x="318" y="90"/>
                    </a:lnTo>
                    <a:lnTo>
                      <a:pt x="312" y="90"/>
                    </a:lnTo>
                    <a:lnTo>
                      <a:pt x="312" y="96"/>
                    </a:lnTo>
                    <a:lnTo>
                      <a:pt x="318" y="96"/>
                    </a:lnTo>
                    <a:lnTo>
                      <a:pt x="312" y="96"/>
                    </a:lnTo>
                    <a:lnTo>
                      <a:pt x="312" y="102"/>
                    </a:lnTo>
                    <a:lnTo>
                      <a:pt x="306" y="102"/>
                    </a:lnTo>
                    <a:lnTo>
                      <a:pt x="300" y="102"/>
                    </a:lnTo>
                    <a:lnTo>
                      <a:pt x="300" y="108"/>
                    </a:lnTo>
                    <a:lnTo>
                      <a:pt x="294" y="108"/>
                    </a:lnTo>
                    <a:lnTo>
                      <a:pt x="294" y="114"/>
                    </a:lnTo>
                    <a:lnTo>
                      <a:pt x="288" y="114"/>
                    </a:lnTo>
                    <a:lnTo>
                      <a:pt x="288" y="120"/>
                    </a:lnTo>
                    <a:lnTo>
                      <a:pt x="288" y="126"/>
                    </a:lnTo>
                    <a:lnTo>
                      <a:pt x="294" y="126"/>
                    </a:lnTo>
                    <a:lnTo>
                      <a:pt x="294" y="132"/>
                    </a:lnTo>
                    <a:lnTo>
                      <a:pt x="288" y="132"/>
                    </a:lnTo>
                    <a:lnTo>
                      <a:pt x="288" y="138"/>
                    </a:lnTo>
                    <a:lnTo>
                      <a:pt x="288" y="144"/>
                    </a:lnTo>
                    <a:lnTo>
                      <a:pt x="294" y="144"/>
                    </a:lnTo>
                    <a:lnTo>
                      <a:pt x="300" y="144"/>
                    </a:lnTo>
                    <a:lnTo>
                      <a:pt x="300" y="150"/>
                    </a:lnTo>
                    <a:lnTo>
                      <a:pt x="306" y="150"/>
                    </a:lnTo>
                    <a:lnTo>
                      <a:pt x="306" y="156"/>
                    </a:lnTo>
                    <a:lnTo>
                      <a:pt x="312" y="156"/>
                    </a:lnTo>
                    <a:lnTo>
                      <a:pt x="318" y="156"/>
                    </a:lnTo>
                    <a:lnTo>
                      <a:pt x="318" y="162"/>
                    </a:lnTo>
                    <a:lnTo>
                      <a:pt x="324" y="168"/>
                    </a:lnTo>
                    <a:lnTo>
                      <a:pt x="318" y="174"/>
                    </a:lnTo>
                    <a:lnTo>
                      <a:pt x="318" y="180"/>
                    </a:lnTo>
                    <a:lnTo>
                      <a:pt x="318" y="186"/>
                    </a:lnTo>
                    <a:lnTo>
                      <a:pt x="318" y="192"/>
                    </a:lnTo>
                    <a:lnTo>
                      <a:pt x="318" y="198"/>
                    </a:lnTo>
                    <a:lnTo>
                      <a:pt x="318" y="204"/>
                    </a:lnTo>
                    <a:lnTo>
                      <a:pt x="318" y="210"/>
                    </a:lnTo>
                    <a:lnTo>
                      <a:pt x="324" y="210"/>
                    </a:lnTo>
                    <a:lnTo>
                      <a:pt x="318" y="210"/>
                    </a:lnTo>
                    <a:lnTo>
                      <a:pt x="318" y="216"/>
                    </a:lnTo>
                    <a:lnTo>
                      <a:pt x="318" y="222"/>
                    </a:lnTo>
                    <a:lnTo>
                      <a:pt x="312" y="222"/>
                    </a:lnTo>
                    <a:lnTo>
                      <a:pt x="318" y="222"/>
                    </a:lnTo>
                    <a:lnTo>
                      <a:pt x="318" y="228"/>
                    </a:lnTo>
                    <a:lnTo>
                      <a:pt x="318" y="234"/>
                    </a:lnTo>
                    <a:lnTo>
                      <a:pt x="312" y="240"/>
                    </a:lnTo>
                    <a:lnTo>
                      <a:pt x="306" y="240"/>
                    </a:lnTo>
                    <a:lnTo>
                      <a:pt x="306" y="246"/>
                    </a:lnTo>
                    <a:lnTo>
                      <a:pt x="306" y="252"/>
                    </a:lnTo>
                    <a:lnTo>
                      <a:pt x="300" y="252"/>
                    </a:lnTo>
                    <a:lnTo>
                      <a:pt x="306" y="258"/>
                    </a:lnTo>
                    <a:lnTo>
                      <a:pt x="306" y="264"/>
                    </a:lnTo>
                    <a:lnTo>
                      <a:pt x="300" y="264"/>
                    </a:lnTo>
                    <a:lnTo>
                      <a:pt x="300" y="270"/>
                    </a:lnTo>
                    <a:lnTo>
                      <a:pt x="294" y="270"/>
                    </a:lnTo>
                    <a:lnTo>
                      <a:pt x="288" y="270"/>
                    </a:lnTo>
                    <a:lnTo>
                      <a:pt x="288" y="264"/>
                    </a:lnTo>
                    <a:lnTo>
                      <a:pt x="288" y="258"/>
                    </a:lnTo>
                    <a:lnTo>
                      <a:pt x="288" y="252"/>
                    </a:lnTo>
                    <a:lnTo>
                      <a:pt x="282" y="252"/>
                    </a:lnTo>
                    <a:lnTo>
                      <a:pt x="276" y="252"/>
                    </a:lnTo>
                    <a:lnTo>
                      <a:pt x="276" y="258"/>
                    </a:lnTo>
                    <a:lnTo>
                      <a:pt x="270" y="258"/>
                    </a:lnTo>
                    <a:lnTo>
                      <a:pt x="270" y="264"/>
                    </a:lnTo>
                    <a:lnTo>
                      <a:pt x="264" y="264"/>
                    </a:lnTo>
                    <a:lnTo>
                      <a:pt x="258" y="264"/>
                    </a:lnTo>
                    <a:lnTo>
                      <a:pt x="252" y="264"/>
                    </a:lnTo>
                    <a:lnTo>
                      <a:pt x="246" y="264"/>
                    </a:lnTo>
                    <a:lnTo>
                      <a:pt x="240" y="264"/>
                    </a:lnTo>
                    <a:lnTo>
                      <a:pt x="240" y="258"/>
                    </a:lnTo>
                    <a:lnTo>
                      <a:pt x="240" y="252"/>
                    </a:lnTo>
                    <a:lnTo>
                      <a:pt x="234" y="252"/>
                    </a:lnTo>
                    <a:lnTo>
                      <a:pt x="234" y="246"/>
                    </a:lnTo>
                    <a:lnTo>
                      <a:pt x="228" y="246"/>
                    </a:lnTo>
                    <a:lnTo>
                      <a:pt x="228" y="240"/>
                    </a:lnTo>
                    <a:lnTo>
                      <a:pt x="228" y="234"/>
                    </a:lnTo>
                    <a:lnTo>
                      <a:pt x="222" y="234"/>
                    </a:lnTo>
                    <a:lnTo>
                      <a:pt x="216" y="234"/>
                    </a:lnTo>
                    <a:lnTo>
                      <a:pt x="210" y="240"/>
                    </a:lnTo>
                    <a:lnTo>
                      <a:pt x="210" y="234"/>
                    </a:lnTo>
                    <a:lnTo>
                      <a:pt x="210" y="240"/>
                    </a:lnTo>
                    <a:lnTo>
                      <a:pt x="210" y="246"/>
                    </a:lnTo>
                    <a:lnTo>
                      <a:pt x="210" y="252"/>
                    </a:lnTo>
                    <a:lnTo>
                      <a:pt x="210" y="258"/>
                    </a:lnTo>
                    <a:lnTo>
                      <a:pt x="210" y="264"/>
                    </a:lnTo>
                    <a:lnTo>
                      <a:pt x="204" y="264"/>
                    </a:lnTo>
                    <a:lnTo>
                      <a:pt x="198" y="264"/>
                    </a:lnTo>
                    <a:lnTo>
                      <a:pt x="192" y="264"/>
                    </a:lnTo>
                    <a:lnTo>
                      <a:pt x="186" y="270"/>
                    </a:lnTo>
                    <a:lnTo>
                      <a:pt x="186" y="264"/>
                    </a:lnTo>
                    <a:lnTo>
                      <a:pt x="180" y="264"/>
                    </a:lnTo>
                    <a:lnTo>
                      <a:pt x="174" y="264"/>
                    </a:lnTo>
                    <a:lnTo>
                      <a:pt x="168" y="270"/>
                    </a:lnTo>
                    <a:lnTo>
                      <a:pt x="168" y="264"/>
                    </a:lnTo>
                    <a:lnTo>
                      <a:pt x="162" y="264"/>
                    </a:lnTo>
                    <a:lnTo>
                      <a:pt x="162" y="258"/>
                    </a:lnTo>
                    <a:lnTo>
                      <a:pt x="162" y="264"/>
                    </a:lnTo>
                    <a:lnTo>
                      <a:pt x="162" y="270"/>
                    </a:lnTo>
                    <a:lnTo>
                      <a:pt x="162" y="276"/>
                    </a:lnTo>
                    <a:lnTo>
                      <a:pt x="168" y="276"/>
                    </a:lnTo>
                    <a:lnTo>
                      <a:pt x="168" y="282"/>
                    </a:lnTo>
                    <a:lnTo>
                      <a:pt x="162" y="282"/>
                    </a:lnTo>
                    <a:lnTo>
                      <a:pt x="162" y="288"/>
                    </a:lnTo>
                    <a:lnTo>
                      <a:pt x="168" y="288"/>
                    </a:lnTo>
                    <a:lnTo>
                      <a:pt x="174" y="288"/>
                    </a:lnTo>
                    <a:lnTo>
                      <a:pt x="174" y="294"/>
                    </a:lnTo>
                    <a:lnTo>
                      <a:pt x="180" y="294"/>
                    </a:lnTo>
                    <a:lnTo>
                      <a:pt x="186" y="294"/>
                    </a:lnTo>
                    <a:lnTo>
                      <a:pt x="186" y="300"/>
                    </a:lnTo>
                    <a:lnTo>
                      <a:pt x="186" y="306"/>
                    </a:lnTo>
                    <a:lnTo>
                      <a:pt x="180" y="306"/>
                    </a:lnTo>
                    <a:lnTo>
                      <a:pt x="180" y="312"/>
                    </a:lnTo>
                    <a:lnTo>
                      <a:pt x="186" y="312"/>
                    </a:lnTo>
                    <a:lnTo>
                      <a:pt x="186" y="318"/>
                    </a:lnTo>
                    <a:lnTo>
                      <a:pt x="180" y="324"/>
                    </a:lnTo>
                    <a:lnTo>
                      <a:pt x="174" y="330"/>
                    </a:lnTo>
                    <a:lnTo>
                      <a:pt x="180" y="330"/>
                    </a:lnTo>
                    <a:lnTo>
                      <a:pt x="180" y="336"/>
                    </a:lnTo>
                    <a:lnTo>
                      <a:pt x="174" y="342"/>
                    </a:lnTo>
                    <a:lnTo>
                      <a:pt x="174" y="336"/>
                    </a:lnTo>
                    <a:lnTo>
                      <a:pt x="168" y="336"/>
                    </a:lnTo>
                    <a:lnTo>
                      <a:pt x="162" y="336"/>
                    </a:lnTo>
                    <a:lnTo>
                      <a:pt x="162" y="330"/>
                    </a:lnTo>
                    <a:lnTo>
                      <a:pt x="156" y="330"/>
                    </a:lnTo>
                    <a:lnTo>
                      <a:pt x="150" y="330"/>
                    </a:lnTo>
                    <a:lnTo>
                      <a:pt x="144" y="330"/>
                    </a:lnTo>
                    <a:lnTo>
                      <a:pt x="144" y="336"/>
                    </a:lnTo>
                    <a:lnTo>
                      <a:pt x="138" y="336"/>
                    </a:lnTo>
                    <a:lnTo>
                      <a:pt x="138" y="342"/>
                    </a:lnTo>
                    <a:lnTo>
                      <a:pt x="138" y="348"/>
                    </a:lnTo>
                    <a:lnTo>
                      <a:pt x="138" y="354"/>
                    </a:lnTo>
                    <a:close/>
                    <a:moveTo>
                      <a:pt x="48" y="114"/>
                    </a:moveTo>
                    <a:lnTo>
                      <a:pt x="48" y="120"/>
                    </a:lnTo>
                    <a:lnTo>
                      <a:pt x="49" y="120"/>
                    </a:lnTo>
                    <a:lnTo>
                      <a:pt x="48" y="114"/>
                    </a:lnTo>
                    <a:close/>
                    <a:moveTo>
                      <a:pt x="6" y="180"/>
                    </a:moveTo>
                    <a:lnTo>
                      <a:pt x="6" y="186"/>
                    </a:lnTo>
                    <a:lnTo>
                      <a:pt x="7" y="186"/>
                    </a:lnTo>
                    <a:lnTo>
                      <a:pt x="6" y="180"/>
                    </a:lnTo>
                    <a:close/>
                    <a:moveTo>
                      <a:pt x="36" y="84"/>
                    </a:moveTo>
                    <a:lnTo>
                      <a:pt x="36" y="90"/>
                    </a:lnTo>
                    <a:lnTo>
                      <a:pt x="37" y="90"/>
                    </a:lnTo>
                    <a:lnTo>
                      <a:pt x="36" y="8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0" name="Freeform 51"/>
              <p:cNvSpPr>
                <a:spLocks noEditPoints="1"/>
              </p:cNvSpPr>
              <p:nvPr>
                <p:custDataLst>
                  <p:tags r:id="rId47"/>
                </p:custDataLst>
              </p:nvPr>
            </p:nvSpPr>
            <p:spPr bwMode="gray">
              <a:xfrm>
                <a:off x="2804682" y="2426666"/>
                <a:ext cx="875507" cy="911542"/>
              </a:xfrm>
              <a:custGeom>
                <a:avLst/>
                <a:gdLst>
                  <a:gd name="T0" fmla="*/ 182675 w 696"/>
                  <a:gd name="T1" fmla="*/ 273684 h 774"/>
                  <a:gd name="T2" fmla="*/ 172043 w 696"/>
                  <a:gd name="T3" fmla="*/ 271743 h 774"/>
                  <a:gd name="T4" fmla="*/ 159478 w 696"/>
                  <a:gd name="T5" fmla="*/ 273684 h 774"/>
                  <a:gd name="T6" fmla="*/ 140148 w 696"/>
                  <a:gd name="T7" fmla="*/ 269802 h 774"/>
                  <a:gd name="T8" fmla="*/ 123717 w 696"/>
                  <a:gd name="T9" fmla="*/ 263008 h 774"/>
                  <a:gd name="T10" fmla="*/ 65724 w 696"/>
                  <a:gd name="T11" fmla="*/ 263008 h 774"/>
                  <a:gd name="T12" fmla="*/ 37695 w 696"/>
                  <a:gd name="T13" fmla="*/ 259126 h 774"/>
                  <a:gd name="T14" fmla="*/ 23197 w 696"/>
                  <a:gd name="T15" fmla="*/ 256214 h 774"/>
                  <a:gd name="T16" fmla="*/ 8699 w 696"/>
                  <a:gd name="T17" fmla="*/ 256214 h 774"/>
                  <a:gd name="T18" fmla="*/ 1933 w 696"/>
                  <a:gd name="T19" fmla="*/ 252333 h 774"/>
                  <a:gd name="T20" fmla="*/ 3866 w 696"/>
                  <a:gd name="T21" fmla="*/ 234864 h 774"/>
                  <a:gd name="T22" fmla="*/ 8699 w 696"/>
                  <a:gd name="T23" fmla="*/ 220305 h 774"/>
                  <a:gd name="T24" fmla="*/ 12565 w 696"/>
                  <a:gd name="T25" fmla="*/ 207689 h 774"/>
                  <a:gd name="T26" fmla="*/ 17398 w 696"/>
                  <a:gd name="T27" fmla="*/ 188279 h 774"/>
                  <a:gd name="T28" fmla="*/ 17398 w 696"/>
                  <a:gd name="T29" fmla="*/ 181485 h 774"/>
                  <a:gd name="T30" fmla="*/ 26097 w 696"/>
                  <a:gd name="T31" fmla="*/ 168868 h 774"/>
                  <a:gd name="T32" fmla="*/ 40595 w 696"/>
                  <a:gd name="T33" fmla="*/ 158193 h 774"/>
                  <a:gd name="T34" fmla="*/ 42527 w 696"/>
                  <a:gd name="T35" fmla="*/ 136842 h 774"/>
                  <a:gd name="T36" fmla="*/ 40595 w 696"/>
                  <a:gd name="T37" fmla="*/ 121313 h 774"/>
                  <a:gd name="T38" fmla="*/ 33829 w 696"/>
                  <a:gd name="T39" fmla="*/ 111608 h 774"/>
                  <a:gd name="T40" fmla="*/ 27063 w 696"/>
                  <a:gd name="T41" fmla="*/ 94139 h 774"/>
                  <a:gd name="T42" fmla="*/ 29963 w 696"/>
                  <a:gd name="T43" fmla="*/ 90258 h 774"/>
                  <a:gd name="T44" fmla="*/ 33829 w 696"/>
                  <a:gd name="T45" fmla="*/ 76670 h 774"/>
                  <a:gd name="T46" fmla="*/ 26097 w 696"/>
                  <a:gd name="T47" fmla="*/ 57260 h 774"/>
                  <a:gd name="T48" fmla="*/ 17398 w 696"/>
                  <a:gd name="T49" fmla="*/ 42703 h 774"/>
                  <a:gd name="T50" fmla="*/ 14498 w 696"/>
                  <a:gd name="T51" fmla="*/ 33968 h 774"/>
                  <a:gd name="T52" fmla="*/ 27063 w 696"/>
                  <a:gd name="T53" fmla="*/ 27174 h 774"/>
                  <a:gd name="T54" fmla="*/ 46394 w 696"/>
                  <a:gd name="T55" fmla="*/ 27174 h 774"/>
                  <a:gd name="T56" fmla="*/ 63792 w 696"/>
                  <a:gd name="T57" fmla="*/ 30086 h 774"/>
                  <a:gd name="T58" fmla="*/ 85055 w 696"/>
                  <a:gd name="T59" fmla="*/ 30086 h 774"/>
                  <a:gd name="T60" fmla="*/ 97620 w 696"/>
                  <a:gd name="T61" fmla="*/ 32027 h 774"/>
                  <a:gd name="T62" fmla="*/ 99553 w 696"/>
                  <a:gd name="T63" fmla="*/ 42703 h 774"/>
                  <a:gd name="T64" fmla="*/ 104386 w 696"/>
                  <a:gd name="T65" fmla="*/ 56289 h 774"/>
                  <a:gd name="T66" fmla="*/ 110185 w 696"/>
                  <a:gd name="T67" fmla="*/ 64053 h 774"/>
                  <a:gd name="T68" fmla="*/ 120817 w 696"/>
                  <a:gd name="T69" fmla="*/ 72788 h 774"/>
                  <a:gd name="T70" fmla="*/ 134348 w 696"/>
                  <a:gd name="T71" fmla="*/ 70848 h 774"/>
                  <a:gd name="T72" fmla="*/ 152713 w 696"/>
                  <a:gd name="T73" fmla="*/ 64053 h 774"/>
                  <a:gd name="T74" fmla="*/ 163345 w 696"/>
                  <a:gd name="T75" fmla="*/ 51437 h 774"/>
                  <a:gd name="T76" fmla="*/ 175909 w 696"/>
                  <a:gd name="T77" fmla="*/ 57260 h 774"/>
                  <a:gd name="T78" fmla="*/ 202006 w 696"/>
                  <a:gd name="T79" fmla="*/ 57260 h 774"/>
                  <a:gd name="T80" fmla="*/ 202006 w 696"/>
                  <a:gd name="T81" fmla="*/ 76670 h 774"/>
                  <a:gd name="T82" fmla="*/ 202006 w 696"/>
                  <a:gd name="T83" fmla="*/ 87346 h 774"/>
                  <a:gd name="T84" fmla="*/ 203939 w 696"/>
                  <a:gd name="T85" fmla="*/ 104815 h 774"/>
                  <a:gd name="T86" fmla="*/ 209738 w 696"/>
                  <a:gd name="T87" fmla="*/ 121313 h 774"/>
                  <a:gd name="T88" fmla="*/ 212638 w 696"/>
                  <a:gd name="T89" fmla="*/ 134901 h 774"/>
                  <a:gd name="T90" fmla="*/ 227135 w 696"/>
                  <a:gd name="T91" fmla="*/ 131989 h 774"/>
                  <a:gd name="T92" fmla="*/ 241633 w 696"/>
                  <a:gd name="T93" fmla="*/ 131989 h 774"/>
                  <a:gd name="T94" fmla="*/ 243567 w 696"/>
                  <a:gd name="T95" fmla="*/ 145576 h 774"/>
                  <a:gd name="T96" fmla="*/ 241633 w 696"/>
                  <a:gd name="T97" fmla="*/ 162075 h 774"/>
                  <a:gd name="T98" fmla="*/ 203939 w 696"/>
                  <a:gd name="T99" fmla="*/ 192161 h 774"/>
                  <a:gd name="T100" fmla="*/ 207805 w 696"/>
                  <a:gd name="T101" fmla="*/ 243598 h 774"/>
                  <a:gd name="T102" fmla="*/ 218437 w 696"/>
                  <a:gd name="T103" fmla="*/ 256214 h 774"/>
                  <a:gd name="T104" fmla="*/ 231969 w 696"/>
                  <a:gd name="T105" fmla="*/ 266890 h 774"/>
                  <a:gd name="T106" fmla="*/ 17398 w 696"/>
                  <a:gd name="T107" fmla="*/ 3882 h 774"/>
                  <a:gd name="T108" fmla="*/ 27063 w 696"/>
                  <a:gd name="T109" fmla="*/ 6793 h 774"/>
                  <a:gd name="T110" fmla="*/ 17398 w 696"/>
                  <a:gd name="T111" fmla="*/ 19410 h 774"/>
                  <a:gd name="T112" fmla="*/ 12565 w 696"/>
                  <a:gd name="T113" fmla="*/ 21351 h 774"/>
                  <a:gd name="T114" fmla="*/ 1933 w 696"/>
                  <a:gd name="T115" fmla="*/ 250391 h 774"/>
                  <a:gd name="T116" fmla="*/ 21264 w 696"/>
                  <a:gd name="T117" fmla="*/ 30086 h 774"/>
                  <a:gd name="T118" fmla="*/ 23197 w 696"/>
                  <a:gd name="T119" fmla="*/ 32027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96" h="774">
                    <a:moveTo>
                      <a:pt x="654" y="750"/>
                    </a:moveTo>
                    <a:lnTo>
                      <a:pt x="648" y="750"/>
                    </a:lnTo>
                    <a:lnTo>
                      <a:pt x="630" y="756"/>
                    </a:lnTo>
                    <a:lnTo>
                      <a:pt x="564" y="768"/>
                    </a:lnTo>
                    <a:lnTo>
                      <a:pt x="546" y="774"/>
                    </a:lnTo>
                    <a:lnTo>
                      <a:pt x="540" y="774"/>
                    </a:lnTo>
                    <a:lnTo>
                      <a:pt x="540" y="768"/>
                    </a:lnTo>
                    <a:lnTo>
                      <a:pt x="534" y="768"/>
                    </a:lnTo>
                    <a:lnTo>
                      <a:pt x="528" y="768"/>
                    </a:lnTo>
                    <a:lnTo>
                      <a:pt x="522" y="768"/>
                    </a:lnTo>
                    <a:lnTo>
                      <a:pt x="516" y="768"/>
                    </a:lnTo>
                    <a:lnTo>
                      <a:pt x="516" y="774"/>
                    </a:lnTo>
                    <a:lnTo>
                      <a:pt x="510" y="774"/>
                    </a:lnTo>
                    <a:lnTo>
                      <a:pt x="504" y="774"/>
                    </a:lnTo>
                    <a:lnTo>
                      <a:pt x="498" y="774"/>
                    </a:lnTo>
                    <a:lnTo>
                      <a:pt x="498" y="768"/>
                    </a:lnTo>
                    <a:lnTo>
                      <a:pt x="498" y="774"/>
                    </a:lnTo>
                    <a:lnTo>
                      <a:pt x="498" y="768"/>
                    </a:lnTo>
                    <a:lnTo>
                      <a:pt x="498" y="774"/>
                    </a:lnTo>
                    <a:lnTo>
                      <a:pt x="492" y="768"/>
                    </a:lnTo>
                    <a:lnTo>
                      <a:pt x="486" y="768"/>
                    </a:lnTo>
                    <a:lnTo>
                      <a:pt x="486" y="762"/>
                    </a:lnTo>
                    <a:lnTo>
                      <a:pt x="480" y="762"/>
                    </a:lnTo>
                    <a:lnTo>
                      <a:pt x="480" y="768"/>
                    </a:lnTo>
                    <a:lnTo>
                      <a:pt x="480" y="762"/>
                    </a:lnTo>
                    <a:lnTo>
                      <a:pt x="480" y="768"/>
                    </a:lnTo>
                    <a:lnTo>
                      <a:pt x="474" y="768"/>
                    </a:lnTo>
                    <a:lnTo>
                      <a:pt x="468" y="768"/>
                    </a:lnTo>
                    <a:lnTo>
                      <a:pt x="462" y="768"/>
                    </a:lnTo>
                    <a:lnTo>
                      <a:pt x="462" y="762"/>
                    </a:lnTo>
                    <a:lnTo>
                      <a:pt x="462" y="768"/>
                    </a:lnTo>
                    <a:lnTo>
                      <a:pt x="456" y="768"/>
                    </a:lnTo>
                    <a:lnTo>
                      <a:pt x="450" y="768"/>
                    </a:lnTo>
                    <a:lnTo>
                      <a:pt x="450" y="762"/>
                    </a:lnTo>
                    <a:lnTo>
                      <a:pt x="444" y="762"/>
                    </a:lnTo>
                    <a:lnTo>
                      <a:pt x="438" y="762"/>
                    </a:lnTo>
                    <a:lnTo>
                      <a:pt x="432" y="762"/>
                    </a:lnTo>
                    <a:lnTo>
                      <a:pt x="426" y="762"/>
                    </a:lnTo>
                    <a:lnTo>
                      <a:pt x="420" y="762"/>
                    </a:lnTo>
                    <a:lnTo>
                      <a:pt x="414" y="762"/>
                    </a:lnTo>
                    <a:lnTo>
                      <a:pt x="408" y="762"/>
                    </a:lnTo>
                    <a:lnTo>
                      <a:pt x="402" y="762"/>
                    </a:lnTo>
                    <a:lnTo>
                      <a:pt x="396" y="762"/>
                    </a:lnTo>
                    <a:lnTo>
                      <a:pt x="396" y="756"/>
                    </a:lnTo>
                    <a:lnTo>
                      <a:pt x="390" y="756"/>
                    </a:lnTo>
                    <a:lnTo>
                      <a:pt x="390" y="750"/>
                    </a:lnTo>
                    <a:lnTo>
                      <a:pt x="384" y="750"/>
                    </a:lnTo>
                    <a:lnTo>
                      <a:pt x="384" y="744"/>
                    </a:lnTo>
                    <a:lnTo>
                      <a:pt x="378" y="744"/>
                    </a:lnTo>
                    <a:lnTo>
                      <a:pt x="378" y="738"/>
                    </a:lnTo>
                    <a:lnTo>
                      <a:pt x="372" y="738"/>
                    </a:lnTo>
                    <a:lnTo>
                      <a:pt x="366" y="738"/>
                    </a:lnTo>
                    <a:lnTo>
                      <a:pt x="360" y="738"/>
                    </a:lnTo>
                    <a:lnTo>
                      <a:pt x="354" y="738"/>
                    </a:lnTo>
                    <a:lnTo>
                      <a:pt x="348" y="738"/>
                    </a:lnTo>
                    <a:lnTo>
                      <a:pt x="342" y="738"/>
                    </a:lnTo>
                    <a:lnTo>
                      <a:pt x="336" y="738"/>
                    </a:lnTo>
                    <a:lnTo>
                      <a:pt x="330" y="738"/>
                    </a:lnTo>
                    <a:lnTo>
                      <a:pt x="324" y="738"/>
                    </a:lnTo>
                    <a:lnTo>
                      <a:pt x="318" y="738"/>
                    </a:lnTo>
                    <a:lnTo>
                      <a:pt x="312" y="738"/>
                    </a:lnTo>
                    <a:lnTo>
                      <a:pt x="306" y="738"/>
                    </a:lnTo>
                    <a:lnTo>
                      <a:pt x="300" y="738"/>
                    </a:lnTo>
                    <a:lnTo>
                      <a:pt x="210" y="738"/>
                    </a:lnTo>
                    <a:lnTo>
                      <a:pt x="198" y="738"/>
                    </a:lnTo>
                    <a:lnTo>
                      <a:pt x="186" y="738"/>
                    </a:lnTo>
                    <a:lnTo>
                      <a:pt x="168" y="738"/>
                    </a:lnTo>
                    <a:lnTo>
                      <a:pt x="150" y="738"/>
                    </a:lnTo>
                    <a:lnTo>
                      <a:pt x="144" y="738"/>
                    </a:lnTo>
                    <a:lnTo>
                      <a:pt x="138" y="738"/>
                    </a:lnTo>
                    <a:lnTo>
                      <a:pt x="132" y="738"/>
                    </a:lnTo>
                    <a:lnTo>
                      <a:pt x="126" y="738"/>
                    </a:lnTo>
                    <a:lnTo>
                      <a:pt x="126" y="732"/>
                    </a:lnTo>
                    <a:lnTo>
                      <a:pt x="120" y="732"/>
                    </a:lnTo>
                    <a:lnTo>
                      <a:pt x="114" y="732"/>
                    </a:lnTo>
                    <a:lnTo>
                      <a:pt x="114" y="726"/>
                    </a:lnTo>
                    <a:lnTo>
                      <a:pt x="108" y="726"/>
                    </a:lnTo>
                    <a:lnTo>
                      <a:pt x="108" y="720"/>
                    </a:lnTo>
                    <a:lnTo>
                      <a:pt x="102" y="720"/>
                    </a:lnTo>
                    <a:lnTo>
                      <a:pt x="108" y="720"/>
                    </a:lnTo>
                    <a:lnTo>
                      <a:pt x="102" y="720"/>
                    </a:lnTo>
                    <a:lnTo>
                      <a:pt x="102" y="714"/>
                    </a:lnTo>
                    <a:lnTo>
                      <a:pt x="96" y="714"/>
                    </a:lnTo>
                    <a:lnTo>
                      <a:pt x="90" y="714"/>
                    </a:lnTo>
                    <a:lnTo>
                      <a:pt x="84" y="714"/>
                    </a:lnTo>
                    <a:lnTo>
                      <a:pt x="78" y="714"/>
                    </a:lnTo>
                    <a:lnTo>
                      <a:pt x="72" y="714"/>
                    </a:lnTo>
                    <a:lnTo>
                      <a:pt x="66" y="720"/>
                    </a:lnTo>
                    <a:lnTo>
                      <a:pt x="60" y="720"/>
                    </a:lnTo>
                    <a:lnTo>
                      <a:pt x="60" y="726"/>
                    </a:lnTo>
                    <a:lnTo>
                      <a:pt x="54" y="726"/>
                    </a:lnTo>
                    <a:lnTo>
                      <a:pt x="48" y="726"/>
                    </a:lnTo>
                    <a:lnTo>
                      <a:pt x="48" y="732"/>
                    </a:lnTo>
                    <a:lnTo>
                      <a:pt x="42" y="732"/>
                    </a:lnTo>
                    <a:lnTo>
                      <a:pt x="42" y="726"/>
                    </a:lnTo>
                    <a:lnTo>
                      <a:pt x="36" y="726"/>
                    </a:lnTo>
                    <a:lnTo>
                      <a:pt x="30" y="726"/>
                    </a:lnTo>
                    <a:lnTo>
                      <a:pt x="24" y="726"/>
                    </a:lnTo>
                    <a:lnTo>
                      <a:pt x="24" y="720"/>
                    </a:lnTo>
                    <a:lnTo>
                      <a:pt x="24" y="726"/>
                    </a:lnTo>
                    <a:lnTo>
                      <a:pt x="24" y="720"/>
                    </a:lnTo>
                    <a:lnTo>
                      <a:pt x="24" y="726"/>
                    </a:lnTo>
                    <a:lnTo>
                      <a:pt x="18" y="726"/>
                    </a:lnTo>
                    <a:lnTo>
                      <a:pt x="12" y="726"/>
                    </a:lnTo>
                    <a:lnTo>
                      <a:pt x="12" y="732"/>
                    </a:lnTo>
                    <a:lnTo>
                      <a:pt x="6" y="732"/>
                    </a:lnTo>
                    <a:lnTo>
                      <a:pt x="6" y="726"/>
                    </a:lnTo>
                    <a:lnTo>
                      <a:pt x="6" y="720"/>
                    </a:lnTo>
                    <a:lnTo>
                      <a:pt x="6" y="714"/>
                    </a:lnTo>
                    <a:lnTo>
                      <a:pt x="6" y="708"/>
                    </a:lnTo>
                    <a:lnTo>
                      <a:pt x="6" y="702"/>
                    </a:lnTo>
                    <a:lnTo>
                      <a:pt x="12" y="702"/>
                    </a:lnTo>
                    <a:lnTo>
                      <a:pt x="12" y="696"/>
                    </a:lnTo>
                    <a:lnTo>
                      <a:pt x="12" y="690"/>
                    </a:lnTo>
                    <a:lnTo>
                      <a:pt x="12" y="684"/>
                    </a:lnTo>
                    <a:lnTo>
                      <a:pt x="12" y="678"/>
                    </a:lnTo>
                    <a:lnTo>
                      <a:pt x="12" y="672"/>
                    </a:lnTo>
                    <a:lnTo>
                      <a:pt x="12" y="666"/>
                    </a:lnTo>
                    <a:lnTo>
                      <a:pt x="6" y="666"/>
                    </a:lnTo>
                    <a:lnTo>
                      <a:pt x="6" y="660"/>
                    </a:lnTo>
                    <a:lnTo>
                      <a:pt x="12" y="660"/>
                    </a:lnTo>
                    <a:lnTo>
                      <a:pt x="12" y="654"/>
                    </a:lnTo>
                    <a:lnTo>
                      <a:pt x="6" y="654"/>
                    </a:lnTo>
                    <a:lnTo>
                      <a:pt x="6" y="648"/>
                    </a:lnTo>
                    <a:lnTo>
                      <a:pt x="6" y="642"/>
                    </a:lnTo>
                    <a:lnTo>
                      <a:pt x="12" y="642"/>
                    </a:lnTo>
                    <a:lnTo>
                      <a:pt x="18" y="642"/>
                    </a:lnTo>
                    <a:lnTo>
                      <a:pt x="18" y="636"/>
                    </a:lnTo>
                    <a:lnTo>
                      <a:pt x="18" y="630"/>
                    </a:lnTo>
                    <a:lnTo>
                      <a:pt x="24" y="630"/>
                    </a:lnTo>
                    <a:lnTo>
                      <a:pt x="24" y="624"/>
                    </a:lnTo>
                    <a:lnTo>
                      <a:pt x="24" y="618"/>
                    </a:lnTo>
                    <a:lnTo>
                      <a:pt x="24" y="612"/>
                    </a:lnTo>
                    <a:lnTo>
                      <a:pt x="30" y="606"/>
                    </a:lnTo>
                    <a:lnTo>
                      <a:pt x="30" y="612"/>
                    </a:lnTo>
                    <a:lnTo>
                      <a:pt x="30" y="606"/>
                    </a:lnTo>
                    <a:lnTo>
                      <a:pt x="24" y="606"/>
                    </a:lnTo>
                    <a:lnTo>
                      <a:pt x="30" y="606"/>
                    </a:lnTo>
                    <a:lnTo>
                      <a:pt x="30" y="600"/>
                    </a:lnTo>
                    <a:lnTo>
                      <a:pt x="30" y="594"/>
                    </a:lnTo>
                    <a:lnTo>
                      <a:pt x="30" y="588"/>
                    </a:lnTo>
                    <a:lnTo>
                      <a:pt x="36" y="588"/>
                    </a:lnTo>
                    <a:lnTo>
                      <a:pt x="36" y="582"/>
                    </a:lnTo>
                    <a:lnTo>
                      <a:pt x="36" y="576"/>
                    </a:lnTo>
                    <a:lnTo>
                      <a:pt x="36" y="570"/>
                    </a:lnTo>
                    <a:lnTo>
                      <a:pt x="42" y="570"/>
                    </a:lnTo>
                    <a:lnTo>
                      <a:pt x="42" y="564"/>
                    </a:lnTo>
                    <a:lnTo>
                      <a:pt x="42" y="558"/>
                    </a:lnTo>
                    <a:lnTo>
                      <a:pt x="42" y="552"/>
                    </a:lnTo>
                    <a:lnTo>
                      <a:pt x="42" y="546"/>
                    </a:lnTo>
                    <a:lnTo>
                      <a:pt x="42" y="540"/>
                    </a:lnTo>
                    <a:lnTo>
                      <a:pt x="42" y="534"/>
                    </a:lnTo>
                    <a:lnTo>
                      <a:pt x="48" y="534"/>
                    </a:lnTo>
                    <a:lnTo>
                      <a:pt x="48" y="528"/>
                    </a:lnTo>
                    <a:lnTo>
                      <a:pt x="48" y="522"/>
                    </a:lnTo>
                    <a:lnTo>
                      <a:pt x="48" y="516"/>
                    </a:lnTo>
                    <a:lnTo>
                      <a:pt x="54" y="516"/>
                    </a:lnTo>
                    <a:lnTo>
                      <a:pt x="48" y="516"/>
                    </a:lnTo>
                    <a:lnTo>
                      <a:pt x="54" y="516"/>
                    </a:lnTo>
                    <a:lnTo>
                      <a:pt x="48" y="516"/>
                    </a:lnTo>
                    <a:lnTo>
                      <a:pt x="48" y="510"/>
                    </a:lnTo>
                    <a:lnTo>
                      <a:pt x="54" y="510"/>
                    </a:lnTo>
                    <a:lnTo>
                      <a:pt x="48" y="510"/>
                    </a:lnTo>
                    <a:lnTo>
                      <a:pt x="48" y="504"/>
                    </a:lnTo>
                    <a:lnTo>
                      <a:pt x="48" y="510"/>
                    </a:lnTo>
                    <a:lnTo>
                      <a:pt x="54" y="504"/>
                    </a:lnTo>
                    <a:lnTo>
                      <a:pt x="54" y="498"/>
                    </a:lnTo>
                    <a:lnTo>
                      <a:pt x="60" y="498"/>
                    </a:lnTo>
                    <a:lnTo>
                      <a:pt x="54" y="498"/>
                    </a:lnTo>
                    <a:lnTo>
                      <a:pt x="60" y="498"/>
                    </a:lnTo>
                    <a:lnTo>
                      <a:pt x="60" y="492"/>
                    </a:lnTo>
                    <a:lnTo>
                      <a:pt x="66" y="492"/>
                    </a:lnTo>
                    <a:lnTo>
                      <a:pt x="72" y="492"/>
                    </a:lnTo>
                    <a:lnTo>
                      <a:pt x="72" y="486"/>
                    </a:lnTo>
                    <a:lnTo>
                      <a:pt x="72" y="480"/>
                    </a:lnTo>
                    <a:lnTo>
                      <a:pt x="72" y="474"/>
                    </a:lnTo>
                    <a:lnTo>
                      <a:pt x="78" y="474"/>
                    </a:lnTo>
                    <a:lnTo>
                      <a:pt x="78" y="468"/>
                    </a:lnTo>
                    <a:lnTo>
                      <a:pt x="84" y="468"/>
                    </a:lnTo>
                    <a:lnTo>
                      <a:pt x="84" y="462"/>
                    </a:lnTo>
                    <a:lnTo>
                      <a:pt x="90" y="462"/>
                    </a:lnTo>
                    <a:lnTo>
                      <a:pt x="96" y="462"/>
                    </a:lnTo>
                    <a:lnTo>
                      <a:pt x="96" y="456"/>
                    </a:lnTo>
                    <a:lnTo>
                      <a:pt x="102" y="456"/>
                    </a:lnTo>
                    <a:lnTo>
                      <a:pt x="102" y="450"/>
                    </a:lnTo>
                    <a:lnTo>
                      <a:pt x="108" y="444"/>
                    </a:lnTo>
                    <a:lnTo>
                      <a:pt x="114" y="444"/>
                    </a:lnTo>
                    <a:lnTo>
                      <a:pt x="114" y="438"/>
                    </a:lnTo>
                    <a:lnTo>
                      <a:pt x="114" y="432"/>
                    </a:lnTo>
                    <a:lnTo>
                      <a:pt x="114" y="426"/>
                    </a:lnTo>
                    <a:lnTo>
                      <a:pt x="120" y="426"/>
                    </a:lnTo>
                    <a:lnTo>
                      <a:pt x="120" y="420"/>
                    </a:lnTo>
                    <a:lnTo>
                      <a:pt x="120" y="414"/>
                    </a:lnTo>
                    <a:lnTo>
                      <a:pt x="120" y="408"/>
                    </a:lnTo>
                    <a:lnTo>
                      <a:pt x="120" y="402"/>
                    </a:lnTo>
                    <a:lnTo>
                      <a:pt x="120" y="396"/>
                    </a:lnTo>
                    <a:lnTo>
                      <a:pt x="120" y="390"/>
                    </a:lnTo>
                    <a:lnTo>
                      <a:pt x="120" y="384"/>
                    </a:lnTo>
                    <a:lnTo>
                      <a:pt x="120" y="378"/>
                    </a:lnTo>
                    <a:lnTo>
                      <a:pt x="126" y="378"/>
                    </a:lnTo>
                    <a:lnTo>
                      <a:pt x="126" y="372"/>
                    </a:lnTo>
                    <a:lnTo>
                      <a:pt x="126" y="366"/>
                    </a:lnTo>
                    <a:lnTo>
                      <a:pt x="120" y="366"/>
                    </a:lnTo>
                    <a:lnTo>
                      <a:pt x="120" y="360"/>
                    </a:lnTo>
                    <a:lnTo>
                      <a:pt x="114" y="354"/>
                    </a:lnTo>
                    <a:lnTo>
                      <a:pt x="120" y="354"/>
                    </a:lnTo>
                    <a:lnTo>
                      <a:pt x="120" y="348"/>
                    </a:lnTo>
                    <a:lnTo>
                      <a:pt x="114" y="348"/>
                    </a:lnTo>
                    <a:lnTo>
                      <a:pt x="114" y="342"/>
                    </a:lnTo>
                    <a:lnTo>
                      <a:pt x="108" y="342"/>
                    </a:lnTo>
                    <a:lnTo>
                      <a:pt x="108" y="336"/>
                    </a:lnTo>
                    <a:lnTo>
                      <a:pt x="108" y="330"/>
                    </a:lnTo>
                    <a:lnTo>
                      <a:pt x="102" y="330"/>
                    </a:lnTo>
                    <a:lnTo>
                      <a:pt x="102" y="324"/>
                    </a:lnTo>
                    <a:lnTo>
                      <a:pt x="108" y="330"/>
                    </a:lnTo>
                    <a:lnTo>
                      <a:pt x="102" y="330"/>
                    </a:lnTo>
                    <a:lnTo>
                      <a:pt x="102" y="324"/>
                    </a:lnTo>
                    <a:lnTo>
                      <a:pt x="102" y="318"/>
                    </a:lnTo>
                    <a:lnTo>
                      <a:pt x="96" y="318"/>
                    </a:lnTo>
                    <a:lnTo>
                      <a:pt x="96" y="312"/>
                    </a:lnTo>
                    <a:lnTo>
                      <a:pt x="96" y="306"/>
                    </a:lnTo>
                    <a:lnTo>
                      <a:pt x="90" y="300"/>
                    </a:lnTo>
                    <a:lnTo>
                      <a:pt x="90" y="294"/>
                    </a:lnTo>
                    <a:lnTo>
                      <a:pt x="90" y="288"/>
                    </a:lnTo>
                    <a:lnTo>
                      <a:pt x="84" y="288"/>
                    </a:lnTo>
                    <a:lnTo>
                      <a:pt x="90" y="288"/>
                    </a:lnTo>
                    <a:lnTo>
                      <a:pt x="84" y="282"/>
                    </a:lnTo>
                    <a:lnTo>
                      <a:pt x="84" y="276"/>
                    </a:lnTo>
                    <a:lnTo>
                      <a:pt x="84" y="270"/>
                    </a:lnTo>
                    <a:lnTo>
                      <a:pt x="78" y="270"/>
                    </a:lnTo>
                    <a:lnTo>
                      <a:pt x="78" y="264"/>
                    </a:lnTo>
                    <a:lnTo>
                      <a:pt x="78" y="258"/>
                    </a:lnTo>
                    <a:lnTo>
                      <a:pt x="78" y="252"/>
                    </a:lnTo>
                    <a:lnTo>
                      <a:pt x="84" y="252"/>
                    </a:lnTo>
                    <a:lnTo>
                      <a:pt x="84" y="246"/>
                    </a:lnTo>
                    <a:lnTo>
                      <a:pt x="84" y="252"/>
                    </a:lnTo>
                    <a:lnTo>
                      <a:pt x="78" y="252"/>
                    </a:lnTo>
                    <a:lnTo>
                      <a:pt x="78" y="258"/>
                    </a:lnTo>
                    <a:lnTo>
                      <a:pt x="78" y="264"/>
                    </a:lnTo>
                    <a:lnTo>
                      <a:pt x="78" y="258"/>
                    </a:lnTo>
                    <a:lnTo>
                      <a:pt x="84" y="258"/>
                    </a:lnTo>
                    <a:lnTo>
                      <a:pt x="84" y="252"/>
                    </a:lnTo>
                    <a:lnTo>
                      <a:pt x="90" y="246"/>
                    </a:lnTo>
                    <a:lnTo>
                      <a:pt x="90" y="240"/>
                    </a:lnTo>
                    <a:lnTo>
                      <a:pt x="96" y="240"/>
                    </a:lnTo>
                    <a:lnTo>
                      <a:pt x="96" y="246"/>
                    </a:lnTo>
                    <a:lnTo>
                      <a:pt x="96" y="240"/>
                    </a:lnTo>
                    <a:lnTo>
                      <a:pt x="102" y="240"/>
                    </a:lnTo>
                    <a:lnTo>
                      <a:pt x="102" y="234"/>
                    </a:lnTo>
                    <a:lnTo>
                      <a:pt x="96" y="234"/>
                    </a:lnTo>
                    <a:lnTo>
                      <a:pt x="96" y="228"/>
                    </a:lnTo>
                    <a:lnTo>
                      <a:pt x="96" y="222"/>
                    </a:lnTo>
                    <a:lnTo>
                      <a:pt x="96" y="216"/>
                    </a:lnTo>
                    <a:lnTo>
                      <a:pt x="90" y="210"/>
                    </a:lnTo>
                    <a:lnTo>
                      <a:pt x="90" y="204"/>
                    </a:lnTo>
                    <a:lnTo>
                      <a:pt x="84" y="198"/>
                    </a:lnTo>
                    <a:lnTo>
                      <a:pt x="84" y="192"/>
                    </a:lnTo>
                    <a:lnTo>
                      <a:pt x="84" y="186"/>
                    </a:lnTo>
                    <a:lnTo>
                      <a:pt x="78" y="186"/>
                    </a:lnTo>
                    <a:lnTo>
                      <a:pt x="78" y="180"/>
                    </a:lnTo>
                    <a:lnTo>
                      <a:pt x="78" y="174"/>
                    </a:lnTo>
                    <a:lnTo>
                      <a:pt x="72" y="174"/>
                    </a:lnTo>
                    <a:lnTo>
                      <a:pt x="72" y="168"/>
                    </a:lnTo>
                    <a:lnTo>
                      <a:pt x="72" y="162"/>
                    </a:lnTo>
                    <a:lnTo>
                      <a:pt x="66" y="162"/>
                    </a:lnTo>
                    <a:lnTo>
                      <a:pt x="66" y="156"/>
                    </a:lnTo>
                    <a:lnTo>
                      <a:pt x="66" y="150"/>
                    </a:lnTo>
                    <a:lnTo>
                      <a:pt x="66" y="144"/>
                    </a:lnTo>
                    <a:lnTo>
                      <a:pt x="66" y="138"/>
                    </a:lnTo>
                    <a:lnTo>
                      <a:pt x="60" y="138"/>
                    </a:lnTo>
                    <a:lnTo>
                      <a:pt x="60" y="132"/>
                    </a:lnTo>
                    <a:lnTo>
                      <a:pt x="54" y="132"/>
                    </a:lnTo>
                    <a:lnTo>
                      <a:pt x="54" y="126"/>
                    </a:lnTo>
                    <a:lnTo>
                      <a:pt x="54" y="120"/>
                    </a:lnTo>
                    <a:lnTo>
                      <a:pt x="48" y="120"/>
                    </a:lnTo>
                    <a:lnTo>
                      <a:pt x="48" y="114"/>
                    </a:lnTo>
                    <a:lnTo>
                      <a:pt x="42" y="108"/>
                    </a:lnTo>
                    <a:lnTo>
                      <a:pt x="42" y="102"/>
                    </a:lnTo>
                    <a:lnTo>
                      <a:pt x="36" y="102"/>
                    </a:lnTo>
                    <a:lnTo>
                      <a:pt x="36" y="96"/>
                    </a:lnTo>
                    <a:lnTo>
                      <a:pt x="36" y="90"/>
                    </a:lnTo>
                    <a:lnTo>
                      <a:pt x="42" y="90"/>
                    </a:lnTo>
                    <a:lnTo>
                      <a:pt x="36" y="96"/>
                    </a:lnTo>
                    <a:lnTo>
                      <a:pt x="42" y="96"/>
                    </a:lnTo>
                    <a:lnTo>
                      <a:pt x="36" y="96"/>
                    </a:lnTo>
                    <a:lnTo>
                      <a:pt x="42" y="96"/>
                    </a:lnTo>
                    <a:lnTo>
                      <a:pt x="48" y="96"/>
                    </a:lnTo>
                    <a:lnTo>
                      <a:pt x="48" y="90"/>
                    </a:lnTo>
                    <a:lnTo>
                      <a:pt x="48" y="96"/>
                    </a:lnTo>
                    <a:lnTo>
                      <a:pt x="48" y="90"/>
                    </a:lnTo>
                    <a:lnTo>
                      <a:pt x="54" y="90"/>
                    </a:lnTo>
                    <a:lnTo>
                      <a:pt x="60" y="90"/>
                    </a:lnTo>
                    <a:lnTo>
                      <a:pt x="66" y="90"/>
                    </a:lnTo>
                    <a:lnTo>
                      <a:pt x="72" y="90"/>
                    </a:lnTo>
                    <a:lnTo>
                      <a:pt x="72" y="84"/>
                    </a:lnTo>
                    <a:lnTo>
                      <a:pt x="78" y="84"/>
                    </a:lnTo>
                    <a:lnTo>
                      <a:pt x="78" y="78"/>
                    </a:lnTo>
                    <a:lnTo>
                      <a:pt x="78" y="84"/>
                    </a:lnTo>
                    <a:lnTo>
                      <a:pt x="84" y="84"/>
                    </a:lnTo>
                    <a:lnTo>
                      <a:pt x="90" y="78"/>
                    </a:lnTo>
                    <a:lnTo>
                      <a:pt x="96" y="84"/>
                    </a:lnTo>
                    <a:lnTo>
                      <a:pt x="96" y="78"/>
                    </a:lnTo>
                    <a:lnTo>
                      <a:pt x="102" y="78"/>
                    </a:lnTo>
                    <a:lnTo>
                      <a:pt x="108" y="84"/>
                    </a:lnTo>
                    <a:lnTo>
                      <a:pt x="114" y="84"/>
                    </a:lnTo>
                    <a:lnTo>
                      <a:pt x="120" y="84"/>
                    </a:lnTo>
                    <a:lnTo>
                      <a:pt x="126" y="78"/>
                    </a:lnTo>
                    <a:lnTo>
                      <a:pt x="132" y="78"/>
                    </a:lnTo>
                    <a:lnTo>
                      <a:pt x="132" y="84"/>
                    </a:lnTo>
                    <a:lnTo>
                      <a:pt x="138" y="84"/>
                    </a:lnTo>
                    <a:lnTo>
                      <a:pt x="138" y="78"/>
                    </a:lnTo>
                    <a:lnTo>
                      <a:pt x="144" y="78"/>
                    </a:lnTo>
                    <a:lnTo>
                      <a:pt x="144" y="84"/>
                    </a:lnTo>
                    <a:lnTo>
                      <a:pt x="150" y="84"/>
                    </a:lnTo>
                    <a:lnTo>
                      <a:pt x="156" y="84"/>
                    </a:lnTo>
                    <a:lnTo>
                      <a:pt x="162" y="84"/>
                    </a:lnTo>
                    <a:lnTo>
                      <a:pt x="168" y="84"/>
                    </a:lnTo>
                    <a:lnTo>
                      <a:pt x="174" y="84"/>
                    </a:lnTo>
                    <a:lnTo>
                      <a:pt x="180" y="84"/>
                    </a:lnTo>
                    <a:lnTo>
                      <a:pt x="186" y="84"/>
                    </a:lnTo>
                    <a:lnTo>
                      <a:pt x="186" y="78"/>
                    </a:lnTo>
                    <a:lnTo>
                      <a:pt x="192" y="78"/>
                    </a:lnTo>
                    <a:lnTo>
                      <a:pt x="198" y="78"/>
                    </a:lnTo>
                    <a:lnTo>
                      <a:pt x="204" y="84"/>
                    </a:lnTo>
                    <a:lnTo>
                      <a:pt x="210" y="84"/>
                    </a:lnTo>
                    <a:lnTo>
                      <a:pt x="216" y="84"/>
                    </a:lnTo>
                    <a:lnTo>
                      <a:pt x="222" y="78"/>
                    </a:lnTo>
                    <a:lnTo>
                      <a:pt x="228" y="78"/>
                    </a:lnTo>
                    <a:lnTo>
                      <a:pt x="234" y="84"/>
                    </a:lnTo>
                    <a:lnTo>
                      <a:pt x="240" y="84"/>
                    </a:lnTo>
                    <a:lnTo>
                      <a:pt x="246" y="84"/>
                    </a:lnTo>
                    <a:lnTo>
                      <a:pt x="246" y="78"/>
                    </a:lnTo>
                    <a:lnTo>
                      <a:pt x="246" y="84"/>
                    </a:lnTo>
                    <a:lnTo>
                      <a:pt x="252" y="84"/>
                    </a:lnTo>
                    <a:lnTo>
                      <a:pt x="252" y="78"/>
                    </a:lnTo>
                    <a:lnTo>
                      <a:pt x="258" y="78"/>
                    </a:lnTo>
                    <a:lnTo>
                      <a:pt x="264" y="78"/>
                    </a:lnTo>
                    <a:lnTo>
                      <a:pt x="264" y="84"/>
                    </a:lnTo>
                    <a:lnTo>
                      <a:pt x="270" y="84"/>
                    </a:lnTo>
                    <a:lnTo>
                      <a:pt x="276" y="84"/>
                    </a:lnTo>
                    <a:lnTo>
                      <a:pt x="276" y="90"/>
                    </a:lnTo>
                    <a:lnTo>
                      <a:pt x="276" y="96"/>
                    </a:lnTo>
                    <a:lnTo>
                      <a:pt x="282" y="96"/>
                    </a:lnTo>
                    <a:lnTo>
                      <a:pt x="276" y="96"/>
                    </a:lnTo>
                    <a:lnTo>
                      <a:pt x="282" y="96"/>
                    </a:lnTo>
                    <a:lnTo>
                      <a:pt x="282" y="102"/>
                    </a:lnTo>
                    <a:lnTo>
                      <a:pt x="282" y="108"/>
                    </a:lnTo>
                    <a:lnTo>
                      <a:pt x="282" y="114"/>
                    </a:lnTo>
                    <a:lnTo>
                      <a:pt x="282" y="108"/>
                    </a:lnTo>
                    <a:lnTo>
                      <a:pt x="282" y="114"/>
                    </a:lnTo>
                    <a:lnTo>
                      <a:pt x="288" y="120"/>
                    </a:lnTo>
                    <a:lnTo>
                      <a:pt x="282" y="120"/>
                    </a:lnTo>
                    <a:lnTo>
                      <a:pt x="288" y="120"/>
                    </a:lnTo>
                    <a:lnTo>
                      <a:pt x="288" y="126"/>
                    </a:lnTo>
                    <a:lnTo>
                      <a:pt x="288" y="132"/>
                    </a:lnTo>
                    <a:lnTo>
                      <a:pt x="294" y="132"/>
                    </a:lnTo>
                    <a:lnTo>
                      <a:pt x="294" y="138"/>
                    </a:lnTo>
                    <a:lnTo>
                      <a:pt x="294" y="144"/>
                    </a:lnTo>
                    <a:lnTo>
                      <a:pt x="300" y="144"/>
                    </a:lnTo>
                    <a:lnTo>
                      <a:pt x="300" y="150"/>
                    </a:lnTo>
                    <a:lnTo>
                      <a:pt x="294" y="150"/>
                    </a:lnTo>
                    <a:lnTo>
                      <a:pt x="300" y="156"/>
                    </a:lnTo>
                    <a:lnTo>
                      <a:pt x="294" y="156"/>
                    </a:lnTo>
                    <a:lnTo>
                      <a:pt x="300" y="156"/>
                    </a:lnTo>
                    <a:lnTo>
                      <a:pt x="300" y="162"/>
                    </a:lnTo>
                    <a:lnTo>
                      <a:pt x="306" y="162"/>
                    </a:lnTo>
                    <a:lnTo>
                      <a:pt x="306" y="168"/>
                    </a:lnTo>
                    <a:lnTo>
                      <a:pt x="312" y="168"/>
                    </a:lnTo>
                    <a:lnTo>
                      <a:pt x="306" y="168"/>
                    </a:lnTo>
                    <a:lnTo>
                      <a:pt x="306" y="174"/>
                    </a:lnTo>
                    <a:lnTo>
                      <a:pt x="312" y="174"/>
                    </a:lnTo>
                    <a:lnTo>
                      <a:pt x="312" y="180"/>
                    </a:lnTo>
                    <a:lnTo>
                      <a:pt x="318" y="180"/>
                    </a:lnTo>
                    <a:lnTo>
                      <a:pt x="312" y="180"/>
                    </a:lnTo>
                    <a:lnTo>
                      <a:pt x="318" y="186"/>
                    </a:lnTo>
                    <a:lnTo>
                      <a:pt x="318" y="192"/>
                    </a:lnTo>
                    <a:lnTo>
                      <a:pt x="324" y="192"/>
                    </a:lnTo>
                    <a:lnTo>
                      <a:pt x="324" y="198"/>
                    </a:lnTo>
                    <a:lnTo>
                      <a:pt x="330" y="204"/>
                    </a:lnTo>
                    <a:lnTo>
                      <a:pt x="324" y="204"/>
                    </a:lnTo>
                    <a:lnTo>
                      <a:pt x="330" y="204"/>
                    </a:lnTo>
                    <a:lnTo>
                      <a:pt x="330" y="210"/>
                    </a:lnTo>
                    <a:lnTo>
                      <a:pt x="336" y="210"/>
                    </a:lnTo>
                    <a:lnTo>
                      <a:pt x="336" y="204"/>
                    </a:lnTo>
                    <a:lnTo>
                      <a:pt x="342" y="204"/>
                    </a:lnTo>
                    <a:lnTo>
                      <a:pt x="348" y="204"/>
                    </a:lnTo>
                    <a:lnTo>
                      <a:pt x="354" y="204"/>
                    </a:lnTo>
                    <a:lnTo>
                      <a:pt x="360" y="204"/>
                    </a:lnTo>
                    <a:lnTo>
                      <a:pt x="360" y="198"/>
                    </a:lnTo>
                    <a:lnTo>
                      <a:pt x="366" y="198"/>
                    </a:lnTo>
                    <a:lnTo>
                      <a:pt x="372" y="198"/>
                    </a:lnTo>
                    <a:lnTo>
                      <a:pt x="372" y="204"/>
                    </a:lnTo>
                    <a:lnTo>
                      <a:pt x="372" y="198"/>
                    </a:lnTo>
                    <a:lnTo>
                      <a:pt x="372" y="204"/>
                    </a:lnTo>
                    <a:lnTo>
                      <a:pt x="378" y="204"/>
                    </a:lnTo>
                    <a:lnTo>
                      <a:pt x="378" y="198"/>
                    </a:lnTo>
                    <a:lnTo>
                      <a:pt x="384" y="198"/>
                    </a:lnTo>
                    <a:lnTo>
                      <a:pt x="396" y="198"/>
                    </a:lnTo>
                    <a:lnTo>
                      <a:pt x="402" y="198"/>
                    </a:lnTo>
                    <a:lnTo>
                      <a:pt x="408" y="198"/>
                    </a:lnTo>
                    <a:lnTo>
                      <a:pt x="414" y="198"/>
                    </a:lnTo>
                    <a:lnTo>
                      <a:pt x="420" y="198"/>
                    </a:lnTo>
                    <a:lnTo>
                      <a:pt x="426" y="198"/>
                    </a:lnTo>
                    <a:lnTo>
                      <a:pt x="432" y="198"/>
                    </a:lnTo>
                    <a:lnTo>
                      <a:pt x="432" y="192"/>
                    </a:lnTo>
                    <a:lnTo>
                      <a:pt x="432" y="186"/>
                    </a:lnTo>
                    <a:lnTo>
                      <a:pt x="432" y="180"/>
                    </a:lnTo>
                    <a:lnTo>
                      <a:pt x="432" y="174"/>
                    </a:lnTo>
                    <a:lnTo>
                      <a:pt x="438" y="174"/>
                    </a:lnTo>
                    <a:lnTo>
                      <a:pt x="438" y="168"/>
                    </a:lnTo>
                    <a:lnTo>
                      <a:pt x="438" y="162"/>
                    </a:lnTo>
                    <a:lnTo>
                      <a:pt x="438" y="156"/>
                    </a:lnTo>
                    <a:lnTo>
                      <a:pt x="438" y="150"/>
                    </a:lnTo>
                    <a:lnTo>
                      <a:pt x="444" y="150"/>
                    </a:lnTo>
                    <a:lnTo>
                      <a:pt x="438" y="144"/>
                    </a:lnTo>
                    <a:lnTo>
                      <a:pt x="450" y="144"/>
                    </a:lnTo>
                    <a:lnTo>
                      <a:pt x="456" y="144"/>
                    </a:lnTo>
                    <a:lnTo>
                      <a:pt x="462" y="144"/>
                    </a:lnTo>
                    <a:lnTo>
                      <a:pt x="468" y="144"/>
                    </a:lnTo>
                    <a:lnTo>
                      <a:pt x="474" y="144"/>
                    </a:lnTo>
                    <a:lnTo>
                      <a:pt x="480" y="144"/>
                    </a:lnTo>
                    <a:lnTo>
                      <a:pt x="486" y="144"/>
                    </a:lnTo>
                    <a:lnTo>
                      <a:pt x="486" y="138"/>
                    </a:lnTo>
                    <a:lnTo>
                      <a:pt x="492" y="138"/>
                    </a:lnTo>
                    <a:lnTo>
                      <a:pt x="498" y="138"/>
                    </a:lnTo>
                    <a:lnTo>
                      <a:pt x="498" y="144"/>
                    </a:lnTo>
                    <a:lnTo>
                      <a:pt x="498" y="150"/>
                    </a:lnTo>
                    <a:lnTo>
                      <a:pt x="498" y="156"/>
                    </a:lnTo>
                    <a:lnTo>
                      <a:pt x="498" y="162"/>
                    </a:lnTo>
                    <a:lnTo>
                      <a:pt x="504" y="162"/>
                    </a:lnTo>
                    <a:lnTo>
                      <a:pt x="510" y="162"/>
                    </a:lnTo>
                    <a:lnTo>
                      <a:pt x="516" y="162"/>
                    </a:lnTo>
                    <a:lnTo>
                      <a:pt x="522" y="162"/>
                    </a:lnTo>
                    <a:lnTo>
                      <a:pt x="534" y="162"/>
                    </a:lnTo>
                    <a:lnTo>
                      <a:pt x="540" y="162"/>
                    </a:lnTo>
                    <a:lnTo>
                      <a:pt x="546" y="162"/>
                    </a:lnTo>
                    <a:lnTo>
                      <a:pt x="552" y="162"/>
                    </a:lnTo>
                    <a:lnTo>
                      <a:pt x="558" y="162"/>
                    </a:lnTo>
                    <a:lnTo>
                      <a:pt x="564" y="162"/>
                    </a:lnTo>
                    <a:lnTo>
                      <a:pt x="570" y="162"/>
                    </a:lnTo>
                    <a:lnTo>
                      <a:pt x="570" y="168"/>
                    </a:lnTo>
                    <a:lnTo>
                      <a:pt x="570" y="174"/>
                    </a:lnTo>
                    <a:lnTo>
                      <a:pt x="570" y="180"/>
                    </a:lnTo>
                    <a:lnTo>
                      <a:pt x="564" y="180"/>
                    </a:lnTo>
                    <a:lnTo>
                      <a:pt x="564" y="186"/>
                    </a:lnTo>
                    <a:lnTo>
                      <a:pt x="564" y="192"/>
                    </a:lnTo>
                    <a:lnTo>
                      <a:pt x="564" y="198"/>
                    </a:lnTo>
                    <a:lnTo>
                      <a:pt x="564" y="204"/>
                    </a:lnTo>
                    <a:lnTo>
                      <a:pt x="570" y="204"/>
                    </a:lnTo>
                    <a:lnTo>
                      <a:pt x="570" y="210"/>
                    </a:lnTo>
                    <a:lnTo>
                      <a:pt x="570" y="216"/>
                    </a:lnTo>
                    <a:lnTo>
                      <a:pt x="576" y="216"/>
                    </a:lnTo>
                    <a:lnTo>
                      <a:pt x="576" y="222"/>
                    </a:lnTo>
                    <a:lnTo>
                      <a:pt x="570" y="222"/>
                    </a:lnTo>
                    <a:lnTo>
                      <a:pt x="576" y="222"/>
                    </a:lnTo>
                    <a:lnTo>
                      <a:pt x="576" y="228"/>
                    </a:lnTo>
                    <a:lnTo>
                      <a:pt x="576" y="234"/>
                    </a:lnTo>
                    <a:lnTo>
                      <a:pt x="570" y="234"/>
                    </a:lnTo>
                    <a:lnTo>
                      <a:pt x="576" y="234"/>
                    </a:lnTo>
                    <a:lnTo>
                      <a:pt x="570" y="234"/>
                    </a:lnTo>
                    <a:lnTo>
                      <a:pt x="570" y="240"/>
                    </a:lnTo>
                    <a:lnTo>
                      <a:pt x="570" y="246"/>
                    </a:lnTo>
                    <a:lnTo>
                      <a:pt x="570" y="252"/>
                    </a:lnTo>
                    <a:lnTo>
                      <a:pt x="570" y="258"/>
                    </a:lnTo>
                    <a:lnTo>
                      <a:pt x="570" y="264"/>
                    </a:lnTo>
                    <a:lnTo>
                      <a:pt x="570" y="270"/>
                    </a:lnTo>
                    <a:lnTo>
                      <a:pt x="570" y="276"/>
                    </a:lnTo>
                    <a:lnTo>
                      <a:pt x="564" y="276"/>
                    </a:lnTo>
                    <a:lnTo>
                      <a:pt x="564" y="282"/>
                    </a:lnTo>
                    <a:lnTo>
                      <a:pt x="570" y="282"/>
                    </a:lnTo>
                    <a:lnTo>
                      <a:pt x="570" y="288"/>
                    </a:lnTo>
                    <a:lnTo>
                      <a:pt x="570" y="294"/>
                    </a:lnTo>
                    <a:lnTo>
                      <a:pt x="576" y="294"/>
                    </a:lnTo>
                    <a:lnTo>
                      <a:pt x="576" y="300"/>
                    </a:lnTo>
                    <a:lnTo>
                      <a:pt x="576" y="306"/>
                    </a:lnTo>
                    <a:lnTo>
                      <a:pt x="582" y="306"/>
                    </a:lnTo>
                    <a:lnTo>
                      <a:pt x="588" y="306"/>
                    </a:lnTo>
                    <a:lnTo>
                      <a:pt x="588" y="312"/>
                    </a:lnTo>
                    <a:lnTo>
                      <a:pt x="588" y="318"/>
                    </a:lnTo>
                    <a:lnTo>
                      <a:pt x="588" y="324"/>
                    </a:lnTo>
                    <a:lnTo>
                      <a:pt x="594" y="324"/>
                    </a:lnTo>
                    <a:lnTo>
                      <a:pt x="594" y="330"/>
                    </a:lnTo>
                    <a:lnTo>
                      <a:pt x="594" y="336"/>
                    </a:lnTo>
                    <a:lnTo>
                      <a:pt x="594" y="342"/>
                    </a:lnTo>
                    <a:lnTo>
                      <a:pt x="594" y="348"/>
                    </a:lnTo>
                    <a:lnTo>
                      <a:pt x="594" y="354"/>
                    </a:lnTo>
                    <a:lnTo>
                      <a:pt x="594" y="360"/>
                    </a:lnTo>
                    <a:lnTo>
                      <a:pt x="588" y="360"/>
                    </a:lnTo>
                    <a:lnTo>
                      <a:pt x="588" y="366"/>
                    </a:lnTo>
                    <a:lnTo>
                      <a:pt x="588" y="372"/>
                    </a:lnTo>
                    <a:lnTo>
                      <a:pt x="588" y="378"/>
                    </a:lnTo>
                    <a:lnTo>
                      <a:pt x="594" y="378"/>
                    </a:lnTo>
                    <a:lnTo>
                      <a:pt x="594" y="384"/>
                    </a:lnTo>
                    <a:lnTo>
                      <a:pt x="594" y="378"/>
                    </a:lnTo>
                    <a:lnTo>
                      <a:pt x="600" y="378"/>
                    </a:lnTo>
                    <a:lnTo>
                      <a:pt x="606" y="378"/>
                    </a:lnTo>
                    <a:lnTo>
                      <a:pt x="606" y="372"/>
                    </a:lnTo>
                    <a:lnTo>
                      <a:pt x="612" y="372"/>
                    </a:lnTo>
                    <a:lnTo>
                      <a:pt x="618" y="378"/>
                    </a:lnTo>
                    <a:lnTo>
                      <a:pt x="624" y="378"/>
                    </a:lnTo>
                    <a:lnTo>
                      <a:pt x="624" y="372"/>
                    </a:lnTo>
                    <a:lnTo>
                      <a:pt x="630" y="372"/>
                    </a:lnTo>
                    <a:lnTo>
                      <a:pt x="630" y="378"/>
                    </a:lnTo>
                    <a:lnTo>
                      <a:pt x="636" y="378"/>
                    </a:lnTo>
                    <a:lnTo>
                      <a:pt x="642" y="378"/>
                    </a:lnTo>
                    <a:lnTo>
                      <a:pt x="642" y="372"/>
                    </a:lnTo>
                    <a:lnTo>
                      <a:pt x="642" y="378"/>
                    </a:lnTo>
                    <a:lnTo>
                      <a:pt x="642" y="372"/>
                    </a:lnTo>
                    <a:lnTo>
                      <a:pt x="648" y="372"/>
                    </a:lnTo>
                    <a:lnTo>
                      <a:pt x="654" y="372"/>
                    </a:lnTo>
                    <a:lnTo>
                      <a:pt x="654" y="366"/>
                    </a:lnTo>
                    <a:lnTo>
                      <a:pt x="660" y="366"/>
                    </a:lnTo>
                    <a:lnTo>
                      <a:pt x="666" y="366"/>
                    </a:lnTo>
                    <a:lnTo>
                      <a:pt x="666" y="372"/>
                    </a:lnTo>
                    <a:lnTo>
                      <a:pt x="672" y="372"/>
                    </a:lnTo>
                    <a:lnTo>
                      <a:pt x="678" y="372"/>
                    </a:lnTo>
                    <a:lnTo>
                      <a:pt x="684" y="372"/>
                    </a:lnTo>
                    <a:lnTo>
                      <a:pt x="684" y="366"/>
                    </a:lnTo>
                    <a:lnTo>
                      <a:pt x="690" y="366"/>
                    </a:lnTo>
                    <a:lnTo>
                      <a:pt x="690" y="372"/>
                    </a:lnTo>
                    <a:lnTo>
                      <a:pt x="690" y="378"/>
                    </a:lnTo>
                    <a:lnTo>
                      <a:pt x="690" y="384"/>
                    </a:lnTo>
                    <a:lnTo>
                      <a:pt x="690" y="390"/>
                    </a:lnTo>
                    <a:lnTo>
                      <a:pt x="696" y="390"/>
                    </a:lnTo>
                    <a:lnTo>
                      <a:pt x="690" y="390"/>
                    </a:lnTo>
                    <a:lnTo>
                      <a:pt x="690" y="396"/>
                    </a:lnTo>
                    <a:lnTo>
                      <a:pt x="690" y="402"/>
                    </a:lnTo>
                    <a:lnTo>
                      <a:pt x="690" y="408"/>
                    </a:lnTo>
                    <a:lnTo>
                      <a:pt x="684" y="408"/>
                    </a:lnTo>
                    <a:lnTo>
                      <a:pt x="690" y="408"/>
                    </a:lnTo>
                    <a:lnTo>
                      <a:pt x="690" y="414"/>
                    </a:lnTo>
                    <a:lnTo>
                      <a:pt x="690" y="420"/>
                    </a:lnTo>
                    <a:lnTo>
                      <a:pt x="690" y="426"/>
                    </a:lnTo>
                    <a:lnTo>
                      <a:pt x="690" y="432"/>
                    </a:lnTo>
                    <a:lnTo>
                      <a:pt x="690" y="438"/>
                    </a:lnTo>
                    <a:lnTo>
                      <a:pt x="690" y="444"/>
                    </a:lnTo>
                    <a:lnTo>
                      <a:pt x="690" y="450"/>
                    </a:lnTo>
                    <a:lnTo>
                      <a:pt x="690" y="456"/>
                    </a:lnTo>
                    <a:lnTo>
                      <a:pt x="684" y="456"/>
                    </a:lnTo>
                    <a:lnTo>
                      <a:pt x="684" y="462"/>
                    </a:lnTo>
                    <a:lnTo>
                      <a:pt x="684" y="468"/>
                    </a:lnTo>
                    <a:lnTo>
                      <a:pt x="684" y="474"/>
                    </a:lnTo>
                    <a:lnTo>
                      <a:pt x="684" y="480"/>
                    </a:lnTo>
                    <a:lnTo>
                      <a:pt x="690" y="480"/>
                    </a:lnTo>
                    <a:lnTo>
                      <a:pt x="660" y="486"/>
                    </a:lnTo>
                    <a:lnTo>
                      <a:pt x="600" y="486"/>
                    </a:lnTo>
                    <a:lnTo>
                      <a:pt x="576" y="486"/>
                    </a:lnTo>
                    <a:lnTo>
                      <a:pt x="576" y="510"/>
                    </a:lnTo>
                    <a:lnTo>
                      <a:pt x="576" y="528"/>
                    </a:lnTo>
                    <a:lnTo>
                      <a:pt x="576" y="540"/>
                    </a:lnTo>
                    <a:lnTo>
                      <a:pt x="576" y="546"/>
                    </a:lnTo>
                    <a:lnTo>
                      <a:pt x="576" y="600"/>
                    </a:lnTo>
                    <a:lnTo>
                      <a:pt x="576" y="618"/>
                    </a:lnTo>
                    <a:lnTo>
                      <a:pt x="576" y="654"/>
                    </a:lnTo>
                    <a:lnTo>
                      <a:pt x="576" y="660"/>
                    </a:lnTo>
                    <a:lnTo>
                      <a:pt x="576" y="666"/>
                    </a:lnTo>
                    <a:lnTo>
                      <a:pt x="576" y="672"/>
                    </a:lnTo>
                    <a:lnTo>
                      <a:pt x="582" y="672"/>
                    </a:lnTo>
                    <a:lnTo>
                      <a:pt x="582" y="678"/>
                    </a:lnTo>
                    <a:lnTo>
                      <a:pt x="582" y="684"/>
                    </a:lnTo>
                    <a:lnTo>
                      <a:pt x="588" y="684"/>
                    </a:lnTo>
                    <a:lnTo>
                      <a:pt x="588" y="690"/>
                    </a:lnTo>
                    <a:lnTo>
                      <a:pt x="594" y="690"/>
                    </a:lnTo>
                    <a:lnTo>
                      <a:pt x="594" y="696"/>
                    </a:lnTo>
                    <a:lnTo>
                      <a:pt x="600" y="696"/>
                    </a:lnTo>
                    <a:lnTo>
                      <a:pt x="600" y="702"/>
                    </a:lnTo>
                    <a:lnTo>
                      <a:pt x="606" y="702"/>
                    </a:lnTo>
                    <a:lnTo>
                      <a:pt x="606" y="708"/>
                    </a:lnTo>
                    <a:lnTo>
                      <a:pt x="612" y="708"/>
                    </a:lnTo>
                    <a:lnTo>
                      <a:pt x="612" y="714"/>
                    </a:lnTo>
                    <a:lnTo>
                      <a:pt x="618" y="714"/>
                    </a:lnTo>
                    <a:lnTo>
                      <a:pt x="618" y="720"/>
                    </a:lnTo>
                    <a:lnTo>
                      <a:pt x="624" y="720"/>
                    </a:lnTo>
                    <a:lnTo>
                      <a:pt x="624" y="726"/>
                    </a:lnTo>
                    <a:lnTo>
                      <a:pt x="630" y="726"/>
                    </a:lnTo>
                    <a:lnTo>
                      <a:pt x="630" y="732"/>
                    </a:lnTo>
                    <a:lnTo>
                      <a:pt x="636" y="732"/>
                    </a:lnTo>
                    <a:lnTo>
                      <a:pt x="636" y="738"/>
                    </a:lnTo>
                    <a:lnTo>
                      <a:pt x="642" y="738"/>
                    </a:lnTo>
                    <a:lnTo>
                      <a:pt x="642" y="744"/>
                    </a:lnTo>
                    <a:lnTo>
                      <a:pt x="648" y="744"/>
                    </a:lnTo>
                    <a:lnTo>
                      <a:pt x="654" y="744"/>
                    </a:lnTo>
                    <a:lnTo>
                      <a:pt x="654" y="750"/>
                    </a:lnTo>
                    <a:close/>
                    <a:moveTo>
                      <a:pt x="24" y="36"/>
                    </a:moveTo>
                    <a:lnTo>
                      <a:pt x="24" y="30"/>
                    </a:lnTo>
                    <a:lnTo>
                      <a:pt x="30" y="30"/>
                    </a:lnTo>
                    <a:lnTo>
                      <a:pt x="30" y="24"/>
                    </a:lnTo>
                    <a:lnTo>
                      <a:pt x="30" y="18"/>
                    </a:lnTo>
                    <a:lnTo>
                      <a:pt x="36" y="18"/>
                    </a:lnTo>
                    <a:lnTo>
                      <a:pt x="36" y="24"/>
                    </a:lnTo>
                    <a:lnTo>
                      <a:pt x="36" y="18"/>
                    </a:lnTo>
                    <a:lnTo>
                      <a:pt x="42" y="18"/>
                    </a:lnTo>
                    <a:lnTo>
                      <a:pt x="42" y="12"/>
                    </a:lnTo>
                    <a:lnTo>
                      <a:pt x="48" y="12"/>
                    </a:lnTo>
                    <a:lnTo>
                      <a:pt x="54" y="6"/>
                    </a:lnTo>
                    <a:lnTo>
                      <a:pt x="60" y="6"/>
                    </a:lnTo>
                    <a:lnTo>
                      <a:pt x="60" y="0"/>
                    </a:lnTo>
                    <a:lnTo>
                      <a:pt x="66" y="0"/>
                    </a:lnTo>
                    <a:lnTo>
                      <a:pt x="72" y="0"/>
                    </a:lnTo>
                    <a:lnTo>
                      <a:pt x="72" y="6"/>
                    </a:lnTo>
                    <a:lnTo>
                      <a:pt x="78" y="6"/>
                    </a:lnTo>
                    <a:lnTo>
                      <a:pt x="78" y="12"/>
                    </a:lnTo>
                    <a:lnTo>
                      <a:pt x="84" y="12"/>
                    </a:lnTo>
                    <a:lnTo>
                      <a:pt x="78" y="12"/>
                    </a:lnTo>
                    <a:lnTo>
                      <a:pt x="78" y="18"/>
                    </a:lnTo>
                    <a:lnTo>
                      <a:pt x="72" y="18"/>
                    </a:lnTo>
                    <a:lnTo>
                      <a:pt x="66" y="18"/>
                    </a:lnTo>
                    <a:lnTo>
                      <a:pt x="66" y="24"/>
                    </a:lnTo>
                    <a:lnTo>
                      <a:pt x="60" y="24"/>
                    </a:lnTo>
                    <a:lnTo>
                      <a:pt x="60" y="30"/>
                    </a:lnTo>
                    <a:lnTo>
                      <a:pt x="54" y="30"/>
                    </a:lnTo>
                    <a:lnTo>
                      <a:pt x="54" y="36"/>
                    </a:lnTo>
                    <a:lnTo>
                      <a:pt x="48" y="36"/>
                    </a:lnTo>
                    <a:lnTo>
                      <a:pt x="48" y="42"/>
                    </a:lnTo>
                    <a:lnTo>
                      <a:pt x="48" y="48"/>
                    </a:lnTo>
                    <a:lnTo>
                      <a:pt x="48" y="54"/>
                    </a:lnTo>
                    <a:lnTo>
                      <a:pt x="48" y="60"/>
                    </a:lnTo>
                    <a:lnTo>
                      <a:pt x="48" y="66"/>
                    </a:lnTo>
                    <a:lnTo>
                      <a:pt x="48" y="72"/>
                    </a:lnTo>
                    <a:lnTo>
                      <a:pt x="42" y="72"/>
                    </a:lnTo>
                    <a:lnTo>
                      <a:pt x="36" y="72"/>
                    </a:lnTo>
                    <a:lnTo>
                      <a:pt x="30" y="72"/>
                    </a:lnTo>
                    <a:lnTo>
                      <a:pt x="30" y="78"/>
                    </a:lnTo>
                    <a:lnTo>
                      <a:pt x="30" y="72"/>
                    </a:lnTo>
                    <a:lnTo>
                      <a:pt x="30" y="66"/>
                    </a:lnTo>
                    <a:lnTo>
                      <a:pt x="30" y="60"/>
                    </a:lnTo>
                    <a:lnTo>
                      <a:pt x="36" y="60"/>
                    </a:lnTo>
                    <a:lnTo>
                      <a:pt x="30" y="60"/>
                    </a:lnTo>
                    <a:lnTo>
                      <a:pt x="30" y="54"/>
                    </a:lnTo>
                    <a:lnTo>
                      <a:pt x="30" y="48"/>
                    </a:lnTo>
                    <a:lnTo>
                      <a:pt x="30" y="42"/>
                    </a:lnTo>
                    <a:lnTo>
                      <a:pt x="24" y="42"/>
                    </a:lnTo>
                    <a:lnTo>
                      <a:pt x="24" y="36"/>
                    </a:lnTo>
                    <a:close/>
                    <a:moveTo>
                      <a:pt x="0" y="690"/>
                    </a:moveTo>
                    <a:lnTo>
                      <a:pt x="6" y="684"/>
                    </a:lnTo>
                    <a:lnTo>
                      <a:pt x="6" y="690"/>
                    </a:lnTo>
                    <a:lnTo>
                      <a:pt x="6" y="696"/>
                    </a:lnTo>
                    <a:lnTo>
                      <a:pt x="6" y="702"/>
                    </a:lnTo>
                    <a:lnTo>
                      <a:pt x="6" y="696"/>
                    </a:lnTo>
                    <a:lnTo>
                      <a:pt x="6" y="690"/>
                    </a:lnTo>
                    <a:lnTo>
                      <a:pt x="0" y="690"/>
                    </a:lnTo>
                    <a:close/>
                    <a:moveTo>
                      <a:pt x="72" y="84"/>
                    </a:moveTo>
                    <a:lnTo>
                      <a:pt x="72" y="90"/>
                    </a:lnTo>
                    <a:lnTo>
                      <a:pt x="73" y="90"/>
                    </a:lnTo>
                    <a:lnTo>
                      <a:pt x="72" y="84"/>
                    </a:lnTo>
                    <a:close/>
                    <a:moveTo>
                      <a:pt x="54" y="90"/>
                    </a:moveTo>
                    <a:lnTo>
                      <a:pt x="60" y="90"/>
                    </a:lnTo>
                    <a:lnTo>
                      <a:pt x="54" y="90"/>
                    </a:lnTo>
                    <a:close/>
                    <a:moveTo>
                      <a:pt x="60" y="84"/>
                    </a:moveTo>
                    <a:lnTo>
                      <a:pt x="66" y="84"/>
                    </a:lnTo>
                    <a:lnTo>
                      <a:pt x="66" y="90"/>
                    </a:lnTo>
                    <a:lnTo>
                      <a:pt x="60" y="90"/>
                    </a:lnTo>
                    <a:lnTo>
                      <a:pt x="60" y="84"/>
                    </a:lnTo>
                    <a:close/>
                    <a:moveTo>
                      <a:pt x="84" y="240"/>
                    </a:moveTo>
                    <a:lnTo>
                      <a:pt x="90" y="240"/>
                    </a:lnTo>
                    <a:lnTo>
                      <a:pt x="90" y="246"/>
                    </a:lnTo>
                    <a:lnTo>
                      <a:pt x="84" y="246"/>
                    </a:lnTo>
                    <a:lnTo>
                      <a:pt x="84" y="240"/>
                    </a:lnTo>
                    <a:close/>
                    <a:moveTo>
                      <a:pt x="60" y="90"/>
                    </a:moveTo>
                    <a:lnTo>
                      <a:pt x="66" y="90"/>
                    </a:lnTo>
                    <a:lnTo>
                      <a:pt x="60" y="9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1" name="Freeform 52"/>
              <p:cNvSpPr>
                <a:spLocks/>
              </p:cNvSpPr>
              <p:nvPr>
                <p:custDataLst>
                  <p:tags r:id="rId48"/>
                </p:custDataLst>
              </p:nvPr>
            </p:nvSpPr>
            <p:spPr bwMode="gray">
              <a:xfrm>
                <a:off x="3393189" y="3323140"/>
                <a:ext cx="651390" cy="643352"/>
              </a:xfrm>
              <a:custGeom>
                <a:avLst/>
                <a:gdLst>
                  <a:gd name="T0" fmla="*/ 178005 w 516"/>
                  <a:gd name="T1" fmla="*/ 96174 h 546"/>
                  <a:gd name="T2" fmla="*/ 170223 w 516"/>
                  <a:gd name="T3" fmla="*/ 101032 h 546"/>
                  <a:gd name="T4" fmla="*/ 161468 w 516"/>
                  <a:gd name="T5" fmla="*/ 104918 h 546"/>
                  <a:gd name="T6" fmla="*/ 154660 w 516"/>
                  <a:gd name="T7" fmla="*/ 111718 h 546"/>
                  <a:gd name="T8" fmla="*/ 150769 w 516"/>
                  <a:gd name="T9" fmla="*/ 115604 h 546"/>
                  <a:gd name="T10" fmla="*/ 145906 w 516"/>
                  <a:gd name="T11" fmla="*/ 120461 h 546"/>
                  <a:gd name="T12" fmla="*/ 143960 w 516"/>
                  <a:gd name="T13" fmla="*/ 121432 h 546"/>
                  <a:gd name="T14" fmla="*/ 137151 w 516"/>
                  <a:gd name="T15" fmla="*/ 128232 h 546"/>
                  <a:gd name="T16" fmla="*/ 133260 w 516"/>
                  <a:gd name="T17" fmla="*/ 138919 h 546"/>
                  <a:gd name="T18" fmla="*/ 128397 w 516"/>
                  <a:gd name="T19" fmla="*/ 143775 h 546"/>
                  <a:gd name="T20" fmla="*/ 120615 w 516"/>
                  <a:gd name="T21" fmla="*/ 147661 h 546"/>
                  <a:gd name="T22" fmla="*/ 113807 w 516"/>
                  <a:gd name="T23" fmla="*/ 156405 h 546"/>
                  <a:gd name="T24" fmla="*/ 109915 w 516"/>
                  <a:gd name="T25" fmla="*/ 167091 h 546"/>
                  <a:gd name="T26" fmla="*/ 101161 w 516"/>
                  <a:gd name="T27" fmla="*/ 169033 h 546"/>
                  <a:gd name="T28" fmla="*/ 87544 w 516"/>
                  <a:gd name="T29" fmla="*/ 169033 h 546"/>
                  <a:gd name="T30" fmla="*/ 76844 w 516"/>
                  <a:gd name="T31" fmla="*/ 167091 h 546"/>
                  <a:gd name="T32" fmla="*/ 71008 w 516"/>
                  <a:gd name="T33" fmla="*/ 161262 h 546"/>
                  <a:gd name="T34" fmla="*/ 67116 w 516"/>
                  <a:gd name="T35" fmla="*/ 158347 h 546"/>
                  <a:gd name="T36" fmla="*/ 62253 w 516"/>
                  <a:gd name="T37" fmla="*/ 161262 h 546"/>
                  <a:gd name="T38" fmla="*/ 57389 w 516"/>
                  <a:gd name="T39" fmla="*/ 165148 h 546"/>
                  <a:gd name="T40" fmla="*/ 53499 w 516"/>
                  <a:gd name="T41" fmla="*/ 169033 h 546"/>
                  <a:gd name="T42" fmla="*/ 51553 w 516"/>
                  <a:gd name="T43" fmla="*/ 180691 h 546"/>
                  <a:gd name="T44" fmla="*/ 42799 w 516"/>
                  <a:gd name="T45" fmla="*/ 184577 h 546"/>
                  <a:gd name="T46" fmla="*/ 34045 w 516"/>
                  <a:gd name="T47" fmla="*/ 190406 h 546"/>
                  <a:gd name="T48" fmla="*/ 26263 w 516"/>
                  <a:gd name="T49" fmla="*/ 192349 h 546"/>
                  <a:gd name="T50" fmla="*/ 17509 w 516"/>
                  <a:gd name="T51" fmla="*/ 192349 h 546"/>
                  <a:gd name="T52" fmla="*/ 12645 w 516"/>
                  <a:gd name="T53" fmla="*/ 192349 h 546"/>
                  <a:gd name="T54" fmla="*/ 12645 w 516"/>
                  <a:gd name="T55" fmla="*/ 188463 h 546"/>
                  <a:gd name="T56" fmla="*/ 14590 w 516"/>
                  <a:gd name="T57" fmla="*/ 181663 h 546"/>
                  <a:gd name="T58" fmla="*/ 14590 w 516"/>
                  <a:gd name="T59" fmla="*/ 170977 h 546"/>
                  <a:gd name="T60" fmla="*/ 12645 w 516"/>
                  <a:gd name="T61" fmla="*/ 162233 h 546"/>
                  <a:gd name="T62" fmla="*/ 10700 w 516"/>
                  <a:gd name="T63" fmla="*/ 161262 h 546"/>
                  <a:gd name="T64" fmla="*/ 6809 w 516"/>
                  <a:gd name="T65" fmla="*/ 151547 h 546"/>
                  <a:gd name="T66" fmla="*/ 0 w 516"/>
                  <a:gd name="T67" fmla="*/ 145719 h 546"/>
                  <a:gd name="T68" fmla="*/ 0 w 516"/>
                  <a:gd name="T69" fmla="*/ 133089 h 546"/>
                  <a:gd name="T70" fmla="*/ 0 w 516"/>
                  <a:gd name="T71" fmla="*/ 120461 h 546"/>
                  <a:gd name="T72" fmla="*/ 0 w 516"/>
                  <a:gd name="T73" fmla="*/ 106860 h 546"/>
                  <a:gd name="T74" fmla="*/ 0 w 516"/>
                  <a:gd name="T75" fmla="*/ 94232 h 546"/>
                  <a:gd name="T76" fmla="*/ 19454 w 516"/>
                  <a:gd name="T77" fmla="*/ 44687 h 546"/>
                  <a:gd name="T78" fmla="*/ 62253 w 516"/>
                  <a:gd name="T79" fmla="*/ 3886 h 546"/>
                  <a:gd name="T80" fmla="*/ 68090 w 516"/>
                  <a:gd name="T81" fmla="*/ 8743 h 546"/>
                  <a:gd name="T82" fmla="*/ 74898 w 516"/>
                  <a:gd name="T83" fmla="*/ 12629 h 546"/>
                  <a:gd name="T84" fmla="*/ 81707 w 516"/>
                  <a:gd name="T85" fmla="*/ 6800 h 546"/>
                  <a:gd name="T86" fmla="*/ 87544 w 516"/>
                  <a:gd name="T87" fmla="*/ 3886 h 546"/>
                  <a:gd name="T88" fmla="*/ 94352 w 516"/>
                  <a:gd name="T89" fmla="*/ 1943 h 546"/>
                  <a:gd name="T90" fmla="*/ 101161 w 516"/>
                  <a:gd name="T91" fmla="*/ 0 h 546"/>
                  <a:gd name="T92" fmla="*/ 103107 w 516"/>
                  <a:gd name="T93" fmla="*/ 1943 h 546"/>
                  <a:gd name="T94" fmla="*/ 109915 w 516"/>
                  <a:gd name="T95" fmla="*/ 10686 h 546"/>
                  <a:gd name="T96" fmla="*/ 115751 w 516"/>
                  <a:gd name="T97" fmla="*/ 21372 h 546"/>
                  <a:gd name="T98" fmla="*/ 120615 w 516"/>
                  <a:gd name="T99" fmla="*/ 32058 h 546"/>
                  <a:gd name="T100" fmla="*/ 124506 w 516"/>
                  <a:gd name="T101" fmla="*/ 37887 h 546"/>
                  <a:gd name="T102" fmla="*/ 133260 w 516"/>
                  <a:gd name="T103" fmla="*/ 42744 h 546"/>
                  <a:gd name="T104" fmla="*/ 142015 w 516"/>
                  <a:gd name="T105" fmla="*/ 46630 h 546"/>
                  <a:gd name="T106" fmla="*/ 145906 w 516"/>
                  <a:gd name="T107" fmla="*/ 56344 h 546"/>
                  <a:gd name="T108" fmla="*/ 152714 w 516"/>
                  <a:gd name="T109" fmla="*/ 62173 h 546"/>
                  <a:gd name="T110" fmla="*/ 154660 w 516"/>
                  <a:gd name="T111" fmla="*/ 72859 h 546"/>
                  <a:gd name="T112" fmla="*/ 158550 w 516"/>
                  <a:gd name="T113" fmla="*/ 76745 h 546"/>
                  <a:gd name="T114" fmla="*/ 170223 w 516"/>
                  <a:gd name="T115" fmla="*/ 81602 h 546"/>
                  <a:gd name="T116" fmla="*/ 180923 w 516"/>
                  <a:gd name="T117" fmla="*/ 83546 h 546"/>
                  <a:gd name="T118" fmla="*/ 181896 w 516"/>
                  <a:gd name="T119" fmla="*/ 90346 h 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16" h="546">
                    <a:moveTo>
                      <a:pt x="516" y="258"/>
                    </a:moveTo>
                    <a:lnTo>
                      <a:pt x="510" y="258"/>
                    </a:lnTo>
                    <a:lnTo>
                      <a:pt x="504" y="258"/>
                    </a:lnTo>
                    <a:lnTo>
                      <a:pt x="498" y="258"/>
                    </a:lnTo>
                    <a:lnTo>
                      <a:pt x="498" y="264"/>
                    </a:lnTo>
                    <a:lnTo>
                      <a:pt x="498" y="270"/>
                    </a:lnTo>
                    <a:lnTo>
                      <a:pt x="498" y="276"/>
                    </a:lnTo>
                    <a:lnTo>
                      <a:pt x="492" y="276"/>
                    </a:lnTo>
                    <a:lnTo>
                      <a:pt x="486" y="276"/>
                    </a:lnTo>
                    <a:lnTo>
                      <a:pt x="480" y="276"/>
                    </a:lnTo>
                    <a:lnTo>
                      <a:pt x="480" y="282"/>
                    </a:lnTo>
                    <a:lnTo>
                      <a:pt x="474" y="282"/>
                    </a:lnTo>
                    <a:lnTo>
                      <a:pt x="468" y="282"/>
                    </a:lnTo>
                    <a:lnTo>
                      <a:pt x="462" y="282"/>
                    </a:lnTo>
                    <a:lnTo>
                      <a:pt x="456" y="282"/>
                    </a:lnTo>
                    <a:lnTo>
                      <a:pt x="456" y="288"/>
                    </a:lnTo>
                    <a:lnTo>
                      <a:pt x="450" y="288"/>
                    </a:lnTo>
                    <a:lnTo>
                      <a:pt x="450" y="294"/>
                    </a:lnTo>
                    <a:lnTo>
                      <a:pt x="450" y="300"/>
                    </a:lnTo>
                    <a:lnTo>
                      <a:pt x="444" y="300"/>
                    </a:lnTo>
                    <a:lnTo>
                      <a:pt x="444" y="306"/>
                    </a:lnTo>
                    <a:lnTo>
                      <a:pt x="438" y="306"/>
                    </a:lnTo>
                    <a:lnTo>
                      <a:pt x="438" y="312"/>
                    </a:lnTo>
                    <a:lnTo>
                      <a:pt x="432" y="312"/>
                    </a:lnTo>
                    <a:lnTo>
                      <a:pt x="432" y="318"/>
                    </a:lnTo>
                    <a:lnTo>
                      <a:pt x="432" y="324"/>
                    </a:lnTo>
                    <a:lnTo>
                      <a:pt x="426" y="324"/>
                    </a:lnTo>
                    <a:lnTo>
                      <a:pt x="426" y="318"/>
                    </a:lnTo>
                    <a:lnTo>
                      <a:pt x="426" y="324"/>
                    </a:lnTo>
                    <a:lnTo>
                      <a:pt x="420" y="324"/>
                    </a:lnTo>
                    <a:lnTo>
                      <a:pt x="420" y="330"/>
                    </a:lnTo>
                    <a:lnTo>
                      <a:pt x="414" y="330"/>
                    </a:lnTo>
                    <a:lnTo>
                      <a:pt x="414" y="336"/>
                    </a:lnTo>
                    <a:lnTo>
                      <a:pt x="408" y="336"/>
                    </a:lnTo>
                    <a:lnTo>
                      <a:pt x="408" y="330"/>
                    </a:lnTo>
                    <a:lnTo>
                      <a:pt x="408" y="336"/>
                    </a:lnTo>
                    <a:lnTo>
                      <a:pt x="408" y="330"/>
                    </a:lnTo>
                    <a:lnTo>
                      <a:pt x="408" y="336"/>
                    </a:lnTo>
                    <a:lnTo>
                      <a:pt x="402" y="336"/>
                    </a:lnTo>
                    <a:lnTo>
                      <a:pt x="396" y="336"/>
                    </a:lnTo>
                    <a:lnTo>
                      <a:pt x="396" y="342"/>
                    </a:lnTo>
                    <a:lnTo>
                      <a:pt x="402" y="342"/>
                    </a:lnTo>
                    <a:lnTo>
                      <a:pt x="396" y="342"/>
                    </a:lnTo>
                    <a:lnTo>
                      <a:pt x="390" y="342"/>
                    </a:lnTo>
                    <a:lnTo>
                      <a:pt x="390" y="348"/>
                    </a:lnTo>
                    <a:lnTo>
                      <a:pt x="384" y="348"/>
                    </a:lnTo>
                    <a:lnTo>
                      <a:pt x="384" y="354"/>
                    </a:lnTo>
                    <a:lnTo>
                      <a:pt x="384" y="360"/>
                    </a:lnTo>
                    <a:lnTo>
                      <a:pt x="384" y="366"/>
                    </a:lnTo>
                    <a:lnTo>
                      <a:pt x="384" y="372"/>
                    </a:lnTo>
                    <a:lnTo>
                      <a:pt x="378" y="372"/>
                    </a:lnTo>
                    <a:lnTo>
                      <a:pt x="378" y="378"/>
                    </a:lnTo>
                    <a:lnTo>
                      <a:pt x="378" y="384"/>
                    </a:lnTo>
                    <a:lnTo>
                      <a:pt x="372" y="390"/>
                    </a:lnTo>
                    <a:lnTo>
                      <a:pt x="372" y="384"/>
                    </a:lnTo>
                    <a:lnTo>
                      <a:pt x="372" y="390"/>
                    </a:lnTo>
                    <a:lnTo>
                      <a:pt x="366" y="390"/>
                    </a:lnTo>
                    <a:lnTo>
                      <a:pt x="366" y="396"/>
                    </a:lnTo>
                    <a:lnTo>
                      <a:pt x="360" y="396"/>
                    </a:lnTo>
                    <a:lnTo>
                      <a:pt x="360" y="402"/>
                    </a:lnTo>
                    <a:lnTo>
                      <a:pt x="360" y="408"/>
                    </a:lnTo>
                    <a:lnTo>
                      <a:pt x="354" y="408"/>
                    </a:lnTo>
                    <a:lnTo>
                      <a:pt x="348" y="408"/>
                    </a:lnTo>
                    <a:lnTo>
                      <a:pt x="342" y="408"/>
                    </a:lnTo>
                    <a:lnTo>
                      <a:pt x="336" y="408"/>
                    </a:lnTo>
                    <a:lnTo>
                      <a:pt x="336" y="414"/>
                    </a:lnTo>
                    <a:lnTo>
                      <a:pt x="330" y="414"/>
                    </a:lnTo>
                    <a:lnTo>
                      <a:pt x="324" y="414"/>
                    </a:lnTo>
                    <a:lnTo>
                      <a:pt x="324" y="420"/>
                    </a:lnTo>
                    <a:lnTo>
                      <a:pt x="324" y="426"/>
                    </a:lnTo>
                    <a:lnTo>
                      <a:pt x="324" y="432"/>
                    </a:lnTo>
                    <a:lnTo>
                      <a:pt x="318" y="438"/>
                    </a:lnTo>
                    <a:lnTo>
                      <a:pt x="318" y="444"/>
                    </a:lnTo>
                    <a:lnTo>
                      <a:pt x="312" y="450"/>
                    </a:lnTo>
                    <a:lnTo>
                      <a:pt x="312" y="456"/>
                    </a:lnTo>
                    <a:lnTo>
                      <a:pt x="312" y="462"/>
                    </a:lnTo>
                    <a:lnTo>
                      <a:pt x="312" y="468"/>
                    </a:lnTo>
                    <a:lnTo>
                      <a:pt x="306" y="468"/>
                    </a:lnTo>
                    <a:lnTo>
                      <a:pt x="300" y="474"/>
                    </a:lnTo>
                    <a:lnTo>
                      <a:pt x="294" y="474"/>
                    </a:lnTo>
                    <a:lnTo>
                      <a:pt x="294" y="480"/>
                    </a:lnTo>
                    <a:lnTo>
                      <a:pt x="294" y="474"/>
                    </a:lnTo>
                    <a:lnTo>
                      <a:pt x="288" y="474"/>
                    </a:lnTo>
                    <a:lnTo>
                      <a:pt x="282" y="474"/>
                    </a:lnTo>
                    <a:lnTo>
                      <a:pt x="276" y="474"/>
                    </a:lnTo>
                    <a:lnTo>
                      <a:pt x="270" y="480"/>
                    </a:lnTo>
                    <a:lnTo>
                      <a:pt x="264" y="480"/>
                    </a:lnTo>
                    <a:lnTo>
                      <a:pt x="258" y="480"/>
                    </a:lnTo>
                    <a:lnTo>
                      <a:pt x="252" y="480"/>
                    </a:lnTo>
                    <a:lnTo>
                      <a:pt x="246" y="474"/>
                    </a:lnTo>
                    <a:lnTo>
                      <a:pt x="240" y="474"/>
                    </a:lnTo>
                    <a:lnTo>
                      <a:pt x="234" y="474"/>
                    </a:lnTo>
                    <a:lnTo>
                      <a:pt x="234" y="468"/>
                    </a:lnTo>
                    <a:lnTo>
                      <a:pt x="228" y="468"/>
                    </a:lnTo>
                    <a:lnTo>
                      <a:pt x="222" y="468"/>
                    </a:lnTo>
                    <a:lnTo>
                      <a:pt x="216" y="468"/>
                    </a:lnTo>
                    <a:lnTo>
                      <a:pt x="210" y="468"/>
                    </a:lnTo>
                    <a:lnTo>
                      <a:pt x="210" y="462"/>
                    </a:lnTo>
                    <a:lnTo>
                      <a:pt x="204" y="462"/>
                    </a:lnTo>
                    <a:lnTo>
                      <a:pt x="204" y="456"/>
                    </a:lnTo>
                    <a:lnTo>
                      <a:pt x="198" y="456"/>
                    </a:lnTo>
                    <a:lnTo>
                      <a:pt x="198" y="450"/>
                    </a:lnTo>
                    <a:lnTo>
                      <a:pt x="198" y="456"/>
                    </a:lnTo>
                    <a:lnTo>
                      <a:pt x="198" y="450"/>
                    </a:lnTo>
                    <a:lnTo>
                      <a:pt x="192" y="450"/>
                    </a:lnTo>
                    <a:lnTo>
                      <a:pt x="192" y="444"/>
                    </a:lnTo>
                    <a:lnTo>
                      <a:pt x="186" y="450"/>
                    </a:lnTo>
                    <a:lnTo>
                      <a:pt x="186" y="444"/>
                    </a:lnTo>
                    <a:lnTo>
                      <a:pt x="180" y="450"/>
                    </a:lnTo>
                    <a:lnTo>
                      <a:pt x="180" y="444"/>
                    </a:lnTo>
                    <a:lnTo>
                      <a:pt x="180" y="450"/>
                    </a:lnTo>
                    <a:lnTo>
                      <a:pt x="180" y="444"/>
                    </a:lnTo>
                    <a:lnTo>
                      <a:pt x="174" y="444"/>
                    </a:lnTo>
                    <a:lnTo>
                      <a:pt x="174" y="450"/>
                    </a:lnTo>
                    <a:lnTo>
                      <a:pt x="168" y="450"/>
                    </a:lnTo>
                    <a:lnTo>
                      <a:pt x="162" y="450"/>
                    </a:lnTo>
                    <a:lnTo>
                      <a:pt x="162" y="456"/>
                    </a:lnTo>
                    <a:lnTo>
                      <a:pt x="156" y="456"/>
                    </a:lnTo>
                    <a:lnTo>
                      <a:pt x="162" y="456"/>
                    </a:lnTo>
                    <a:lnTo>
                      <a:pt x="162" y="462"/>
                    </a:lnTo>
                    <a:lnTo>
                      <a:pt x="156" y="462"/>
                    </a:lnTo>
                    <a:lnTo>
                      <a:pt x="156" y="456"/>
                    </a:lnTo>
                    <a:lnTo>
                      <a:pt x="156" y="462"/>
                    </a:lnTo>
                    <a:lnTo>
                      <a:pt x="156" y="468"/>
                    </a:lnTo>
                    <a:lnTo>
                      <a:pt x="156" y="474"/>
                    </a:lnTo>
                    <a:lnTo>
                      <a:pt x="150" y="474"/>
                    </a:lnTo>
                    <a:lnTo>
                      <a:pt x="150" y="480"/>
                    </a:lnTo>
                    <a:lnTo>
                      <a:pt x="150" y="486"/>
                    </a:lnTo>
                    <a:lnTo>
                      <a:pt x="150" y="492"/>
                    </a:lnTo>
                    <a:lnTo>
                      <a:pt x="144" y="492"/>
                    </a:lnTo>
                    <a:lnTo>
                      <a:pt x="144" y="498"/>
                    </a:lnTo>
                    <a:lnTo>
                      <a:pt x="144" y="504"/>
                    </a:lnTo>
                    <a:lnTo>
                      <a:pt x="138" y="504"/>
                    </a:lnTo>
                    <a:lnTo>
                      <a:pt x="132" y="504"/>
                    </a:lnTo>
                    <a:lnTo>
                      <a:pt x="132" y="510"/>
                    </a:lnTo>
                    <a:lnTo>
                      <a:pt x="126" y="510"/>
                    </a:lnTo>
                    <a:lnTo>
                      <a:pt x="126" y="516"/>
                    </a:lnTo>
                    <a:lnTo>
                      <a:pt x="120" y="516"/>
                    </a:lnTo>
                    <a:lnTo>
                      <a:pt x="120" y="522"/>
                    </a:lnTo>
                    <a:lnTo>
                      <a:pt x="114" y="522"/>
                    </a:lnTo>
                    <a:lnTo>
                      <a:pt x="114" y="528"/>
                    </a:lnTo>
                    <a:lnTo>
                      <a:pt x="108" y="534"/>
                    </a:lnTo>
                    <a:lnTo>
                      <a:pt x="102" y="534"/>
                    </a:lnTo>
                    <a:lnTo>
                      <a:pt x="96" y="534"/>
                    </a:lnTo>
                    <a:lnTo>
                      <a:pt x="96" y="540"/>
                    </a:lnTo>
                    <a:lnTo>
                      <a:pt x="90" y="546"/>
                    </a:lnTo>
                    <a:lnTo>
                      <a:pt x="84" y="546"/>
                    </a:lnTo>
                    <a:lnTo>
                      <a:pt x="78" y="546"/>
                    </a:lnTo>
                    <a:lnTo>
                      <a:pt x="78" y="540"/>
                    </a:lnTo>
                    <a:lnTo>
                      <a:pt x="72" y="540"/>
                    </a:lnTo>
                    <a:lnTo>
                      <a:pt x="72" y="546"/>
                    </a:lnTo>
                    <a:lnTo>
                      <a:pt x="66" y="546"/>
                    </a:lnTo>
                    <a:lnTo>
                      <a:pt x="60" y="546"/>
                    </a:lnTo>
                    <a:lnTo>
                      <a:pt x="54" y="546"/>
                    </a:lnTo>
                    <a:lnTo>
                      <a:pt x="54" y="540"/>
                    </a:lnTo>
                    <a:lnTo>
                      <a:pt x="48" y="540"/>
                    </a:lnTo>
                    <a:lnTo>
                      <a:pt x="42" y="540"/>
                    </a:lnTo>
                    <a:lnTo>
                      <a:pt x="42" y="546"/>
                    </a:lnTo>
                    <a:lnTo>
                      <a:pt x="36" y="546"/>
                    </a:lnTo>
                    <a:lnTo>
                      <a:pt x="36" y="540"/>
                    </a:lnTo>
                    <a:lnTo>
                      <a:pt x="30" y="540"/>
                    </a:lnTo>
                    <a:lnTo>
                      <a:pt x="36" y="540"/>
                    </a:lnTo>
                    <a:lnTo>
                      <a:pt x="30" y="540"/>
                    </a:lnTo>
                    <a:lnTo>
                      <a:pt x="36" y="534"/>
                    </a:lnTo>
                    <a:lnTo>
                      <a:pt x="30" y="534"/>
                    </a:lnTo>
                    <a:lnTo>
                      <a:pt x="36" y="534"/>
                    </a:lnTo>
                    <a:lnTo>
                      <a:pt x="30" y="528"/>
                    </a:lnTo>
                    <a:lnTo>
                      <a:pt x="36" y="528"/>
                    </a:lnTo>
                    <a:lnTo>
                      <a:pt x="30" y="528"/>
                    </a:lnTo>
                    <a:lnTo>
                      <a:pt x="30" y="522"/>
                    </a:lnTo>
                    <a:lnTo>
                      <a:pt x="30" y="516"/>
                    </a:lnTo>
                    <a:lnTo>
                      <a:pt x="36" y="516"/>
                    </a:lnTo>
                    <a:lnTo>
                      <a:pt x="36" y="510"/>
                    </a:lnTo>
                    <a:lnTo>
                      <a:pt x="42" y="510"/>
                    </a:lnTo>
                    <a:lnTo>
                      <a:pt x="42" y="504"/>
                    </a:lnTo>
                    <a:lnTo>
                      <a:pt x="48" y="498"/>
                    </a:lnTo>
                    <a:lnTo>
                      <a:pt x="42" y="498"/>
                    </a:lnTo>
                    <a:lnTo>
                      <a:pt x="42" y="492"/>
                    </a:lnTo>
                    <a:lnTo>
                      <a:pt x="42" y="486"/>
                    </a:lnTo>
                    <a:lnTo>
                      <a:pt x="42" y="480"/>
                    </a:lnTo>
                    <a:lnTo>
                      <a:pt x="36" y="474"/>
                    </a:lnTo>
                    <a:lnTo>
                      <a:pt x="36" y="468"/>
                    </a:lnTo>
                    <a:lnTo>
                      <a:pt x="36" y="462"/>
                    </a:lnTo>
                    <a:lnTo>
                      <a:pt x="30" y="462"/>
                    </a:lnTo>
                    <a:lnTo>
                      <a:pt x="36" y="462"/>
                    </a:lnTo>
                    <a:lnTo>
                      <a:pt x="36" y="456"/>
                    </a:lnTo>
                    <a:lnTo>
                      <a:pt x="30" y="456"/>
                    </a:lnTo>
                    <a:lnTo>
                      <a:pt x="30" y="450"/>
                    </a:lnTo>
                    <a:lnTo>
                      <a:pt x="24" y="450"/>
                    </a:lnTo>
                    <a:lnTo>
                      <a:pt x="30" y="450"/>
                    </a:lnTo>
                    <a:lnTo>
                      <a:pt x="30" y="444"/>
                    </a:lnTo>
                    <a:lnTo>
                      <a:pt x="30" y="450"/>
                    </a:lnTo>
                    <a:lnTo>
                      <a:pt x="24" y="444"/>
                    </a:lnTo>
                    <a:lnTo>
                      <a:pt x="24" y="438"/>
                    </a:lnTo>
                    <a:lnTo>
                      <a:pt x="18" y="438"/>
                    </a:lnTo>
                    <a:lnTo>
                      <a:pt x="24" y="438"/>
                    </a:lnTo>
                    <a:lnTo>
                      <a:pt x="18" y="432"/>
                    </a:lnTo>
                    <a:lnTo>
                      <a:pt x="18" y="426"/>
                    </a:lnTo>
                    <a:lnTo>
                      <a:pt x="12" y="426"/>
                    </a:lnTo>
                    <a:lnTo>
                      <a:pt x="6" y="426"/>
                    </a:lnTo>
                    <a:lnTo>
                      <a:pt x="6" y="420"/>
                    </a:lnTo>
                    <a:lnTo>
                      <a:pt x="0" y="420"/>
                    </a:lnTo>
                    <a:lnTo>
                      <a:pt x="0" y="414"/>
                    </a:lnTo>
                    <a:lnTo>
                      <a:pt x="0" y="408"/>
                    </a:lnTo>
                    <a:lnTo>
                      <a:pt x="0" y="402"/>
                    </a:lnTo>
                    <a:lnTo>
                      <a:pt x="0" y="396"/>
                    </a:lnTo>
                    <a:lnTo>
                      <a:pt x="0" y="390"/>
                    </a:lnTo>
                    <a:lnTo>
                      <a:pt x="0" y="384"/>
                    </a:lnTo>
                    <a:lnTo>
                      <a:pt x="0" y="378"/>
                    </a:lnTo>
                    <a:lnTo>
                      <a:pt x="0" y="372"/>
                    </a:lnTo>
                    <a:lnTo>
                      <a:pt x="0" y="366"/>
                    </a:lnTo>
                    <a:lnTo>
                      <a:pt x="0" y="360"/>
                    </a:lnTo>
                    <a:lnTo>
                      <a:pt x="0" y="354"/>
                    </a:lnTo>
                    <a:lnTo>
                      <a:pt x="0" y="348"/>
                    </a:lnTo>
                    <a:lnTo>
                      <a:pt x="0" y="342"/>
                    </a:lnTo>
                    <a:lnTo>
                      <a:pt x="0" y="336"/>
                    </a:lnTo>
                    <a:lnTo>
                      <a:pt x="0" y="330"/>
                    </a:lnTo>
                    <a:lnTo>
                      <a:pt x="0" y="324"/>
                    </a:lnTo>
                    <a:lnTo>
                      <a:pt x="0"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54" y="246"/>
                    </a:lnTo>
                    <a:lnTo>
                      <a:pt x="54" y="186"/>
                    </a:lnTo>
                    <a:lnTo>
                      <a:pt x="54" y="126"/>
                    </a:lnTo>
                    <a:lnTo>
                      <a:pt x="54" y="78"/>
                    </a:lnTo>
                    <a:lnTo>
                      <a:pt x="54" y="30"/>
                    </a:lnTo>
                    <a:lnTo>
                      <a:pt x="78" y="30"/>
                    </a:lnTo>
                    <a:lnTo>
                      <a:pt x="162" y="12"/>
                    </a:lnTo>
                    <a:lnTo>
                      <a:pt x="168" y="12"/>
                    </a:lnTo>
                    <a:lnTo>
                      <a:pt x="174" y="12"/>
                    </a:lnTo>
                    <a:lnTo>
                      <a:pt x="180" y="12"/>
                    </a:lnTo>
                    <a:lnTo>
                      <a:pt x="186" y="12"/>
                    </a:lnTo>
                    <a:lnTo>
                      <a:pt x="180" y="12"/>
                    </a:lnTo>
                    <a:lnTo>
                      <a:pt x="186" y="18"/>
                    </a:lnTo>
                    <a:lnTo>
                      <a:pt x="186" y="24"/>
                    </a:lnTo>
                    <a:lnTo>
                      <a:pt x="192" y="24"/>
                    </a:lnTo>
                    <a:lnTo>
                      <a:pt x="192" y="30"/>
                    </a:lnTo>
                    <a:lnTo>
                      <a:pt x="198" y="30"/>
                    </a:lnTo>
                    <a:lnTo>
                      <a:pt x="198" y="36"/>
                    </a:lnTo>
                    <a:lnTo>
                      <a:pt x="198" y="42"/>
                    </a:lnTo>
                    <a:lnTo>
                      <a:pt x="204" y="36"/>
                    </a:lnTo>
                    <a:lnTo>
                      <a:pt x="210" y="36"/>
                    </a:lnTo>
                    <a:lnTo>
                      <a:pt x="210" y="30"/>
                    </a:lnTo>
                    <a:lnTo>
                      <a:pt x="216" y="30"/>
                    </a:lnTo>
                    <a:lnTo>
                      <a:pt x="216" y="24"/>
                    </a:lnTo>
                    <a:lnTo>
                      <a:pt x="222" y="24"/>
                    </a:lnTo>
                    <a:lnTo>
                      <a:pt x="222" y="18"/>
                    </a:lnTo>
                    <a:lnTo>
                      <a:pt x="228" y="18"/>
                    </a:lnTo>
                    <a:lnTo>
                      <a:pt x="228" y="12"/>
                    </a:lnTo>
                    <a:lnTo>
                      <a:pt x="234" y="12"/>
                    </a:lnTo>
                    <a:lnTo>
                      <a:pt x="240" y="12"/>
                    </a:lnTo>
                    <a:lnTo>
                      <a:pt x="240" y="6"/>
                    </a:lnTo>
                    <a:lnTo>
                      <a:pt x="246" y="6"/>
                    </a:lnTo>
                    <a:lnTo>
                      <a:pt x="246" y="12"/>
                    </a:lnTo>
                    <a:lnTo>
                      <a:pt x="252" y="12"/>
                    </a:lnTo>
                    <a:lnTo>
                      <a:pt x="258" y="12"/>
                    </a:lnTo>
                    <a:lnTo>
                      <a:pt x="258" y="6"/>
                    </a:lnTo>
                    <a:lnTo>
                      <a:pt x="264" y="6"/>
                    </a:lnTo>
                    <a:lnTo>
                      <a:pt x="258" y="6"/>
                    </a:lnTo>
                    <a:lnTo>
                      <a:pt x="264" y="6"/>
                    </a:lnTo>
                    <a:lnTo>
                      <a:pt x="264" y="0"/>
                    </a:lnTo>
                    <a:lnTo>
                      <a:pt x="264" y="6"/>
                    </a:lnTo>
                    <a:lnTo>
                      <a:pt x="264" y="0"/>
                    </a:lnTo>
                    <a:lnTo>
                      <a:pt x="270" y="0"/>
                    </a:lnTo>
                    <a:lnTo>
                      <a:pt x="276" y="0"/>
                    </a:lnTo>
                    <a:lnTo>
                      <a:pt x="282" y="0"/>
                    </a:lnTo>
                    <a:lnTo>
                      <a:pt x="276" y="0"/>
                    </a:lnTo>
                    <a:lnTo>
                      <a:pt x="282" y="0"/>
                    </a:lnTo>
                    <a:lnTo>
                      <a:pt x="288" y="0"/>
                    </a:lnTo>
                    <a:lnTo>
                      <a:pt x="294" y="0"/>
                    </a:lnTo>
                    <a:lnTo>
                      <a:pt x="288" y="0"/>
                    </a:lnTo>
                    <a:lnTo>
                      <a:pt x="288" y="6"/>
                    </a:lnTo>
                    <a:lnTo>
                      <a:pt x="294" y="6"/>
                    </a:lnTo>
                    <a:lnTo>
                      <a:pt x="294" y="12"/>
                    </a:lnTo>
                    <a:lnTo>
                      <a:pt x="294" y="18"/>
                    </a:lnTo>
                    <a:lnTo>
                      <a:pt x="300" y="18"/>
                    </a:lnTo>
                    <a:lnTo>
                      <a:pt x="300" y="24"/>
                    </a:lnTo>
                    <a:lnTo>
                      <a:pt x="306" y="30"/>
                    </a:lnTo>
                    <a:lnTo>
                      <a:pt x="306" y="36"/>
                    </a:lnTo>
                    <a:lnTo>
                      <a:pt x="312" y="36"/>
                    </a:lnTo>
                    <a:lnTo>
                      <a:pt x="312" y="42"/>
                    </a:lnTo>
                    <a:lnTo>
                      <a:pt x="318" y="48"/>
                    </a:lnTo>
                    <a:lnTo>
                      <a:pt x="318" y="54"/>
                    </a:lnTo>
                    <a:lnTo>
                      <a:pt x="324" y="60"/>
                    </a:lnTo>
                    <a:lnTo>
                      <a:pt x="330" y="66"/>
                    </a:lnTo>
                    <a:lnTo>
                      <a:pt x="330" y="72"/>
                    </a:lnTo>
                    <a:lnTo>
                      <a:pt x="330" y="78"/>
                    </a:lnTo>
                    <a:lnTo>
                      <a:pt x="336" y="78"/>
                    </a:lnTo>
                    <a:lnTo>
                      <a:pt x="336" y="84"/>
                    </a:lnTo>
                    <a:lnTo>
                      <a:pt x="336" y="90"/>
                    </a:lnTo>
                    <a:lnTo>
                      <a:pt x="336" y="96"/>
                    </a:lnTo>
                    <a:lnTo>
                      <a:pt x="342" y="96"/>
                    </a:lnTo>
                    <a:lnTo>
                      <a:pt x="342" y="102"/>
                    </a:lnTo>
                    <a:lnTo>
                      <a:pt x="348" y="102"/>
                    </a:lnTo>
                    <a:lnTo>
                      <a:pt x="354" y="108"/>
                    </a:lnTo>
                    <a:lnTo>
                      <a:pt x="348" y="108"/>
                    </a:lnTo>
                    <a:lnTo>
                      <a:pt x="354" y="108"/>
                    </a:lnTo>
                    <a:lnTo>
                      <a:pt x="354" y="114"/>
                    </a:lnTo>
                    <a:lnTo>
                      <a:pt x="360" y="114"/>
                    </a:lnTo>
                    <a:lnTo>
                      <a:pt x="366" y="114"/>
                    </a:lnTo>
                    <a:lnTo>
                      <a:pt x="366" y="120"/>
                    </a:lnTo>
                    <a:lnTo>
                      <a:pt x="372" y="120"/>
                    </a:lnTo>
                    <a:lnTo>
                      <a:pt x="372" y="126"/>
                    </a:lnTo>
                    <a:lnTo>
                      <a:pt x="378" y="126"/>
                    </a:lnTo>
                    <a:lnTo>
                      <a:pt x="384" y="126"/>
                    </a:lnTo>
                    <a:lnTo>
                      <a:pt x="384" y="132"/>
                    </a:lnTo>
                    <a:lnTo>
                      <a:pt x="390" y="132"/>
                    </a:lnTo>
                    <a:lnTo>
                      <a:pt x="396" y="132"/>
                    </a:lnTo>
                    <a:lnTo>
                      <a:pt x="402" y="132"/>
                    </a:lnTo>
                    <a:lnTo>
                      <a:pt x="402" y="138"/>
                    </a:lnTo>
                    <a:lnTo>
                      <a:pt x="402" y="144"/>
                    </a:lnTo>
                    <a:lnTo>
                      <a:pt x="402" y="150"/>
                    </a:lnTo>
                    <a:lnTo>
                      <a:pt x="402" y="156"/>
                    </a:lnTo>
                    <a:lnTo>
                      <a:pt x="408" y="156"/>
                    </a:lnTo>
                    <a:lnTo>
                      <a:pt x="414" y="156"/>
                    </a:lnTo>
                    <a:lnTo>
                      <a:pt x="420" y="156"/>
                    </a:lnTo>
                    <a:lnTo>
                      <a:pt x="426" y="156"/>
                    </a:lnTo>
                    <a:lnTo>
                      <a:pt x="426" y="162"/>
                    </a:lnTo>
                    <a:lnTo>
                      <a:pt x="426" y="168"/>
                    </a:lnTo>
                    <a:lnTo>
                      <a:pt x="426" y="174"/>
                    </a:lnTo>
                    <a:lnTo>
                      <a:pt x="426" y="180"/>
                    </a:lnTo>
                    <a:lnTo>
                      <a:pt x="426" y="186"/>
                    </a:lnTo>
                    <a:lnTo>
                      <a:pt x="426" y="192"/>
                    </a:lnTo>
                    <a:lnTo>
                      <a:pt x="426" y="198"/>
                    </a:lnTo>
                    <a:lnTo>
                      <a:pt x="432" y="198"/>
                    </a:lnTo>
                    <a:lnTo>
                      <a:pt x="432" y="204"/>
                    </a:lnTo>
                    <a:lnTo>
                      <a:pt x="438" y="204"/>
                    </a:lnTo>
                    <a:lnTo>
                      <a:pt x="438" y="210"/>
                    </a:lnTo>
                    <a:lnTo>
                      <a:pt x="438" y="216"/>
                    </a:lnTo>
                    <a:lnTo>
                      <a:pt x="444" y="216"/>
                    </a:lnTo>
                    <a:lnTo>
                      <a:pt x="438" y="216"/>
                    </a:lnTo>
                    <a:lnTo>
                      <a:pt x="444" y="216"/>
                    </a:lnTo>
                    <a:lnTo>
                      <a:pt x="444" y="222"/>
                    </a:lnTo>
                    <a:lnTo>
                      <a:pt x="450" y="222"/>
                    </a:lnTo>
                    <a:lnTo>
                      <a:pt x="456" y="222"/>
                    </a:lnTo>
                    <a:lnTo>
                      <a:pt x="462" y="222"/>
                    </a:lnTo>
                    <a:lnTo>
                      <a:pt x="468" y="228"/>
                    </a:lnTo>
                    <a:lnTo>
                      <a:pt x="474" y="228"/>
                    </a:lnTo>
                    <a:lnTo>
                      <a:pt x="480" y="228"/>
                    </a:lnTo>
                    <a:lnTo>
                      <a:pt x="486" y="228"/>
                    </a:lnTo>
                    <a:lnTo>
                      <a:pt x="486" y="234"/>
                    </a:lnTo>
                    <a:lnTo>
                      <a:pt x="492" y="234"/>
                    </a:lnTo>
                    <a:lnTo>
                      <a:pt x="498" y="234"/>
                    </a:lnTo>
                    <a:lnTo>
                      <a:pt x="504" y="234"/>
                    </a:lnTo>
                    <a:lnTo>
                      <a:pt x="504" y="240"/>
                    </a:lnTo>
                    <a:lnTo>
                      <a:pt x="498" y="240"/>
                    </a:lnTo>
                    <a:lnTo>
                      <a:pt x="498" y="246"/>
                    </a:lnTo>
                    <a:lnTo>
                      <a:pt x="504" y="246"/>
                    </a:lnTo>
                    <a:lnTo>
                      <a:pt x="504" y="252"/>
                    </a:lnTo>
                    <a:lnTo>
                      <a:pt x="510" y="252"/>
                    </a:lnTo>
                    <a:lnTo>
                      <a:pt x="516" y="252"/>
                    </a:lnTo>
                    <a:lnTo>
                      <a:pt x="516" y="258"/>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2" name="Freeform 53"/>
              <p:cNvSpPr>
                <a:spLocks/>
              </p:cNvSpPr>
              <p:nvPr>
                <p:custDataLst>
                  <p:tags r:id="rId49"/>
                </p:custDataLst>
              </p:nvPr>
            </p:nvSpPr>
            <p:spPr bwMode="gray">
              <a:xfrm>
                <a:off x="3757581" y="3175485"/>
                <a:ext cx="551424" cy="465564"/>
              </a:xfrm>
              <a:custGeom>
                <a:avLst/>
                <a:gdLst>
                  <a:gd name="T0" fmla="*/ 115139 w 438"/>
                  <a:gd name="T1" fmla="*/ 138570 h 396"/>
                  <a:gd name="T2" fmla="*/ 106431 w 438"/>
                  <a:gd name="T3" fmla="*/ 138570 h 396"/>
                  <a:gd name="T4" fmla="*/ 101594 w 438"/>
                  <a:gd name="T5" fmla="*/ 140508 h 396"/>
                  <a:gd name="T6" fmla="*/ 93853 w 438"/>
                  <a:gd name="T7" fmla="*/ 138570 h 396"/>
                  <a:gd name="T8" fmla="*/ 85146 w 438"/>
                  <a:gd name="T9" fmla="*/ 136632 h 396"/>
                  <a:gd name="T10" fmla="*/ 76437 w 438"/>
                  <a:gd name="T11" fmla="*/ 134694 h 396"/>
                  <a:gd name="T12" fmla="*/ 76437 w 438"/>
                  <a:gd name="T13" fmla="*/ 127910 h 396"/>
                  <a:gd name="T14" fmla="*/ 67729 w 438"/>
                  <a:gd name="T15" fmla="*/ 125973 h 396"/>
                  <a:gd name="T16" fmla="*/ 57086 w 438"/>
                  <a:gd name="T17" fmla="*/ 124035 h 396"/>
                  <a:gd name="T18" fmla="*/ 53216 w 438"/>
                  <a:gd name="T19" fmla="*/ 121127 h 396"/>
                  <a:gd name="T20" fmla="*/ 48378 w 438"/>
                  <a:gd name="T21" fmla="*/ 115313 h 396"/>
                  <a:gd name="T22" fmla="*/ 48378 w 438"/>
                  <a:gd name="T23" fmla="*/ 104654 h 396"/>
                  <a:gd name="T24" fmla="*/ 42573 w 438"/>
                  <a:gd name="T25" fmla="*/ 100778 h 396"/>
                  <a:gd name="T26" fmla="*/ 40638 w 438"/>
                  <a:gd name="T27" fmla="*/ 92057 h 396"/>
                  <a:gd name="T28" fmla="*/ 31929 w 438"/>
                  <a:gd name="T29" fmla="*/ 90119 h 396"/>
                  <a:gd name="T30" fmla="*/ 26124 w 438"/>
                  <a:gd name="T31" fmla="*/ 85274 h 396"/>
                  <a:gd name="T32" fmla="*/ 21286 w 438"/>
                  <a:gd name="T33" fmla="*/ 81397 h 396"/>
                  <a:gd name="T34" fmla="*/ 17416 w 438"/>
                  <a:gd name="T35" fmla="*/ 74615 h 396"/>
                  <a:gd name="T36" fmla="*/ 12578 w 438"/>
                  <a:gd name="T37" fmla="*/ 65893 h 396"/>
                  <a:gd name="T38" fmla="*/ 6773 w 438"/>
                  <a:gd name="T39" fmla="*/ 57172 h 396"/>
                  <a:gd name="T40" fmla="*/ 1935 w 438"/>
                  <a:gd name="T41" fmla="*/ 49420 h 396"/>
                  <a:gd name="T42" fmla="*/ 3871 w 438"/>
                  <a:gd name="T43" fmla="*/ 44575 h 396"/>
                  <a:gd name="T44" fmla="*/ 12578 w 438"/>
                  <a:gd name="T45" fmla="*/ 46513 h 396"/>
                  <a:gd name="T46" fmla="*/ 17416 w 438"/>
                  <a:gd name="T47" fmla="*/ 49420 h 396"/>
                  <a:gd name="T48" fmla="*/ 26124 w 438"/>
                  <a:gd name="T49" fmla="*/ 46513 h 396"/>
                  <a:gd name="T50" fmla="*/ 29994 w 438"/>
                  <a:gd name="T51" fmla="*/ 49420 h 396"/>
                  <a:gd name="T52" fmla="*/ 37735 w 438"/>
                  <a:gd name="T53" fmla="*/ 44575 h 396"/>
                  <a:gd name="T54" fmla="*/ 42573 w 438"/>
                  <a:gd name="T55" fmla="*/ 37792 h 396"/>
                  <a:gd name="T56" fmla="*/ 46443 w 438"/>
                  <a:gd name="T57" fmla="*/ 31978 h 396"/>
                  <a:gd name="T58" fmla="*/ 53216 w 438"/>
                  <a:gd name="T59" fmla="*/ 26164 h 396"/>
                  <a:gd name="T60" fmla="*/ 59989 w 438"/>
                  <a:gd name="T61" fmla="*/ 21319 h 396"/>
                  <a:gd name="T62" fmla="*/ 67729 w 438"/>
                  <a:gd name="T63" fmla="*/ 19380 h 396"/>
                  <a:gd name="T64" fmla="*/ 71599 w 438"/>
                  <a:gd name="T65" fmla="*/ 12597 h 396"/>
                  <a:gd name="T66" fmla="*/ 76437 w 438"/>
                  <a:gd name="T67" fmla="*/ 3876 h 396"/>
                  <a:gd name="T68" fmla="*/ 85146 w 438"/>
                  <a:gd name="T69" fmla="*/ 0 h 396"/>
                  <a:gd name="T70" fmla="*/ 95788 w 438"/>
                  <a:gd name="T71" fmla="*/ 0 h 396"/>
                  <a:gd name="T72" fmla="*/ 101594 w 438"/>
                  <a:gd name="T73" fmla="*/ 3876 h 396"/>
                  <a:gd name="T74" fmla="*/ 110302 w 438"/>
                  <a:gd name="T75" fmla="*/ 6783 h 396"/>
                  <a:gd name="T76" fmla="*/ 117075 w 438"/>
                  <a:gd name="T77" fmla="*/ 6783 h 396"/>
                  <a:gd name="T78" fmla="*/ 123848 w 438"/>
                  <a:gd name="T79" fmla="*/ 10659 h 396"/>
                  <a:gd name="T80" fmla="*/ 131588 w 438"/>
                  <a:gd name="T81" fmla="*/ 12597 h 396"/>
                  <a:gd name="T82" fmla="*/ 138361 w 438"/>
                  <a:gd name="T83" fmla="*/ 17442 h 396"/>
                  <a:gd name="T84" fmla="*/ 149004 w 438"/>
                  <a:gd name="T85" fmla="*/ 19380 h 396"/>
                  <a:gd name="T86" fmla="*/ 152875 w 438"/>
                  <a:gd name="T87" fmla="*/ 21319 h 396"/>
                  <a:gd name="T88" fmla="*/ 152875 w 438"/>
                  <a:gd name="T89" fmla="*/ 30039 h 396"/>
                  <a:gd name="T90" fmla="*/ 152875 w 438"/>
                  <a:gd name="T91" fmla="*/ 36823 h 396"/>
                  <a:gd name="T92" fmla="*/ 152875 w 438"/>
                  <a:gd name="T93" fmla="*/ 42637 h 396"/>
                  <a:gd name="T94" fmla="*/ 152875 w 438"/>
                  <a:gd name="T95" fmla="*/ 53296 h 396"/>
                  <a:gd name="T96" fmla="*/ 152875 w 438"/>
                  <a:gd name="T97" fmla="*/ 57172 h 396"/>
                  <a:gd name="T98" fmla="*/ 152875 w 438"/>
                  <a:gd name="T99" fmla="*/ 63955 h 396"/>
                  <a:gd name="T100" fmla="*/ 149004 w 438"/>
                  <a:gd name="T101" fmla="*/ 65893 h 396"/>
                  <a:gd name="T102" fmla="*/ 149004 w 438"/>
                  <a:gd name="T103" fmla="*/ 70738 h 396"/>
                  <a:gd name="T104" fmla="*/ 149004 w 438"/>
                  <a:gd name="T105" fmla="*/ 76552 h 396"/>
                  <a:gd name="T106" fmla="*/ 152875 w 438"/>
                  <a:gd name="T107" fmla="*/ 83336 h 396"/>
                  <a:gd name="T108" fmla="*/ 152875 w 438"/>
                  <a:gd name="T109" fmla="*/ 92057 h 396"/>
                  <a:gd name="T110" fmla="*/ 150939 w 438"/>
                  <a:gd name="T111" fmla="*/ 95933 h 396"/>
                  <a:gd name="T112" fmla="*/ 142231 w 438"/>
                  <a:gd name="T113" fmla="*/ 104654 h 396"/>
                  <a:gd name="T114" fmla="*/ 142231 w 438"/>
                  <a:gd name="T115" fmla="*/ 113376 h 396"/>
                  <a:gd name="T116" fmla="*/ 142231 w 438"/>
                  <a:gd name="T117" fmla="*/ 120159 h 396"/>
                  <a:gd name="T118" fmla="*/ 123848 w 438"/>
                  <a:gd name="T119" fmla="*/ 138570 h 3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396">
                    <a:moveTo>
                      <a:pt x="342" y="396"/>
                    </a:moveTo>
                    <a:lnTo>
                      <a:pt x="336" y="396"/>
                    </a:lnTo>
                    <a:lnTo>
                      <a:pt x="330" y="396"/>
                    </a:lnTo>
                    <a:lnTo>
                      <a:pt x="324" y="396"/>
                    </a:lnTo>
                    <a:lnTo>
                      <a:pt x="324" y="390"/>
                    </a:lnTo>
                    <a:lnTo>
                      <a:pt x="324" y="396"/>
                    </a:lnTo>
                    <a:lnTo>
                      <a:pt x="318" y="390"/>
                    </a:lnTo>
                    <a:lnTo>
                      <a:pt x="312" y="390"/>
                    </a:lnTo>
                    <a:lnTo>
                      <a:pt x="306" y="390"/>
                    </a:lnTo>
                    <a:lnTo>
                      <a:pt x="300" y="390"/>
                    </a:lnTo>
                    <a:lnTo>
                      <a:pt x="300" y="396"/>
                    </a:lnTo>
                    <a:lnTo>
                      <a:pt x="300" y="390"/>
                    </a:lnTo>
                    <a:lnTo>
                      <a:pt x="294" y="390"/>
                    </a:lnTo>
                    <a:lnTo>
                      <a:pt x="294" y="396"/>
                    </a:lnTo>
                    <a:lnTo>
                      <a:pt x="288" y="396"/>
                    </a:lnTo>
                    <a:lnTo>
                      <a:pt x="282" y="396"/>
                    </a:lnTo>
                    <a:lnTo>
                      <a:pt x="282" y="390"/>
                    </a:lnTo>
                    <a:lnTo>
                      <a:pt x="276" y="390"/>
                    </a:lnTo>
                    <a:lnTo>
                      <a:pt x="270" y="390"/>
                    </a:lnTo>
                    <a:lnTo>
                      <a:pt x="264" y="390"/>
                    </a:lnTo>
                    <a:lnTo>
                      <a:pt x="264" y="384"/>
                    </a:lnTo>
                    <a:lnTo>
                      <a:pt x="258" y="384"/>
                    </a:lnTo>
                    <a:lnTo>
                      <a:pt x="252" y="384"/>
                    </a:lnTo>
                    <a:lnTo>
                      <a:pt x="246" y="384"/>
                    </a:lnTo>
                    <a:lnTo>
                      <a:pt x="240" y="384"/>
                    </a:lnTo>
                    <a:lnTo>
                      <a:pt x="234" y="384"/>
                    </a:lnTo>
                    <a:lnTo>
                      <a:pt x="228" y="384"/>
                    </a:lnTo>
                    <a:lnTo>
                      <a:pt x="228" y="378"/>
                    </a:lnTo>
                    <a:lnTo>
                      <a:pt x="222" y="378"/>
                    </a:lnTo>
                    <a:lnTo>
                      <a:pt x="216" y="378"/>
                    </a:lnTo>
                    <a:lnTo>
                      <a:pt x="216" y="372"/>
                    </a:lnTo>
                    <a:lnTo>
                      <a:pt x="210" y="372"/>
                    </a:lnTo>
                    <a:lnTo>
                      <a:pt x="210" y="366"/>
                    </a:lnTo>
                    <a:lnTo>
                      <a:pt x="216" y="366"/>
                    </a:lnTo>
                    <a:lnTo>
                      <a:pt x="216" y="360"/>
                    </a:lnTo>
                    <a:lnTo>
                      <a:pt x="210" y="360"/>
                    </a:lnTo>
                    <a:lnTo>
                      <a:pt x="204" y="360"/>
                    </a:lnTo>
                    <a:lnTo>
                      <a:pt x="198" y="360"/>
                    </a:lnTo>
                    <a:lnTo>
                      <a:pt x="198" y="354"/>
                    </a:lnTo>
                    <a:lnTo>
                      <a:pt x="192" y="354"/>
                    </a:lnTo>
                    <a:lnTo>
                      <a:pt x="186" y="354"/>
                    </a:lnTo>
                    <a:lnTo>
                      <a:pt x="180" y="354"/>
                    </a:lnTo>
                    <a:lnTo>
                      <a:pt x="174" y="348"/>
                    </a:lnTo>
                    <a:lnTo>
                      <a:pt x="168" y="348"/>
                    </a:lnTo>
                    <a:lnTo>
                      <a:pt x="162" y="348"/>
                    </a:lnTo>
                    <a:lnTo>
                      <a:pt x="156" y="348"/>
                    </a:lnTo>
                    <a:lnTo>
                      <a:pt x="156" y="342"/>
                    </a:lnTo>
                    <a:lnTo>
                      <a:pt x="150" y="342"/>
                    </a:lnTo>
                    <a:lnTo>
                      <a:pt x="156" y="342"/>
                    </a:lnTo>
                    <a:lnTo>
                      <a:pt x="150" y="342"/>
                    </a:lnTo>
                    <a:lnTo>
                      <a:pt x="150" y="336"/>
                    </a:lnTo>
                    <a:lnTo>
                      <a:pt x="150" y="330"/>
                    </a:lnTo>
                    <a:lnTo>
                      <a:pt x="144" y="330"/>
                    </a:lnTo>
                    <a:lnTo>
                      <a:pt x="144" y="324"/>
                    </a:lnTo>
                    <a:lnTo>
                      <a:pt x="138" y="324"/>
                    </a:lnTo>
                    <a:lnTo>
                      <a:pt x="138" y="318"/>
                    </a:lnTo>
                    <a:lnTo>
                      <a:pt x="138" y="312"/>
                    </a:lnTo>
                    <a:lnTo>
                      <a:pt x="138" y="306"/>
                    </a:lnTo>
                    <a:lnTo>
                      <a:pt x="138" y="300"/>
                    </a:lnTo>
                    <a:lnTo>
                      <a:pt x="138" y="294"/>
                    </a:lnTo>
                    <a:lnTo>
                      <a:pt x="138" y="288"/>
                    </a:lnTo>
                    <a:lnTo>
                      <a:pt x="138" y="282"/>
                    </a:lnTo>
                    <a:lnTo>
                      <a:pt x="132" y="282"/>
                    </a:lnTo>
                    <a:lnTo>
                      <a:pt x="126" y="282"/>
                    </a:lnTo>
                    <a:lnTo>
                      <a:pt x="120" y="282"/>
                    </a:lnTo>
                    <a:lnTo>
                      <a:pt x="114" y="282"/>
                    </a:lnTo>
                    <a:lnTo>
                      <a:pt x="114" y="276"/>
                    </a:lnTo>
                    <a:lnTo>
                      <a:pt x="114" y="270"/>
                    </a:lnTo>
                    <a:lnTo>
                      <a:pt x="114" y="264"/>
                    </a:lnTo>
                    <a:lnTo>
                      <a:pt x="114" y="258"/>
                    </a:lnTo>
                    <a:lnTo>
                      <a:pt x="108" y="258"/>
                    </a:lnTo>
                    <a:lnTo>
                      <a:pt x="102" y="258"/>
                    </a:lnTo>
                    <a:lnTo>
                      <a:pt x="96" y="258"/>
                    </a:lnTo>
                    <a:lnTo>
                      <a:pt x="96" y="252"/>
                    </a:lnTo>
                    <a:lnTo>
                      <a:pt x="90" y="252"/>
                    </a:lnTo>
                    <a:lnTo>
                      <a:pt x="84" y="252"/>
                    </a:lnTo>
                    <a:lnTo>
                      <a:pt x="84" y="246"/>
                    </a:lnTo>
                    <a:lnTo>
                      <a:pt x="78" y="246"/>
                    </a:lnTo>
                    <a:lnTo>
                      <a:pt x="78" y="240"/>
                    </a:lnTo>
                    <a:lnTo>
                      <a:pt x="72" y="240"/>
                    </a:lnTo>
                    <a:lnTo>
                      <a:pt x="66" y="240"/>
                    </a:lnTo>
                    <a:lnTo>
                      <a:pt x="66" y="234"/>
                    </a:lnTo>
                    <a:lnTo>
                      <a:pt x="60" y="234"/>
                    </a:lnTo>
                    <a:lnTo>
                      <a:pt x="66" y="234"/>
                    </a:lnTo>
                    <a:lnTo>
                      <a:pt x="60" y="228"/>
                    </a:lnTo>
                    <a:lnTo>
                      <a:pt x="54" y="228"/>
                    </a:lnTo>
                    <a:lnTo>
                      <a:pt x="54" y="222"/>
                    </a:lnTo>
                    <a:lnTo>
                      <a:pt x="48" y="222"/>
                    </a:lnTo>
                    <a:lnTo>
                      <a:pt x="48" y="216"/>
                    </a:lnTo>
                    <a:lnTo>
                      <a:pt x="48" y="210"/>
                    </a:lnTo>
                    <a:lnTo>
                      <a:pt x="48" y="204"/>
                    </a:lnTo>
                    <a:lnTo>
                      <a:pt x="42" y="204"/>
                    </a:lnTo>
                    <a:lnTo>
                      <a:pt x="42" y="198"/>
                    </a:lnTo>
                    <a:lnTo>
                      <a:pt x="42" y="192"/>
                    </a:lnTo>
                    <a:lnTo>
                      <a:pt x="36" y="186"/>
                    </a:lnTo>
                    <a:lnTo>
                      <a:pt x="30" y="180"/>
                    </a:lnTo>
                    <a:lnTo>
                      <a:pt x="30" y="174"/>
                    </a:lnTo>
                    <a:lnTo>
                      <a:pt x="24" y="168"/>
                    </a:lnTo>
                    <a:lnTo>
                      <a:pt x="24" y="162"/>
                    </a:lnTo>
                    <a:lnTo>
                      <a:pt x="18" y="162"/>
                    </a:lnTo>
                    <a:lnTo>
                      <a:pt x="18" y="156"/>
                    </a:lnTo>
                    <a:lnTo>
                      <a:pt x="12" y="150"/>
                    </a:lnTo>
                    <a:lnTo>
                      <a:pt x="12" y="144"/>
                    </a:lnTo>
                    <a:lnTo>
                      <a:pt x="6" y="144"/>
                    </a:lnTo>
                    <a:lnTo>
                      <a:pt x="6" y="138"/>
                    </a:lnTo>
                    <a:lnTo>
                      <a:pt x="6" y="132"/>
                    </a:lnTo>
                    <a:lnTo>
                      <a:pt x="0" y="132"/>
                    </a:lnTo>
                    <a:lnTo>
                      <a:pt x="0" y="126"/>
                    </a:lnTo>
                    <a:lnTo>
                      <a:pt x="6" y="126"/>
                    </a:lnTo>
                    <a:lnTo>
                      <a:pt x="12" y="126"/>
                    </a:lnTo>
                    <a:lnTo>
                      <a:pt x="18" y="126"/>
                    </a:lnTo>
                    <a:lnTo>
                      <a:pt x="24" y="126"/>
                    </a:lnTo>
                    <a:lnTo>
                      <a:pt x="30" y="126"/>
                    </a:lnTo>
                    <a:lnTo>
                      <a:pt x="30" y="132"/>
                    </a:lnTo>
                    <a:lnTo>
                      <a:pt x="36" y="132"/>
                    </a:lnTo>
                    <a:lnTo>
                      <a:pt x="36" y="138"/>
                    </a:lnTo>
                    <a:lnTo>
                      <a:pt x="42" y="138"/>
                    </a:lnTo>
                    <a:lnTo>
                      <a:pt x="48" y="138"/>
                    </a:lnTo>
                    <a:lnTo>
                      <a:pt x="48" y="132"/>
                    </a:lnTo>
                    <a:lnTo>
                      <a:pt x="48" y="138"/>
                    </a:lnTo>
                    <a:lnTo>
                      <a:pt x="48" y="132"/>
                    </a:lnTo>
                    <a:lnTo>
                      <a:pt x="54" y="132"/>
                    </a:lnTo>
                    <a:lnTo>
                      <a:pt x="60" y="132"/>
                    </a:lnTo>
                    <a:lnTo>
                      <a:pt x="66" y="132"/>
                    </a:lnTo>
                    <a:lnTo>
                      <a:pt x="72" y="132"/>
                    </a:lnTo>
                    <a:lnTo>
                      <a:pt x="72" y="138"/>
                    </a:lnTo>
                    <a:lnTo>
                      <a:pt x="78" y="138"/>
                    </a:lnTo>
                    <a:lnTo>
                      <a:pt x="84" y="138"/>
                    </a:lnTo>
                    <a:lnTo>
                      <a:pt x="84" y="144"/>
                    </a:lnTo>
                    <a:lnTo>
                      <a:pt x="84" y="138"/>
                    </a:lnTo>
                    <a:lnTo>
                      <a:pt x="90" y="138"/>
                    </a:lnTo>
                    <a:lnTo>
                      <a:pt x="96" y="138"/>
                    </a:lnTo>
                    <a:lnTo>
                      <a:pt x="96" y="132"/>
                    </a:lnTo>
                    <a:lnTo>
                      <a:pt x="102" y="132"/>
                    </a:lnTo>
                    <a:lnTo>
                      <a:pt x="108" y="126"/>
                    </a:lnTo>
                    <a:lnTo>
                      <a:pt x="108" y="120"/>
                    </a:lnTo>
                    <a:lnTo>
                      <a:pt x="114" y="120"/>
                    </a:lnTo>
                    <a:lnTo>
                      <a:pt x="114" y="114"/>
                    </a:lnTo>
                    <a:lnTo>
                      <a:pt x="120" y="114"/>
                    </a:lnTo>
                    <a:lnTo>
                      <a:pt x="120" y="108"/>
                    </a:lnTo>
                    <a:lnTo>
                      <a:pt x="126" y="108"/>
                    </a:lnTo>
                    <a:lnTo>
                      <a:pt x="126" y="102"/>
                    </a:lnTo>
                    <a:lnTo>
                      <a:pt x="132" y="102"/>
                    </a:lnTo>
                    <a:lnTo>
                      <a:pt x="132" y="96"/>
                    </a:lnTo>
                    <a:lnTo>
                      <a:pt x="132" y="90"/>
                    </a:lnTo>
                    <a:lnTo>
                      <a:pt x="138" y="90"/>
                    </a:lnTo>
                    <a:lnTo>
                      <a:pt x="138" y="84"/>
                    </a:lnTo>
                    <a:lnTo>
                      <a:pt x="144" y="84"/>
                    </a:lnTo>
                    <a:lnTo>
                      <a:pt x="144" y="78"/>
                    </a:lnTo>
                    <a:lnTo>
                      <a:pt x="150" y="72"/>
                    </a:lnTo>
                    <a:lnTo>
                      <a:pt x="156" y="72"/>
                    </a:lnTo>
                    <a:lnTo>
                      <a:pt x="162" y="72"/>
                    </a:lnTo>
                    <a:lnTo>
                      <a:pt x="162" y="66"/>
                    </a:lnTo>
                    <a:lnTo>
                      <a:pt x="168" y="66"/>
                    </a:lnTo>
                    <a:lnTo>
                      <a:pt x="168" y="60"/>
                    </a:lnTo>
                    <a:lnTo>
                      <a:pt x="174" y="60"/>
                    </a:lnTo>
                    <a:lnTo>
                      <a:pt x="180" y="60"/>
                    </a:lnTo>
                    <a:lnTo>
                      <a:pt x="180" y="54"/>
                    </a:lnTo>
                    <a:lnTo>
                      <a:pt x="186" y="54"/>
                    </a:lnTo>
                    <a:lnTo>
                      <a:pt x="192" y="54"/>
                    </a:lnTo>
                    <a:lnTo>
                      <a:pt x="198" y="54"/>
                    </a:lnTo>
                    <a:lnTo>
                      <a:pt x="198" y="48"/>
                    </a:lnTo>
                    <a:lnTo>
                      <a:pt x="204" y="42"/>
                    </a:lnTo>
                    <a:lnTo>
                      <a:pt x="198" y="36"/>
                    </a:lnTo>
                    <a:lnTo>
                      <a:pt x="204" y="36"/>
                    </a:lnTo>
                    <a:lnTo>
                      <a:pt x="204" y="30"/>
                    </a:lnTo>
                    <a:lnTo>
                      <a:pt x="204" y="24"/>
                    </a:lnTo>
                    <a:lnTo>
                      <a:pt x="204" y="18"/>
                    </a:lnTo>
                    <a:lnTo>
                      <a:pt x="210" y="18"/>
                    </a:lnTo>
                    <a:lnTo>
                      <a:pt x="216" y="12"/>
                    </a:lnTo>
                    <a:lnTo>
                      <a:pt x="222" y="6"/>
                    </a:lnTo>
                    <a:lnTo>
                      <a:pt x="228" y="6"/>
                    </a:lnTo>
                    <a:lnTo>
                      <a:pt x="234" y="6"/>
                    </a:lnTo>
                    <a:lnTo>
                      <a:pt x="234" y="0"/>
                    </a:lnTo>
                    <a:lnTo>
                      <a:pt x="240" y="0"/>
                    </a:lnTo>
                    <a:lnTo>
                      <a:pt x="246" y="0"/>
                    </a:lnTo>
                    <a:lnTo>
                      <a:pt x="252" y="0"/>
                    </a:lnTo>
                    <a:lnTo>
                      <a:pt x="258" y="0"/>
                    </a:lnTo>
                    <a:lnTo>
                      <a:pt x="264" y="0"/>
                    </a:lnTo>
                    <a:lnTo>
                      <a:pt x="270" y="0"/>
                    </a:lnTo>
                    <a:lnTo>
                      <a:pt x="276" y="0"/>
                    </a:lnTo>
                    <a:lnTo>
                      <a:pt x="282" y="0"/>
                    </a:lnTo>
                    <a:lnTo>
                      <a:pt x="288" y="0"/>
                    </a:lnTo>
                    <a:lnTo>
                      <a:pt x="288" y="6"/>
                    </a:lnTo>
                    <a:lnTo>
                      <a:pt x="288" y="12"/>
                    </a:lnTo>
                    <a:lnTo>
                      <a:pt x="288" y="18"/>
                    </a:lnTo>
                    <a:lnTo>
                      <a:pt x="294" y="18"/>
                    </a:lnTo>
                    <a:lnTo>
                      <a:pt x="300" y="18"/>
                    </a:lnTo>
                    <a:lnTo>
                      <a:pt x="306" y="18"/>
                    </a:lnTo>
                    <a:lnTo>
                      <a:pt x="312" y="18"/>
                    </a:lnTo>
                    <a:lnTo>
                      <a:pt x="318" y="18"/>
                    </a:lnTo>
                    <a:lnTo>
                      <a:pt x="318" y="24"/>
                    </a:lnTo>
                    <a:lnTo>
                      <a:pt x="324" y="24"/>
                    </a:lnTo>
                    <a:lnTo>
                      <a:pt x="324" y="18"/>
                    </a:lnTo>
                    <a:lnTo>
                      <a:pt x="330" y="18"/>
                    </a:lnTo>
                    <a:lnTo>
                      <a:pt x="336" y="18"/>
                    </a:lnTo>
                    <a:lnTo>
                      <a:pt x="336" y="24"/>
                    </a:lnTo>
                    <a:lnTo>
                      <a:pt x="342" y="24"/>
                    </a:lnTo>
                    <a:lnTo>
                      <a:pt x="342" y="30"/>
                    </a:lnTo>
                    <a:lnTo>
                      <a:pt x="348" y="30"/>
                    </a:lnTo>
                    <a:lnTo>
                      <a:pt x="354" y="30"/>
                    </a:lnTo>
                    <a:lnTo>
                      <a:pt x="360" y="30"/>
                    </a:lnTo>
                    <a:lnTo>
                      <a:pt x="360" y="36"/>
                    </a:lnTo>
                    <a:lnTo>
                      <a:pt x="366" y="36"/>
                    </a:lnTo>
                    <a:lnTo>
                      <a:pt x="372" y="36"/>
                    </a:lnTo>
                    <a:lnTo>
                      <a:pt x="372" y="42"/>
                    </a:lnTo>
                    <a:lnTo>
                      <a:pt x="378" y="42"/>
                    </a:lnTo>
                    <a:lnTo>
                      <a:pt x="378" y="48"/>
                    </a:lnTo>
                    <a:lnTo>
                      <a:pt x="384" y="48"/>
                    </a:lnTo>
                    <a:lnTo>
                      <a:pt x="390" y="48"/>
                    </a:lnTo>
                    <a:lnTo>
                      <a:pt x="396" y="48"/>
                    </a:lnTo>
                    <a:lnTo>
                      <a:pt x="402" y="48"/>
                    </a:lnTo>
                    <a:lnTo>
                      <a:pt x="408" y="54"/>
                    </a:lnTo>
                    <a:lnTo>
                      <a:pt x="414" y="54"/>
                    </a:lnTo>
                    <a:lnTo>
                      <a:pt x="420" y="54"/>
                    </a:lnTo>
                    <a:lnTo>
                      <a:pt x="420" y="60"/>
                    </a:lnTo>
                    <a:lnTo>
                      <a:pt x="414" y="60"/>
                    </a:lnTo>
                    <a:lnTo>
                      <a:pt x="420" y="60"/>
                    </a:lnTo>
                    <a:lnTo>
                      <a:pt x="426" y="60"/>
                    </a:lnTo>
                    <a:lnTo>
                      <a:pt x="432" y="60"/>
                    </a:lnTo>
                    <a:lnTo>
                      <a:pt x="432" y="66"/>
                    </a:lnTo>
                    <a:lnTo>
                      <a:pt x="426" y="72"/>
                    </a:lnTo>
                    <a:lnTo>
                      <a:pt x="426" y="78"/>
                    </a:lnTo>
                    <a:lnTo>
                      <a:pt x="432" y="78"/>
                    </a:lnTo>
                    <a:lnTo>
                      <a:pt x="432" y="84"/>
                    </a:lnTo>
                    <a:lnTo>
                      <a:pt x="432" y="90"/>
                    </a:lnTo>
                    <a:lnTo>
                      <a:pt x="432" y="96"/>
                    </a:lnTo>
                    <a:lnTo>
                      <a:pt x="438" y="96"/>
                    </a:lnTo>
                    <a:lnTo>
                      <a:pt x="438" y="102"/>
                    </a:lnTo>
                    <a:lnTo>
                      <a:pt x="432" y="102"/>
                    </a:lnTo>
                    <a:lnTo>
                      <a:pt x="432" y="108"/>
                    </a:lnTo>
                    <a:lnTo>
                      <a:pt x="432" y="114"/>
                    </a:lnTo>
                    <a:lnTo>
                      <a:pt x="438" y="114"/>
                    </a:lnTo>
                    <a:lnTo>
                      <a:pt x="432" y="114"/>
                    </a:lnTo>
                    <a:lnTo>
                      <a:pt x="432" y="120"/>
                    </a:lnTo>
                    <a:lnTo>
                      <a:pt x="432" y="126"/>
                    </a:lnTo>
                    <a:lnTo>
                      <a:pt x="432" y="132"/>
                    </a:lnTo>
                    <a:lnTo>
                      <a:pt x="432" y="138"/>
                    </a:lnTo>
                    <a:lnTo>
                      <a:pt x="432" y="144"/>
                    </a:lnTo>
                    <a:lnTo>
                      <a:pt x="432" y="150"/>
                    </a:lnTo>
                    <a:lnTo>
                      <a:pt x="432" y="156"/>
                    </a:lnTo>
                    <a:lnTo>
                      <a:pt x="438" y="156"/>
                    </a:lnTo>
                    <a:lnTo>
                      <a:pt x="432" y="162"/>
                    </a:lnTo>
                    <a:lnTo>
                      <a:pt x="432" y="168"/>
                    </a:lnTo>
                    <a:lnTo>
                      <a:pt x="432" y="162"/>
                    </a:lnTo>
                    <a:lnTo>
                      <a:pt x="432" y="168"/>
                    </a:lnTo>
                    <a:lnTo>
                      <a:pt x="426" y="168"/>
                    </a:lnTo>
                    <a:lnTo>
                      <a:pt x="426" y="174"/>
                    </a:lnTo>
                    <a:lnTo>
                      <a:pt x="432" y="174"/>
                    </a:lnTo>
                    <a:lnTo>
                      <a:pt x="432" y="180"/>
                    </a:lnTo>
                    <a:lnTo>
                      <a:pt x="426" y="180"/>
                    </a:lnTo>
                    <a:lnTo>
                      <a:pt x="426" y="186"/>
                    </a:lnTo>
                    <a:lnTo>
                      <a:pt x="426" y="180"/>
                    </a:lnTo>
                    <a:lnTo>
                      <a:pt x="420" y="180"/>
                    </a:lnTo>
                    <a:lnTo>
                      <a:pt x="420" y="186"/>
                    </a:lnTo>
                    <a:lnTo>
                      <a:pt x="414" y="186"/>
                    </a:lnTo>
                    <a:lnTo>
                      <a:pt x="420" y="186"/>
                    </a:lnTo>
                    <a:lnTo>
                      <a:pt x="420" y="192"/>
                    </a:lnTo>
                    <a:lnTo>
                      <a:pt x="414" y="192"/>
                    </a:lnTo>
                    <a:lnTo>
                      <a:pt x="420" y="198"/>
                    </a:lnTo>
                    <a:lnTo>
                      <a:pt x="426" y="198"/>
                    </a:lnTo>
                    <a:lnTo>
                      <a:pt x="426" y="204"/>
                    </a:lnTo>
                    <a:lnTo>
                      <a:pt x="426" y="210"/>
                    </a:lnTo>
                    <a:lnTo>
                      <a:pt x="426" y="216"/>
                    </a:lnTo>
                    <a:lnTo>
                      <a:pt x="420" y="216"/>
                    </a:lnTo>
                    <a:lnTo>
                      <a:pt x="420" y="222"/>
                    </a:lnTo>
                    <a:lnTo>
                      <a:pt x="426" y="222"/>
                    </a:lnTo>
                    <a:lnTo>
                      <a:pt x="426" y="228"/>
                    </a:lnTo>
                    <a:lnTo>
                      <a:pt x="426" y="234"/>
                    </a:lnTo>
                    <a:lnTo>
                      <a:pt x="432" y="234"/>
                    </a:lnTo>
                    <a:lnTo>
                      <a:pt x="432" y="240"/>
                    </a:lnTo>
                    <a:lnTo>
                      <a:pt x="438" y="240"/>
                    </a:lnTo>
                    <a:lnTo>
                      <a:pt x="438" y="246"/>
                    </a:lnTo>
                    <a:lnTo>
                      <a:pt x="432" y="252"/>
                    </a:lnTo>
                    <a:lnTo>
                      <a:pt x="432" y="258"/>
                    </a:lnTo>
                    <a:lnTo>
                      <a:pt x="426" y="258"/>
                    </a:lnTo>
                    <a:lnTo>
                      <a:pt x="426" y="264"/>
                    </a:lnTo>
                    <a:lnTo>
                      <a:pt x="426" y="258"/>
                    </a:lnTo>
                    <a:lnTo>
                      <a:pt x="426" y="264"/>
                    </a:lnTo>
                    <a:lnTo>
                      <a:pt x="426" y="270"/>
                    </a:lnTo>
                    <a:lnTo>
                      <a:pt x="420" y="276"/>
                    </a:lnTo>
                    <a:lnTo>
                      <a:pt x="420" y="282"/>
                    </a:lnTo>
                    <a:lnTo>
                      <a:pt x="414" y="288"/>
                    </a:lnTo>
                    <a:lnTo>
                      <a:pt x="408" y="288"/>
                    </a:lnTo>
                    <a:lnTo>
                      <a:pt x="402" y="294"/>
                    </a:lnTo>
                    <a:lnTo>
                      <a:pt x="408" y="294"/>
                    </a:lnTo>
                    <a:lnTo>
                      <a:pt x="408" y="300"/>
                    </a:lnTo>
                    <a:lnTo>
                      <a:pt x="408" y="306"/>
                    </a:lnTo>
                    <a:lnTo>
                      <a:pt x="402" y="312"/>
                    </a:lnTo>
                    <a:lnTo>
                      <a:pt x="402" y="318"/>
                    </a:lnTo>
                    <a:lnTo>
                      <a:pt x="396" y="318"/>
                    </a:lnTo>
                    <a:lnTo>
                      <a:pt x="396" y="324"/>
                    </a:lnTo>
                    <a:lnTo>
                      <a:pt x="402" y="324"/>
                    </a:lnTo>
                    <a:lnTo>
                      <a:pt x="402" y="330"/>
                    </a:lnTo>
                    <a:lnTo>
                      <a:pt x="402" y="336"/>
                    </a:lnTo>
                    <a:lnTo>
                      <a:pt x="402" y="330"/>
                    </a:lnTo>
                    <a:lnTo>
                      <a:pt x="396" y="336"/>
                    </a:lnTo>
                    <a:lnTo>
                      <a:pt x="372" y="366"/>
                    </a:lnTo>
                    <a:lnTo>
                      <a:pt x="354" y="384"/>
                    </a:lnTo>
                    <a:lnTo>
                      <a:pt x="348" y="390"/>
                    </a:lnTo>
                    <a:lnTo>
                      <a:pt x="342" y="39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3" name="Freeform 54"/>
              <p:cNvSpPr>
                <a:spLocks/>
              </p:cNvSpPr>
              <p:nvPr>
                <p:custDataLst>
                  <p:tags r:id="rId50"/>
                </p:custDataLst>
              </p:nvPr>
            </p:nvSpPr>
            <p:spPr bwMode="gray">
              <a:xfrm>
                <a:off x="3530240" y="2673761"/>
                <a:ext cx="823912" cy="670473"/>
              </a:xfrm>
              <a:custGeom>
                <a:avLst/>
                <a:gdLst>
                  <a:gd name="T0" fmla="*/ 149223 w 654"/>
                  <a:gd name="T1" fmla="*/ 151045 h 570"/>
                  <a:gd name="T2" fmla="*/ 136626 w 654"/>
                  <a:gd name="T3" fmla="*/ 161696 h 570"/>
                  <a:gd name="T4" fmla="*/ 127905 w 654"/>
                  <a:gd name="T5" fmla="*/ 172346 h 570"/>
                  <a:gd name="T6" fmla="*/ 115309 w 654"/>
                  <a:gd name="T7" fmla="*/ 181060 h 570"/>
                  <a:gd name="T8" fmla="*/ 106588 w 654"/>
                  <a:gd name="T9" fmla="*/ 191711 h 570"/>
                  <a:gd name="T10" fmla="*/ 93991 w 654"/>
                  <a:gd name="T11" fmla="*/ 199457 h 570"/>
                  <a:gd name="T12" fmla="*/ 81394 w 654"/>
                  <a:gd name="T13" fmla="*/ 198489 h 570"/>
                  <a:gd name="T14" fmla="*/ 72674 w 654"/>
                  <a:gd name="T15" fmla="*/ 195585 h 570"/>
                  <a:gd name="T16" fmla="*/ 62015 w 654"/>
                  <a:gd name="T17" fmla="*/ 191711 h 570"/>
                  <a:gd name="T18" fmla="*/ 46511 w 654"/>
                  <a:gd name="T19" fmla="*/ 189775 h 570"/>
                  <a:gd name="T20" fmla="*/ 21317 w 654"/>
                  <a:gd name="T21" fmla="*/ 184933 h 570"/>
                  <a:gd name="T22" fmla="*/ 10659 w 654"/>
                  <a:gd name="T23" fmla="*/ 176219 h 570"/>
                  <a:gd name="T24" fmla="*/ 1938 w 654"/>
                  <a:gd name="T25" fmla="*/ 165569 h 570"/>
                  <a:gd name="T26" fmla="*/ 0 w 654"/>
                  <a:gd name="T27" fmla="*/ 117157 h 570"/>
                  <a:gd name="T28" fmla="*/ 37791 w 654"/>
                  <a:gd name="T29" fmla="*/ 91014 h 570"/>
                  <a:gd name="T30" fmla="*/ 40697 w 654"/>
                  <a:gd name="T31" fmla="*/ 74555 h 570"/>
                  <a:gd name="T32" fmla="*/ 40697 w 654"/>
                  <a:gd name="T33" fmla="*/ 63904 h 570"/>
                  <a:gd name="T34" fmla="*/ 46511 w 654"/>
                  <a:gd name="T35" fmla="*/ 60031 h 570"/>
                  <a:gd name="T36" fmla="*/ 55232 w 654"/>
                  <a:gd name="T37" fmla="*/ 63904 h 570"/>
                  <a:gd name="T38" fmla="*/ 65891 w 654"/>
                  <a:gd name="T39" fmla="*/ 63904 h 570"/>
                  <a:gd name="T40" fmla="*/ 72674 w 654"/>
                  <a:gd name="T41" fmla="*/ 71650 h 570"/>
                  <a:gd name="T42" fmla="*/ 85271 w 654"/>
                  <a:gd name="T43" fmla="*/ 76491 h 570"/>
                  <a:gd name="T44" fmla="*/ 97867 w 654"/>
                  <a:gd name="T45" fmla="*/ 74555 h 570"/>
                  <a:gd name="T46" fmla="*/ 106588 w 654"/>
                  <a:gd name="T47" fmla="*/ 71650 h 570"/>
                  <a:gd name="T48" fmla="*/ 115309 w 654"/>
                  <a:gd name="T49" fmla="*/ 83269 h 570"/>
                  <a:gd name="T50" fmla="*/ 125967 w 654"/>
                  <a:gd name="T51" fmla="*/ 87141 h 570"/>
                  <a:gd name="T52" fmla="*/ 129843 w 654"/>
                  <a:gd name="T53" fmla="*/ 93919 h 570"/>
                  <a:gd name="T54" fmla="*/ 138564 w 654"/>
                  <a:gd name="T55" fmla="*/ 104570 h 570"/>
                  <a:gd name="T56" fmla="*/ 147285 w 654"/>
                  <a:gd name="T57" fmla="*/ 101665 h 570"/>
                  <a:gd name="T58" fmla="*/ 155037 w 654"/>
                  <a:gd name="T59" fmla="*/ 100696 h 570"/>
                  <a:gd name="T60" fmla="*/ 155037 w 654"/>
                  <a:gd name="T61" fmla="*/ 81332 h 570"/>
                  <a:gd name="T62" fmla="*/ 142440 w 654"/>
                  <a:gd name="T63" fmla="*/ 85205 h 570"/>
                  <a:gd name="T64" fmla="*/ 131781 w 654"/>
                  <a:gd name="T65" fmla="*/ 76491 h 570"/>
                  <a:gd name="T66" fmla="*/ 127905 w 654"/>
                  <a:gd name="T67" fmla="*/ 63904 h 570"/>
                  <a:gd name="T68" fmla="*/ 131781 w 654"/>
                  <a:gd name="T69" fmla="*/ 49380 h 570"/>
                  <a:gd name="T70" fmla="*/ 131781 w 654"/>
                  <a:gd name="T71" fmla="*/ 33889 h 570"/>
                  <a:gd name="T72" fmla="*/ 127905 w 654"/>
                  <a:gd name="T73" fmla="*/ 23238 h 570"/>
                  <a:gd name="T74" fmla="*/ 131781 w 654"/>
                  <a:gd name="T75" fmla="*/ 17428 h 570"/>
                  <a:gd name="T76" fmla="*/ 140502 w 654"/>
                  <a:gd name="T77" fmla="*/ 6778 h 570"/>
                  <a:gd name="T78" fmla="*/ 161820 w 654"/>
                  <a:gd name="T79" fmla="*/ 1936 h 570"/>
                  <a:gd name="T80" fmla="*/ 177323 w 654"/>
                  <a:gd name="T81" fmla="*/ 6778 h 570"/>
                  <a:gd name="T82" fmla="*/ 191858 w 654"/>
                  <a:gd name="T83" fmla="*/ 14523 h 570"/>
                  <a:gd name="T84" fmla="*/ 206392 w 654"/>
                  <a:gd name="T85" fmla="*/ 19365 h 570"/>
                  <a:gd name="T86" fmla="*/ 218020 w 654"/>
                  <a:gd name="T87" fmla="*/ 26143 h 570"/>
                  <a:gd name="T88" fmla="*/ 221897 w 654"/>
                  <a:gd name="T89" fmla="*/ 30016 h 570"/>
                  <a:gd name="T90" fmla="*/ 223834 w 654"/>
                  <a:gd name="T91" fmla="*/ 37761 h 570"/>
                  <a:gd name="T92" fmla="*/ 232555 w 654"/>
                  <a:gd name="T93" fmla="*/ 49380 h 570"/>
                  <a:gd name="T94" fmla="*/ 225772 w 654"/>
                  <a:gd name="T95" fmla="*/ 57126 h 570"/>
                  <a:gd name="T96" fmla="*/ 223834 w 654"/>
                  <a:gd name="T97" fmla="*/ 65840 h 570"/>
                  <a:gd name="T98" fmla="*/ 223834 w 654"/>
                  <a:gd name="T99" fmla="*/ 76491 h 570"/>
                  <a:gd name="T100" fmla="*/ 223834 w 654"/>
                  <a:gd name="T101" fmla="*/ 87141 h 570"/>
                  <a:gd name="T102" fmla="*/ 218020 w 654"/>
                  <a:gd name="T103" fmla="*/ 101665 h 570"/>
                  <a:gd name="T104" fmla="*/ 213175 w 654"/>
                  <a:gd name="T105" fmla="*/ 112316 h 570"/>
                  <a:gd name="T106" fmla="*/ 221897 w 654"/>
                  <a:gd name="T107" fmla="*/ 117157 h 570"/>
                  <a:gd name="T108" fmla="*/ 204455 w 654"/>
                  <a:gd name="T109" fmla="*/ 123935 h 570"/>
                  <a:gd name="T110" fmla="*/ 189920 w 654"/>
                  <a:gd name="T111" fmla="*/ 129744 h 570"/>
                  <a:gd name="T112" fmla="*/ 168603 w 654"/>
                  <a:gd name="T113" fmla="*/ 135553 h 570"/>
                  <a:gd name="T114" fmla="*/ 165695 w 654"/>
                  <a:gd name="T115" fmla="*/ 145236 h 5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54" h="570">
                    <a:moveTo>
                      <a:pt x="468" y="426"/>
                    </a:moveTo>
                    <a:lnTo>
                      <a:pt x="462" y="426"/>
                    </a:lnTo>
                    <a:lnTo>
                      <a:pt x="456" y="426"/>
                    </a:lnTo>
                    <a:lnTo>
                      <a:pt x="450" y="426"/>
                    </a:lnTo>
                    <a:lnTo>
                      <a:pt x="444" y="426"/>
                    </a:lnTo>
                    <a:lnTo>
                      <a:pt x="438" y="426"/>
                    </a:lnTo>
                    <a:lnTo>
                      <a:pt x="432" y="426"/>
                    </a:lnTo>
                    <a:lnTo>
                      <a:pt x="426" y="426"/>
                    </a:lnTo>
                    <a:lnTo>
                      <a:pt x="420" y="426"/>
                    </a:lnTo>
                    <a:lnTo>
                      <a:pt x="414" y="426"/>
                    </a:lnTo>
                    <a:lnTo>
                      <a:pt x="414" y="432"/>
                    </a:lnTo>
                    <a:lnTo>
                      <a:pt x="408" y="432"/>
                    </a:lnTo>
                    <a:lnTo>
                      <a:pt x="402" y="432"/>
                    </a:lnTo>
                    <a:lnTo>
                      <a:pt x="396" y="438"/>
                    </a:lnTo>
                    <a:lnTo>
                      <a:pt x="390" y="444"/>
                    </a:lnTo>
                    <a:lnTo>
                      <a:pt x="384" y="444"/>
                    </a:lnTo>
                    <a:lnTo>
                      <a:pt x="384" y="450"/>
                    </a:lnTo>
                    <a:lnTo>
                      <a:pt x="384" y="456"/>
                    </a:lnTo>
                    <a:lnTo>
                      <a:pt x="384" y="462"/>
                    </a:lnTo>
                    <a:lnTo>
                      <a:pt x="378" y="462"/>
                    </a:lnTo>
                    <a:lnTo>
                      <a:pt x="384" y="468"/>
                    </a:lnTo>
                    <a:lnTo>
                      <a:pt x="378" y="474"/>
                    </a:lnTo>
                    <a:lnTo>
                      <a:pt x="378" y="480"/>
                    </a:lnTo>
                    <a:lnTo>
                      <a:pt x="372" y="480"/>
                    </a:lnTo>
                    <a:lnTo>
                      <a:pt x="366" y="480"/>
                    </a:lnTo>
                    <a:lnTo>
                      <a:pt x="360" y="480"/>
                    </a:lnTo>
                    <a:lnTo>
                      <a:pt x="360" y="486"/>
                    </a:lnTo>
                    <a:lnTo>
                      <a:pt x="354" y="486"/>
                    </a:lnTo>
                    <a:lnTo>
                      <a:pt x="348" y="486"/>
                    </a:lnTo>
                    <a:lnTo>
                      <a:pt x="348" y="492"/>
                    </a:lnTo>
                    <a:lnTo>
                      <a:pt x="342" y="492"/>
                    </a:lnTo>
                    <a:lnTo>
                      <a:pt x="342" y="498"/>
                    </a:lnTo>
                    <a:lnTo>
                      <a:pt x="336" y="498"/>
                    </a:lnTo>
                    <a:lnTo>
                      <a:pt x="330" y="498"/>
                    </a:lnTo>
                    <a:lnTo>
                      <a:pt x="324" y="504"/>
                    </a:lnTo>
                    <a:lnTo>
                      <a:pt x="324" y="510"/>
                    </a:lnTo>
                    <a:lnTo>
                      <a:pt x="318" y="510"/>
                    </a:lnTo>
                    <a:lnTo>
                      <a:pt x="318" y="516"/>
                    </a:lnTo>
                    <a:lnTo>
                      <a:pt x="312" y="516"/>
                    </a:lnTo>
                    <a:lnTo>
                      <a:pt x="312" y="522"/>
                    </a:lnTo>
                    <a:lnTo>
                      <a:pt x="312" y="528"/>
                    </a:lnTo>
                    <a:lnTo>
                      <a:pt x="306" y="528"/>
                    </a:lnTo>
                    <a:lnTo>
                      <a:pt x="306" y="534"/>
                    </a:lnTo>
                    <a:lnTo>
                      <a:pt x="300" y="534"/>
                    </a:lnTo>
                    <a:lnTo>
                      <a:pt x="300" y="540"/>
                    </a:lnTo>
                    <a:lnTo>
                      <a:pt x="294" y="540"/>
                    </a:lnTo>
                    <a:lnTo>
                      <a:pt x="294" y="546"/>
                    </a:lnTo>
                    <a:lnTo>
                      <a:pt x="288" y="546"/>
                    </a:lnTo>
                    <a:lnTo>
                      <a:pt x="288" y="552"/>
                    </a:lnTo>
                    <a:lnTo>
                      <a:pt x="282" y="558"/>
                    </a:lnTo>
                    <a:lnTo>
                      <a:pt x="276" y="558"/>
                    </a:lnTo>
                    <a:lnTo>
                      <a:pt x="276" y="564"/>
                    </a:lnTo>
                    <a:lnTo>
                      <a:pt x="270" y="564"/>
                    </a:lnTo>
                    <a:lnTo>
                      <a:pt x="264" y="564"/>
                    </a:lnTo>
                    <a:lnTo>
                      <a:pt x="264" y="570"/>
                    </a:lnTo>
                    <a:lnTo>
                      <a:pt x="264" y="564"/>
                    </a:lnTo>
                    <a:lnTo>
                      <a:pt x="258" y="564"/>
                    </a:lnTo>
                    <a:lnTo>
                      <a:pt x="252" y="564"/>
                    </a:lnTo>
                    <a:lnTo>
                      <a:pt x="252" y="558"/>
                    </a:lnTo>
                    <a:lnTo>
                      <a:pt x="246" y="558"/>
                    </a:lnTo>
                    <a:lnTo>
                      <a:pt x="240" y="558"/>
                    </a:lnTo>
                    <a:lnTo>
                      <a:pt x="234" y="558"/>
                    </a:lnTo>
                    <a:lnTo>
                      <a:pt x="228" y="558"/>
                    </a:lnTo>
                    <a:lnTo>
                      <a:pt x="228" y="564"/>
                    </a:lnTo>
                    <a:lnTo>
                      <a:pt x="228" y="558"/>
                    </a:lnTo>
                    <a:lnTo>
                      <a:pt x="228" y="564"/>
                    </a:lnTo>
                    <a:lnTo>
                      <a:pt x="222" y="564"/>
                    </a:lnTo>
                    <a:lnTo>
                      <a:pt x="216" y="564"/>
                    </a:lnTo>
                    <a:lnTo>
                      <a:pt x="216" y="558"/>
                    </a:lnTo>
                    <a:lnTo>
                      <a:pt x="210" y="558"/>
                    </a:lnTo>
                    <a:lnTo>
                      <a:pt x="210" y="552"/>
                    </a:lnTo>
                    <a:lnTo>
                      <a:pt x="204" y="552"/>
                    </a:lnTo>
                    <a:lnTo>
                      <a:pt x="198" y="552"/>
                    </a:lnTo>
                    <a:lnTo>
                      <a:pt x="192" y="552"/>
                    </a:lnTo>
                    <a:lnTo>
                      <a:pt x="186" y="552"/>
                    </a:lnTo>
                    <a:lnTo>
                      <a:pt x="180" y="552"/>
                    </a:lnTo>
                    <a:lnTo>
                      <a:pt x="180" y="546"/>
                    </a:lnTo>
                    <a:lnTo>
                      <a:pt x="180" y="552"/>
                    </a:lnTo>
                    <a:lnTo>
                      <a:pt x="180" y="546"/>
                    </a:lnTo>
                    <a:lnTo>
                      <a:pt x="174" y="546"/>
                    </a:lnTo>
                    <a:lnTo>
                      <a:pt x="174" y="540"/>
                    </a:lnTo>
                    <a:lnTo>
                      <a:pt x="168" y="540"/>
                    </a:lnTo>
                    <a:lnTo>
                      <a:pt x="168" y="534"/>
                    </a:lnTo>
                    <a:lnTo>
                      <a:pt x="168" y="540"/>
                    </a:lnTo>
                    <a:lnTo>
                      <a:pt x="162" y="534"/>
                    </a:lnTo>
                    <a:lnTo>
                      <a:pt x="156" y="534"/>
                    </a:lnTo>
                    <a:lnTo>
                      <a:pt x="150" y="534"/>
                    </a:lnTo>
                    <a:lnTo>
                      <a:pt x="144" y="534"/>
                    </a:lnTo>
                    <a:lnTo>
                      <a:pt x="138" y="534"/>
                    </a:lnTo>
                    <a:lnTo>
                      <a:pt x="132" y="534"/>
                    </a:lnTo>
                    <a:lnTo>
                      <a:pt x="126" y="534"/>
                    </a:lnTo>
                    <a:lnTo>
                      <a:pt x="84" y="540"/>
                    </a:lnTo>
                    <a:lnTo>
                      <a:pt x="78" y="540"/>
                    </a:lnTo>
                    <a:lnTo>
                      <a:pt x="78" y="534"/>
                    </a:lnTo>
                    <a:lnTo>
                      <a:pt x="72" y="534"/>
                    </a:lnTo>
                    <a:lnTo>
                      <a:pt x="66" y="534"/>
                    </a:lnTo>
                    <a:lnTo>
                      <a:pt x="66" y="528"/>
                    </a:lnTo>
                    <a:lnTo>
                      <a:pt x="60" y="528"/>
                    </a:lnTo>
                    <a:lnTo>
                      <a:pt x="60" y="522"/>
                    </a:lnTo>
                    <a:lnTo>
                      <a:pt x="54" y="522"/>
                    </a:lnTo>
                    <a:lnTo>
                      <a:pt x="54" y="516"/>
                    </a:lnTo>
                    <a:lnTo>
                      <a:pt x="48" y="516"/>
                    </a:lnTo>
                    <a:lnTo>
                      <a:pt x="48" y="510"/>
                    </a:lnTo>
                    <a:lnTo>
                      <a:pt x="42" y="510"/>
                    </a:lnTo>
                    <a:lnTo>
                      <a:pt x="42" y="504"/>
                    </a:lnTo>
                    <a:lnTo>
                      <a:pt x="36" y="504"/>
                    </a:lnTo>
                    <a:lnTo>
                      <a:pt x="36" y="498"/>
                    </a:lnTo>
                    <a:lnTo>
                      <a:pt x="30" y="498"/>
                    </a:lnTo>
                    <a:lnTo>
                      <a:pt x="30" y="492"/>
                    </a:lnTo>
                    <a:lnTo>
                      <a:pt x="24" y="492"/>
                    </a:lnTo>
                    <a:lnTo>
                      <a:pt x="24" y="486"/>
                    </a:lnTo>
                    <a:lnTo>
                      <a:pt x="18" y="486"/>
                    </a:lnTo>
                    <a:lnTo>
                      <a:pt x="18" y="480"/>
                    </a:lnTo>
                    <a:lnTo>
                      <a:pt x="12" y="480"/>
                    </a:lnTo>
                    <a:lnTo>
                      <a:pt x="12" y="474"/>
                    </a:lnTo>
                    <a:lnTo>
                      <a:pt x="6" y="474"/>
                    </a:lnTo>
                    <a:lnTo>
                      <a:pt x="6" y="468"/>
                    </a:lnTo>
                    <a:lnTo>
                      <a:pt x="6" y="462"/>
                    </a:lnTo>
                    <a:lnTo>
                      <a:pt x="0" y="462"/>
                    </a:lnTo>
                    <a:lnTo>
                      <a:pt x="0" y="456"/>
                    </a:lnTo>
                    <a:lnTo>
                      <a:pt x="0" y="450"/>
                    </a:lnTo>
                    <a:lnTo>
                      <a:pt x="0" y="444"/>
                    </a:lnTo>
                    <a:lnTo>
                      <a:pt x="0" y="408"/>
                    </a:lnTo>
                    <a:lnTo>
                      <a:pt x="0" y="390"/>
                    </a:lnTo>
                    <a:lnTo>
                      <a:pt x="0" y="336"/>
                    </a:lnTo>
                    <a:lnTo>
                      <a:pt x="0" y="330"/>
                    </a:lnTo>
                    <a:lnTo>
                      <a:pt x="0" y="318"/>
                    </a:lnTo>
                    <a:lnTo>
                      <a:pt x="0" y="300"/>
                    </a:lnTo>
                    <a:lnTo>
                      <a:pt x="0" y="276"/>
                    </a:lnTo>
                    <a:lnTo>
                      <a:pt x="24" y="276"/>
                    </a:lnTo>
                    <a:lnTo>
                      <a:pt x="84" y="276"/>
                    </a:lnTo>
                    <a:lnTo>
                      <a:pt x="114" y="270"/>
                    </a:lnTo>
                    <a:lnTo>
                      <a:pt x="108" y="270"/>
                    </a:lnTo>
                    <a:lnTo>
                      <a:pt x="108" y="264"/>
                    </a:lnTo>
                    <a:lnTo>
                      <a:pt x="108" y="258"/>
                    </a:lnTo>
                    <a:lnTo>
                      <a:pt x="108" y="252"/>
                    </a:lnTo>
                    <a:lnTo>
                      <a:pt x="108" y="246"/>
                    </a:lnTo>
                    <a:lnTo>
                      <a:pt x="114" y="246"/>
                    </a:lnTo>
                    <a:lnTo>
                      <a:pt x="114" y="240"/>
                    </a:lnTo>
                    <a:lnTo>
                      <a:pt x="114" y="234"/>
                    </a:lnTo>
                    <a:lnTo>
                      <a:pt x="114" y="228"/>
                    </a:lnTo>
                    <a:lnTo>
                      <a:pt x="114" y="222"/>
                    </a:lnTo>
                    <a:lnTo>
                      <a:pt x="114" y="216"/>
                    </a:lnTo>
                    <a:lnTo>
                      <a:pt x="114" y="210"/>
                    </a:lnTo>
                    <a:lnTo>
                      <a:pt x="114" y="204"/>
                    </a:lnTo>
                    <a:lnTo>
                      <a:pt x="114" y="198"/>
                    </a:lnTo>
                    <a:lnTo>
                      <a:pt x="108" y="198"/>
                    </a:lnTo>
                    <a:lnTo>
                      <a:pt x="114" y="198"/>
                    </a:lnTo>
                    <a:lnTo>
                      <a:pt x="114" y="192"/>
                    </a:lnTo>
                    <a:lnTo>
                      <a:pt x="114" y="186"/>
                    </a:lnTo>
                    <a:lnTo>
                      <a:pt x="114" y="180"/>
                    </a:lnTo>
                    <a:lnTo>
                      <a:pt x="120" y="180"/>
                    </a:lnTo>
                    <a:lnTo>
                      <a:pt x="114" y="180"/>
                    </a:lnTo>
                    <a:lnTo>
                      <a:pt x="114" y="174"/>
                    </a:lnTo>
                    <a:lnTo>
                      <a:pt x="114" y="168"/>
                    </a:lnTo>
                    <a:lnTo>
                      <a:pt x="114" y="162"/>
                    </a:lnTo>
                    <a:lnTo>
                      <a:pt x="114" y="156"/>
                    </a:lnTo>
                    <a:lnTo>
                      <a:pt x="120" y="156"/>
                    </a:lnTo>
                    <a:lnTo>
                      <a:pt x="120" y="162"/>
                    </a:lnTo>
                    <a:lnTo>
                      <a:pt x="126" y="162"/>
                    </a:lnTo>
                    <a:lnTo>
                      <a:pt x="132" y="162"/>
                    </a:lnTo>
                    <a:lnTo>
                      <a:pt x="132" y="168"/>
                    </a:lnTo>
                    <a:lnTo>
                      <a:pt x="132" y="174"/>
                    </a:lnTo>
                    <a:lnTo>
                      <a:pt x="132" y="180"/>
                    </a:lnTo>
                    <a:lnTo>
                      <a:pt x="126" y="180"/>
                    </a:lnTo>
                    <a:lnTo>
                      <a:pt x="132" y="180"/>
                    </a:lnTo>
                    <a:lnTo>
                      <a:pt x="132" y="186"/>
                    </a:lnTo>
                    <a:lnTo>
                      <a:pt x="138" y="186"/>
                    </a:lnTo>
                    <a:lnTo>
                      <a:pt x="144" y="186"/>
                    </a:lnTo>
                    <a:lnTo>
                      <a:pt x="150" y="180"/>
                    </a:lnTo>
                    <a:lnTo>
                      <a:pt x="156" y="180"/>
                    </a:lnTo>
                    <a:lnTo>
                      <a:pt x="156" y="174"/>
                    </a:lnTo>
                    <a:lnTo>
                      <a:pt x="162" y="174"/>
                    </a:lnTo>
                    <a:lnTo>
                      <a:pt x="168" y="174"/>
                    </a:lnTo>
                    <a:lnTo>
                      <a:pt x="174" y="174"/>
                    </a:lnTo>
                    <a:lnTo>
                      <a:pt x="180" y="174"/>
                    </a:lnTo>
                    <a:lnTo>
                      <a:pt x="186" y="174"/>
                    </a:lnTo>
                    <a:lnTo>
                      <a:pt x="186" y="168"/>
                    </a:lnTo>
                    <a:lnTo>
                      <a:pt x="186" y="174"/>
                    </a:lnTo>
                    <a:lnTo>
                      <a:pt x="186" y="180"/>
                    </a:lnTo>
                    <a:lnTo>
                      <a:pt x="186" y="186"/>
                    </a:lnTo>
                    <a:lnTo>
                      <a:pt x="186" y="192"/>
                    </a:lnTo>
                    <a:lnTo>
                      <a:pt x="186" y="198"/>
                    </a:lnTo>
                    <a:lnTo>
                      <a:pt x="192" y="198"/>
                    </a:lnTo>
                    <a:lnTo>
                      <a:pt x="198" y="198"/>
                    </a:lnTo>
                    <a:lnTo>
                      <a:pt x="198" y="204"/>
                    </a:lnTo>
                    <a:lnTo>
                      <a:pt x="204" y="204"/>
                    </a:lnTo>
                    <a:lnTo>
                      <a:pt x="204" y="198"/>
                    </a:lnTo>
                    <a:lnTo>
                      <a:pt x="204" y="204"/>
                    </a:lnTo>
                    <a:lnTo>
                      <a:pt x="210" y="204"/>
                    </a:lnTo>
                    <a:lnTo>
                      <a:pt x="216" y="204"/>
                    </a:lnTo>
                    <a:lnTo>
                      <a:pt x="216" y="210"/>
                    </a:lnTo>
                    <a:lnTo>
                      <a:pt x="222" y="210"/>
                    </a:lnTo>
                    <a:lnTo>
                      <a:pt x="222" y="216"/>
                    </a:lnTo>
                    <a:lnTo>
                      <a:pt x="222" y="210"/>
                    </a:lnTo>
                    <a:lnTo>
                      <a:pt x="228" y="216"/>
                    </a:lnTo>
                    <a:lnTo>
                      <a:pt x="234" y="210"/>
                    </a:lnTo>
                    <a:lnTo>
                      <a:pt x="240" y="216"/>
                    </a:lnTo>
                    <a:lnTo>
                      <a:pt x="246" y="216"/>
                    </a:lnTo>
                    <a:lnTo>
                      <a:pt x="246" y="210"/>
                    </a:lnTo>
                    <a:lnTo>
                      <a:pt x="252" y="210"/>
                    </a:lnTo>
                    <a:lnTo>
                      <a:pt x="252" y="216"/>
                    </a:lnTo>
                    <a:lnTo>
                      <a:pt x="258" y="216"/>
                    </a:lnTo>
                    <a:lnTo>
                      <a:pt x="264" y="216"/>
                    </a:lnTo>
                    <a:lnTo>
                      <a:pt x="270" y="216"/>
                    </a:lnTo>
                    <a:lnTo>
                      <a:pt x="276" y="216"/>
                    </a:lnTo>
                    <a:lnTo>
                      <a:pt x="276" y="210"/>
                    </a:lnTo>
                    <a:lnTo>
                      <a:pt x="282" y="210"/>
                    </a:lnTo>
                    <a:lnTo>
                      <a:pt x="282" y="204"/>
                    </a:lnTo>
                    <a:lnTo>
                      <a:pt x="282" y="198"/>
                    </a:lnTo>
                    <a:lnTo>
                      <a:pt x="282" y="192"/>
                    </a:lnTo>
                    <a:lnTo>
                      <a:pt x="288" y="192"/>
                    </a:lnTo>
                    <a:lnTo>
                      <a:pt x="294" y="192"/>
                    </a:lnTo>
                    <a:lnTo>
                      <a:pt x="294" y="198"/>
                    </a:lnTo>
                    <a:lnTo>
                      <a:pt x="294" y="204"/>
                    </a:lnTo>
                    <a:lnTo>
                      <a:pt x="300" y="204"/>
                    </a:lnTo>
                    <a:lnTo>
                      <a:pt x="300" y="210"/>
                    </a:lnTo>
                    <a:lnTo>
                      <a:pt x="306" y="210"/>
                    </a:lnTo>
                    <a:lnTo>
                      <a:pt x="306" y="216"/>
                    </a:lnTo>
                    <a:lnTo>
                      <a:pt x="306" y="222"/>
                    </a:lnTo>
                    <a:lnTo>
                      <a:pt x="306" y="228"/>
                    </a:lnTo>
                    <a:lnTo>
                      <a:pt x="312" y="228"/>
                    </a:lnTo>
                    <a:lnTo>
                      <a:pt x="312" y="234"/>
                    </a:lnTo>
                    <a:lnTo>
                      <a:pt x="318" y="234"/>
                    </a:lnTo>
                    <a:lnTo>
                      <a:pt x="324" y="234"/>
                    </a:lnTo>
                    <a:lnTo>
                      <a:pt x="324" y="228"/>
                    </a:lnTo>
                    <a:lnTo>
                      <a:pt x="330" y="228"/>
                    </a:lnTo>
                    <a:lnTo>
                      <a:pt x="330" y="234"/>
                    </a:lnTo>
                    <a:lnTo>
                      <a:pt x="336" y="234"/>
                    </a:lnTo>
                    <a:lnTo>
                      <a:pt x="342" y="234"/>
                    </a:lnTo>
                    <a:lnTo>
                      <a:pt x="342" y="240"/>
                    </a:lnTo>
                    <a:lnTo>
                      <a:pt x="348" y="240"/>
                    </a:lnTo>
                    <a:lnTo>
                      <a:pt x="354" y="240"/>
                    </a:lnTo>
                    <a:lnTo>
                      <a:pt x="354" y="246"/>
                    </a:lnTo>
                    <a:lnTo>
                      <a:pt x="360" y="246"/>
                    </a:lnTo>
                    <a:lnTo>
                      <a:pt x="360" y="252"/>
                    </a:lnTo>
                    <a:lnTo>
                      <a:pt x="366" y="252"/>
                    </a:lnTo>
                    <a:lnTo>
                      <a:pt x="366" y="258"/>
                    </a:lnTo>
                    <a:lnTo>
                      <a:pt x="360" y="258"/>
                    </a:lnTo>
                    <a:lnTo>
                      <a:pt x="366" y="258"/>
                    </a:lnTo>
                    <a:lnTo>
                      <a:pt x="366" y="264"/>
                    </a:lnTo>
                    <a:lnTo>
                      <a:pt x="366" y="270"/>
                    </a:lnTo>
                    <a:lnTo>
                      <a:pt x="366" y="264"/>
                    </a:lnTo>
                    <a:lnTo>
                      <a:pt x="372" y="264"/>
                    </a:lnTo>
                    <a:lnTo>
                      <a:pt x="378" y="264"/>
                    </a:lnTo>
                    <a:lnTo>
                      <a:pt x="378" y="270"/>
                    </a:lnTo>
                    <a:lnTo>
                      <a:pt x="378" y="276"/>
                    </a:lnTo>
                    <a:lnTo>
                      <a:pt x="384" y="276"/>
                    </a:lnTo>
                    <a:lnTo>
                      <a:pt x="384" y="282"/>
                    </a:lnTo>
                    <a:lnTo>
                      <a:pt x="384" y="288"/>
                    </a:lnTo>
                    <a:lnTo>
                      <a:pt x="390" y="288"/>
                    </a:lnTo>
                    <a:lnTo>
                      <a:pt x="390" y="294"/>
                    </a:lnTo>
                    <a:lnTo>
                      <a:pt x="390" y="300"/>
                    </a:lnTo>
                    <a:lnTo>
                      <a:pt x="390" y="294"/>
                    </a:lnTo>
                    <a:lnTo>
                      <a:pt x="396" y="294"/>
                    </a:lnTo>
                    <a:lnTo>
                      <a:pt x="402" y="294"/>
                    </a:lnTo>
                    <a:lnTo>
                      <a:pt x="402" y="300"/>
                    </a:lnTo>
                    <a:lnTo>
                      <a:pt x="402" y="294"/>
                    </a:lnTo>
                    <a:lnTo>
                      <a:pt x="408" y="294"/>
                    </a:lnTo>
                    <a:lnTo>
                      <a:pt x="414" y="294"/>
                    </a:lnTo>
                    <a:lnTo>
                      <a:pt x="414" y="288"/>
                    </a:lnTo>
                    <a:lnTo>
                      <a:pt x="420" y="288"/>
                    </a:lnTo>
                    <a:lnTo>
                      <a:pt x="426" y="288"/>
                    </a:lnTo>
                    <a:lnTo>
                      <a:pt x="426" y="294"/>
                    </a:lnTo>
                    <a:lnTo>
                      <a:pt x="426" y="300"/>
                    </a:lnTo>
                    <a:lnTo>
                      <a:pt x="432" y="300"/>
                    </a:lnTo>
                    <a:lnTo>
                      <a:pt x="438" y="300"/>
                    </a:lnTo>
                    <a:lnTo>
                      <a:pt x="438" y="294"/>
                    </a:lnTo>
                    <a:lnTo>
                      <a:pt x="438" y="288"/>
                    </a:lnTo>
                    <a:lnTo>
                      <a:pt x="438" y="282"/>
                    </a:lnTo>
                    <a:lnTo>
                      <a:pt x="438" y="276"/>
                    </a:lnTo>
                    <a:lnTo>
                      <a:pt x="438" y="270"/>
                    </a:lnTo>
                    <a:lnTo>
                      <a:pt x="438" y="264"/>
                    </a:lnTo>
                    <a:lnTo>
                      <a:pt x="438" y="258"/>
                    </a:lnTo>
                    <a:lnTo>
                      <a:pt x="438" y="252"/>
                    </a:lnTo>
                    <a:lnTo>
                      <a:pt x="438" y="246"/>
                    </a:lnTo>
                    <a:lnTo>
                      <a:pt x="438" y="240"/>
                    </a:lnTo>
                    <a:lnTo>
                      <a:pt x="438" y="234"/>
                    </a:lnTo>
                    <a:lnTo>
                      <a:pt x="438" y="228"/>
                    </a:lnTo>
                    <a:lnTo>
                      <a:pt x="432" y="228"/>
                    </a:lnTo>
                    <a:lnTo>
                      <a:pt x="426" y="228"/>
                    </a:lnTo>
                    <a:lnTo>
                      <a:pt x="420" y="228"/>
                    </a:lnTo>
                    <a:lnTo>
                      <a:pt x="414" y="234"/>
                    </a:lnTo>
                    <a:lnTo>
                      <a:pt x="420" y="240"/>
                    </a:lnTo>
                    <a:lnTo>
                      <a:pt x="420" y="246"/>
                    </a:lnTo>
                    <a:lnTo>
                      <a:pt x="414" y="240"/>
                    </a:lnTo>
                    <a:lnTo>
                      <a:pt x="408" y="240"/>
                    </a:lnTo>
                    <a:lnTo>
                      <a:pt x="402" y="240"/>
                    </a:lnTo>
                    <a:lnTo>
                      <a:pt x="396" y="240"/>
                    </a:lnTo>
                    <a:lnTo>
                      <a:pt x="390" y="240"/>
                    </a:lnTo>
                    <a:lnTo>
                      <a:pt x="390" y="234"/>
                    </a:lnTo>
                    <a:lnTo>
                      <a:pt x="390" y="228"/>
                    </a:lnTo>
                    <a:lnTo>
                      <a:pt x="384" y="228"/>
                    </a:lnTo>
                    <a:lnTo>
                      <a:pt x="384" y="222"/>
                    </a:lnTo>
                    <a:lnTo>
                      <a:pt x="378" y="222"/>
                    </a:lnTo>
                    <a:lnTo>
                      <a:pt x="378" y="216"/>
                    </a:lnTo>
                    <a:lnTo>
                      <a:pt x="372" y="216"/>
                    </a:lnTo>
                    <a:lnTo>
                      <a:pt x="372" y="210"/>
                    </a:lnTo>
                    <a:lnTo>
                      <a:pt x="366" y="210"/>
                    </a:lnTo>
                    <a:lnTo>
                      <a:pt x="360" y="210"/>
                    </a:lnTo>
                    <a:lnTo>
                      <a:pt x="360" y="204"/>
                    </a:lnTo>
                    <a:lnTo>
                      <a:pt x="360" y="198"/>
                    </a:lnTo>
                    <a:lnTo>
                      <a:pt x="360" y="192"/>
                    </a:lnTo>
                    <a:lnTo>
                      <a:pt x="354" y="192"/>
                    </a:lnTo>
                    <a:lnTo>
                      <a:pt x="360" y="186"/>
                    </a:lnTo>
                    <a:lnTo>
                      <a:pt x="360" y="180"/>
                    </a:lnTo>
                    <a:lnTo>
                      <a:pt x="360" y="174"/>
                    </a:lnTo>
                    <a:lnTo>
                      <a:pt x="360" y="168"/>
                    </a:lnTo>
                    <a:lnTo>
                      <a:pt x="360" y="162"/>
                    </a:lnTo>
                    <a:lnTo>
                      <a:pt x="366" y="162"/>
                    </a:lnTo>
                    <a:lnTo>
                      <a:pt x="366" y="156"/>
                    </a:lnTo>
                    <a:lnTo>
                      <a:pt x="366" y="150"/>
                    </a:lnTo>
                    <a:lnTo>
                      <a:pt x="366" y="144"/>
                    </a:lnTo>
                    <a:lnTo>
                      <a:pt x="372" y="144"/>
                    </a:lnTo>
                    <a:lnTo>
                      <a:pt x="372" y="138"/>
                    </a:lnTo>
                    <a:lnTo>
                      <a:pt x="372" y="132"/>
                    </a:lnTo>
                    <a:lnTo>
                      <a:pt x="372" y="126"/>
                    </a:lnTo>
                    <a:lnTo>
                      <a:pt x="372" y="120"/>
                    </a:lnTo>
                    <a:lnTo>
                      <a:pt x="366" y="120"/>
                    </a:lnTo>
                    <a:lnTo>
                      <a:pt x="366" y="114"/>
                    </a:lnTo>
                    <a:lnTo>
                      <a:pt x="372" y="114"/>
                    </a:lnTo>
                    <a:lnTo>
                      <a:pt x="372" y="108"/>
                    </a:lnTo>
                    <a:lnTo>
                      <a:pt x="372" y="102"/>
                    </a:lnTo>
                    <a:lnTo>
                      <a:pt x="372" y="96"/>
                    </a:lnTo>
                    <a:lnTo>
                      <a:pt x="372" y="90"/>
                    </a:lnTo>
                    <a:lnTo>
                      <a:pt x="372" y="84"/>
                    </a:lnTo>
                    <a:lnTo>
                      <a:pt x="372" y="78"/>
                    </a:lnTo>
                    <a:lnTo>
                      <a:pt x="366" y="78"/>
                    </a:lnTo>
                    <a:lnTo>
                      <a:pt x="372" y="78"/>
                    </a:lnTo>
                    <a:lnTo>
                      <a:pt x="366" y="78"/>
                    </a:lnTo>
                    <a:lnTo>
                      <a:pt x="366" y="72"/>
                    </a:lnTo>
                    <a:lnTo>
                      <a:pt x="366" y="66"/>
                    </a:lnTo>
                    <a:lnTo>
                      <a:pt x="360" y="66"/>
                    </a:lnTo>
                    <a:lnTo>
                      <a:pt x="360" y="72"/>
                    </a:lnTo>
                    <a:lnTo>
                      <a:pt x="354" y="72"/>
                    </a:lnTo>
                    <a:lnTo>
                      <a:pt x="354" y="66"/>
                    </a:lnTo>
                    <a:lnTo>
                      <a:pt x="354" y="60"/>
                    </a:lnTo>
                    <a:lnTo>
                      <a:pt x="360" y="60"/>
                    </a:lnTo>
                    <a:lnTo>
                      <a:pt x="360" y="54"/>
                    </a:lnTo>
                    <a:lnTo>
                      <a:pt x="366" y="54"/>
                    </a:lnTo>
                    <a:lnTo>
                      <a:pt x="372" y="54"/>
                    </a:lnTo>
                    <a:lnTo>
                      <a:pt x="372" y="48"/>
                    </a:lnTo>
                    <a:lnTo>
                      <a:pt x="378" y="48"/>
                    </a:lnTo>
                    <a:lnTo>
                      <a:pt x="378" y="42"/>
                    </a:lnTo>
                    <a:lnTo>
                      <a:pt x="384" y="36"/>
                    </a:lnTo>
                    <a:lnTo>
                      <a:pt x="384" y="30"/>
                    </a:lnTo>
                    <a:lnTo>
                      <a:pt x="390" y="30"/>
                    </a:lnTo>
                    <a:lnTo>
                      <a:pt x="390" y="24"/>
                    </a:lnTo>
                    <a:lnTo>
                      <a:pt x="384" y="18"/>
                    </a:lnTo>
                    <a:lnTo>
                      <a:pt x="390" y="18"/>
                    </a:lnTo>
                    <a:lnTo>
                      <a:pt x="396" y="18"/>
                    </a:lnTo>
                    <a:lnTo>
                      <a:pt x="402" y="12"/>
                    </a:lnTo>
                    <a:lnTo>
                      <a:pt x="408" y="12"/>
                    </a:lnTo>
                    <a:lnTo>
                      <a:pt x="414" y="12"/>
                    </a:lnTo>
                    <a:lnTo>
                      <a:pt x="420" y="12"/>
                    </a:lnTo>
                    <a:lnTo>
                      <a:pt x="426" y="12"/>
                    </a:lnTo>
                    <a:lnTo>
                      <a:pt x="432" y="12"/>
                    </a:lnTo>
                    <a:lnTo>
                      <a:pt x="438" y="12"/>
                    </a:lnTo>
                    <a:lnTo>
                      <a:pt x="444" y="6"/>
                    </a:lnTo>
                    <a:lnTo>
                      <a:pt x="456" y="6"/>
                    </a:lnTo>
                    <a:lnTo>
                      <a:pt x="462" y="6"/>
                    </a:lnTo>
                    <a:lnTo>
                      <a:pt x="468" y="6"/>
                    </a:lnTo>
                    <a:lnTo>
                      <a:pt x="474" y="6"/>
                    </a:lnTo>
                    <a:lnTo>
                      <a:pt x="480" y="6"/>
                    </a:lnTo>
                    <a:lnTo>
                      <a:pt x="486" y="6"/>
                    </a:lnTo>
                    <a:lnTo>
                      <a:pt x="492" y="0"/>
                    </a:lnTo>
                    <a:lnTo>
                      <a:pt x="492" y="6"/>
                    </a:lnTo>
                    <a:lnTo>
                      <a:pt x="498" y="12"/>
                    </a:lnTo>
                    <a:lnTo>
                      <a:pt x="498" y="18"/>
                    </a:lnTo>
                    <a:lnTo>
                      <a:pt x="504" y="24"/>
                    </a:lnTo>
                    <a:lnTo>
                      <a:pt x="510" y="24"/>
                    </a:lnTo>
                    <a:lnTo>
                      <a:pt x="516" y="24"/>
                    </a:lnTo>
                    <a:lnTo>
                      <a:pt x="522" y="24"/>
                    </a:lnTo>
                    <a:lnTo>
                      <a:pt x="528" y="24"/>
                    </a:lnTo>
                    <a:lnTo>
                      <a:pt x="528" y="30"/>
                    </a:lnTo>
                    <a:lnTo>
                      <a:pt x="534" y="30"/>
                    </a:lnTo>
                    <a:lnTo>
                      <a:pt x="534" y="36"/>
                    </a:lnTo>
                    <a:lnTo>
                      <a:pt x="540" y="42"/>
                    </a:lnTo>
                    <a:lnTo>
                      <a:pt x="546" y="42"/>
                    </a:lnTo>
                    <a:lnTo>
                      <a:pt x="552" y="42"/>
                    </a:lnTo>
                    <a:lnTo>
                      <a:pt x="552" y="48"/>
                    </a:lnTo>
                    <a:lnTo>
                      <a:pt x="558" y="48"/>
                    </a:lnTo>
                    <a:lnTo>
                      <a:pt x="564" y="48"/>
                    </a:lnTo>
                    <a:lnTo>
                      <a:pt x="570" y="48"/>
                    </a:lnTo>
                    <a:lnTo>
                      <a:pt x="570" y="54"/>
                    </a:lnTo>
                    <a:lnTo>
                      <a:pt x="576" y="54"/>
                    </a:lnTo>
                    <a:lnTo>
                      <a:pt x="582" y="54"/>
                    </a:lnTo>
                    <a:lnTo>
                      <a:pt x="588" y="54"/>
                    </a:lnTo>
                    <a:lnTo>
                      <a:pt x="582" y="54"/>
                    </a:lnTo>
                    <a:lnTo>
                      <a:pt x="588" y="60"/>
                    </a:lnTo>
                    <a:lnTo>
                      <a:pt x="594" y="60"/>
                    </a:lnTo>
                    <a:lnTo>
                      <a:pt x="600" y="60"/>
                    </a:lnTo>
                    <a:lnTo>
                      <a:pt x="600" y="66"/>
                    </a:lnTo>
                    <a:lnTo>
                      <a:pt x="606" y="66"/>
                    </a:lnTo>
                    <a:lnTo>
                      <a:pt x="612" y="66"/>
                    </a:lnTo>
                    <a:lnTo>
                      <a:pt x="612" y="72"/>
                    </a:lnTo>
                    <a:lnTo>
                      <a:pt x="612" y="78"/>
                    </a:lnTo>
                    <a:lnTo>
                      <a:pt x="618" y="78"/>
                    </a:lnTo>
                    <a:lnTo>
                      <a:pt x="612" y="78"/>
                    </a:lnTo>
                    <a:lnTo>
                      <a:pt x="612" y="84"/>
                    </a:lnTo>
                    <a:lnTo>
                      <a:pt x="618" y="84"/>
                    </a:lnTo>
                    <a:lnTo>
                      <a:pt x="618" y="78"/>
                    </a:lnTo>
                    <a:lnTo>
                      <a:pt x="618" y="84"/>
                    </a:lnTo>
                    <a:lnTo>
                      <a:pt x="624" y="78"/>
                    </a:lnTo>
                    <a:lnTo>
                      <a:pt x="624" y="84"/>
                    </a:lnTo>
                    <a:lnTo>
                      <a:pt x="624" y="78"/>
                    </a:lnTo>
                    <a:lnTo>
                      <a:pt x="624" y="84"/>
                    </a:lnTo>
                    <a:lnTo>
                      <a:pt x="624" y="90"/>
                    </a:lnTo>
                    <a:lnTo>
                      <a:pt x="630" y="90"/>
                    </a:lnTo>
                    <a:lnTo>
                      <a:pt x="630" y="96"/>
                    </a:lnTo>
                    <a:lnTo>
                      <a:pt x="636" y="96"/>
                    </a:lnTo>
                    <a:lnTo>
                      <a:pt x="636" y="102"/>
                    </a:lnTo>
                    <a:lnTo>
                      <a:pt x="630" y="102"/>
                    </a:lnTo>
                    <a:lnTo>
                      <a:pt x="630" y="108"/>
                    </a:lnTo>
                    <a:lnTo>
                      <a:pt x="636" y="108"/>
                    </a:lnTo>
                    <a:lnTo>
                      <a:pt x="636" y="114"/>
                    </a:lnTo>
                    <a:lnTo>
                      <a:pt x="642" y="114"/>
                    </a:lnTo>
                    <a:lnTo>
                      <a:pt x="642" y="120"/>
                    </a:lnTo>
                    <a:lnTo>
                      <a:pt x="642" y="126"/>
                    </a:lnTo>
                    <a:lnTo>
                      <a:pt x="648" y="126"/>
                    </a:lnTo>
                    <a:lnTo>
                      <a:pt x="648" y="132"/>
                    </a:lnTo>
                    <a:lnTo>
                      <a:pt x="654" y="132"/>
                    </a:lnTo>
                    <a:lnTo>
                      <a:pt x="654" y="138"/>
                    </a:lnTo>
                    <a:lnTo>
                      <a:pt x="648" y="138"/>
                    </a:lnTo>
                    <a:lnTo>
                      <a:pt x="648" y="144"/>
                    </a:lnTo>
                    <a:lnTo>
                      <a:pt x="642" y="144"/>
                    </a:lnTo>
                    <a:lnTo>
                      <a:pt x="642" y="150"/>
                    </a:lnTo>
                    <a:lnTo>
                      <a:pt x="636" y="150"/>
                    </a:lnTo>
                    <a:lnTo>
                      <a:pt x="630" y="150"/>
                    </a:lnTo>
                    <a:lnTo>
                      <a:pt x="630" y="156"/>
                    </a:lnTo>
                    <a:lnTo>
                      <a:pt x="630" y="162"/>
                    </a:lnTo>
                    <a:lnTo>
                      <a:pt x="636" y="162"/>
                    </a:lnTo>
                    <a:lnTo>
                      <a:pt x="636" y="168"/>
                    </a:lnTo>
                    <a:lnTo>
                      <a:pt x="636" y="174"/>
                    </a:lnTo>
                    <a:lnTo>
                      <a:pt x="630" y="174"/>
                    </a:lnTo>
                    <a:lnTo>
                      <a:pt x="630" y="180"/>
                    </a:lnTo>
                    <a:lnTo>
                      <a:pt x="630" y="186"/>
                    </a:lnTo>
                    <a:lnTo>
                      <a:pt x="630" y="180"/>
                    </a:lnTo>
                    <a:lnTo>
                      <a:pt x="624" y="180"/>
                    </a:lnTo>
                    <a:lnTo>
                      <a:pt x="624" y="186"/>
                    </a:lnTo>
                    <a:lnTo>
                      <a:pt x="630" y="186"/>
                    </a:lnTo>
                    <a:lnTo>
                      <a:pt x="624" y="186"/>
                    </a:lnTo>
                    <a:lnTo>
                      <a:pt x="630" y="186"/>
                    </a:lnTo>
                    <a:lnTo>
                      <a:pt x="630" y="192"/>
                    </a:lnTo>
                    <a:lnTo>
                      <a:pt x="624" y="192"/>
                    </a:lnTo>
                    <a:lnTo>
                      <a:pt x="630" y="192"/>
                    </a:lnTo>
                    <a:lnTo>
                      <a:pt x="630" y="198"/>
                    </a:lnTo>
                    <a:lnTo>
                      <a:pt x="630" y="204"/>
                    </a:lnTo>
                    <a:lnTo>
                      <a:pt x="630" y="210"/>
                    </a:lnTo>
                    <a:lnTo>
                      <a:pt x="630" y="216"/>
                    </a:lnTo>
                    <a:lnTo>
                      <a:pt x="630" y="222"/>
                    </a:lnTo>
                    <a:lnTo>
                      <a:pt x="630" y="228"/>
                    </a:lnTo>
                    <a:lnTo>
                      <a:pt x="630" y="234"/>
                    </a:lnTo>
                    <a:lnTo>
                      <a:pt x="636" y="234"/>
                    </a:lnTo>
                    <a:lnTo>
                      <a:pt x="642" y="234"/>
                    </a:lnTo>
                    <a:lnTo>
                      <a:pt x="642" y="240"/>
                    </a:lnTo>
                    <a:lnTo>
                      <a:pt x="636" y="240"/>
                    </a:lnTo>
                    <a:lnTo>
                      <a:pt x="636" y="246"/>
                    </a:lnTo>
                    <a:lnTo>
                      <a:pt x="630" y="246"/>
                    </a:lnTo>
                    <a:lnTo>
                      <a:pt x="624" y="252"/>
                    </a:lnTo>
                    <a:lnTo>
                      <a:pt x="618" y="252"/>
                    </a:lnTo>
                    <a:lnTo>
                      <a:pt x="612" y="252"/>
                    </a:lnTo>
                    <a:lnTo>
                      <a:pt x="612" y="258"/>
                    </a:lnTo>
                    <a:lnTo>
                      <a:pt x="612" y="264"/>
                    </a:lnTo>
                    <a:lnTo>
                      <a:pt x="612" y="270"/>
                    </a:lnTo>
                    <a:lnTo>
                      <a:pt x="612" y="276"/>
                    </a:lnTo>
                    <a:lnTo>
                      <a:pt x="612" y="282"/>
                    </a:lnTo>
                    <a:lnTo>
                      <a:pt x="612" y="288"/>
                    </a:lnTo>
                    <a:lnTo>
                      <a:pt x="612" y="294"/>
                    </a:lnTo>
                    <a:lnTo>
                      <a:pt x="606" y="294"/>
                    </a:lnTo>
                    <a:lnTo>
                      <a:pt x="606" y="300"/>
                    </a:lnTo>
                    <a:lnTo>
                      <a:pt x="606" y="306"/>
                    </a:lnTo>
                    <a:lnTo>
                      <a:pt x="600" y="306"/>
                    </a:lnTo>
                    <a:lnTo>
                      <a:pt x="594" y="306"/>
                    </a:lnTo>
                    <a:lnTo>
                      <a:pt x="600" y="312"/>
                    </a:lnTo>
                    <a:lnTo>
                      <a:pt x="606" y="312"/>
                    </a:lnTo>
                    <a:lnTo>
                      <a:pt x="600" y="318"/>
                    </a:lnTo>
                    <a:lnTo>
                      <a:pt x="606" y="318"/>
                    </a:lnTo>
                    <a:lnTo>
                      <a:pt x="606" y="324"/>
                    </a:lnTo>
                    <a:lnTo>
                      <a:pt x="612" y="324"/>
                    </a:lnTo>
                    <a:lnTo>
                      <a:pt x="612" y="330"/>
                    </a:lnTo>
                    <a:lnTo>
                      <a:pt x="612" y="324"/>
                    </a:lnTo>
                    <a:lnTo>
                      <a:pt x="612" y="330"/>
                    </a:lnTo>
                    <a:lnTo>
                      <a:pt x="618" y="336"/>
                    </a:lnTo>
                    <a:lnTo>
                      <a:pt x="618" y="330"/>
                    </a:lnTo>
                    <a:lnTo>
                      <a:pt x="624" y="330"/>
                    </a:lnTo>
                    <a:lnTo>
                      <a:pt x="624" y="324"/>
                    </a:lnTo>
                    <a:lnTo>
                      <a:pt x="624" y="330"/>
                    </a:lnTo>
                    <a:lnTo>
                      <a:pt x="618" y="336"/>
                    </a:lnTo>
                    <a:lnTo>
                      <a:pt x="612" y="336"/>
                    </a:lnTo>
                    <a:lnTo>
                      <a:pt x="606" y="336"/>
                    </a:lnTo>
                    <a:lnTo>
                      <a:pt x="594" y="342"/>
                    </a:lnTo>
                    <a:lnTo>
                      <a:pt x="588" y="342"/>
                    </a:lnTo>
                    <a:lnTo>
                      <a:pt x="582" y="348"/>
                    </a:lnTo>
                    <a:lnTo>
                      <a:pt x="576" y="348"/>
                    </a:lnTo>
                    <a:lnTo>
                      <a:pt x="570" y="348"/>
                    </a:lnTo>
                    <a:lnTo>
                      <a:pt x="564" y="348"/>
                    </a:lnTo>
                    <a:lnTo>
                      <a:pt x="564" y="354"/>
                    </a:lnTo>
                    <a:lnTo>
                      <a:pt x="558" y="354"/>
                    </a:lnTo>
                    <a:lnTo>
                      <a:pt x="552" y="354"/>
                    </a:lnTo>
                    <a:lnTo>
                      <a:pt x="546" y="360"/>
                    </a:lnTo>
                    <a:lnTo>
                      <a:pt x="540" y="360"/>
                    </a:lnTo>
                    <a:lnTo>
                      <a:pt x="534" y="360"/>
                    </a:lnTo>
                    <a:lnTo>
                      <a:pt x="534" y="366"/>
                    </a:lnTo>
                    <a:lnTo>
                      <a:pt x="528" y="366"/>
                    </a:lnTo>
                    <a:lnTo>
                      <a:pt x="522" y="366"/>
                    </a:lnTo>
                    <a:lnTo>
                      <a:pt x="516" y="366"/>
                    </a:lnTo>
                    <a:lnTo>
                      <a:pt x="510" y="372"/>
                    </a:lnTo>
                    <a:lnTo>
                      <a:pt x="504" y="372"/>
                    </a:lnTo>
                    <a:lnTo>
                      <a:pt x="492" y="378"/>
                    </a:lnTo>
                    <a:lnTo>
                      <a:pt x="486" y="378"/>
                    </a:lnTo>
                    <a:lnTo>
                      <a:pt x="480" y="378"/>
                    </a:lnTo>
                    <a:lnTo>
                      <a:pt x="474" y="384"/>
                    </a:lnTo>
                    <a:lnTo>
                      <a:pt x="468" y="384"/>
                    </a:lnTo>
                    <a:lnTo>
                      <a:pt x="462" y="384"/>
                    </a:lnTo>
                    <a:lnTo>
                      <a:pt x="456" y="390"/>
                    </a:lnTo>
                    <a:lnTo>
                      <a:pt x="462" y="390"/>
                    </a:lnTo>
                    <a:lnTo>
                      <a:pt x="456" y="390"/>
                    </a:lnTo>
                    <a:lnTo>
                      <a:pt x="456" y="396"/>
                    </a:lnTo>
                    <a:lnTo>
                      <a:pt x="462" y="396"/>
                    </a:lnTo>
                    <a:lnTo>
                      <a:pt x="462" y="402"/>
                    </a:lnTo>
                    <a:lnTo>
                      <a:pt x="468" y="408"/>
                    </a:lnTo>
                    <a:lnTo>
                      <a:pt x="468" y="414"/>
                    </a:lnTo>
                    <a:lnTo>
                      <a:pt x="468" y="420"/>
                    </a:lnTo>
                    <a:lnTo>
                      <a:pt x="468" y="42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4" name="Freeform 55"/>
              <p:cNvSpPr>
                <a:spLocks noEditPoints="1"/>
              </p:cNvSpPr>
              <p:nvPr>
                <p:custDataLst>
                  <p:tags r:id="rId51"/>
                </p:custDataLst>
              </p:nvPr>
            </p:nvSpPr>
            <p:spPr bwMode="gray">
              <a:xfrm>
                <a:off x="4276758" y="2750602"/>
                <a:ext cx="228953" cy="522818"/>
              </a:xfrm>
              <a:custGeom>
                <a:avLst/>
                <a:gdLst>
                  <a:gd name="T0" fmla="*/ 10861 w 180"/>
                  <a:gd name="T1" fmla="*/ 1941 h 444"/>
                  <a:gd name="T2" fmla="*/ 15798 w 180"/>
                  <a:gd name="T3" fmla="*/ 3881 h 444"/>
                  <a:gd name="T4" fmla="*/ 22710 w 180"/>
                  <a:gd name="T5" fmla="*/ 3881 h 444"/>
                  <a:gd name="T6" fmla="*/ 26660 w 180"/>
                  <a:gd name="T7" fmla="*/ 6792 h 444"/>
                  <a:gd name="T8" fmla="*/ 30609 w 180"/>
                  <a:gd name="T9" fmla="*/ 3881 h 444"/>
                  <a:gd name="T10" fmla="*/ 37521 w 180"/>
                  <a:gd name="T11" fmla="*/ 12613 h 444"/>
                  <a:gd name="T12" fmla="*/ 37521 w 180"/>
                  <a:gd name="T13" fmla="*/ 14553 h 444"/>
                  <a:gd name="T14" fmla="*/ 39496 w 180"/>
                  <a:gd name="T15" fmla="*/ 23285 h 444"/>
                  <a:gd name="T16" fmla="*/ 39496 w 180"/>
                  <a:gd name="T17" fmla="*/ 30076 h 444"/>
                  <a:gd name="T18" fmla="*/ 39496 w 180"/>
                  <a:gd name="T19" fmla="*/ 33958 h 444"/>
                  <a:gd name="T20" fmla="*/ 46407 w 180"/>
                  <a:gd name="T21" fmla="*/ 40749 h 444"/>
                  <a:gd name="T22" fmla="*/ 39496 w 180"/>
                  <a:gd name="T23" fmla="*/ 44630 h 444"/>
                  <a:gd name="T24" fmla="*/ 35546 w 180"/>
                  <a:gd name="T25" fmla="*/ 57242 h 444"/>
                  <a:gd name="T26" fmla="*/ 37521 w 180"/>
                  <a:gd name="T27" fmla="*/ 70826 h 444"/>
                  <a:gd name="T28" fmla="*/ 37521 w 180"/>
                  <a:gd name="T29" fmla="*/ 79558 h 444"/>
                  <a:gd name="T30" fmla="*/ 44433 w 180"/>
                  <a:gd name="T31" fmla="*/ 83439 h 444"/>
                  <a:gd name="T32" fmla="*/ 53319 w 180"/>
                  <a:gd name="T33" fmla="*/ 92171 h 444"/>
                  <a:gd name="T34" fmla="*/ 64180 w 180"/>
                  <a:gd name="T35" fmla="*/ 106724 h 444"/>
                  <a:gd name="T36" fmla="*/ 66155 w 180"/>
                  <a:gd name="T37" fmla="*/ 121277 h 444"/>
                  <a:gd name="T38" fmla="*/ 64180 w 180"/>
                  <a:gd name="T39" fmla="*/ 134860 h 444"/>
                  <a:gd name="T40" fmla="*/ 57269 w 180"/>
                  <a:gd name="T41" fmla="*/ 138741 h 444"/>
                  <a:gd name="T42" fmla="*/ 53319 w 180"/>
                  <a:gd name="T43" fmla="*/ 140681 h 444"/>
                  <a:gd name="T44" fmla="*/ 50357 w 180"/>
                  <a:gd name="T45" fmla="*/ 145533 h 444"/>
                  <a:gd name="T46" fmla="*/ 55294 w 180"/>
                  <a:gd name="T47" fmla="*/ 151354 h 444"/>
                  <a:gd name="T48" fmla="*/ 55294 w 180"/>
                  <a:gd name="T49" fmla="*/ 158145 h 444"/>
                  <a:gd name="T50" fmla="*/ 50357 w 180"/>
                  <a:gd name="T51" fmla="*/ 154264 h 444"/>
                  <a:gd name="T52" fmla="*/ 46407 w 180"/>
                  <a:gd name="T53" fmla="*/ 149413 h 444"/>
                  <a:gd name="T54" fmla="*/ 39496 w 180"/>
                  <a:gd name="T55" fmla="*/ 140681 h 444"/>
                  <a:gd name="T56" fmla="*/ 37521 w 180"/>
                  <a:gd name="T57" fmla="*/ 136801 h 444"/>
                  <a:gd name="T58" fmla="*/ 33571 w 180"/>
                  <a:gd name="T59" fmla="*/ 130979 h 444"/>
                  <a:gd name="T60" fmla="*/ 35546 w 180"/>
                  <a:gd name="T61" fmla="*/ 126128 h 444"/>
                  <a:gd name="T62" fmla="*/ 39496 w 180"/>
                  <a:gd name="T63" fmla="*/ 120307 h 444"/>
                  <a:gd name="T64" fmla="*/ 39496 w 180"/>
                  <a:gd name="T65" fmla="*/ 108664 h 444"/>
                  <a:gd name="T66" fmla="*/ 37521 w 180"/>
                  <a:gd name="T67" fmla="*/ 104783 h 444"/>
                  <a:gd name="T68" fmla="*/ 28634 w 180"/>
                  <a:gd name="T69" fmla="*/ 104783 h 444"/>
                  <a:gd name="T70" fmla="*/ 19747 w 180"/>
                  <a:gd name="T71" fmla="*/ 106724 h 444"/>
                  <a:gd name="T72" fmla="*/ 15798 w 180"/>
                  <a:gd name="T73" fmla="*/ 100903 h 444"/>
                  <a:gd name="T74" fmla="*/ 10861 w 180"/>
                  <a:gd name="T75" fmla="*/ 94111 h 444"/>
                  <a:gd name="T76" fmla="*/ 6911 w 180"/>
                  <a:gd name="T77" fmla="*/ 94111 h 444"/>
                  <a:gd name="T78" fmla="*/ 3949 w 180"/>
                  <a:gd name="T79" fmla="*/ 90230 h 444"/>
                  <a:gd name="T80" fmla="*/ 1975 w 180"/>
                  <a:gd name="T81" fmla="*/ 85379 h 444"/>
                  <a:gd name="T82" fmla="*/ 6911 w 180"/>
                  <a:gd name="T83" fmla="*/ 79558 h 444"/>
                  <a:gd name="T84" fmla="*/ 6911 w 180"/>
                  <a:gd name="T85" fmla="*/ 67915 h 444"/>
                  <a:gd name="T86" fmla="*/ 15798 w 180"/>
                  <a:gd name="T87" fmla="*/ 64034 h 444"/>
                  <a:gd name="T88" fmla="*/ 12836 w 180"/>
                  <a:gd name="T89" fmla="*/ 60154 h 444"/>
                  <a:gd name="T90" fmla="*/ 12836 w 180"/>
                  <a:gd name="T91" fmla="*/ 49481 h 444"/>
                  <a:gd name="T92" fmla="*/ 12836 w 180"/>
                  <a:gd name="T93" fmla="*/ 42690 h 444"/>
                  <a:gd name="T94" fmla="*/ 12836 w 180"/>
                  <a:gd name="T95" fmla="*/ 40749 h 444"/>
                  <a:gd name="T96" fmla="*/ 15798 w 180"/>
                  <a:gd name="T97" fmla="*/ 36868 h 444"/>
                  <a:gd name="T98" fmla="*/ 15798 w 180"/>
                  <a:gd name="T99" fmla="*/ 30076 h 444"/>
                  <a:gd name="T100" fmla="*/ 22710 w 180"/>
                  <a:gd name="T101" fmla="*/ 26196 h 444"/>
                  <a:gd name="T102" fmla="*/ 17773 w 180"/>
                  <a:gd name="T103" fmla="*/ 19405 h 444"/>
                  <a:gd name="T104" fmla="*/ 12836 w 180"/>
                  <a:gd name="T105" fmla="*/ 12613 h 444"/>
                  <a:gd name="T106" fmla="*/ 10861 w 180"/>
                  <a:gd name="T107" fmla="*/ 8732 h 444"/>
                  <a:gd name="T108" fmla="*/ 8887 w 180"/>
                  <a:gd name="T109" fmla="*/ 6792 h 444"/>
                  <a:gd name="T110" fmla="*/ 8887 w 180"/>
                  <a:gd name="T111" fmla="*/ 3881 h 444"/>
                  <a:gd name="T112" fmla="*/ 44433 w 180"/>
                  <a:gd name="T113" fmla="*/ 56273 h 4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0" h="444">
                    <a:moveTo>
                      <a:pt x="18" y="6"/>
                    </a:moveTo>
                    <a:lnTo>
                      <a:pt x="18" y="0"/>
                    </a:lnTo>
                    <a:lnTo>
                      <a:pt x="18" y="6"/>
                    </a:lnTo>
                    <a:lnTo>
                      <a:pt x="24" y="6"/>
                    </a:lnTo>
                    <a:lnTo>
                      <a:pt x="30" y="6"/>
                    </a:lnTo>
                    <a:lnTo>
                      <a:pt x="30" y="12"/>
                    </a:lnTo>
                    <a:lnTo>
                      <a:pt x="30" y="6"/>
                    </a:lnTo>
                    <a:lnTo>
                      <a:pt x="36" y="6"/>
                    </a:lnTo>
                    <a:lnTo>
                      <a:pt x="36" y="12"/>
                    </a:lnTo>
                    <a:lnTo>
                      <a:pt x="42" y="12"/>
                    </a:lnTo>
                    <a:lnTo>
                      <a:pt x="42" y="18"/>
                    </a:lnTo>
                    <a:lnTo>
                      <a:pt x="48" y="18"/>
                    </a:lnTo>
                    <a:lnTo>
                      <a:pt x="48" y="12"/>
                    </a:lnTo>
                    <a:lnTo>
                      <a:pt x="54" y="12"/>
                    </a:lnTo>
                    <a:lnTo>
                      <a:pt x="60" y="12"/>
                    </a:lnTo>
                    <a:lnTo>
                      <a:pt x="60" y="18"/>
                    </a:lnTo>
                    <a:lnTo>
                      <a:pt x="60" y="12"/>
                    </a:lnTo>
                    <a:lnTo>
                      <a:pt x="66" y="12"/>
                    </a:lnTo>
                    <a:lnTo>
                      <a:pt x="66" y="18"/>
                    </a:lnTo>
                    <a:lnTo>
                      <a:pt x="72" y="18"/>
                    </a:lnTo>
                    <a:lnTo>
                      <a:pt x="72" y="12"/>
                    </a:lnTo>
                    <a:lnTo>
                      <a:pt x="78" y="12"/>
                    </a:lnTo>
                    <a:lnTo>
                      <a:pt x="78" y="6"/>
                    </a:lnTo>
                    <a:lnTo>
                      <a:pt x="78" y="12"/>
                    </a:lnTo>
                    <a:lnTo>
                      <a:pt x="84" y="12"/>
                    </a:lnTo>
                    <a:lnTo>
                      <a:pt x="90" y="24"/>
                    </a:lnTo>
                    <a:lnTo>
                      <a:pt x="96" y="24"/>
                    </a:lnTo>
                    <a:lnTo>
                      <a:pt x="96" y="30"/>
                    </a:lnTo>
                    <a:lnTo>
                      <a:pt x="102" y="30"/>
                    </a:lnTo>
                    <a:lnTo>
                      <a:pt x="102" y="36"/>
                    </a:lnTo>
                    <a:lnTo>
                      <a:pt x="102" y="42"/>
                    </a:lnTo>
                    <a:lnTo>
                      <a:pt x="108" y="42"/>
                    </a:lnTo>
                    <a:lnTo>
                      <a:pt x="102" y="42"/>
                    </a:lnTo>
                    <a:lnTo>
                      <a:pt x="108" y="42"/>
                    </a:lnTo>
                    <a:lnTo>
                      <a:pt x="102" y="42"/>
                    </a:lnTo>
                    <a:lnTo>
                      <a:pt x="108" y="42"/>
                    </a:lnTo>
                    <a:lnTo>
                      <a:pt x="108" y="48"/>
                    </a:lnTo>
                    <a:lnTo>
                      <a:pt x="108" y="54"/>
                    </a:lnTo>
                    <a:lnTo>
                      <a:pt x="108" y="60"/>
                    </a:lnTo>
                    <a:lnTo>
                      <a:pt x="108" y="66"/>
                    </a:lnTo>
                    <a:lnTo>
                      <a:pt x="108" y="72"/>
                    </a:lnTo>
                    <a:lnTo>
                      <a:pt x="108" y="78"/>
                    </a:lnTo>
                    <a:lnTo>
                      <a:pt x="114" y="78"/>
                    </a:lnTo>
                    <a:lnTo>
                      <a:pt x="114" y="84"/>
                    </a:lnTo>
                    <a:lnTo>
                      <a:pt x="108" y="84"/>
                    </a:lnTo>
                    <a:lnTo>
                      <a:pt x="114" y="84"/>
                    </a:lnTo>
                    <a:lnTo>
                      <a:pt x="108" y="90"/>
                    </a:lnTo>
                    <a:lnTo>
                      <a:pt x="114" y="90"/>
                    </a:lnTo>
                    <a:lnTo>
                      <a:pt x="108" y="90"/>
                    </a:lnTo>
                    <a:lnTo>
                      <a:pt x="108" y="96"/>
                    </a:lnTo>
                    <a:lnTo>
                      <a:pt x="108" y="102"/>
                    </a:lnTo>
                    <a:lnTo>
                      <a:pt x="114" y="102"/>
                    </a:lnTo>
                    <a:lnTo>
                      <a:pt x="120" y="108"/>
                    </a:lnTo>
                    <a:lnTo>
                      <a:pt x="120" y="114"/>
                    </a:lnTo>
                    <a:lnTo>
                      <a:pt x="126" y="114"/>
                    </a:lnTo>
                    <a:lnTo>
                      <a:pt x="126" y="120"/>
                    </a:lnTo>
                    <a:lnTo>
                      <a:pt x="126" y="126"/>
                    </a:lnTo>
                    <a:lnTo>
                      <a:pt x="120" y="126"/>
                    </a:lnTo>
                    <a:lnTo>
                      <a:pt x="114" y="126"/>
                    </a:lnTo>
                    <a:lnTo>
                      <a:pt x="108" y="126"/>
                    </a:lnTo>
                    <a:lnTo>
                      <a:pt x="108" y="132"/>
                    </a:lnTo>
                    <a:lnTo>
                      <a:pt x="108" y="138"/>
                    </a:lnTo>
                    <a:lnTo>
                      <a:pt x="102" y="150"/>
                    </a:lnTo>
                    <a:lnTo>
                      <a:pt x="102" y="156"/>
                    </a:lnTo>
                    <a:lnTo>
                      <a:pt x="96" y="162"/>
                    </a:lnTo>
                    <a:lnTo>
                      <a:pt x="96" y="168"/>
                    </a:lnTo>
                    <a:lnTo>
                      <a:pt x="102" y="180"/>
                    </a:lnTo>
                    <a:lnTo>
                      <a:pt x="102" y="186"/>
                    </a:lnTo>
                    <a:lnTo>
                      <a:pt x="102" y="192"/>
                    </a:lnTo>
                    <a:lnTo>
                      <a:pt x="102" y="198"/>
                    </a:lnTo>
                    <a:lnTo>
                      <a:pt x="102" y="204"/>
                    </a:lnTo>
                    <a:lnTo>
                      <a:pt x="108" y="210"/>
                    </a:lnTo>
                    <a:lnTo>
                      <a:pt x="108" y="216"/>
                    </a:lnTo>
                    <a:lnTo>
                      <a:pt x="108" y="222"/>
                    </a:lnTo>
                    <a:lnTo>
                      <a:pt x="102" y="222"/>
                    </a:lnTo>
                    <a:lnTo>
                      <a:pt x="102" y="228"/>
                    </a:lnTo>
                    <a:lnTo>
                      <a:pt x="108" y="228"/>
                    </a:lnTo>
                    <a:lnTo>
                      <a:pt x="108" y="234"/>
                    </a:lnTo>
                    <a:lnTo>
                      <a:pt x="114" y="234"/>
                    </a:lnTo>
                    <a:lnTo>
                      <a:pt x="120" y="234"/>
                    </a:lnTo>
                    <a:lnTo>
                      <a:pt x="126" y="234"/>
                    </a:lnTo>
                    <a:lnTo>
                      <a:pt x="132" y="240"/>
                    </a:lnTo>
                    <a:lnTo>
                      <a:pt x="132" y="246"/>
                    </a:lnTo>
                    <a:lnTo>
                      <a:pt x="138" y="246"/>
                    </a:lnTo>
                    <a:lnTo>
                      <a:pt x="144" y="258"/>
                    </a:lnTo>
                    <a:lnTo>
                      <a:pt x="150" y="264"/>
                    </a:lnTo>
                    <a:lnTo>
                      <a:pt x="156" y="276"/>
                    </a:lnTo>
                    <a:lnTo>
                      <a:pt x="162" y="282"/>
                    </a:lnTo>
                    <a:lnTo>
                      <a:pt x="174" y="294"/>
                    </a:lnTo>
                    <a:lnTo>
                      <a:pt x="174" y="300"/>
                    </a:lnTo>
                    <a:lnTo>
                      <a:pt x="180" y="306"/>
                    </a:lnTo>
                    <a:lnTo>
                      <a:pt x="180" y="318"/>
                    </a:lnTo>
                    <a:lnTo>
                      <a:pt x="174" y="330"/>
                    </a:lnTo>
                    <a:lnTo>
                      <a:pt x="174" y="336"/>
                    </a:lnTo>
                    <a:lnTo>
                      <a:pt x="180" y="342"/>
                    </a:lnTo>
                    <a:lnTo>
                      <a:pt x="180" y="348"/>
                    </a:lnTo>
                    <a:lnTo>
                      <a:pt x="180" y="354"/>
                    </a:lnTo>
                    <a:lnTo>
                      <a:pt x="180" y="360"/>
                    </a:lnTo>
                    <a:lnTo>
                      <a:pt x="174" y="372"/>
                    </a:lnTo>
                    <a:lnTo>
                      <a:pt x="174" y="378"/>
                    </a:lnTo>
                    <a:lnTo>
                      <a:pt x="174" y="384"/>
                    </a:lnTo>
                    <a:lnTo>
                      <a:pt x="168" y="384"/>
                    </a:lnTo>
                    <a:lnTo>
                      <a:pt x="168" y="390"/>
                    </a:lnTo>
                    <a:lnTo>
                      <a:pt x="162" y="390"/>
                    </a:lnTo>
                    <a:lnTo>
                      <a:pt x="156" y="390"/>
                    </a:lnTo>
                    <a:lnTo>
                      <a:pt x="156" y="384"/>
                    </a:lnTo>
                    <a:lnTo>
                      <a:pt x="156" y="390"/>
                    </a:lnTo>
                    <a:lnTo>
                      <a:pt x="150" y="390"/>
                    </a:lnTo>
                    <a:lnTo>
                      <a:pt x="150" y="396"/>
                    </a:lnTo>
                    <a:lnTo>
                      <a:pt x="144" y="396"/>
                    </a:lnTo>
                    <a:lnTo>
                      <a:pt x="144" y="402"/>
                    </a:lnTo>
                    <a:lnTo>
                      <a:pt x="150" y="402"/>
                    </a:lnTo>
                    <a:lnTo>
                      <a:pt x="144" y="402"/>
                    </a:lnTo>
                    <a:lnTo>
                      <a:pt x="144" y="408"/>
                    </a:lnTo>
                    <a:lnTo>
                      <a:pt x="138" y="408"/>
                    </a:lnTo>
                    <a:lnTo>
                      <a:pt x="138" y="414"/>
                    </a:lnTo>
                    <a:lnTo>
                      <a:pt x="144" y="414"/>
                    </a:lnTo>
                    <a:lnTo>
                      <a:pt x="144" y="420"/>
                    </a:lnTo>
                    <a:lnTo>
                      <a:pt x="144" y="426"/>
                    </a:lnTo>
                    <a:lnTo>
                      <a:pt x="150" y="426"/>
                    </a:lnTo>
                    <a:lnTo>
                      <a:pt x="150" y="432"/>
                    </a:lnTo>
                    <a:lnTo>
                      <a:pt x="144" y="432"/>
                    </a:lnTo>
                    <a:lnTo>
                      <a:pt x="144" y="438"/>
                    </a:lnTo>
                    <a:lnTo>
                      <a:pt x="150" y="438"/>
                    </a:lnTo>
                    <a:lnTo>
                      <a:pt x="150" y="444"/>
                    </a:lnTo>
                    <a:lnTo>
                      <a:pt x="138" y="444"/>
                    </a:lnTo>
                    <a:lnTo>
                      <a:pt x="132" y="444"/>
                    </a:lnTo>
                    <a:lnTo>
                      <a:pt x="132" y="438"/>
                    </a:lnTo>
                    <a:lnTo>
                      <a:pt x="138" y="438"/>
                    </a:lnTo>
                    <a:lnTo>
                      <a:pt x="138" y="432"/>
                    </a:lnTo>
                    <a:lnTo>
                      <a:pt x="138" y="426"/>
                    </a:lnTo>
                    <a:lnTo>
                      <a:pt x="132" y="426"/>
                    </a:lnTo>
                    <a:lnTo>
                      <a:pt x="126" y="420"/>
                    </a:lnTo>
                    <a:lnTo>
                      <a:pt x="126" y="426"/>
                    </a:lnTo>
                    <a:lnTo>
                      <a:pt x="126" y="420"/>
                    </a:lnTo>
                    <a:lnTo>
                      <a:pt x="120" y="414"/>
                    </a:lnTo>
                    <a:lnTo>
                      <a:pt x="120" y="408"/>
                    </a:lnTo>
                    <a:lnTo>
                      <a:pt x="114" y="408"/>
                    </a:lnTo>
                    <a:lnTo>
                      <a:pt x="108" y="402"/>
                    </a:lnTo>
                    <a:lnTo>
                      <a:pt x="108" y="396"/>
                    </a:lnTo>
                    <a:lnTo>
                      <a:pt x="102" y="396"/>
                    </a:lnTo>
                    <a:lnTo>
                      <a:pt x="96" y="396"/>
                    </a:lnTo>
                    <a:lnTo>
                      <a:pt x="96" y="390"/>
                    </a:lnTo>
                    <a:lnTo>
                      <a:pt x="96" y="384"/>
                    </a:lnTo>
                    <a:lnTo>
                      <a:pt x="102" y="384"/>
                    </a:lnTo>
                    <a:lnTo>
                      <a:pt x="96" y="384"/>
                    </a:lnTo>
                    <a:lnTo>
                      <a:pt x="96" y="378"/>
                    </a:lnTo>
                    <a:lnTo>
                      <a:pt x="90" y="378"/>
                    </a:lnTo>
                    <a:lnTo>
                      <a:pt x="90" y="372"/>
                    </a:lnTo>
                    <a:lnTo>
                      <a:pt x="90" y="366"/>
                    </a:lnTo>
                    <a:lnTo>
                      <a:pt x="96" y="366"/>
                    </a:lnTo>
                    <a:lnTo>
                      <a:pt x="96" y="360"/>
                    </a:lnTo>
                    <a:lnTo>
                      <a:pt x="102" y="360"/>
                    </a:lnTo>
                    <a:lnTo>
                      <a:pt x="102" y="354"/>
                    </a:lnTo>
                    <a:lnTo>
                      <a:pt x="96" y="354"/>
                    </a:lnTo>
                    <a:lnTo>
                      <a:pt x="96" y="348"/>
                    </a:lnTo>
                    <a:lnTo>
                      <a:pt x="102" y="348"/>
                    </a:lnTo>
                    <a:lnTo>
                      <a:pt x="102" y="342"/>
                    </a:lnTo>
                    <a:lnTo>
                      <a:pt x="108" y="342"/>
                    </a:lnTo>
                    <a:lnTo>
                      <a:pt x="108" y="336"/>
                    </a:lnTo>
                    <a:lnTo>
                      <a:pt x="108" y="330"/>
                    </a:lnTo>
                    <a:lnTo>
                      <a:pt x="108" y="324"/>
                    </a:lnTo>
                    <a:lnTo>
                      <a:pt x="108" y="318"/>
                    </a:lnTo>
                    <a:lnTo>
                      <a:pt x="108" y="312"/>
                    </a:lnTo>
                    <a:lnTo>
                      <a:pt x="108" y="306"/>
                    </a:lnTo>
                    <a:lnTo>
                      <a:pt x="102" y="306"/>
                    </a:lnTo>
                    <a:lnTo>
                      <a:pt x="102" y="300"/>
                    </a:lnTo>
                    <a:lnTo>
                      <a:pt x="108" y="300"/>
                    </a:lnTo>
                    <a:lnTo>
                      <a:pt x="102" y="300"/>
                    </a:lnTo>
                    <a:lnTo>
                      <a:pt x="102" y="294"/>
                    </a:lnTo>
                    <a:lnTo>
                      <a:pt x="96" y="288"/>
                    </a:lnTo>
                    <a:lnTo>
                      <a:pt x="90" y="288"/>
                    </a:lnTo>
                    <a:lnTo>
                      <a:pt x="84" y="288"/>
                    </a:lnTo>
                    <a:lnTo>
                      <a:pt x="78" y="288"/>
                    </a:lnTo>
                    <a:lnTo>
                      <a:pt x="78" y="294"/>
                    </a:lnTo>
                    <a:lnTo>
                      <a:pt x="72" y="294"/>
                    </a:lnTo>
                    <a:lnTo>
                      <a:pt x="66" y="294"/>
                    </a:lnTo>
                    <a:lnTo>
                      <a:pt x="60" y="294"/>
                    </a:lnTo>
                    <a:lnTo>
                      <a:pt x="60" y="300"/>
                    </a:lnTo>
                    <a:lnTo>
                      <a:pt x="54" y="300"/>
                    </a:lnTo>
                    <a:lnTo>
                      <a:pt x="54" y="294"/>
                    </a:lnTo>
                    <a:lnTo>
                      <a:pt x="48" y="294"/>
                    </a:lnTo>
                    <a:lnTo>
                      <a:pt x="48" y="288"/>
                    </a:lnTo>
                    <a:lnTo>
                      <a:pt x="42" y="288"/>
                    </a:lnTo>
                    <a:lnTo>
                      <a:pt x="42" y="282"/>
                    </a:lnTo>
                    <a:lnTo>
                      <a:pt x="42" y="276"/>
                    </a:lnTo>
                    <a:lnTo>
                      <a:pt x="36" y="276"/>
                    </a:lnTo>
                    <a:lnTo>
                      <a:pt x="36" y="270"/>
                    </a:lnTo>
                    <a:lnTo>
                      <a:pt x="36" y="264"/>
                    </a:lnTo>
                    <a:lnTo>
                      <a:pt x="30" y="264"/>
                    </a:lnTo>
                    <a:lnTo>
                      <a:pt x="30" y="258"/>
                    </a:lnTo>
                    <a:lnTo>
                      <a:pt x="30" y="264"/>
                    </a:lnTo>
                    <a:lnTo>
                      <a:pt x="24" y="264"/>
                    </a:lnTo>
                    <a:lnTo>
                      <a:pt x="24" y="270"/>
                    </a:lnTo>
                    <a:lnTo>
                      <a:pt x="18" y="264"/>
                    </a:lnTo>
                    <a:lnTo>
                      <a:pt x="18" y="258"/>
                    </a:lnTo>
                    <a:lnTo>
                      <a:pt x="18" y="264"/>
                    </a:lnTo>
                    <a:lnTo>
                      <a:pt x="18" y="258"/>
                    </a:lnTo>
                    <a:lnTo>
                      <a:pt x="12" y="258"/>
                    </a:lnTo>
                    <a:lnTo>
                      <a:pt x="12" y="252"/>
                    </a:lnTo>
                    <a:lnTo>
                      <a:pt x="6" y="252"/>
                    </a:lnTo>
                    <a:lnTo>
                      <a:pt x="12" y="246"/>
                    </a:lnTo>
                    <a:lnTo>
                      <a:pt x="6" y="246"/>
                    </a:lnTo>
                    <a:lnTo>
                      <a:pt x="0" y="240"/>
                    </a:lnTo>
                    <a:lnTo>
                      <a:pt x="6" y="240"/>
                    </a:lnTo>
                    <a:lnTo>
                      <a:pt x="12" y="240"/>
                    </a:lnTo>
                    <a:lnTo>
                      <a:pt x="12" y="234"/>
                    </a:lnTo>
                    <a:lnTo>
                      <a:pt x="12" y="228"/>
                    </a:lnTo>
                    <a:lnTo>
                      <a:pt x="18" y="228"/>
                    </a:lnTo>
                    <a:lnTo>
                      <a:pt x="18" y="222"/>
                    </a:lnTo>
                    <a:lnTo>
                      <a:pt x="18" y="216"/>
                    </a:lnTo>
                    <a:lnTo>
                      <a:pt x="18" y="210"/>
                    </a:lnTo>
                    <a:lnTo>
                      <a:pt x="18" y="204"/>
                    </a:lnTo>
                    <a:lnTo>
                      <a:pt x="18" y="198"/>
                    </a:lnTo>
                    <a:lnTo>
                      <a:pt x="18" y="192"/>
                    </a:lnTo>
                    <a:lnTo>
                      <a:pt x="18" y="186"/>
                    </a:lnTo>
                    <a:lnTo>
                      <a:pt x="24" y="186"/>
                    </a:lnTo>
                    <a:lnTo>
                      <a:pt x="30" y="186"/>
                    </a:lnTo>
                    <a:lnTo>
                      <a:pt x="36" y="180"/>
                    </a:lnTo>
                    <a:lnTo>
                      <a:pt x="42" y="180"/>
                    </a:lnTo>
                    <a:lnTo>
                      <a:pt x="42" y="174"/>
                    </a:lnTo>
                    <a:lnTo>
                      <a:pt x="48" y="174"/>
                    </a:lnTo>
                    <a:lnTo>
                      <a:pt x="48" y="168"/>
                    </a:lnTo>
                    <a:lnTo>
                      <a:pt x="42" y="168"/>
                    </a:lnTo>
                    <a:lnTo>
                      <a:pt x="36" y="168"/>
                    </a:lnTo>
                    <a:lnTo>
                      <a:pt x="36" y="162"/>
                    </a:lnTo>
                    <a:lnTo>
                      <a:pt x="36" y="156"/>
                    </a:lnTo>
                    <a:lnTo>
                      <a:pt x="36" y="150"/>
                    </a:lnTo>
                    <a:lnTo>
                      <a:pt x="36" y="144"/>
                    </a:lnTo>
                    <a:lnTo>
                      <a:pt x="36" y="138"/>
                    </a:lnTo>
                    <a:lnTo>
                      <a:pt x="36" y="132"/>
                    </a:lnTo>
                    <a:lnTo>
                      <a:pt x="36" y="126"/>
                    </a:lnTo>
                    <a:lnTo>
                      <a:pt x="30" y="126"/>
                    </a:lnTo>
                    <a:lnTo>
                      <a:pt x="36" y="126"/>
                    </a:lnTo>
                    <a:lnTo>
                      <a:pt x="36" y="120"/>
                    </a:lnTo>
                    <a:lnTo>
                      <a:pt x="30" y="120"/>
                    </a:lnTo>
                    <a:lnTo>
                      <a:pt x="36" y="120"/>
                    </a:lnTo>
                    <a:lnTo>
                      <a:pt x="30" y="120"/>
                    </a:lnTo>
                    <a:lnTo>
                      <a:pt x="30" y="114"/>
                    </a:lnTo>
                    <a:lnTo>
                      <a:pt x="36" y="114"/>
                    </a:lnTo>
                    <a:lnTo>
                      <a:pt x="36" y="120"/>
                    </a:lnTo>
                    <a:lnTo>
                      <a:pt x="36" y="114"/>
                    </a:lnTo>
                    <a:lnTo>
                      <a:pt x="36" y="108"/>
                    </a:lnTo>
                    <a:lnTo>
                      <a:pt x="42" y="108"/>
                    </a:lnTo>
                    <a:lnTo>
                      <a:pt x="42" y="102"/>
                    </a:lnTo>
                    <a:lnTo>
                      <a:pt x="42" y="96"/>
                    </a:lnTo>
                    <a:lnTo>
                      <a:pt x="36" y="96"/>
                    </a:lnTo>
                    <a:lnTo>
                      <a:pt x="36" y="90"/>
                    </a:lnTo>
                    <a:lnTo>
                      <a:pt x="36" y="84"/>
                    </a:lnTo>
                    <a:lnTo>
                      <a:pt x="42" y="84"/>
                    </a:lnTo>
                    <a:lnTo>
                      <a:pt x="48" y="84"/>
                    </a:lnTo>
                    <a:lnTo>
                      <a:pt x="48" y="78"/>
                    </a:lnTo>
                    <a:lnTo>
                      <a:pt x="54" y="78"/>
                    </a:lnTo>
                    <a:lnTo>
                      <a:pt x="54" y="72"/>
                    </a:lnTo>
                    <a:lnTo>
                      <a:pt x="60" y="72"/>
                    </a:lnTo>
                    <a:lnTo>
                      <a:pt x="60" y="66"/>
                    </a:lnTo>
                    <a:lnTo>
                      <a:pt x="54" y="66"/>
                    </a:lnTo>
                    <a:lnTo>
                      <a:pt x="54" y="60"/>
                    </a:lnTo>
                    <a:lnTo>
                      <a:pt x="48" y="60"/>
                    </a:lnTo>
                    <a:lnTo>
                      <a:pt x="48" y="54"/>
                    </a:lnTo>
                    <a:lnTo>
                      <a:pt x="48" y="48"/>
                    </a:lnTo>
                    <a:lnTo>
                      <a:pt x="42" y="48"/>
                    </a:lnTo>
                    <a:lnTo>
                      <a:pt x="42" y="42"/>
                    </a:lnTo>
                    <a:lnTo>
                      <a:pt x="36" y="42"/>
                    </a:lnTo>
                    <a:lnTo>
                      <a:pt x="36" y="36"/>
                    </a:lnTo>
                    <a:lnTo>
                      <a:pt x="42" y="36"/>
                    </a:lnTo>
                    <a:lnTo>
                      <a:pt x="42" y="30"/>
                    </a:lnTo>
                    <a:lnTo>
                      <a:pt x="36" y="30"/>
                    </a:lnTo>
                    <a:lnTo>
                      <a:pt x="36" y="24"/>
                    </a:lnTo>
                    <a:lnTo>
                      <a:pt x="30" y="24"/>
                    </a:lnTo>
                    <a:lnTo>
                      <a:pt x="30" y="18"/>
                    </a:lnTo>
                    <a:lnTo>
                      <a:pt x="30" y="12"/>
                    </a:lnTo>
                    <a:lnTo>
                      <a:pt x="30" y="18"/>
                    </a:lnTo>
                    <a:lnTo>
                      <a:pt x="30" y="12"/>
                    </a:lnTo>
                    <a:lnTo>
                      <a:pt x="24" y="18"/>
                    </a:lnTo>
                    <a:lnTo>
                      <a:pt x="24" y="12"/>
                    </a:lnTo>
                    <a:lnTo>
                      <a:pt x="24" y="18"/>
                    </a:lnTo>
                    <a:lnTo>
                      <a:pt x="18" y="18"/>
                    </a:lnTo>
                    <a:lnTo>
                      <a:pt x="18" y="12"/>
                    </a:lnTo>
                    <a:lnTo>
                      <a:pt x="24" y="12"/>
                    </a:lnTo>
                    <a:lnTo>
                      <a:pt x="18" y="12"/>
                    </a:lnTo>
                    <a:lnTo>
                      <a:pt x="18" y="6"/>
                    </a:lnTo>
                    <a:close/>
                    <a:moveTo>
                      <a:pt x="114" y="150"/>
                    </a:moveTo>
                    <a:lnTo>
                      <a:pt x="120" y="150"/>
                    </a:lnTo>
                    <a:lnTo>
                      <a:pt x="120" y="156"/>
                    </a:lnTo>
                    <a:lnTo>
                      <a:pt x="114" y="156"/>
                    </a:lnTo>
                    <a:lnTo>
                      <a:pt x="114" y="150"/>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5" name="Freeform 56"/>
              <p:cNvSpPr>
                <a:spLocks noEditPoints="1"/>
              </p:cNvSpPr>
              <p:nvPr>
                <p:custDataLst>
                  <p:tags r:id="rId52"/>
                </p:custDataLst>
              </p:nvPr>
            </p:nvSpPr>
            <p:spPr bwMode="gray">
              <a:xfrm>
                <a:off x="5020052" y="2884696"/>
                <a:ext cx="88679" cy="70815"/>
              </a:xfrm>
              <a:custGeom>
                <a:avLst/>
                <a:gdLst>
                  <a:gd name="T0" fmla="*/ 0 w 72"/>
                  <a:gd name="T1" fmla="*/ 6741 h 60"/>
                  <a:gd name="T2" fmla="*/ 0 w 72"/>
                  <a:gd name="T3" fmla="*/ 3852 h 60"/>
                  <a:gd name="T4" fmla="*/ 0 w 72"/>
                  <a:gd name="T5" fmla="*/ 1926 h 60"/>
                  <a:gd name="T6" fmla="*/ 1868 w 72"/>
                  <a:gd name="T7" fmla="*/ 0 h 60"/>
                  <a:gd name="T8" fmla="*/ 3738 w 72"/>
                  <a:gd name="T9" fmla="*/ 0 h 60"/>
                  <a:gd name="T10" fmla="*/ 3738 w 72"/>
                  <a:gd name="T11" fmla="*/ 1926 h 60"/>
                  <a:gd name="T12" fmla="*/ 3738 w 72"/>
                  <a:gd name="T13" fmla="*/ 3852 h 60"/>
                  <a:gd name="T14" fmla="*/ 3738 w 72"/>
                  <a:gd name="T15" fmla="*/ 6741 h 60"/>
                  <a:gd name="T16" fmla="*/ 3738 w 72"/>
                  <a:gd name="T17" fmla="*/ 7704 h 60"/>
                  <a:gd name="T18" fmla="*/ 3738 w 72"/>
                  <a:gd name="T19" fmla="*/ 10594 h 60"/>
                  <a:gd name="T20" fmla="*/ 6540 w 72"/>
                  <a:gd name="T21" fmla="*/ 10594 h 60"/>
                  <a:gd name="T22" fmla="*/ 3738 w 72"/>
                  <a:gd name="T23" fmla="*/ 10594 h 60"/>
                  <a:gd name="T24" fmla="*/ 3738 w 72"/>
                  <a:gd name="T25" fmla="*/ 12520 h 60"/>
                  <a:gd name="T26" fmla="*/ 3738 w 72"/>
                  <a:gd name="T27" fmla="*/ 10594 h 60"/>
                  <a:gd name="T28" fmla="*/ 1868 w 72"/>
                  <a:gd name="T29" fmla="*/ 10594 h 60"/>
                  <a:gd name="T30" fmla="*/ 0 w 72"/>
                  <a:gd name="T31" fmla="*/ 10594 h 60"/>
                  <a:gd name="T32" fmla="*/ 0 w 72"/>
                  <a:gd name="T33" fmla="*/ 7704 h 60"/>
                  <a:gd name="T34" fmla="*/ 0 w 72"/>
                  <a:gd name="T35" fmla="*/ 6741 h 60"/>
                  <a:gd name="T36" fmla="*/ 24294 w 72"/>
                  <a:gd name="T37" fmla="*/ 14446 h 60"/>
                  <a:gd name="T38" fmla="*/ 24294 w 72"/>
                  <a:gd name="T39" fmla="*/ 16372 h 60"/>
                  <a:gd name="T40" fmla="*/ 24294 w 72"/>
                  <a:gd name="T41" fmla="*/ 18298 h 60"/>
                  <a:gd name="T42" fmla="*/ 24294 w 72"/>
                  <a:gd name="T43" fmla="*/ 21188 h 60"/>
                  <a:gd name="T44" fmla="*/ 24294 w 72"/>
                  <a:gd name="T45" fmla="*/ 18298 h 60"/>
                  <a:gd name="T46" fmla="*/ 21490 w 72"/>
                  <a:gd name="T47" fmla="*/ 18298 h 60"/>
                  <a:gd name="T48" fmla="*/ 21490 w 72"/>
                  <a:gd name="T49" fmla="*/ 16372 h 60"/>
                  <a:gd name="T50" fmla="*/ 20556 w 72"/>
                  <a:gd name="T51" fmla="*/ 16372 h 60"/>
                  <a:gd name="T52" fmla="*/ 17753 w 72"/>
                  <a:gd name="T53" fmla="*/ 16372 h 60"/>
                  <a:gd name="T54" fmla="*/ 20556 w 72"/>
                  <a:gd name="T55" fmla="*/ 16372 h 60"/>
                  <a:gd name="T56" fmla="*/ 21490 w 72"/>
                  <a:gd name="T57" fmla="*/ 16372 h 60"/>
                  <a:gd name="T58" fmla="*/ 21490 w 72"/>
                  <a:gd name="T59" fmla="*/ 14446 h 60"/>
                  <a:gd name="T60" fmla="*/ 24294 w 72"/>
                  <a:gd name="T61" fmla="*/ 14446 h 60"/>
                  <a:gd name="T62" fmla="*/ 10278 w 72"/>
                  <a:gd name="T63" fmla="*/ 18298 h 60"/>
                  <a:gd name="T64" fmla="*/ 12147 w 72"/>
                  <a:gd name="T65" fmla="*/ 18298 h 60"/>
                  <a:gd name="T66" fmla="*/ 12147 w 72"/>
                  <a:gd name="T67" fmla="*/ 21188 h 60"/>
                  <a:gd name="T68" fmla="*/ 10278 w 72"/>
                  <a:gd name="T69" fmla="*/ 21188 h 60"/>
                  <a:gd name="T70" fmla="*/ 10278 w 72"/>
                  <a:gd name="T71" fmla="*/ 18298 h 60"/>
                  <a:gd name="T72" fmla="*/ 10278 w 72"/>
                  <a:gd name="T73" fmla="*/ 21188 h 60"/>
                  <a:gd name="T74" fmla="*/ 10278 w 72"/>
                  <a:gd name="T75" fmla="*/ 18298 h 60"/>
                  <a:gd name="T76" fmla="*/ 10278 w 72"/>
                  <a:gd name="T77" fmla="*/ 21188 h 60"/>
                  <a:gd name="T78" fmla="*/ 10278 w 72"/>
                  <a:gd name="T79" fmla="*/ 18298 h 60"/>
                  <a:gd name="T80" fmla="*/ 10278 w 72"/>
                  <a:gd name="T81" fmla="*/ 21188 h 60"/>
                  <a:gd name="T82" fmla="*/ 10278 w 72"/>
                  <a:gd name="T83" fmla="*/ 18298 h 60"/>
                  <a:gd name="T84" fmla="*/ 7475 w 72"/>
                  <a:gd name="T85" fmla="*/ 18298 h 60"/>
                  <a:gd name="T86" fmla="*/ 7475 w 72"/>
                  <a:gd name="T87" fmla="*/ 16372 h 60"/>
                  <a:gd name="T88" fmla="*/ 10278 w 72"/>
                  <a:gd name="T89" fmla="*/ 18298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60">
                    <a:moveTo>
                      <a:pt x="0" y="18"/>
                    </a:moveTo>
                    <a:lnTo>
                      <a:pt x="0" y="12"/>
                    </a:lnTo>
                    <a:lnTo>
                      <a:pt x="0" y="6"/>
                    </a:lnTo>
                    <a:lnTo>
                      <a:pt x="6" y="0"/>
                    </a:lnTo>
                    <a:lnTo>
                      <a:pt x="12" y="0"/>
                    </a:lnTo>
                    <a:lnTo>
                      <a:pt x="12" y="6"/>
                    </a:lnTo>
                    <a:lnTo>
                      <a:pt x="12" y="12"/>
                    </a:lnTo>
                    <a:lnTo>
                      <a:pt x="12" y="18"/>
                    </a:lnTo>
                    <a:lnTo>
                      <a:pt x="12" y="24"/>
                    </a:lnTo>
                    <a:lnTo>
                      <a:pt x="12" y="30"/>
                    </a:lnTo>
                    <a:lnTo>
                      <a:pt x="18" y="30"/>
                    </a:lnTo>
                    <a:lnTo>
                      <a:pt x="12" y="30"/>
                    </a:lnTo>
                    <a:lnTo>
                      <a:pt x="12" y="36"/>
                    </a:lnTo>
                    <a:lnTo>
                      <a:pt x="12" y="30"/>
                    </a:lnTo>
                    <a:lnTo>
                      <a:pt x="6" y="30"/>
                    </a:lnTo>
                    <a:lnTo>
                      <a:pt x="0" y="30"/>
                    </a:lnTo>
                    <a:lnTo>
                      <a:pt x="0" y="24"/>
                    </a:lnTo>
                    <a:lnTo>
                      <a:pt x="0" y="18"/>
                    </a:lnTo>
                    <a:close/>
                    <a:moveTo>
                      <a:pt x="72" y="42"/>
                    </a:moveTo>
                    <a:lnTo>
                      <a:pt x="72" y="48"/>
                    </a:lnTo>
                    <a:lnTo>
                      <a:pt x="72" y="54"/>
                    </a:lnTo>
                    <a:lnTo>
                      <a:pt x="72" y="60"/>
                    </a:lnTo>
                    <a:lnTo>
                      <a:pt x="72" y="54"/>
                    </a:lnTo>
                    <a:lnTo>
                      <a:pt x="66" y="54"/>
                    </a:lnTo>
                    <a:lnTo>
                      <a:pt x="66" y="48"/>
                    </a:lnTo>
                    <a:lnTo>
                      <a:pt x="60" y="48"/>
                    </a:lnTo>
                    <a:lnTo>
                      <a:pt x="54" y="48"/>
                    </a:lnTo>
                    <a:lnTo>
                      <a:pt x="60" y="48"/>
                    </a:lnTo>
                    <a:lnTo>
                      <a:pt x="66" y="48"/>
                    </a:lnTo>
                    <a:lnTo>
                      <a:pt x="66" y="42"/>
                    </a:lnTo>
                    <a:lnTo>
                      <a:pt x="72" y="42"/>
                    </a:lnTo>
                    <a:close/>
                    <a:moveTo>
                      <a:pt x="30" y="54"/>
                    </a:moveTo>
                    <a:lnTo>
                      <a:pt x="36" y="54"/>
                    </a:lnTo>
                    <a:lnTo>
                      <a:pt x="36" y="60"/>
                    </a:lnTo>
                    <a:lnTo>
                      <a:pt x="30" y="60"/>
                    </a:lnTo>
                    <a:lnTo>
                      <a:pt x="30" y="54"/>
                    </a:lnTo>
                    <a:lnTo>
                      <a:pt x="30" y="60"/>
                    </a:lnTo>
                    <a:lnTo>
                      <a:pt x="30" y="54"/>
                    </a:lnTo>
                    <a:lnTo>
                      <a:pt x="30" y="60"/>
                    </a:lnTo>
                    <a:lnTo>
                      <a:pt x="30" y="54"/>
                    </a:lnTo>
                    <a:lnTo>
                      <a:pt x="30" y="60"/>
                    </a:lnTo>
                    <a:lnTo>
                      <a:pt x="30" y="54"/>
                    </a:lnTo>
                    <a:lnTo>
                      <a:pt x="24" y="54"/>
                    </a:lnTo>
                    <a:lnTo>
                      <a:pt x="24" y="48"/>
                    </a:lnTo>
                    <a:lnTo>
                      <a:pt x="30" y="5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6" name="Freeform 57"/>
              <p:cNvSpPr>
                <a:spLocks noEditPoints="1"/>
              </p:cNvSpPr>
              <p:nvPr>
                <p:custDataLst>
                  <p:tags r:id="rId53"/>
                </p:custDataLst>
              </p:nvPr>
            </p:nvSpPr>
            <p:spPr bwMode="gray">
              <a:xfrm>
                <a:off x="4104237" y="2828949"/>
                <a:ext cx="749744" cy="1137543"/>
              </a:xfrm>
              <a:custGeom>
                <a:avLst/>
                <a:gdLst>
                  <a:gd name="T0" fmla="*/ 76765 w 594"/>
                  <a:gd name="T1" fmla="*/ 78558 h 966"/>
                  <a:gd name="T2" fmla="*/ 85511 w 594"/>
                  <a:gd name="T3" fmla="*/ 100864 h 966"/>
                  <a:gd name="T4" fmla="*/ 87454 w 594"/>
                  <a:gd name="T5" fmla="*/ 117351 h 966"/>
                  <a:gd name="T6" fmla="*/ 101058 w 594"/>
                  <a:gd name="T7" fmla="*/ 131899 h 966"/>
                  <a:gd name="T8" fmla="*/ 104944 w 594"/>
                  <a:gd name="T9" fmla="*/ 113472 h 966"/>
                  <a:gd name="T10" fmla="*/ 111746 w 594"/>
                  <a:gd name="T11" fmla="*/ 81467 h 966"/>
                  <a:gd name="T12" fmla="*/ 87454 w 594"/>
                  <a:gd name="T13" fmla="*/ 51402 h 966"/>
                  <a:gd name="T14" fmla="*/ 98142 w 594"/>
                  <a:gd name="T15" fmla="*/ 21336 h 966"/>
                  <a:gd name="T16" fmla="*/ 126323 w 594"/>
                  <a:gd name="T17" fmla="*/ 23276 h 966"/>
                  <a:gd name="T18" fmla="*/ 151587 w 594"/>
                  <a:gd name="T19" fmla="*/ 21336 h 966"/>
                  <a:gd name="T20" fmla="*/ 173936 w 594"/>
                  <a:gd name="T21" fmla="*/ 12608 h 966"/>
                  <a:gd name="T22" fmla="*/ 203088 w 594"/>
                  <a:gd name="T23" fmla="*/ 0 h 966"/>
                  <a:gd name="T24" fmla="*/ 203088 w 594"/>
                  <a:gd name="T25" fmla="*/ 17457 h 966"/>
                  <a:gd name="T26" fmla="*/ 206003 w 594"/>
                  <a:gd name="T27" fmla="*/ 33945 h 966"/>
                  <a:gd name="T28" fmla="*/ 207946 w 594"/>
                  <a:gd name="T29" fmla="*/ 42673 h 966"/>
                  <a:gd name="T30" fmla="*/ 206003 w 594"/>
                  <a:gd name="T31" fmla="*/ 51402 h 966"/>
                  <a:gd name="T32" fmla="*/ 207946 w 594"/>
                  <a:gd name="T33" fmla="*/ 67889 h 966"/>
                  <a:gd name="T34" fmla="*/ 207946 w 594"/>
                  <a:gd name="T35" fmla="*/ 78558 h 966"/>
                  <a:gd name="T36" fmla="*/ 209890 w 594"/>
                  <a:gd name="T37" fmla="*/ 87286 h 966"/>
                  <a:gd name="T38" fmla="*/ 206003 w 594"/>
                  <a:gd name="T39" fmla="*/ 94075 h 966"/>
                  <a:gd name="T40" fmla="*/ 203088 w 594"/>
                  <a:gd name="T41" fmla="*/ 101834 h 966"/>
                  <a:gd name="T42" fmla="*/ 192399 w 594"/>
                  <a:gd name="T43" fmla="*/ 115411 h 966"/>
                  <a:gd name="T44" fmla="*/ 181710 w 594"/>
                  <a:gd name="T45" fmla="*/ 128019 h 966"/>
                  <a:gd name="T46" fmla="*/ 169078 w 594"/>
                  <a:gd name="T47" fmla="*/ 134808 h 966"/>
                  <a:gd name="T48" fmla="*/ 158389 w 594"/>
                  <a:gd name="T49" fmla="*/ 138688 h 966"/>
                  <a:gd name="T50" fmla="*/ 143813 w 594"/>
                  <a:gd name="T51" fmla="*/ 145477 h 966"/>
                  <a:gd name="T52" fmla="*/ 131181 w 594"/>
                  <a:gd name="T53" fmla="*/ 158084 h 966"/>
                  <a:gd name="T54" fmla="*/ 124379 w 594"/>
                  <a:gd name="T55" fmla="*/ 168753 h 966"/>
                  <a:gd name="T56" fmla="*/ 108831 w 594"/>
                  <a:gd name="T57" fmla="*/ 174572 h 966"/>
                  <a:gd name="T58" fmla="*/ 98142 w 594"/>
                  <a:gd name="T59" fmla="*/ 190090 h 966"/>
                  <a:gd name="T60" fmla="*/ 92313 w 594"/>
                  <a:gd name="T61" fmla="*/ 193969 h 966"/>
                  <a:gd name="T62" fmla="*/ 92313 w 594"/>
                  <a:gd name="T63" fmla="*/ 209486 h 966"/>
                  <a:gd name="T64" fmla="*/ 96199 w 594"/>
                  <a:gd name="T65" fmla="*/ 211426 h 966"/>
                  <a:gd name="T66" fmla="*/ 98142 w 594"/>
                  <a:gd name="T67" fmla="*/ 219184 h 966"/>
                  <a:gd name="T68" fmla="*/ 101058 w 594"/>
                  <a:gd name="T69" fmla="*/ 229853 h 966"/>
                  <a:gd name="T70" fmla="*/ 106888 w 594"/>
                  <a:gd name="T71" fmla="*/ 243430 h 966"/>
                  <a:gd name="T72" fmla="*/ 104944 w 594"/>
                  <a:gd name="T73" fmla="*/ 273496 h 966"/>
                  <a:gd name="T74" fmla="*/ 103001 w 594"/>
                  <a:gd name="T75" fmla="*/ 288043 h 966"/>
                  <a:gd name="T76" fmla="*/ 74822 w 594"/>
                  <a:gd name="T77" fmla="*/ 302591 h 966"/>
                  <a:gd name="T78" fmla="*/ 51501 w 594"/>
                  <a:gd name="T79" fmla="*/ 320048 h 966"/>
                  <a:gd name="T80" fmla="*/ 49557 w 594"/>
                  <a:gd name="T81" fmla="*/ 326838 h 966"/>
                  <a:gd name="T82" fmla="*/ 56359 w 594"/>
                  <a:gd name="T83" fmla="*/ 330717 h 966"/>
                  <a:gd name="T84" fmla="*/ 37897 w 594"/>
                  <a:gd name="T85" fmla="*/ 328777 h 966"/>
                  <a:gd name="T86" fmla="*/ 36925 w 594"/>
                  <a:gd name="T87" fmla="*/ 293862 h 966"/>
                  <a:gd name="T88" fmla="*/ 26236 w 594"/>
                  <a:gd name="T89" fmla="*/ 257979 h 966"/>
                  <a:gd name="T90" fmla="*/ 46642 w 594"/>
                  <a:gd name="T91" fmla="*/ 211426 h 966"/>
                  <a:gd name="T92" fmla="*/ 56359 w 594"/>
                  <a:gd name="T93" fmla="*/ 188150 h 966"/>
                  <a:gd name="T94" fmla="*/ 53444 w 594"/>
                  <a:gd name="T95" fmla="*/ 168753 h 966"/>
                  <a:gd name="T96" fmla="*/ 56359 w 594"/>
                  <a:gd name="T97" fmla="*/ 149356 h 966"/>
                  <a:gd name="T98" fmla="*/ 53444 w 594"/>
                  <a:gd name="T99" fmla="*/ 126080 h 966"/>
                  <a:gd name="T100" fmla="*/ 30123 w 594"/>
                  <a:gd name="T101" fmla="*/ 115411 h 966"/>
                  <a:gd name="T102" fmla="*/ 3887 w 594"/>
                  <a:gd name="T103" fmla="*/ 108622 h 966"/>
                  <a:gd name="T104" fmla="*/ 12633 w 594"/>
                  <a:gd name="T105" fmla="*/ 87286 h 966"/>
                  <a:gd name="T106" fmla="*/ 46642 w 594"/>
                  <a:gd name="T107" fmla="*/ 74678 h 966"/>
                  <a:gd name="T108" fmla="*/ 104944 w 594"/>
                  <a:gd name="T109" fmla="*/ 228883 h 966"/>
                  <a:gd name="T110" fmla="*/ 104944 w 594"/>
                  <a:gd name="T111" fmla="*/ 234702 h 966"/>
                  <a:gd name="T112" fmla="*/ 209890 w 594"/>
                  <a:gd name="T113" fmla="*/ 10668 h 966"/>
                  <a:gd name="T114" fmla="*/ 192399 w 594"/>
                  <a:gd name="T115" fmla="*/ 117351 h 966"/>
                  <a:gd name="T116" fmla="*/ 111746 w 594"/>
                  <a:gd name="T117" fmla="*/ 177481 h 966"/>
                  <a:gd name="T118" fmla="*/ 206003 w 594"/>
                  <a:gd name="T119" fmla="*/ 100864 h 966"/>
                  <a:gd name="T120" fmla="*/ 104944 w 594"/>
                  <a:gd name="T121" fmla="*/ 277375 h 9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94" h="966">
                    <a:moveTo>
                      <a:pt x="168" y="198"/>
                    </a:moveTo>
                    <a:lnTo>
                      <a:pt x="174" y="198"/>
                    </a:lnTo>
                    <a:lnTo>
                      <a:pt x="174" y="204"/>
                    </a:lnTo>
                    <a:lnTo>
                      <a:pt x="174" y="210"/>
                    </a:lnTo>
                    <a:lnTo>
                      <a:pt x="180" y="210"/>
                    </a:lnTo>
                    <a:lnTo>
                      <a:pt x="180" y="216"/>
                    </a:lnTo>
                    <a:lnTo>
                      <a:pt x="180" y="222"/>
                    </a:lnTo>
                    <a:lnTo>
                      <a:pt x="186" y="222"/>
                    </a:lnTo>
                    <a:lnTo>
                      <a:pt x="186" y="228"/>
                    </a:lnTo>
                    <a:lnTo>
                      <a:pt x="192" y="228"/>
                    </a:lnTo>
                    <a:lnTo>
                      <a:pt x="192" y="234"/>
                    </a:lnTo>
                    <a:lnTo>
                      <a:pt x="198" y="234"/>
                    </a:lnTo>
                    <a:lnTo>
                      <a:pt x="198" y="228"/>
                    </a:lnTo>
                    <a:lnTo>
                      <a:pt x="204" y="228"/>
                    </a:lnTo>
                    <a:lnTo>
                      <a:pt x="210" y="228"/>
                    </a:lnTo>
                    <a:lnTo>
                      <a:pt x="216" y="228"/>
                    </a:lnTo>
                    <a:lnTo>
                      <a:pt x="216" y="222"/>
                    </a:lnTo>
                    <a:lnTo>
                      <a:pt x="222" y="222"/>
                    </a:lnTo>
                    <a:lnTo>
                      <a:pt x="228" y="222"/>
                    </a:lnTo>
                    <a:lnTo>
                      <a:pt x="234" y="222"/>
                    </a:lnTo>
                    <a:lnTo>
                      <a:pt x="240" y="228"/>
                    </a:lnTo>
                    <a:lnTo>
                      <a:pt x="240" y="234"/>
                    </a:lnTo>
                    <a:lnTo>
                      <a:pt x="246" y="234"/>
                    </a:lnTo>
                    <a:lnTo>
                      <a:pt x="240" y="234"/>
                    </a:lnTo>
                    <a:lnTo>
                      <a:pt x="240" y="240"/>
                    </a:lnTo>
                    <a:lnTo>
                      <a:pt x="246" y="240"/>
                    </a:lnTo>
                    <a:lnTo>
                      <a:pt x="246" y="246"/>
                    </a:lnTo>
                    <a:lnTo>
                      <a:pt x="246" y="252"/>
                    </a:lnTo>
                    <a:lnTo>
                      <a:pt x="246" y="258"/>
                    </a:lnTo>
                    <a:lnTo>
                      <a:pt x="246" y="264"/>
                    </a:lnTo>
                    <a:lnTo>
                      <a:pt x="246" y="270"/>
                    </a:lnTo>
                    <a:lnTo>
                      <a:pt x="246" y="276"/>
                    </a:lnTo>
                    <a:lnTo>
                      <a:pt x="240" y="276"/>
                    </a:lnTo>
                    <a:lnTo>
                      <a:pt x="240" y="282"/>
                    </a:lnTo>
                    <a:lnTo>
                      <a:pt x="234" y="282"/>
                    </a:lnTo>
                    <a:lnTo>
                      <a:pt x="234" y="288"/>
                    </a:lnTo>
                    <a:lnTo>
                      <a:pt x="240" y="288"/>
                    </a:lnTo>
                    <a:lnTo>
                      <a:pt x="240" y="294"/>
                    </a:lnTo>
                    <a:lnTo>
                      <a:pt x="234" y="294"/>
                    </a:lnTo>
                    <a:lnTo>
                      <a:pt x="234" y="300"/>
                    </a:lnTo>
                    <a:lnTo>
                      <a:pt x="228" y="300"/>
                    </a:lnTo>
                    <a:lnTo>
                      <a:pt x="228" y="306"/>
                    </a:lnTo>
                    <a:lnTo>
                      <a:pt x="228" y="312"/>
                    </a:lnTo>
                    <a:lnTo>
                      <a:pt x="234" y="312"/>
                    </a:lnTo>
                    <a:lnTo>
                      <a:pt x="234" y="318"/>
                    </a:lnTo>
                    <a:lnTo>
                      <a:pt x="240" y="318"/>
                    </a:lnTo>
                    <a:lnTo>
                      <a:pt x="234" y="318"/>
                    </a:lnTo>
                    <a:lnTo>
                      <a:pt x="234" y="324"/>
                    </a:lnTo>
                    <a:lnTo>
                      <a:pt x="234" y="330"/>
                    </a:lnTo>
                    <a:lnTo>
                      <a:pt x="240" y="330"/>
                    </a:lnTo>
                    <a:lnTo>
                      <a:pt x="246" y="330"/>
                    </a:lnTo>
                    <a:lnTo>
                      <a:pt x="246" y="336"/>
                    </a:lnTo>
                    <a:lnTo>
                      <a:pt x="252" y="342"/>
                    </a:lnTo>
                    <a:lnTo>
                      <a:pt x="258" y="342"/>
                    </a:lnTo>
                    <a:lnTo>
                      <a:pt x="258" y="348"/>
                    </a:lnTo>
                    <a:lnTo>
                      <a:pt x="264" y="354"/>
                    </a:lnTo>
                    <a:lnTo>
                      <a:pt x="264" y="360"/>
                    </a:lnTo>
                    <a:lnTo>
                      <a:pt x="264" y="354"/>
                    </a:lnTo>
                    <a:lnTo>
                      <a:pt x="270" y="360"/>
                    </a:lnTo>
                    <a:lnTo>
                      <a:pt x="276" y="360"/>
                    </a:lnTo>
                    <a:lnTo>
                      <a:pt x="276" y="366"/>
                    </a:lnTo>
                    <a:lnTo>
                      <a:pt x="276" y="372"/>
                    </a:lnTo>
                    <a:lnTo>
                      <a:pt x="270" y="372"/>
                    </a:lnTo>
                    <a:lnTo>
                      <a:pt x="270" y="378"/>
                    </a:lnTo>
                    <a:lnTo>
                      <a:pt x="276" y="378"/>
                    </a:lnTo>
                    <a:lnTo>
                      <a:pt x="288" y="378"/>
                    </a:lnTo>
                    <a:lnTo>
                      <a:pt x="288" y="372"/>
                    </a:lnTo>
                    <a:lnTo>
                      <a:pt x="282" y="372"/>
                    </a:lnTo>
                    <a:lnTo>
                      <a:pt x="282" y="366"/>
                    </a:lnTo>
                    <a:lnTo>
                      <a:pt x="288" y="366"/>
                    </a:lnTo>
                    <a:lnTo>
                      <a:pt x="288" y="360"/>
                    </a:lnTo>
                    <a:lnTo>
                      <a:pt x="282" y="360"/>
                    </a:lnTo>
                    <a:lnTo>
                      <a:pt x="282" y="354"/>
                    </a:lnTo>
                    <a:lnTo>
                      <a:pt x="282" y="348"/>
                    </a:lnTo>
                    <a:lnTo>
                      <a:pt x="276" y="348"/>
                    </a:lnTo>
                    <a:lnTo>
                      <a:pt x="276" y="342"/>
                    </a:lnTo>
                    <a:lnTo>
                      <a:pt x="282" y="342"/>
                    </a:lnTo>
                    <a:lnTo>
                      <a:pt x="282" y="336"/>
                    </a:lnTo>
                    <a:lnTo>
                      <a:pt x="288" y="336"/>
                    </a:lnTo>
                    <a:lnTo>
                      <a:pt x="282" y="336"/>
                    </a:lnTo>
                    <a:lnTo>
                      <a:pt x="282" y="330"/>
                    </a:lnTo>
                    <a:lnTo>
                      <a:pt x="288" y="330"/>
                    </a:lnTo>
                    <a:lnTo>
                      <a:pt x="288" y="324"/>
                    </a:lnTo>
                    <a:lnTo>
                      <a:pt x="294" y="324"/>
                    </a:lnTo>
                    <a:lnTo>
                      <a:pt x="294" y="318"/>
                    </a:lnTo>
                    <a:lnTo>
                      <a:pt x="294" y="324"/>
                    </a:lnTo>
                    <a:lnTo>
                      <a:pt x="300" y="324"/>
                    </a:lnTo>
                    <a:lnTo>
                      <a:pt x="306" y="324"/>
                    </a:lnTo>
                    <a:lnTo>
                      <a:pt x="306" y="318"/>
                    </a:lnTo>
                    <a:lnTo>
                      <a:pt x="312" y="318"/>
                    </a:lnTo>
                    <a:lnTo>
                      <a:pt x="312" y="312"/>
                    </a:lnTo>
                    <a:lnTo>
                      <a:pt x="312" y="306"/>
                    </a:lnTo>
                    <a:lnTo>
                      <a:pt x="318" y="294"/>
                    </a:lnTo>
                    <a:lnTo>
                      <a:pt x="318" y="288"/>
                    </a:lnTo>
                    <a:lnTo>
                      <a:pt x="318" y="282"/>
                    </a:lnTo>
                    <a:lnTo>
                      <a:pt x="318" y="276"/>
                    </a:lnTo>
                    <a:lnTo>
                      <a:pt x="312" y="270"/>
                    </a:lnTo>
                    <a:lnTo>
                      <a:pt x="312" y="264"/>
                    </a:lnTo>
                    <a:lnTo>
                      <a:pt x="318" y="252"/>
                    </a:lnTo>
                    <a:lnTo>
                      <a:pt x="318" y="240"/>
                    </a:lnTo>
                    <a:lnTo>
                      <a:pt x="312" y="234"/>
                    </a:lnTo>
                    <a:lnTo>
                      <a:pt x="312" y="228"/>
                    </a:lnTo>
                    <a:lnTo>
                      <a:pt x="300" y="216"/>
                    </a:lnTo>
                    <a:lnTo>
                      <a:pt x="294" y="210"/>
                    </a:lnTo>
                    <a:lnTo>
                      <a:pt x="288" y="198"/>
                    </a:lnTo>
                    <a:lnTo>
                      <a:pt x="282" y="192"/>
                    </a:lnTo>
                    <a:lnTo>
                      <a:pt x="276" y="180"/>
                    </a:lnTo>
                    <a:lnTo>
                      <a:pt x="270" y="180"/>
                    </a:lnTo>
                    <a:lnTo>
                      <a:pt x="270" y="174"/>
                    </a:lnTo>
                    <a:lnTo>
                      <a:pt x="264" y="168"/>
                    </a:lnTo>
                    <a:lnTo>
                      <a:pt x="258" y="168"/>
                    </a:lnTo>
                    <a:lnTo>
                      <a:pt x="252" y="168"/>
                    </a:lnTo>
                    <a:lnTo>
                      <a:pt x="246" y="168"/>
                    </a:lnTo>
                    <a:lnTo>
                      <a:pt x="246" y="162"/>
                    </a:lnTo>
                    <a:lnTo>
                      <a:pt x="240" y="162"/>
                    </a:lnTo>
                    <a:lnTo>
                      <a:pt x="240" y="156"/>
                    </a:lnTo>
                    <a:lnTo>
                      <a:pt x="246" y="156"/>
                    </a:lnTo>
                    <a:lnTo>
                      <a:pt x="246" y="150"/>
                    </a:lnTo>
                    <a:lnTo>
                      <a:pt x="246" y="144"/>
                    </a:lnTo>
                    <a:lnTo>
                      <a:pt x="240" y="138"/>
                    </a:lnTo>
                    <a:lnTo>
                      <a:pt x="240" y="132"/>
                    </a:lnTo>
                    <a:lnTo>
                      <a:pt x="240" y="126"/>
                    </a:lnTo>
                    <a:lnTo>
                      <a:pt x="240" y="120"/>
                    </a:lnTo>
                    <a:lnTo>
                      <a:pt x="240" y="114"/>
                    </a:lnTo>
                    <a:lnTo>
                      <a:pt x="234" y="102"/>
                    </a:lnTo>
                    <a:lnTo>
                      <a:pt x="234" y="96"/>
                    </a:lnTo>
                    <a:lnTo>
                      <a:pt x="240" y="90"/>
                    </a:lnTo>
                    <a:lnTo>
                      <a:pt x="240" y="84"/>
                    </a:lnTo>
                    <a:lnTo>
                      <a:pt x="246" y="72"/>
                    </a:lnTo>
                    <a:lnTo>
                      <a:pt x="246" y="66"/>
                    </a:lnTo>
                    <a:lnTo>
                      <a:pt x="246" y="60"/>
                    </a:lnTo>
                    <a:lnTo>
                      <a:pt x="252" y="60"/>
                    </a:lnTo>
                    <a:lnTo>
                      <a:pt x="258" y="60"/>
                    </a:lnTo>
                    <a:lnTo>
                      <a:pt x="264" y="60"/>
                    </a:lnTo>
                    <a:lnTo>
                      <a:pt x="270" y="60"/>
                    </a:lnTo>
                    <a:lnTo>
                      <a:pt x="276" y="60"/>
                    </a:lnTo>
                    <a:lnTo>
                      <a:pt x="282" y="60"/>
                    </a:lnTo>
                    <a:lnTo>
                      <a:pt x="288" y="60"/>
                    </a:lnTo>
                    <a:lnTo>
                      <a:pt x="294" y="60"/>
                    </a:lnTo>
                    <a:lnTo>
                      <a:pt x="300" y="60"/>
                    </a:lnTo>
                    <a:lnTo>
                      <a:pt x="306" y="60"/>
                    </a:lnTo>
                    <a:lnTo>
                      <a:pt x="306" y="54"/>
                    </a:lnTo>
                    <a:lnTo>
                      <a:pt x="312" y="54"/>
                    </a:lnTo>
                    <a:lnTo>
                      <a:pt x="312" y="48"/>
                    </a:lnTo>
                    <a:lnTo>
                      <a:pt x="318" y="48"/>
                    </a:lnTo>
                    <a:lnTo>
                      <a:pt x="318" y="54"/>
                    </a:lnTo>
                    <a:lnTo>
                      <a:pt x="324" y="54"/>
                    </a:lnTo>
                    <a:lnTo>
                      <a:pt x="330" y="60"/>
                    </a:lnTo>
                    <a:lnTo>
                      <a:pt x="336" y="60"/>
                    </a:lnTo>
                    <a:lnTo>
                      <a:pt x="336" y="66"/>
                    </a:lnTo>
                    <a:lnTo>
                      <a:pt x="342" y="66"/>
                    </a:lnTo>
                    <a:lnTo>
                      <a:pt x="348" y="66"/>
                    </a:lnTo>
                    <a:lnTo>
                      <a:pt x="354" y="66"/>
                    </a:lnTo>
                    <a:lnTo>
                      <a:pt x="354" y="72"/>
                    </a:lnTo>
                    <a:lnTo>
                      <a:pt x="360" y="66"/>
                    </a:lnTo>
                    <a:lnTo>
                      <a:pt x="366" y="66"/>
                    </a:lnTo>
                    <a:lnTo>
                      <a:pt x="372" y="60"/>
                    </a:lnTo>
                    <a:lnTo>
                      <a:pt x="378" y="60"/>
                    </a:lnTo>
                    <a:lnTo>
                      <a:pt x="384" y="60"/>
                    </a:lnTo>
                    <a:lnTo>
                      <a:pt x="384" y="66"/>
                    </a:lnTo>
                    <a:lnTo>
                      <a:pt x="390" y="66"/>
                    </a:lnTo>
                    <a:lnTo>
                      <a:pt x="396" y="66"/>
                    </a:lnTo>
                    <a:lnTo>
                      <a:pt x="402" y="66"/>
                    </a:lnTo>
                    <a:lnTo>
                      <a:pt x="402" y="72"/>
                    </a:lnTo>
                    <a:lnTo>
                      <a:pt x="408" y="72"/>
                    </a:lnTo>
                    <a:lnTo>
                      <a:pt x="408" y="66"/>
                    </a:lnTo>
                    <a:lnTo>
                      <a:pt x="414" y="66"/>
                    </a:lnTo>
                    <a:lnTo>
                      <a:pt x="420" y="66"/>
                    </a:lnTo>
                    <a:lnTo>
                      <a:pt x="420" y="60"/>
                    </a:lnTo>
                    <a:lnTo>
                      <a:pt x="426" y="60"/>
                    </a:lnTo>
                    <a:lnTo>
                      <a:pt x="426" y="54"/>
                    </a:lnTo>
                    <a:lnTo>
                      <a:pt x="426" y="48"/>
                    </a:lnTo>
                    <a:lnTo>
                      <a:pt x="432" y="48"/>
                    </a:lnTo>
                    <a:lnTo>
                      <a:pt x="432" y="42"/>
                    </a:lnTo>
                    <a:lnTo>
                      <a:pt x="438" y="42"/>
                    </a:lnTo>
                    <a:lnTo>
                      <a:pt x="444" y="42"/>
                    </a:lnTo>
                    <a:lnTo>
                      <a:pt x="450" y="42"/>
                    </a:lnTo>
                    <a:lnTo>
                      <a:pt x="450" y="48"/>
                    </a:lnTo>
                    <a:lnTo>
                      <a:pt x="456" y="48"/>
                    </a:lnTo>
                    <a:lnTo>
                      <a:pt x="462" y="48"/>
                    </a:lnTo>
                    <a:lnTo>
                      <a:pt x="462" y="54"/>
                    </a:lnTo>
                    <a:lnTo>
                      <a:pt x="462" y="48"/>
                    </a:lnTo>
                    <a:lnTo>
                      <a:pt x="468" y="48"/>
                    </a:lnTo>
                    <a:lnTo>
                      <a:pt x="468" y="42"/>
                    </a:lnTo>
                    <a:lnTo>
                      <a:pt x="474" y="42"/>
                    </a:lnTo>
                    <a:lnTo>
                      <a:pt x="480" y="42"/>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lnTo>
                      <a:pt x="540" y="18"/>
                    </a:lnTo>
                    <a:lnTo>
                      <a:pt x="546" y="18"/>
                    </a:lnTo>
                    <a:lnTo>
                      <a:pt x="552" y="18"/>
                    </a:lnTo>
                    <a:lnTo>
                      <a:pt x="552" y="12"/>
                    </a:lnTo>
                    <a:lnTo>
                      <a:pt x="558" y="6"/>
                    </a:lnTo>
                    <a:lnTo>
                      <a:pt x="564" y="6"/>
                    </a:lnTo>
                    <a:lnTo>
                      <a:pt x="570" y="0"/>
                    </a:lnTo>
                    <a:lnTo>
                      <a:pt x="576" y="0"/>
                    </a:lnTo>
                    <a:lnTo>
                      <a:pt x="576" y="6"/>
                    </a:lnTo>
                    <a:lnTo>
                      <a:pt x="582" y="6"/>
                    </a:lnTo>
                    <a:lnTo>
                      <a:pt x="576" y="6"/>
                    </a:lnTo>
                    <a:lnTo>
                      <a:pt x="582" y="6"/>
                    </a:lnTo>
                    <a:lnTo>
                      <a:pt x="582" y="12"/>
                    </a:lnTo>
                    <a:lnTo>
                      <a:pt x="576" y="12"/>
                    </a:lnTo>
                    <a:lnTo>
                      <a:pt x="576" y="18"/>
                    </a:lnTo>
                    <a:lnTo>
                      <a:pt x="582" y="18"/>
                    </a:lnTo>
                    <a:lnTo>
                      <a:pt x="576" y="24"/>
                    </a:lnTo>
                    <a:lnTo>
                      <a:pt x="576" y="30"/>
                    </a:lnTo>
                    <a:lnTo>
                      <a:pt x="576" y="36"/>
                    </a:lnTo>
                    <a:lnTo>
                      <a:pt x="576" y="42"/>
                    </a:lnTo>
                    <a:lnTo>
                      <a:pt x="570" y="42"/>
                    </a:lnTo>
                    <a:lnTo>
                      <a:pt x="570" y="48"/>
                    </a:lnTo>
                    <a:lnTo>
                      <a:pt x="564" y="48"/>
                    </a:lnTo>
                    <a:lnTo>
                      <a:pt x="570" y="48"/>
                    </a:lnTo>
                    <a:lnTo>
                      <a:pt x="576" y="48"/>
                    </a:lnTo>
                    <a:lnTo>
                      <a:pt x="576" y="54"/>
                    </a:lnTo>
                    <a:lnTo>
                      <a:pt x="570" y="54"/>
                    </a:lnTo>
                    <a:lnTo>
                      <a:pt x="570" y="60"/>
                    </a:lnTo>
                    <a:lnTo>
                      <a:pt x="570" y="66"/>
                    </a:lnTo>
                    <a:lnTo>
                      <a:pt x="570" y="72"/>
                    </a:lnTo>
                    <a:lnTo>
                      <a:pt x="576" y="72"/>
                    </a:lnTo>
                    <a:lnTo>
                      <a:pt x="570" y="72"/>
                    </a:lnTo>
                    <a:lnTo>
                      <a:pt x="576" y="72"/>
                    </a:lnTo>
                    <a:lnTo>
                      <a:pt x="570" y="72"/>
                    </a:lnTo>
                    <a:lnTo>
                      <a:pt x="576" y="72"/>
                    </a:lnTo>
                    <a:lnTo>
                      <a:pt x="576" y="78"/>
                    </a:lnTo>
                    <a:lnTo>
                      <a:pt x="576" y="84"/>
                    </a:lnTo>
                    <a:lnTo>
                      <a:pt x="576" y="90"/>
                    </a:lnTo>
                    <a:lnTo>
                      <a:pt x="576" y="96"/>
                    </a:lnTo>
                    <a:lnTo>
                      <a:pt x="576" y="102"/>
                    </a:lnTo>
                    <a:lnTo>
                      <a:pt x="576" y="96"/>
                    </a:lnTo>
                    <a:lnTo>
                      <a:pt x="576" y="102"/>
                    </a:lnTo>
                    <a:lnTo>
                      <a:pt x="576" y="96"/>
                    </a:lnTo>
                    <a:lnTo>
                      <a:pt x="570" y="96"/>
                    </a:lnTo>
                    <a:lnTo>
                      <a:pt x="570" y="102"/>
                    </a:lnTo>
                    <a:lnTo>
                      <a:pt x="576" y="102"/>
                    </a:lnTo>
                    <a:lnTo>
                      <a:pt x="576" y="108"/>
                    </a:lnTo>
                    <a:lnTo>
                      <a:pt x="576" y="114"/>
                    </a:lnTo>
                    <a:lnTo>
                      <a:pt x="576" y="108"/>
                    </a:lnTo>
                    <a:lnTo>
                      <a:pt x="570" y="108"/>
                    </a:lnTo>
                    <a:lnTo>
                      <a:pt x="570" y="114"/>
                    </a:lnTo>
                    <a:lnTo>
                      <a:pt x="576" y="114"/>
                    </a:lnTo>
                    <a:lnTo>
                      <a:pt x="570" y="114"/>
                    </a:lnTo>
                    <a:lnTo>
                      <a:pt x="576" y="114"/>
                    </a:lnTo>
                    <a:lnTo>
                      <a:pt x="570" y="114"/>
                    </a:lnTo>
                    <a:lnTo>
                      <a:pt x="576" y="114"/>
                    </a:lnTo>
                    <a:lnTo>
                      <a:pt x="576" y="120"/>
                    </a:lnTo>
                    <a:lnTo>
                      <a:pt x="582" y="120"/>
                    </a:lnTo>
                    <a:lnTo>
                      <a:pt x="576" y="120"/>
                    </a:lnTo>
                    <a:lnTo>
                      <a:pt x="576" y="126"/>
                    </a:lnTo>
                    <a:lnTo>
                      <a:pt x="582" y="126"/>
                    </a:lnTo>
                    <a:lnTo>
                      <a:pt x="582" y="132"/>
                    </a:lnTo>
                    <a:lnTo>
                      <a:pt x="576" y="132"/>
                    </a:lnTo>
                    <a:lnTo>
                      <a:pt x="576" y="138"/>
                    </a:lnTo>
                    <a:lnTo>
                      <a:pt x="576" y="132"/>
                    </a:lnTo>
                    <a:lnTo>
                      <a:pt x="576" y="138"/>
                    </a:lnTo>
                    <a:lnTo>
                      <a:pt x="576" y="132"/>
                    </a:lnTo>
                    <a:lnTo>
                      <a:pt x="570" y="132"/>
                    </a:lnTo>
                    <a:lnTo>
                      <a:pt x="570" y="138"/>
                    </a:lnTo>
                    <a:lnTo>
                      <a:pt x="570" y="144"/>
                    </a:lnTo>
                    <a:lnTo>
                      <a:pt x="576" y="144"/>
                    </a:lnTo>
                    <a:lnTo>
                      <a:pt x="576" y="138"/>
                    </a:lnTo>
                    <a:lnTo>
                      <a:pt x="582" y="138"/>
                    </a:lnTo>
                    <a:lnTo>
                      <a:pt x="582" y="144"/>
                    </a:lnTo>
                    <a:lnTo>
                      <a:pt x="576" y="144"/>
                    </a:lnTo>
                    <a:lnTo>
                      <a:pt x="576" y="150"/>
                    </a:lnTo>
                    <a:lnTo>
                      <a:pt x="576" y="156"/>
                    </a:lnTo>
                    <a:lnTo>
                      <a:pt x="576" y="162"/>
                    </a:lnTo>
                    <a:lnTo>
                      <a:pt x="582" y="162"/>
                    </a:lnTo>
                    <a:lnTo>
                      <a:pt x="576" y="162"/>
                    </a:lnTo>
                    <a:lnTo>
                      <a:pt x="576" y="168"/>
                    </a:lnTo>
                    <a:lnTo>
                      <a:pt x="570" y="168"/>
                    </a:lnTo>
                    <a:lnTo>
                      <a:pt x="570" y="174"/>
                    </a:lnTo>
                    <a:lnTo>
                      <a:pt x="576" y="174"/>
                    </a:lnTo>
                    <a:lnTo>
                      <a:pt x="576" y="168"/>
                    </a:lnTo>
                    <a:lnTo>
                      <a:pt x="576" y="174"/>
                    </a:lnTo>
                    <a:lnTo>
                      <a:pt x="582" y="174"/>
                    </a:lnTo>
                    <a:lnTo>
                      <a:pt x="576" y="174"/>
                    </a:lnTo>
                    <a:lnTo>
                      <a:pt x="576" y="180"/>
                    </a:lnTo>
                    <a:lnTo>
                      <a:pt x="582" y="180"/>
                    </a:lnTo>
                    <a:lnTo>
                      <a:pt x="582" y="186"/>
                    </a:lnTo>
                    <a:lnTo>
                      <a:pt x="582" y="192"/>
                    </a:lnTo>
                    <a:lnTo>
                      <a:pt x="582" y="198"/>
                    </a:lnTo>
                    <a:lnTo>
                      <a:pt x="582" y="204"/>
                    </a:lnTo>
                    <a:lnTo>
                      <a:pt x="582" y="210"/>
                    </a:lnTo>
                    <a:lnTo>
                      <a:pt x="576" y="210"/>
                    </a:lnTo>
                    <a:lnTo>
                      <a:pt x="582" y="210"/>
                    </a:lnTo>
                    <a:lnTo>
                      <a:pt x="576" y="210"/>
                    </a:lnTo>
                    <a:lnTo>
                      <a:pt x="582" y="210"/>
                    </a:lnTo>
                    <a:lnTo>
                      <a:pt x="582" y="216"/>
                    </a:lnTo>
                    <a:lnTo>
                      <a:pt x="582" y="210"/>
                    </a:lnTo>
                    <a:lnTo>
                      <a:pt x="582" y="216"/>
                    </a:lnTo>
                    <a:lnTo>
                      <a:pt x="582" y="210"/>
                    </a:lnTo>
                    <a:lnTo>
                      <a:pt x="588" y="210"/>
                    </a:lnTo>
                    <a:lnTo>
                      <a:pt x="588" y="216"/>
                    </a:lnTo>
                    <a:lnTo>
                      <a:pt x="588" y="222"/>
                    </a:lnTo>
                    <a:lnTo>
                      <a:pt x="582" y="222"/>
                    </a:lnTo>
                    <a:lnTo>
                      <a:pt x="582" y="216"/>
                    </a:lnTo>
                    <a:lnTo>
                      <a:pt x="582" y="222"/>
                    </a:lnTo>
                    <a:lnTo>
                      <a:pt x="582" y="228"/>
                    </a:lnTo>
                    <a:lnTo>
                      <a:pt x="582" y="222"/>
                    </a:lnTo>
                    <a:lnTo>
                      <a:pt x="582" y="228"/>
                    </a:lnTo>
                    <a:lnTo>
                      <a:pt x="582" y="234"/>
                    </a:lnTo>
                    <a:lnTo>
                      <a:pt x="582" y="228"/>
                    </a:lnTo>
                    <a:lnTo>
                      <a:pt x="588" y="228"/>
                    </a:lnTo>
                    <a:lnTo>
                      <a:pt x="582" y="228"/>
                    </a:lnTo>
                    <a:lnTo>
                      <a:pt x="582" y="222"/>
                    </a:lnTo>
                    <a:lnTo>
                      <a:pt x="588" y="222"/>
                    </a:lnTo>
                    <a:lnTo>
                      <a:pt x="594" y="222"/>
                    </a:lnTo>
                    <a:lnTo>
                      <a:pt x="594" y="228"/>
                    </a:lnTo>
                    <a:lnTo>
                      <a:pt x="594" y="234"/>
                    </a:lnTo>
                    <a:lnTo>
                      <a:pt x="594" y="240"/>
                    </a:lnTo>
                    <a:lnTo>
                      <a:pt x="594" y="246"/>
                    </a:lnTo>
                    <a:lnTo>
                      <a:pt x="594" y="240"/>
                    </a:lnTo>
                    <a:lnTo>
                      <a:pt x="594" y="246"/>
                    </a:lnTo>
                    <a:lnTo>
                      <a:pt x="588" y="246"/>
                    </a:lnTo>
                    <a:lnTo>
                      <a:pt x="588" y="252"/>
                    </a:lnTo>
                    <a:lnTo>
                      <a:pt x="582" y="252"/>
                    </a:lnTo>
                    <a:lnTo>
                      <a:pt x="582" y="246"/>
                    </a:lnTo>
                    <a:lnTo>
                      <a:pt x="582" y="252"/>
                    </a:lnTo>
                    <a:lnTo>
                      <a:pt x="588" y="252"/>
                    </a:lnTo>
                    <a:lnTo>
                      <a:pt x="588" y="258"/>
                    </a:lnTo>
                    <a:lnTo>
                      <a:pt x="588" y="252"/>
                    </a:lnTo>
                    <a:lnTo>
                      <a:pt x="588" y="258"/>
                    </a:lnTo>
                    <a:lnTo>
                      <a:pt x="582" y="258"/>
                    </a:lnTo>
                    <a:lnTo>
                      <a:pt x="588" y="258"/>
                    </a:lnTo>
                    <a:lnTo>
                      <a:pt x="582" y="258"/>
                    </a:lnTo>
                    <a:lnTo>
                      <a:pt x="588" y="258"/>
                    </a:lnTo>
                    <a:lnTo>
                      <a:pt x="588" y="264"/>
                    </a:lnTo>
                    <a:lnTo>
                      <a:pt x="582" y="264"/>
                    </a:lnTo>
                    <a:lnTo>
                      <a:pt x="582" y="258"/>
                    </a:lnTo>
                    <a:lnTo>
                      <a:pt x="582" y="264"/>
                    </a:lnTo>
                    <a:lnTo>
                      <a:pt x="576" y="264"/>
                    </a:lnTo>
                    <a:lnTo>
                      <a:pt x="576" y="270"/>
                    </a:lnTo>
                    <a:lnTo>
                      <a:pt x="576" y="264"/>
                    </a:lnTo>
                    <a:lnTo>
                      <a:pt x="576" y="270"/>
                    </a:lnTo>
                    <a:lnTo>
                      <a:pt x="582" y="270"/>
                    </a:lnTo>
                    <a:lnTo>
                      <a:pt x="582" y="264"/>
                    </a:lnTo>
                    <a:lnTo>
                      <a:pt x="582" y="270"/>
                    </a:lnTo>
                    <a:lnTo>
                      <a:pt x="582" y="264"/>
                    </a:lnTo>
                    <a:lnTo>
                      <a:pt x="582" y="270"/>
                    </a:lnTo>
                    <a:lnTo>
                      <a:pt x="582" y="276"/>
                    </a:lnTo>
                    <a:lnTo>
                      <a:pt x="582" y="282"/>
                    </a:lnTo>
                    <a:lnTo>
                      <a:pt x="582" y="276"/>
                    </a:lnTo>
                    <a:lnTo>
                      <a:pt x="582" y="282"/>
                    </a:lnTo>
                    <a:lnTo>
                      <a:pt x="576" y="282"/>
                    </a:lnTo>
                    <a:lnTo>
                      <a:pt x="576" y="288"/>
                    </a:lnTo>
                    <a:lnTo>
                      <a:pt x="570" y="288"/>
                    </a:lnTo>
                    <a:lnTo>
                      <a:pt x="576" y="288"/>
                    </a:lnTo>
                    <a:lnTo>
                      <a:pt x="570" y="288"/>
                    </a:lnTo>
                    <a:lnTo>
                      <a:pt x="570" y="294"/>
                    </a:lnTo>
                    <a:lnTo>
                      <a:pt x="570" y="300"/>
                    </a:lnTo>
                    <a:lnTo>
                      <a:pt x="564" y="300"/>
                    </a:lnTo>
                    <a:lnTo>
                      <a:pt x="564" y="306"/>
                    </a:lnTo>
                    <a:lnTo>
                      <a:pt x="558" y="306"/>
                    </a:lnTo>
                    <a:lnTo>
                      <a:pt x="558" y="312"/>
                    </a:lnTo>
                    <a:lnTo>
                      <a:pt x="552" y="312"/>
                    </a:lnTo>
                    <a:lnTo>
                      <a:pt x="552" y="318"/>
                    </a:lnTo>
                    <a:lnTo>
                      <a:pt x="552" y="312"/>
                    </a:lnTo>
                    <a:lnTo>
                      <a:pt x="552" y="318"/>
                    </a:lnTo>
                    <a:lnTo>
                      <a:pt x="552" y="324"/>
                    </a:lnTo>
                    <a:lnTo>
                      <a:pt x="546" y="324"/>
                    </a:lnTo>
                    <a:lnTo>
                      <a:pt x="546" y="330"/>
                    </a:lnTo>
                    <a:lnTo>
                      <a:pt x="540" y="330"/>
                    </a:lnTo>
                    <a:lnTo>
                      <a:pt x="540" y="324"/>
                    </a:lnTo>
                    <a:lnTo>
                      <a:pt x="540" y="330"/>
                    </a:lnTo>
                    <a:lnTo>
                      <a:pt x="540" y="324"/>
                    </a:lnTo>
                    <a:lnTo>
                      <a:pt x="540" y="330"/>
                    </a:lnTo>
                    <a:lnTo>
                      <a:pt x="534" y="330"/>
                    </a:lnTo>
                    <a:lnTo>
                      <a:pt x="540" y="330"/>
                    </a:lnTo>
                    <a:lnTo>
                      <a:pt x="534" y="330"/>
                    </a:lnTo>
                    <a:lnTo>
                      <a:pt x="534" y="336"/>
                    </a:lnTo>
                    <a:lnTo>
                      <a:pt x="534" y="342"/>
                    </a:lnTo>
                    <a:lnTo>
                      <a:pt x="534" y="336"/>
                    </a:lnTo>
                    <a:lnTo>
                      <a:pt x="540" y="336"/>
                    </a:lnTo>
                    <a:lnTo>
                      <a:pt x="540" y="342"/>
                    </a:lnTo>
                    <a:lnTo>
                      <a:pt x="534" y="342"/>
                    </a:lnTo>
                    <a:lnTo>
                      <a:pt x="528" y="342"/>
                    </a:lnTo>
                    <a:lnTo>
                      <a:pt x="528" y="348"/>
                    </a:lnTo>
                    <a:lnTo>
                      <a:pt x="522" y="348"/>
                    </a:lnTo>
                    <a:lnTo>
                      <a:pt x="522" y="354"/>
                    </a:lnTo>
                    <a:lnTo>
                      <a:pt x="516" y="354"/>
                    </a:lnTo>
                    <a:lnTo>
                      <a:pt x="510" y="354"/>
                    </a:lnTo>
                    <a:lnTo>
                      <a:pt x="510" y="360"/>
                    </a:lnTo>
                    <a:lnTo>
                      <a:pt x="504" y="360"/>
                    </a:lnTo>
                    <a:lnTo>
                      <a:pt x="504" y="366"/>
                    </a:lnTo>
                    <a:lnTo>
                      <a:pt x="498" y="366"/>
                    </a:lnTo>
                    <a:lnTo>
                      <a:pt x="492" y="366"/>
                    </a:lnTo>
                    <a:lnTo>
                      <a:pt x="492" y="372"/>
                    </a:lnTo>
                    <a:lnTo>
                      <a:pt x="498" y="372"/>
                    </a:lnTo>
                    <a:lnTo>
                      <a:pt x="498" y="366"/>
                    </a:lnTo>
                    <a:lnTo>
                      <a:pt x="498" y="372"/>
                    </a:lnTo>
                    <a:lnTo>
                      <a:pt x="492" y="372"/>
                    </a:lnTo>
                    <a:lnTo>
                      <a:pt x="486" y="372"/>
                    </a:lnTo>
                    <a:lnTo>
                      <a:pt x="486" y="378"/>
                    </a:lnTo>
                    <a:lnTo>
                      <a:pt x="480" y="378"/>
                    </a:lnTo>
                    <a:lnTo>
                      <a:pt x="480" y="372"/>
                    </a:lnTo>
                    <a:lnTo>
                      <a:pt x="480" y="378"/>
                    </a:lnTo>
                    <a:lnTo>
                      <a:pt x="474" y="378"/>
                    </a:lnTo>
                    <a:lnTo>
                      <a:pt x="474" y="372"/>
                    </a:lnTo>
                    <a:lnTo>
                      <a:pt x="474" y="378"/>
                    </a:lnTo>
                    <a:lnTo>
                      <a:pt x="468" y="378"/>
                    </a:lnTo>
                    <a:lnTo>
                      <a:pt x="462" y="378"/>
                    </a:lnTo>
                    <a:lnTo>
                      <a:pt x="456" y="378"/>
                    </a:lnTo>
                    <a:lnTo>
                      <a:pt x="462" y="378"/>
                    </a:lnTo>
                    <a:lnTo>
                      <a:pt x="462" y="384"/>
                    </a:lnTo>
                    <a:lnTo>
                      <a:pt x="456" y="384"/>
                    </a:lnTo>
                    <a:lnTo>
                      <a:pt x="450" y="384"/>
                    </a:lnTo>
                    <a:lnTo>
                      <a:pt x="444" y="384"/>
                    </a:lnTo>
                    <a:lnTo>
                      <a:pt x="444" y="390"/>
                    </a:lnTo>
                    <a:lnTo>
                      <a:pt x="444" y="384"/>
                    </a:lnTo>
                    <a:lnTo>
                      <a:pt x="438" y="384"/>
                    </a:lnTo>
                    <a:lnTo>
                      <a:pt x="444" y="384"/>
                    </a:lnTo>
                    <a:lnTo>
                      <a:pt x="444" y="390"/>
                    </a:lnTo>
                    <a:lnTo>
                      <a:pt x="438" y="390"/>
                    </a:lnTo>
                    <a:lnTo>
                      <a:pt x="438" y="384"/>
                    </a:lnTo>
                    <a:lnTo>
                      <a:pt x="438" y="390"/>
                    </a:lnTo>
                    <a:lnTo>
                      <a:pt x="444" y="390"/>
                    </a:lnTo>
                    <a:lnTo>
                      <a:pt x="438" y="390"/>
                    </a:lnTo>
                    <a:lnTo>
                      <a:pt x="432" y="390"/>
                    </a:lnTo>
                    <a:lnTo>
                      <a:pt x="432" y="396"/>
                    </a:lnTo>
                    <a:lnTo>
                      <a:pt x="426" y="396"/>
                    </a:lnTo>
                    <a:lnTo>
                      <a:pt x="420" y="396"/>
                    </a:lnTo>
                    <a:lnTo>
                      <a:pt x="420" y="402"/>
                    </a:lnTo>
                    <a:lnTo>
                      <a:pt x="420" y="396"/>
                    </a:lnTo>
                    <a:lnTo>
                      <a:pt x="420" y="402"/>
                    </a:lnTo>
                    <a:lnTo>
                      <a:pt x="414" y="402"/>
                    </a:lnTo>
                    <a:lnTo>
                      <a:pt x="408" y="402"/>
                    </a:lnTo>
                    <a:lnTo>
                      <a:pt x="414" y="402"/>
                    </a:lnTo>
                    <a:lnTo>
                      <a:pt x="408" y="408"/>
                    </a:lnTo>
                    <a:lnTo>
                      <a:pt x="402" y="408"/>
                    </a:lnTo>
                    <a:lnTo>
                      <a:pt x="408" y="408"/>
                    </a:lnTo>
                    <a:lnTo>
                      <a:pt x="402" y="408"/>
                    </a:lnTo>
                    <a:lnTo>
                      <a:pt x="408" y="408"/>
                    </a:lnTo>
                    <a:lnTo>
                      <a:pt x="402" y="408"/>
                    </a:lnTo>
                    <a:lnTo>
                      <a:pt x="402" y="414"/>
                    </a:lnTo>
                    <a:lnTo>
                      <a:pt x="402" y="408"/>
                    </a:lnTo>
                    <a:lnTo>
                      <a:pt x="402" y="414"/>
                    </a:lnTo>
                    <a:lnTo>
                      <a:pt x="396" y="414"/>
                    </a:lnTo>
                    <a:lnTo>
                      <a:pt x="390" y="414"/>
                    </a:lnTo>
                    <a:lnTo>
                      <a:pt x="390" y="420"/>
                    </a:lnTo>
                    <a:lnTo>
                      <a:pt x="384" y="426"/>
                    </a:lnTo>
                    <a:lnTo>
                      <a:pt x="378" y="432"/>
                    </a:lnTo>
                    <a:lnTo>
                      <a:pt x="378" y="426"/>
                    </a:lnTo>
                    <a:lnTo>
                      <a:pt x="378" y="432"/>
                    </a:lnTo>
                    <a:lnTo>
                      <a:pt x="372" y="432"/>
                    </a:lnTo>
                    <a:lnTo>
                      <a:pt x="378" y="432"/>
                    </a:lnTo>
                    <a:lnTo>
                      <a:pt x="378" y="438"/>
                    </a:lnTo>
                    <a:lnTo>
                      <a:pt x="372" y="438"/>
                    </a:lnTo>
                    <a:lnTo>
                      <a:pt x="372" y="444"/>
                    </a:lnTo>
                    <a:lnTo>
                      <a:pt x="372" y="438"/>
                    </a:lnTo>
                    <a:lnTo>
                      <a:pt x="366" y="444"/>
                    </a:lnTo>
                    <a:lnTo>
                      <a:pt x="372" y="444"/>
                    </a:lnTo>
                    <a:lnTo>
                      <a:pt x="366" y="444"/>
                    </a:lnTo>
                    <a:lnTo>
                      <a:pt x="366" y="450"/>
                    </a:lnTo>
                    <a:lnTo>
                      <a:pt x="360" y="450"/>
                    </a:lnTo>
                    <a:lnTo>
                      <a:pt x="360" y="456"/>
                    </a:lnTo>
                    <a:lnTo>
                      <a:pt x="360" y="450"/>
                    </a:lnTo>
                    <a:lnTo>
                      <a:pt x="360" y="456"/>
                    </a:lnTo>
                    <a:lnTo>
                      <a:pt x="354" y="456"/>
                    </a:lnTo>
                    <a:lnTo>
                      <a:pt x="354" y="462"/>
                    </a:lnTo>
                    <a:lnTo>
                      <a:pt x="354" y="456"/>
                    </a:lnTo>
                    <a:lnTo>
                      <a:pt x="354" y="462"/>
                    </a:lnTo>
                    <a:lnTo>
                      <a:pt x="354" y="456"/>
                    </a:lnTo>
                    <a:lnTo>
                      <a:pt x="348" y="456"/>
                    </a:lnTo>
                    <a:lnTo>
                      <a:pt x="354" y="462"/>
                    </a:lnTo>
                    <a:lnTo>
                      <a:pt x="348" y="462"/>
                    </a:lnTo>
                    <a:lnTo>
                      <a:pt x="348" y="468"/>
                    </a:lnTo>
                    <a:lnTo>
                      <a:pt x="348" y="474"/>
                    </a:lnTo>
                    <a:lnTo>
                      <a:pt x="342" y="474"/>
                    </a:lnTo>
                    <a:lnTo>
                      <a:pt x="348" y="474"/>
                    </a:lnTo>
                    <a:lnTo>
                      <a:pt x="342" y="480"/>
                    </a:lnTo>
                    <a:lnTo>
                      <a:pt x="348" y="480"/>
                    </a:lnTo>
                    <a:lnTo>
                      <a:pt x="342" y="480"/>
                    </a:lnTo>
                    <a:lnTo>
                      <a:pt x="336" y="480"/>
                    </a:lnTo>
                    <a:lnTo>
                      <a:pt x="342" y="480"/>
                    </a:lnTo>
                    <a:lnTo>
                      <a:pt x="336" y="480"/>
                    </a:lnTo>
                    <a:lnTo>
                      <a:pt x="330" y="480"/>
                    </a:lnTo>
                    <a:lnTo>
                      <a:pt x="330" y="486"/>
                    </a:lnTo>
                    <a:lnTo>
                      <a:pt x="330" y="480"/>
                    </a:lnTo>
                    <a:lnTo>
                      <a:pt x="330" y="486"/>
                    </a:lnTo>
                    <a:lnTo>
                      <a:pt x="324" y="486"/>
                    </a:lnTo>
                    <a:lnTo>
                      <a:pt x="318" y="486"/>
                    </a:lnTo>
                    <a:lnTo>
                      <a:pt x="318" y="492"/>
                    </a:lnTo>
                    <a:lnTo>
                      <a:pt x="312" y="492"/>
                    </a:lnTo>
                    <a:lnTo>
                      <a:pt x="306" y="492"/>
                    </a:lnTo>
                    <a:lnTo>
                      <a:pt x="306" y="498"/>
                    </a:lnTo>
                    <a:lnTo>
                      <a:pt x="306" y="492"/>
                    </a:lnTo>
                    <a:lnTo>
                      <a:pt x="306" y="498"/>
                    </a:lnTo>
                    <a:lnTo>
                      <a:pt x="300" y="504"/>
                    </a:lnTo>
                    <a:lnTo>
                      <a:pt x="300" y="510"/>
                    </a:lnTo>
                    <a:lnTo>
                      <a:pt x="294" y="510"/>
                    </a:lnTo>
                    <a:lnTo>
                      <a:pt x="294" y="516"/>
                    </a:lnTo>
                    <a:lnTo>
                      <a:pt x="294" y="510"/>
                    </a:lnTo>
                    <a:lnTo>
                      <a:pt x="294" y="516"/>
                    </a:lnTo>
                    <a:lnTo>
                      <a:pt x="288" y="516"/>
                    </a:lnTo>
                    <a:lnTo>
                      <a:pt x="288" y="522"/>
                    </a:lnTo>
                    <a:lnTo>
                      <a:pt x="282" y="522"/>
                    </a:lnTo>
                    <a:lnTo>
                      <a:pt x="282" y="528"/>
                    </a:lnTo>
                    <a:lnTo>
                      <a:pt x="276" y="528"/>
                    </a:lnTo>
                    <a:lnTo>
                      <a:pt x="276" y="534"/>
                    </a:lnTo>
                    <a:lnTo>
                      <a:pt x="276" y="528"/>
                    </a:lnTo>
                    <a:lnTo>
                      <a:pt x="276" y="534"/>
                    </a:lnTo>
                    <a:lnTo>
                      <a:pt x="270" y="534"/>
                    </a:lnTo>
                    <a:lnTo>
                      <a:pt x="264" y="534"/>
                    </a:lnTo>
                    <a:lnTo>
                      <a:pt x="264" y="540"/>
                    </a:lnTo>
                    <a:lnTo>
                      <a:pt x="264" y="534"/>
                    </a:lnTo>
                    <a:lnTo>
                      <a:pt x="264" y="540"/>
                    </a:lnTo>
                    <a:lnTo>
                      <a:pt x="258" y="540"/>
                    </a:lnTo>
                    <a:lnTo>
                      <a:pt x="258" y="534"/>
                    </a:lnTo>
                    <a:lnTo>
                      <a:pt x="252" y="534"/>
                    </a:lnTo>
                    <a:lnTo>
                      <a:pt x="252" y="528"/>
                    </a:lnTo>
                    <a:lnTo>
                      <a:pt x="246" y="528"/>
                    </a:lnTo>
                    <a:lnTo>
                      <a:pt x="252" y="528"/>
                    </a:lnTo>
                    <a:lnTo>
                      <a:pt x="252" y="534"/>
                    </a:lnTo>
                    <a:lnTo>
                      <a:pt x="258" y="534"/>
                    </a:lnTo>
                    <a:lnTo>
                      <a:pt x="258" y="540"/>
                    </a:lnTo>
                    <a:lnTo>
                      <a:pt x="252" y="540"/>
                    </a:lnTo>
                    <a:lnTo>
                      <a:pt x="258" y="540"/>
                    </a:lnTo>
                    <a:lnTo>
                      <a:pt x="258" y="546"/>
                    </a:lnTo>
                    <a:lnTo>
                      <a:pt x="252" y="552"/>
                    </a:lnTo>
                    <a:lnTo>
                      <a:pt x="258" y="558"/>
                    </a:lnTo>
                    <a:lnTo>
                      <a:pt x="252" y="558"/>
                    </a:lnTo>
                    <a:lnTo>
                      <a:pt x="246" y="558"/>
                    </a:lnTo>
                    <a:lnTo>
                      <a:pt x="252" y="558"/>
                    </a:lnTo>
                    <a:lnTo>
                      <a:pt x="252" y="564"/>
                    </a:lnTo>
                    <a:lnTo>
                      <a:pt x="252" y="570"/>
                    </a:lnTo>
                    <a:lnTo>
                      <a:pt x="246" y="570"/>
                    </a:lnTo>
                    <a:lnTo>
                      <a:pt x="252" y="570"/>
                    </a:lnTo>
                    <a:lnTo>
                      <a:pt x="252" y="576"/>
                    </a:lnTo>
                    <a:lnTo>
                      <a:pt x="246" y="576"/>
                    </a:lnTo>
                    <a:lnTo>
                      <a:pt x="246" y="582"/>
                    </a:lnTo>
                    <a:lnTo>
                      <a:pt x="252" y="582"/>
                    </a:lnTo>
                    <a:lnTo>
                      <a:pt x="252" y="576"/>
                    </a:lnTo>
                    <a:lnTo>
                      <a:pt x="252" y="582"/>
                    </a:lnTo>
                    <a:lnTo>
                      <a:pt x="258" y="582"/>
                    </a:lnTo>
                    <a:lnTo>
                      <a:pt x="258" y="588"/>
                    </a:lnTo>
                    <a:lnTo>
                      <a:pt x="264" y="588"/>
                    </a:lnTo>
                    <a:lnTo>
                      <a:pt x="264" y="594"/>
                    </a:lnTo>
                    <a:lnTo>
                      <a:pt x="264" y="588"/>
                    </a:lnTo>
                    <a:lnTo>
                      <a:pt x="264" y="594"/>
                    </a:lnTo>
                    <a:lnTo>
                      <a:pt x="264" y="588"/>
                    </a:lnTo>
                    <a:lnTo>
                      <a:pt x="264" y="594"/>
                    </a:lnTo>
                    <a:lnTo>
                      <a:pt x="264" y="588"/>
                    </a:lnTo>
                    <a:lnTo>
                      <a:pt x="270" y="588"/>
                    </a:lnTo>
                    <a:lnTo>
                      <a:pt x="270" y="594"/>
                    </a:lnTo>
                    <a:lnTo>
                      <a:pt x="264" y="594"/>
                    </a:lnTo>
                    <a:lnTo>
                      <a:pt x="270" y="594"/>
                    </a:lnTo>
                    <a:lnTo>
                      <a:pt x="270" y="588"/>
                    </a:lnTo>
                    <a:lnTo>
                      <a:pt x="270" y="594"/>
                    </a:lnTo>
                    <a:lnTo>
                      <a:pt x="264" y="594"/>
                    </a:lnTo>
                    <a:lnTo>
                      <a:pt x="270" y="594"/>
                    </a:lnTo>
                    <a:lnTo>
                      <a:pt x="264" y="594"/>
                    </a:lnTo>
                    <a:lnTo>
                      <a:pt x="270" y="594"/>
                    </a:lnTo>
                    <a:lnTo>
                      <a:pt x="270" y="600"/>
                    </a:lnTo>
                    <a:lnTo>
                      <a:pt x="270" y="606"/>
                    </a:lnTo>
                    <a:lnTo>
                      <a:pt x="270" y="600"/>
                    </a:lnTo>
                    <a:lnTo>
                      <a:pt x="276" y="600"/>
                    </a:lnTo>
                    <a:lnTo>
                      <a:pt x="276" y="606"/>
                    </a:lnTo>
                    <a:lnTo>
                      <a:pt x="270" y="606"/>
                    </a:lnTo>
                    <a:lnTo>
                      <a:pt x="276" y="606"/>
                    </a:lnTo>
                    <a:lnTo>
                      <a:pt x="276" y="612"/>
                    </a:lnTo>
                    <a:lnTo>
                      <a:pt x="276" y="606"/>
                    </a:lnTo>
                    <a:lnTo>
                      <a:pt x="270" y="606"/>
                    </a:lnTo>
                    <a:lnTo>
                      <a:pt x="270" y="612"/>
                    </a:lnTo>
                    <a:lnTo>
                      <a:pt x="276" y="612"/>
                    </a:lnTo>
                    <a:lnTo>
                      <a:pt x="270" y="612"/>
                    </a:lnTo>
                    <a:lnTo>
                      <a:pt x="270" y="618"/>
                    </a:lnTo>
                    <a:lnTo>
                      <a:pt x="270" y="612"/>
                    </a:lnTo>
                    <a:lnTo>
                      <a:pt x="270" y="618"/>
                    </a:lnTo>
                    <a:lnTo>
                      <a:pt x="276" y="618"/>
                    </a:lnTo>
                    <a:lnTo>
                      <a:pt x="276" y="624"/>
                    </a:lnTo>
                    <a:lnTo>
                      <a:pt x="270" y="624"/>
                    </a:lnTo>
                    <a:lnTo>
                      <a:pt x="270" y="618"/>
                    </a:lnTo>
                    <a:lnTo>
                      <a:pt x="270" y="624"/>
                    </a:lnTo>
                    <a:lnTo>
                      <a:pt x="270" y="630"/>
                    </a:lnTo>
                    <a:lnTo>
                      <a:pt x="276" y="630"/>
                    </a:lnTo>
                    <a:lnTo>
                      <a:pt x="276" y="624"/>
                    </a:lnTo>
                    <a:lnTo>
                      <a:pt x="276" y="630"/>
                    </a:lnTo>
                    <a:lnTo>
                      <a:pt x="276" y="624"/>
                    </a:lnTo>
                    <a:lnTo>
                      <a:pt x="276" y="618"/>
                    </a:lnTo>
                    <a:lnTo>
                      <a:pt x="276" y="624"/>
                    </a:lnTo>
                    <a:lnTo>
                      <a:pt x="276" y="630"/>
                    </a:lnTo>
                    <a:lnTo>
                      <a:pt x="282" y="636"/>
                    </a:lnTo>
                    <a:lnTo>
                      <a:pt x="282" y="642"/>
                    </a:lnTo>
                    <a:lnTo>
                      <a:pt x="282" y="648"/>
                    </a:lnTo>
                    <a:lnTo>
                      <a:pt x="282" y="654"/>
                    </a:lnTo>
                    <a:lnTo>
                      <a:pt x="282" y="648"/>
                    </a:lnTo>
                    <a:lnTo>
                      <a:pt x="282" y="654"/>
                    </a:lnTo>
                    <a:lnTo>
                      <a:pt x="288" y="654"/>
                    </a:lnTo>
                    <a:lnTo>
                      <a:pt x="288" y="660"/>
                    </a:lnTo>
                    <a:lnTo>
                      <a:pt x="288" y="666"/>
                    </a:lnTo>
                    <a:lnTo>
                      <a:pt x="288" y="672"/>
                    </a:lnTo>
                    <a:lnTo>
                      <a:pt x="288" y="678"/>
                    </a:lnTo>
                    <a:lnTo>
                      <a:pt x="294" y="678"/>
                    </a:lnTo>
                    <a:lnTo>
                      <a:pt x="294" y="684"/>
                    </a:lnTo>
                    <a:lnTo>
                      <a:pt x="294" y="678"/>
                    </a:lnTo>
                    <a:lnTo>
                      <a:pt x="294" y="684"/>
                    </a:lnTo>
                    <a:lnTo>
                      <a:pt x="294" y="678"/>
                    </a:lnTo>
                    <a:lnTo>
                      <a:pt x="294" y="672"/>
                    </a:lnTo>
                    <a:lnTo>
                      <a:pt x="294" y="678"/>
                    </a:lnTo>
                    <a:lnTo>
                      <a:pt x="300" y="678"/>
                    </a:lnTo>
                    <a:lnTo>
                      <a:pt x="300" y="684"/>
                    </a:lnTo>
                    <a:lnTo>
                      <a:pt x="300" y="678"/>
                    </a:lnTo>
                    <a:lnTo>
                      <a:pt x="300" y="684"/>
                    </a:lnTo>
                    <a:lnTo>
                      <a:pt x="300" y="690"/>
                    </a:lnTo>
                    <a:lnTo>
                      <a:pt x="300" y="696"/>
                    </a:lnTo>
                    <a:lnTo>
                      <a:pt x="300" y="702"/>
                    </a:lnTo>
                    <a:lnTo>
                      <a:pt x="294" y="702"/>
                    </a:lnTo>
                    <a:lnTo>
                      <a:pt x="300" y="708"/>
                    </a:lnTo>
                    <a:lnTo>
                      <a:pt x="300" y="714"/>
                    </a:lnTo>
                    <a:lnTo>
                      <a:pt x="300" y="720"/>
                    </a:lnTo>
                    <a:lnTo>
                      <a:pt x="300" y="726"/>
                    </a:lnTo>
                    <a:lnTo>
                      <a:pt x="300" y="720"/>
                    </a:lnTo>
                    <a:lnTo>
                      <a:pt x="300" y="726"/>
                    </a:lnTo>
                    <a:lnTo>
                      <a:pt x="300" y="732"/>
                    </a:lnTo>
                    <a:lnTo>
                      <a:pt x="294" y="738"/>
                    </a:lnTo>
                    <a:lnTo>
                      <a:pt x="294" y="744"/>
                    </a:lnTo>
                    <a:lnTo>
                      <a:pt x="294" y="750"/>
                    </a:lnTo>
                    <a:lnTo>
                      <a:pt x="294" y="756"/>
                    </a:lnTo>
                    <a:lnTo>
                      <a:pt x="294" y="762"/>
                    </a:lnTo>
                    <a:lnTo>
                      <a:pt x="294" y="768"/>
                    </a:lnTo>
                    <a:lnTo>
                      <a:pt x="294" y="774"/>
                    </a:lnTo>
                    <a:lnTo>
                      <a:pt x="288" y="774"/>
                    </a:lnTo>
                    <a:lnTo>
                      <a:pt x="288" y="768"/>
                    </a:lnTo>
                    <a:lnTo>
                      <a:pt x="288" y="774"/>
                    </a:lnTo>
                    <a:lnTo>
                      <a:pt x="288" y="780"/>
                    </a:lnTo>
                    <a:lnTo>
                      <a:pt x="288" y="786"/>
                    </a:lnTo>
                    <a:lnTo>
                      <a:pt x="288" y="780"/>
                    </a:lnTo>
                    <a:lnTo>
                      <a:pt x="294" y="780"/>
                    </a:lnTo>
                    <a:lnTo>
                      <a:pt x="294" y="774"/>
                    </a:lnTo>
                    <a:lnTo>
                      <a:pt x="300" y="774"/>
                    </a:lnTo>
                    <a:lnTo>
                      <a:pt x="300" y="780"/>
                    </a:lnTo>
                    <a:lnTo>
                      <a:pt x="300" y="786"/>
                    </a:lnTo>
                    <a:lnTo>
                      <a:pt x="294" y="792"/>
                    </a:lnTo>
                    <a:lnTo>
                      <a:pt x="294" y="798"/>
                    </a:lnTo>
                    <a:lnTo>
                      <a:pt x="294" y="804"/>
                    </a:lnTo>
                    <a:lnTo>
                      <a:pt x="288" y="804"/>
                    </a:lnTo>
                    <a:lnTo>
                      <a:pt x="288" y="810"/>
                    </a:lnTo>
                    <a:lnTo>
                      <a:pt x="282" y="816"/>
                    </a:lnTo>
                    <a:lnTo>
                      <a:pt x="282" y="822"/>
                    </a:lnTo>
                    <a:lnTo>
                      <a:pt x="276" y="822"/>
                    </a:lnTo>
                    <a:lnTo>
                      <a:pt x="270" y="828"/>
                    </a:lnTo>
                    <a:lnTo>
                      <a:pt x="264" y="834"/>
                    </a:lnTo>
                    <a:lnTo>
                      <a:pt x="258" y="834"/>
                    </a:lnTo>
                    <a:lnTo>
                      <a:pt x="252" y="840"/>
                    </a:lnTo>
                    <a:lnTo>
                      <a:pt x="246" y="840"/>
                    </a:lnTo>
                    <a:lnTo>
                      <a:pt x="240" y="840"/>
                    </a:lnTo>
                    <a:lnTo>
                      <a:pt x="234" y="840"/>
                    </a:lnTo>
                    <a:lnTo>
                      <a:pt x="240" y="840"/>
                    </a:lnTo>
                    <a:lnTo>
                      <a:pt x="234" y="840"/>
                    </a:lnTo>
                    <a:lnTo>
                      <a:pt x="234" y="846"/>
                    </a:lnTo>
                    <a:lnTo>
                      <a:pt x="228" y="846"/>
                    </a:lnTo>
                    <a:lnTo>
                      <a:pt x="222" y="846"/>
                    </a:lnTo>
                    <a:lnTo>
                      <a:pt x="216" y="852"/>
                    </a:lnTo>
                    <a:lnTo>
                      <a:pt x="210" y="852"/>
                    </a:lnTo>
                    <a:lnTo>
                      <a:pt x="204" y="852"/>
                    </a:lnTo>
                    <a:lnTo>
                      <a:pt x="204" y="858"/>
                    </a:lnTo>
                    <a:lnTo>
                      <a:pt x="198" y="858"/>
                    </a:lnTo>
                    <a:lnTo>
                      <a:pt x="192" y="858"/>
                    </a:lnTo>
                    <a:lnTo>
                      <a:pt x="186" y="864"/>
                    </a:lnTo>
                    <a:lnTo>
                      <a:pt x="180" y="864"/>
                    </a:lnTo>
                    <a:lnTo>
                      <a:pt x="174" y="870"/>
                    </a:lnTo>
                    <a:lnTo>
                      <a:pt x="168" y="870"/>
                    </a:lnTo>
                    <a:lnTo>
                      <a:pt x="162" y="876"/>
                    </a:lnTo>
                    <a:lnTo>
                      <a:pt x="156" y="882"/>
                    </a:lnTo>
                    <a:lnTo>
                      <a:pt x="150" y="882"/>
                    </a:lnTo>
                    <a:lnTo>
                      <a:pt x="150" y="888"/>
                    </a:lnTo>
                    <a:lnTo>
                      <a:pt x="144" y="888"/>
                    </a:lnTo>
                    <a:lnTo>
                      <a:pt x="144" y="894"/>
                    </a:lnTo>
                    <a:lnTo>
                      <a:pt x="144" y="900"/>
                    </a:lnTo>
                    <a:lnTo>
                      <a:pt x="144" y="906"/>
                    </a:lnTo>
                    <a:lnTo>
                      <a:pt x="144" y="900"/>
                    </a:lnTo>
                    <a:lnTo>
                      <a:pt x="144" y="894"/>
                    </a:lnTo>
                    <a:lnTo>
                      <a:pt x="138" y="894"/>
                    </a:lnTo>
                    <a:lnTo>
                      <a:pt x="144" y="894"/>
                    </a:lnTo>
                    <a:lnTo>
                      <a:pt x="144" y="900"/>
                    </a:lnTo>
                    <a:lnTo>
                      <a:pt x="138" y="900"/>
                    </a:lnTo>
                    <a:lnTo>
                      <a:pt x="138" y="906"/>
                    </a:lnTo>
                    <a:lnTo>
                      <a:pt x="138" y="912"/>
                    </a:lnTo>
                    <a:lnTo>
                      <a:pt x="132" y="912"/>
                    </a:lnTo>
                    <a:lnTo>
                      <a:pt x="132" y="906"/>
                    </a:lnTo>
                    <a:lnTo>
                      <a:pt x="126" y="912"/>
                    </a:lnTo>
                    <a:lnTo>
                      <a:pt x="132" y="912"/>
                    </a:lnTo>
                    <a:lnTo>
                      <a:pt x="126" y="912"/>
                    </a:lnTo>
                    <a:lnTo>
                      <a:pt x="126" y="918"/>
                    </a:lnTo>
                    <a:lnTo>
                      <a:pt x="126" y="912"/>
                    </a:lnTo>
                    <a:lnTo>
                      <a:pt x="132" y="912"/>
                    </a:lnTo>
                    <a:lnTo>
                      <a:pt x="138" y="912"/>
                    </a:lnTo>
                    <a:lnTo>
                      <a:pt x="138" y="918"/>
                    </a:lnTo>
                    <a:lnTo>
                      <a:pt x="138" y="924"/>
                    </a:lnTo>
                    <a:lnTo>
                      <a:pt x="138" y="930"/>
                    </a:lnTo>
                    <a:lnTo>
                      <a:pt x="144" y="930"/>
                    </a:lnTo>
                    <a:lnTo>
                      <a:pt x="138" y="930"/>
                    </a:lnTo>
                    <a:lnTo>
                      <a:pt x="138" y="936"/>
                    </a:lnTo>
                    <a:lnTo>
                      <a:pt x="138" y="930"/>
                    </a:lnTo>
                    <a:lnTo>
                      <a:pt x="144" y="930"/>
                    </a:lnTo>
                    <a:lnTo>
                      <a:pt x="138" y="930"/>
                    </a:lnTo>
                    <a:lnTo>
                      <a:pt x="138" y="924"/>
                    </a:lnTo>
                    <a:lnTo>
                      <a:pt x="144" y="924"/>
                    </a:lnTo>
                    <a:lnTo>
                      <a:pt x="144" y="930"/>
                    </a:lnTo>
                    <a:lnTo>
                      <a:pt x="150" y="930"/>
                    </a:lnTo>
                    <a:lnTo>
                      <a:pt x="150" y="924"/>
                    </a:lnTo>
                    <a:lnTo>
                      <a:pt x="150" y="918"/>
                    </a:lnTo>
                    <a:lnTo>
                      <a:pt x="156" y="918"/>
                    </a:lnTo>
                    <a:lnTo>
                      <a:pt x="156" y="924"/>
                    </a:lnTo>
                    <a:lnTo>
                      <a:pt x="156" y="930"/>
                    </a:lnTo>
                    <a:lnTo>
                      <a:pt x="156" y="936"/>
                    </a:lnTo>
                    <a:lnTo>
                      <a:pt x="156" y="942"/>
                    </a:lnTo>
                    <a:lnTo>
                      <a:pt x="150" y="942"/>
                    </a:lnTo>
                    <a:lnTo>
                      <a:pt x="150" y="948"/>
                    </a:lnTo>
                    <a:lnTo>
                      <a:pt x="150" y="954"/>
                    </a:lnTo>
                    <a:lnTo>
                      <a:pt x="150" y="960"/>
                    </a:lnTo>
                    <a:lnTo>
                      <a:pt x="150" y="966"/>
                    </a:lnTo>
                    <a:lnTo>
                      <a:pt x="144" y="966"/>
                    </a:lnTo>
                    <a:lnTo>
                      <a:pt x="120" y="966"/>
                    </a:lnTo>
                    <a:lnTo>
                      <a:pt x="114" y="960"/>
                    </a:lnTo>
                    <a:lnTo>
                      <a:pt x="114" y="966"/>
                    </a:lnTo>
                    <a:lnTo>
                      <a:pt x="108" y="966"/>
                    </a:lnTo>
                    <a:lnTo>
                      <a:pt x="108" y="954"/>
                    </a:lnTo>
                    <a:lnTo>
                      <a:pt x="108" y="942"/>
                    </a:lnTo>
                    <a:lnTo>
                      <a:pt x="108" y="936"/>
                    </a:lnTo>
                    <a:lnTo>
                      <a:pt x="108" y="930"/>
                    </a:lnTo>
                    <a:lnTo>
                      <a:pt x="108" y="924"/>
                    </a:lnTo>
                    <a:lnTo>
                      <a:pt x="108" y="912"/>
                    </a:lnTo>
                    <a:lnTo>
                      <a:pt x="102" y="912"/>
                    </a:lnTo>
                    <a:lnTo>
                      <a:pt x="102" y="906"/>
                    </a:lnTo>
                    <a:lnTo>
                      <a:pt x="96" y="900"/>
                    </a:lnTo>
                    <a:lnTo>
                      <a:pt x="102" y="900"/>
                    </a:lnTo>
                    <a:lnTo>
                      <a:pt x="102" y="894"/>
                    </a:lnTo>
                    <a:lnTo>
                      <a:pt x="102" y="888"/>
                    </a:lnTo>
                    <a:lnTo>
                      <a:pt x="102" y="882"/>
                    </a:lnTo>
                    <a:lnTo>
                      <a:pt x="102" y="876"/>
                    </a:lnTo>
                    <a:lnTo>
                      <a:pt x="102" y="870"/>
                    </a:lnTo>
                    <a:lnTo>
                      <a:pt x="102" y="864"/>
                    </a:lnTo>
                    <a:lnTo>
                      <a:pt x="102" y="858"/>
                    </a:lnTo>
                    <a:lnTo>
                      <a:pt x="102" y="852"/>
                    </a:lnTo>
                    <a:lnTo>
                      <a:pt x="102" y="846"/>
                    </a:lnTo>
                    <a:lnTo>
                      <a:pt x="102" y="840"/>
                    </a:lnTo>
                    <a:lnTo>
                      <a:pt x="102" y="834"/>
                    </a:lnTo>
                    <a:lnTo>
                      <a:pt x="102" y="828"/>
                    </a:lnTo>
                    <a:lnTo>
                      <a:pt x="102" y="822"/>
                    </a:lnTo>
                    <a:lnTo>
                      <a:pt x="102" y="816"/>
                    </a:lnTo>
                    <a:lnTo>
                      <a:pt x="102" y="810"/>
                    </a:lnTo>
                    <a:lnTo>
                      <a:pt x="102" y="804"/>
                    </a:lnTo>
                    <a:lnTo>
                      <a:pt x="96" y="798"/>
                    </a:lnTo>
                    <a:lnTo>
                      <a:pt x="96" y="786"/>
                    </a:lnTo>
                    <a:lnTo>
                      <a:pt x="90" y="780"/>
                    </a:lnTo>
                    <a:lnTo>
                      <a:pt x="84" y="774"/>
                    </a:lnTo>
                    <a:lnTo>
                      <a:pt x="84" y="768"/>
                    </a:lnTo>
                    <a:lnTo>
                      <a:pt x="84" y="762"/>
                    </a:lnTo>
                    <a:lnTo>
                      <a:pt x="78" y="756"/>
                    </a:lnTo>
                    <a:lnTo>
                      <a:pt x="78" y="750"/>
                    </a:lnTo>
                    <a:lnTo>
                      <a:pt x="78" y="744"/>
                    </a:lnTo>
                    <a:lnTo>
                      <a:pt x="78" y="738"/>
                    </a:lnTo>
                    <a:lnTo>
                      <a:pt x="78" y="732"/>
                    </a:lnTo>
                    <a:lnTo>
                      <a:pt x="72" y="732"/>
                    </a:lnTo>
                    <a:lnTo>
                      <a:pt x="72" y="726"/>
                    </a:lnTo>
                    <a:lnTo>
                      <a:pt x="72" y="714"/>
                    </a:lnTo>
                    <a:lnTo>
                      <a:pt x="66" y="702"/>
                    </a:lnTo>
                    <a:lnTo>
                      <a:pt x="66" y="690"/>
                    </a:lnTo>
                    <a:lnTo>
                      <a:pt x="72" y="684"/>
                    </a:lnTo>
                    <a:lnTo>
                      <a:pt x="78" y="678"/>
                    </a:lnTo>
                    <a:lnTo>
                      <a:pt x="96" y="660"/>
                    </a:lnTo>
                    <a:lnTo>
                      <a:pt x="120" y="630"/>
                    </a:lnTo>
                    <a:lnTo>
                      <a:pt x="126" y="624"/>
                    </a:lnTo>
                    <a:lnTo>
                      <a:pt x="126" y="630"/>
                    </a:lnTo>
                    <a:lnTo>
                      <a:pt x="126" y="624"/>
                    </a:lnTo>
                    <a:lnTo>
                      <a:pt x="126" y="618"/>
                    </a:lnTo>
                    <a:lnTo>
                      <a:pt x="120" y="618"/>
                    </a:lnTo>
                    <a:lnTo>
                      <a:pt x="120" y="612"/>
                    </a:lnTo>
                    <a:lnTo>
                      <a:pt x="126" y="612"/>
                    </a:lnTo>
                    <a:lnTo>
                      <a:pt x="126" y="606"/>
                    </a:lnTo>
                    <a:lnTo>
                      <a:pt x="132" y="600"/>
                    </a:lnTo>
                    <a:lnTo>
                      <a:pt x="132" y="594"/>
                    </a:lnTo>
                    <a:lnTo>
                      <a:pt x="132" y="588"/>
                    </a:lnTo>
                    <a:lnTo>
                      <a:pt x="126" y="588"/>
                    </a:lnTo>
                    <a:lnTo>
                      <a:pt x="132" y="582"/>
                    </a:lnTo>
                    <a:lnTo>
                      <a:pt x="138" y="582"/>
                    </a:lnTo>
                    <a:lnTo>
                      <a:pt x="144" y="576"/>
                    </a:lnTo>
                    <a:lnTo>
                      <a:pt x="144" y="570"/>
                    </a:lnTo>
                    <a:lnTo>
                      <a:pt x="150" y="564"/>
                    </a:lnTo>
                    <a:lnTo>
                      <a:pt x="150" y="558"/>
                    </a:lnTo>
                    <a:lnTo>
                      <a:pt x="150" y="552"/>
                    </a:lnTo>
                    <a:lnTo>
                      <a:pt x="150" y="558"/>
                    </a:lnTo>
                    <a:lnTo>
                      <a:pt x="150" y="552"/>
                    </a:lnTo>
                    <a:lnTo>
                      <a:pt x="156" y="552"/>
                    </a:lnTo>
                    <a:lnTo>
                      <a:pt x="156" y="546"/>
                    </a:lnTo>
                    <a:lnTo>
                      <a:pt x="162" y="540"/>
                    </a:lnTo>
                    <a:lnTo>
                      <a:pt x="162" y="534"/>
                    </a:lnTo>
                    <a:lnTo>
                      <a:pt x="156" y="534"/>
                    </a:lnTo>
                    <a:lnTo>
                      <a:pt x="156" y="528"/>
                    </a:lnTo>
                    <a:lnTo>
                      <a:pt x="150" y="528"/>
                    </a:lnTo>
                    <a:lnTo>
                      <a:pt x="150" y="522"/>
                    </a:lnTo>
                    <a:lnTo>
                      <a:pt x="150" y="516"/>
                    </a:lnTo>
                    <a:lnTo>
                      <a:pt x="144" y="516"/>
                    </a:lnTo>
                    <a:lnTo>
                      <a:pt x="144" y="510"/>
                    </a:lnTo>
                    <a:lnTo>
                      <a:pt x="150" y="510"/>
                    </a:lnTo>
                    <a:lnTo>
                      <a:pt x="150" y="504"/>
                    </a:lnTo>
                    <a:lnTo>
                      <a:pt x="150" y="498"/>
                    </a:lnTo>
                    <a:lnTo>
                      <a:pt x="150" y="492"/>
                    </a:lnTo>
                    <a:lnTo>
                      <a:pt x="144" y="492"/>
                    </a:lnTo>
                    <a:lnTo>
                      <a:pt x="138" y="486"/>
                    </a:lnTo>
                    <a:lnTo>
                      <a:pt x="144" y="486"/>
                    </a:lnTo>
                    <a:lnTo>
                      <a:pt x="144" y="480"/>
                    </a:lnTo>
                    <a:lnTo>
                      <a:pt x="138" y="480"/>
                    </a:lnTo>
                    <a:lnTo>
                      <a:pt x="144" y="480"/>
                    </a:lnTo>
                    <a:lnTo>
                      <a:pt x="144" y="474"/>
                    </a:lnTo>
                    <a:lnTo>
                      <a:pt x="150" y="474"/>
                    </a:lnTo>
                    <a:lnTo>
                      <a:pt x="150" y="480"/>
                    </a:lnTo>
                    <a:lnTo>
                      <a:pt x="150" y="474"/>
                    </a:lnTo>
                    <a:lnTo>
                      <a:pt x="156" y="474"/>
                    </a:lnTo>
                    <a:lnTo>
                      <a:pt x="156" y="468"/>
                    </a:lnTo>
                    <a:lnTo>
                      <a:pt x="150" y="468"/>
                    </a:lnTo>
                    <a:lnTo>
                      <a:pt x="150" y="462"/>
                    </a:lnTo>
                    <a:lnTo>
                      <a:pt x="156" y="462"/>
                    </a:lnTo>
                    <a:lnTo>
                      <a:pt x="156" y="456"/>
                    </a:lnTo>
                    <a:lnTo>
                      <a:pt x="156" y="462"/>
                    </a:lnTo>
                    <a:lnTo>
                      <a:pt x="156" y="456"/>
                    </a:lnTo>
                    <a:lnTo>
                      <a:pt x="162" y="450"/>
                    </a:lnTo>
                    <a:lnTo>
                      <a:pt x="156" y="450"/>
                    </a:lnTo>
                    <a:lnTo>
                      <a:pt x="156" y="444"/>
                    </a:lnTo>
                    <a:lnTo>
                      <a:pt x="156" y="438"/>
                    </a:lnTo>
                    <a:lnTo>
                      <a:pt x="156" y="432"/>
                    </a:lnTo>
                    <a:lnTo>
                      <a:pt x="156" y="426"/>
                    </a:lnTo>
                    <a:lnTo>
                      <a:pt x="156" y="420"/>
                    </a:lnTo>
                    <a:lnTo>
                      <a:pt x="156" y="414"/>
                    </a:lnTo>
                    <a:lnTo>
                      <a:pt x="156" y="408"/>
                    </a:lnTo>
                    <a:lnTo>
                      <a:pt x="162" y="408"/>
                    </a:lnTo>
                    <a:lnTo>
                      <a:pt x="156" y="408"/>
                    </a:lnTo>
                    <a:lnTo>
                      <a:pt x="156" y="402"/>
                    </a:lnTo>
                    <a:lnTo>
                      <a:pt x="156" y="396"/>
                    </a:lnTo>
                    <a:lnTo>
                      <a:pt x="162" y="396"/>
                    </a:lnTo>
                    <a:lnTo>
                      <a:pt x="162" y="390"/>
                    </a:lnTo>
                    <a:lnTo>
                      <a:pt x="156" y="390"/>
                    </a:lnTo>
                    <a:lnTo>
                      <a:pt x="156" y="384"/>
                    </a:lnTo>
                    <a:lnTo>
                      <a:pt x="156" y="378"/>
                    </a:lnTo>
                    <a:lnTo>
                      <a:pt x="156" y="372"/>
                    </a:lnTo>
                    <a:lnTo>
                      <a:pt x="150" y="372"/>
                    </a:lnTo>
                    <a:lnTo>
                      <a:pt x="150" y="366"/>
                    </a:lnTo>
                    <a:lnTo>
                      <a:pt x="156" y="360"/>
                    </a:lnTo>
                    <a:lnTo>
                      <a:pt x="156" y="354"/>
                    </a:lnTo>
                    <a:lnTo>
                      <a:pt x="150" y="354"/>
                    </a:lnTo>
                    <a:lnTo>
                      <a:pt x="144" y="354"/>
                    </a:lnTo>
                    <a:lnTo>
                      <a:pt x="138" y="354"/>
                    </a:lnTo>
                    <a:lnTo>
                      <a:pt x="144" y="354"/>
                    </a:lnTo>
                    <a:lnTo>
                      <a:pt x="144" y="348"/>
                    </a:lnTo>
                    <a:lnTo>
                      <a:pt x="138" y="348"/>
                    </a:lnTo>
                    <a:lnTo>
                      <a:pt x="132" y="348"/>
                    </a:lnTo>
                    <a:lnTo>
                      <a:pt x="126" y="342"/>
                    </a:lnTo>
                    <a:lnTo>
                      <a:pt x="120" y="342"/>
                    </a:lnTo>
                    <a:lnTo>
                      <a:pt x="114" y="342"/>
                    </a:lnTo>
                    <a:lnTo>
                      <a:pt x="108" y="342"/>
                    </a:lnTo>
                    <a:lnTo>
                      <a:pt x="102" y="342"/>
                    </a:lnTo>
                    <a:lnTo>
                      <a:pt x="102" y="336"/>
                    </a:lnTo>
                    <a:lnTo>
                      <a:pt x="96" y="336"/>
                    </a:lnTo>
                    <a:lnTo>
                      <a:pt x="96" y="330"/>
                    </a:lnTo>
                    <a:lnTo>
                      <a:pt x="90" y="330"/>
                    </a:lnTo>
                    <a:lnTo>
                      <a:pt x="84" y="330"/>
                    </a:lnTo>
                    <a:lnTo>
                      <a:pt x="84" y="324"/>
                    </a:lnTo>
                    <a:lnTo>
                      <a:pt x="78" y="324"/>
                    </a:lnTo>
                    <a:lnTo>
                      <a:pt x="72" y="324"/>
                    </a:lnTo>
                    <a:lnTo>
                      <a:pt x="66" y="324"/>
                    </a:lnTo>
                    <a:lnTo>
                      <a:pt x="66" y="318"/>
                    </a:lnTo>
                    <a:lnTo>
                      <a:pt x="60" y="318"/>
                    </a:lnTo>
                    <a:lnTo>
                      <a:pt x="60" y="312"/>
                    </a:lnTo>
                    <a:lnTo>
                      <a:pt x="54" y="312"/>
                    </a:lnTo>
                    <a:lnTo>
                      <a:pt x="48" y="312"/>
                    </a:lnTo>
                    <a:lnTo>
                      <a:pt x="48" y="318"/>
                    </a:lnTo>
                    <a:lnTo>
                      <a:pt x="42" y="318"/>
                    </a:lnTo>
                    <a:lnTo>
                      <a:pt x="42" y="312"/>
                    </a:lnTo>
                    <a:lnTo>
                      <a:pt x="36" y="312"/>
                    </a:lnTo>
                    <a:lnTo>
                      <a:pt x="30" y="312"/>
                    </a:lnTo>
                    <a:lnTo>
                      <a:pt x="24" y="312"/>
                    </a:lnTo>
                    <a:lnTo>
                      <a:pt x="18" y="312"/>
                    </a:lnTo>
                    <a:lnTo>
                      <a:pt x="12" y="312"/>
                    </a:lnTo>
                    <a:lnTo>
                      <a:pt x="12" y="306"/>
                    </a:lnTo>
                    <a:lnTo>
                      <a:pt x="12" y="300"/>
                    </a:lnTo>
                    <a:lnTo>
                      <a:pt x="12" y="294"/>
                    </a:lnTo>
                    <a:lnTo>
                      <a:pt x="12" y="288"/>
                    </a:lnTo>
                    <a:lnTo>
                      <a:pt x="12" y="282"/>
                    </a:lnTo>
                    <a:lnTo>
                      <a:pt x="12" y="276"/>
                    </a:lnTo>
                    <a:lnTo>
                      <a:pt x="6" y="270"/>
                    </a:lnTo>
                    <a:lnTo>
                      <a:pt x="6" y="264"/>
                    </a:lnTo>
                    <a:lnTo>
                      <a:pt x="0" y="264"/>
                    </a:lnTo>
                    <a:lnTo>
                      <a:pt x="0" y="258"/>
                    </a:lnTo>
                    <a:lnTo>
                      <a:pt x="6" y="258"/>
                    </a:lnTo>
                    <a:lnTo>
                      <a:pt x="0" y="258"/>
                    </a:lnTo>
                    <a:lnTo>
                      <a:pt x="6" y="252"/>
                    </a:lnTo>
                    <a:lnTo>
                      <a:pt x="12" y="252"/>
                    </a:lnTo>
                    <a:lnTo>
                      <a:pt x="18" y="252"/>
                    </a:lnTo>
                    <a:lnTo>
                      <a:pt x="24" y="246"/>
                    </a:lnTo>
                    <a:lnTo>
                      <a:pt x="30" y="246"/>
                    </a:lnTo>
                    <a:lnTo>
                      <a:pt x="36" y="246"/>
                    </a:lnTo>
                    <a:lnTo>
                      <a:pt x="48" y="240"/>
                    </a:lnTo>
                    <a:lnTo>
                      <a:pt x="54" y="240"/>
                    </a:lnTo>
                    <a:lnTo>
                      <a:pt x="60" y="234"/>
                    </a:lnTo>
                    <a:lnTo>
                      <a:pt x="66" y="234"/>
                    </a:lnTo>
                    <a:lnTo>
                      <a:pt x="72" y="234"/>
                    </a:lnTo>
                    <a:lnTo>
                      <a:pt x="78" y="234"/>
                    </a:lnTo>
                    <a:lnTo>
                      <a:pt x="78" y="228"/>
                    </a:lnTo>
                    <a:lnTo>
                      <a:pt x="84" y="228"/>
                    </a:lnTo>
                    <a:lnTo>
                      <a:pt x="90" y="228"/>
                    </a:lnTo>
                    <a:lnTo>
                      <a:pt x="96" y="222"/>
                    </a:lnTo>
                    <a:lnTo>
                      <a:pt x="102" y="222"/>
                    </a:lnTo>
                    <a:lnTo>
                      <a:pt x="108" y="222"/>
                    </a:lnTo>
                    <a:lnTo>
                      <a:pt x="108" y="216"/>
                    </a:lnTo>
                    <a:lnTo>
                      <a:pt x="114" y="216"/>
                    </a:lnTo>
                    <a:lnTo>
                      <a:pt x="120" y="216"/>
                    </a:lnTo>
                    <a:lnTo>
                      <a:pt x="126" y="216"/>
                    </a:lnTo>
                    <a:lnTo>
                      <a:pt x="132" y="210"/>
                    </a:lnTo>
                    <a:lnTo>
                      <a:pt x="138" y="210"/>
                    </a:lnTo>
                    <a:lnTo>
                      <a:pt x="150" y="204"/>
                    </a:lnTo>
                    <a:lnTo>
                      <a:pt x="156" y="204"/>
                    </a:lnTo>
                    <a:lnTo>
                      <a:pt x="162" y="204"/>
                    </a:lnTo>
                    <a:lnTo>
                      <a:pt x="168" y="198"/>
                    </a:lnTo>
                    <a:close/>
                    <a:moveTo>
                      <a:pt x="252" y="84"/>
                    </a:moveTo>
                    <a:lnTo>
                      <a:pt x="258" y="84"/>
                    </a:lnTo>
                    <a:lnTo>
                      <a:pt x="258" y="90"/>
                    </a:lnTo>
                    <a:lnTo>
                      <a:pt x="252" y="90"/>
                    </a:lnTo>
                    <a:lnTo>
                      <a:pt x="252" y="84"/>
                    </a:lnTo>
                    <a:close/>
                    <a:moveTo>
                      <a:pt x="534" y="330"/>
                    </a:moveTo>
                    <a:lnTo>
                      <a:pt x="540" y="330"/>
                    </a:lnTo>
                    <a:lnTo>
                      <a:pt x="540" y="336"/>
                    </a:lnTo>
                    <a:lnTo>
                      <a:pt x="534" y="336"/>
                    </a:lnTo>
                    <a:lnTo>
                      <a:pt x="534" y="330"/>
                    </a:lnTo>
                    <a:close/>
                    <a:moveTo>
                      <a:pt x="294" y="648"/>
                    </a:moveTo>
                    <a:lnTo>
                      <a:pt x="294" y="642"/>
                    </a:lnTo>
                    <a:lnTo>
                      <a:pt x="294" y="636"/>
                    </a:lnTo>
                    <a:lnTo>
                      <a:pt x="294" y="642"/>
                    </a:lnTo>
                    <a:lnTo>
                      <a:pt x="294" y="648"/>
                    </a:lnTo>
                    <a:lnTo>
                      <a:pt x="294" y="654"/>
                    </a:lnTo>
                    <a:lnTo>
                      <a:pt x="294" y="648"/>
                    </a:lnTo>
                    <a:close/>
                    <a:moveTo>
                      <a:pt x="150" y="912"/>
                    </a:moveTo>
                    <a:lnTo>
                      <a:pt x="156" y="912"/>
                    </a:lnTo>
                    <a:lnTo>
                      <a:pt x="156" y="918"/>
                    </a:lnTo>
                    <a:lnTo>
                      <a:pt x="150" y="918"/>
                    </a:lnTo>
                    <a:lnTo>
                      <a:pt x="150" y="912"/>
                    </a:lnTo>
                    <a:close/>
                    <a:moveTo>
                      <a:pt x="330" y="480"/>
                    </a:moveTo>
                    <a:lnTo>
                      <a:pt x="342" y="480"/>
                    </a:lnTo>
                    <a:lnTo>
                      <a:pt x="342" y="486"/>
                    </a:lnTo>
                    <a:lnTo>
                      <a:pt x="330" y="486"/>
                    </a:lnTo>
                    <a:lnTo>
                      <a:pt x="330" y="480"/>
                    </a:lnTo>
                    <a:close/>
                    <a:moveTo>
                      <a:pt x="294" y="654"/>
                    </a:moveTo>
                    <a:lnTo>
                      <a:pt x="294" y="660"/>
                    </a:lnTo>
                    <a:lnTo>
                      <a:pt x="295" y="660"/>
                    </a:lnTo>
                    <a:lnTo>
                      <a:pt x="294" y="654"/>
                    </a:lnTo>
                    <a:close/>
                    <a:moveTo>
                      <a:pt x="576" y="102"/>
                    </a:moveTo>
                    <a:lnTo>
                      <a:pt x="582" y="102"/>
                    </a:lnTo>
                    <a:lnTo>
                      <a:pt x="582" y="108"/>
                    </a:lnTo>
                    <a:lnTo>
                      <a:pt x="576" y="108"/>
                    </a:lnTo>
                    <a:lnTo>
                      <a:pt x="576" y="102"/>
                    </a:lnTo>
                    <a:close/>
                    <a:moveTo>
                      <a:pt x="576" y="96"/>
                    </a:moveTo>
                    <a:lnTo>
                      <a:pt x="582" y="96"/>
                    </a:lnTo>
                    <a:lnTo>
                      <a:pt x="576" y="96"/>
                    </a:lnTo>
                    <a:close/>
                    <a:moveTo>
                      <a:pt x="564" y="684"/>
                    </a:moveTo>
                    <a:lnTo>
                      <a:pt x="570" y="684"/>
                    </a:lnTo>
                    <a:lnTo>
                      <a:pt x="570" y="690"/>
                    </a:lnTo>
                    <a:lnTo>
                      <a:pt x="564" y="690"/>
                    </a:lnTo>
                    <a:lnTo>
                      <a:pt x="564" y="684"/>
                    </a:lnTo>
                    <a:close/>
                    <a:moveTo>
                      <a:pt x="582" y="30"/>
                    </a:moveTo>
                    <a:lnTo>
                      <a:pt x="588" y="30"/>
                    </a:lnTo>
                    <a:lnTo>
                      <a:pt x="582" y="30"/>
                    </a:lnTo>
                    <a:close/>
                    <a:moveTo>
                      <a:pt x="348" y="468"/>
                    </a:moveTo>
                    <a:lnTo>
                      <a:pt x="348" y="474"/>
                    </a:lnTo>
                    <a:lnTo>
                      <a:pt x="349" y="474"/>
                    </a:lnTo>
                    <a:lnTo>
                      <a:pt x="348" y="468"/>
                    </a:lnTo>
                    <a:close/>
                    <a:moveTo>
                      <a:pt x="252" y="576"/>
                    </a:moveTo>
                    <a:lnTo>
                      <a:pt x="252" y="582"/>
                    </a:lnTo>
                    <a:lnTo>
                      <a:pt x="253" y="582"/>
                    </a:lnTo>
                    <a:lnTo>
                      <a:pt x="252" y="576"/>
                    </a:lnTo>
                    <a:close/>
                    <a:moveTo>
                      <a:pt x="582" y="36"/>
                    </a:moveTo>
                    <a:lnTo>
                      <a:pt x="588" y="36"/>
                    </a:lnTo>
                    <a:lnTo>
                      <a:pt x="582" y="36"/>
                    </a:lnTo>
                    <a:close/>
                    <a:moveTo>
                      <a:pt x="540" y="330"/>
                    </a:moveTo>
                    <a:lnTo>
                      <a:pt x="546" y="330"/>
                    </a:lnTo>
                    <a:lnTo>
                      <a:pt x="546" y="336"/>
                    </a:lnTo>
                    <a:lnTo>
                      <a:pt x="540" y="336"/>
                    </a:lnTo>
                    <a:lnTo>
                      <a:pt x="540" y="330"/>
                    </a:lnTo>
                    <a:close/>
                    <a:moveTo>
                      <a:pt x="582" y="12"/>
                    </a:moveTo>
                    <a:lnTo>
                      <a:pt x="582" y="18"/>
                    </a:lnTo>
                    <a:lnTo>
                      <a:pt x="583" y="18"/>
                    </a:lnTo>
                    <a:lnTo>
                      <a:pt x="582" y="12"/>
                    </a:lnTo>
                    <a:close/>
                    <a:moveTo>
                      <a:pt x="246" y="576"/>
                    </a:moveTo>
                    <a:lnTo>
                      <a:pt x="252" y="576"/>
                    </a:lnTo>
                    <a:lnTo>
                      <a:pt x="246" y="576"/>
                    </a:lnTo>
                    <a:close/>
                    <a:moveTo>
                      <a:pt x="252" y="534"/>
                    </a:moveTo>
                    <a:lnTo>
                      <a:pt x="258" y="534"/>
                    </a:lnTo>
                    <a:lnTo>
                      <a:pt x="252" y="534"/>
                    </a:lnTo>
                    <a:close/>
                    <a:moveTo>
                      <a:pt x="534" y="330"/>
                    </a:moveTo>
                    <a:lnTo>
                      <a:pt x="534" y="336"/>
                    </a:lnTo>
                    <a:lnTo>
                      <a:pt x="535" y="336"/>
                    </a:lnTo>
                    <a:lnTo>
                      <a:pt x="534" y="330"/>
                    </a:lnTo>
                    <a:close/>
                    <a:moveTo>
                      <a:pt x="306" y="492"/>
                    </a:moveTo>
                    <a:lnTo>
                      <a:pt x="312" y="492"/>
                    </a:lnTo>
                    <a:lnTo>
                      <a:pt x="312" y="498"/>
                    </a:lnTo>
                    <a:lnTo>
                      <a:pt x="306" y="498"/>
                    </a:lnTo>
                    <a:lnTo>
                      <a:pt x="306" y="492"/>
                    </a:lnTo>
                    <a:close/>
                    <a:moveTo>
                      <a:pt x="246" y="528"/>
                    </a:moveTo>
                    <a:lnTo>
                      <a:pt x="252" y="528"/>
                    </a:lnTo>
                    <a:lnTo>
                      <a:pt x="246" y="528"/>
                    </a:lnTo>
                    <a:close/>
                    <a:moveTo>
                      <a:pt x="576" y="84"/>
                    </a:moveTo>
                    <a:lnTo>
                      <a:pt x="582" y="84"/>
                    </a:lnTo>
                    <a:lnTo>
                      <a:pt x="576" y="84"/>
                    </a:lnTo>
                    <a:close/>
                    <a:moveTo>
                      <a:pt x="138" y="906"/>
                    </a:moveTo>
                    <a:lnTo>
                      <a:pt x="144" y="906"/>
                    </a:lnTo>
                    <a:lnTo>
                      <a:pt x="138" y="906"/>
                    </a:lnTo>
                    <a:close/>
                    <a:moveTo>
                      <a:pt x="252" y="534"/>
                    </a:moveTo>
                    <a:lnTo>
                      <a:pt x="258" y="534"/>
                    </a:lnTo>
                    <a:lnTo>
                      <a:pt x="252" y="534"/>
                    </a:lnTo>
                    <a:close/>
                    <a:moveTo>
                      <a:pt x="576" y="282"/>
                    </a:moveTo>
                    <a:lnTo>
                      <a:pt x="582" y="282"/>
                    </a:lnTo>
                    <a:lnTo>
                      <a:pt x="576" y="282"/>
                    </a:lnTo>
                    <a:close/>
                    <a:moveTo>
                      <a:pt x="498" y="366"/>
                    </a:moveTo>
                    <a:lnTo>
                      <a:pt x="498" y="372"/>
                    </a:lnTo>
                    <a:lnTo>
                      <a:pt x="499" y="372"/>
                    </a:lnTo>
                    <a:lnTo>
                      <a:pt x="498" y="366"/>
                    </a:lnTo>
                    <a:close/>
                    <a:moveTo>
                      <a:pt x="294" y="654"/>
                    </a:moveTo>
                    <a:lnTo>
                      <a:pt x="294" y="660"/>
                    </a:lnTo>
                    <a:lnTo>
                      <a:pt x="295" y="660"/>
                    </a:lnTo>
                    <a:lnTo>
                      <a:pt x="294" y="654"/>
                    </a:lnTo>
                    <a:close/>
                    <a:moveTo>
                      <a:pt x="252" y="540"/>
                    </a:moveTo>
                    <a:lnTo>
                      <a:pt x="258" y="540"/>
                    </a:lnTo>
                    <a:lnTo>
                      <a:pt x="252" y="540"/>
                    </a:lnTo>
                    <a:close/>
                    <a:moveTo>
                      <a:pt x="150" y="912"/>
                    </a:moveTo>
                    <a:lnTo>
                      <a:pt x="156" y="912"/>
                    </a:lnTo>
                    <a:lnTo>
                      <a:pt x="150" y="912"/>
                    </a:lnTo>
                    <a:close/>
                    <a:moveTo>
                      <a:pt x="294" y="774"/>
                    </a:moveTo>
                    <a:lnTo>
                      <a:pt x="294" y="780"/>
                    </a:lnTo>
                    <a:lnTo>
                      <a:pt x="295" y="780"/>
                    </a:lnTo>
                    <a:lnTo>
                      <a:pt x="294" y="774"/>
                    </a:lnTo>
                    <a:close/>
                    <a:moveTo>
                      <a:pt x="366" y="444"/>
                    </a:moveTo>
                    <a:lnTo>
                      <a:pt x="372" y="444"/>
                    </a:lnTo>
                    <a:lnTo>
                      <a:pt x="366" y="444"/>
                    </a:lnTo>
                    <a:close/>
                    <a:moveTo>
                      <a:pt x="348" y="462"/>
                    </a:moveTo>
                    <a:lnTo>
                      <a:pt x="354" y="462"/>
                    </a:lnTo>
                    <a:lnTo>
                      <a:pt x="348" y="462"/>
                    </a:lnTo>
                    <a:close/>
                    <a:moveTo>
                      <a:pt x="534" y="330"/>
                    </a:moveTo>
                    <a:lnTo>
                      <a:pt x="534" y="336"/>
                    </a:lnTo>
                    <a:lnTo>
                      <a:pt x="535" y="336"/>
                    </a:lnTo>
                    <a:lnTo>
                      <a:pt x="534" y="330"/>
                    </a:lnTo>
                    <a:close/>
                    <a:moveTo>
                      <a:pt x="366" y="444"/>
                    </a:moveTo>
                    <a:lnTo>
                      <a:pt x="372" y="444"/>
                    </a:lnTo>
                    <a:lnTo>
                      <a:pt x="366" y="44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7" name="Freeform 58"/>
              <p:cNvSpPr>
                <a:spLocks/>
              </p:cNvSpPr>
              <p:nvPr>
                <p:custDataLst>
                  <p:tags r:id="rId54"/>
                </p:custDataLst>
              </p:nvPr>
            </p:nvSpPr>
            <p:spPr bwMode="gray">
              <a:xfrm>
                <a:off x="3883344" y="4094560"/>
                <a:ext cx="167684" cy="155188"/>
              </a:xfrm>
              <a:custGeom>
                <a:avLst/>
                <a:gdLst>
                  <a:gd name="T0" fmla="*/ 43031 w 132"/>
                  <a:gd name="T1" fmla="*/ 27133 h 132"/>
                  <a:gd name="T2" fmla="*/ 43031 w 132"/>
                  <a:gd name="T3" fmla="*/ 27133 h 132"/>
                  <a:gd name="T4" fmla="*/ 41075 w 132"/>
                  <a:gd name="T5" fmla="*/ 30039 h 132"/>
                  <a:gd name="T6" fmla="*/ 41075 w 132"/>
                  <a:gd name="T7" fmla="*/ 30039 h 132"/>
                  <a:gd name="T8" fmla="*/ 38141 w 132"/>
                  <a:gd name="T9" fmla="*/ 31978 h 132"/>
                  <a:gd name="T10" fmla="*/ 34229 w 132"/>
                  <a:gd name="T11" fmla="*/ 33916 h 132"/>
                  <a:gd name="T12" fmla="*/ 30318 w 132"/>
                  <a:gd name="T13" fmla="*/ 33916 h 132"/>
                  <a:gd name="T14" fmla="*/ 30318 w 132"/>
                  <a:gd name="T15" fmla="*/ 33916 h 132"/>
                  <a:gd name="T16" fmla="*/ 27384 w 132"/>
                  <a:gd name="T17" fmla="*/ 33916 h 132"/>
                  <a:gd name="T18" fmla="*/ 26406 w 132"/>
                  <a:gd name="T19" fmla="*/ 37792 h 132"/>
                  <a:gd name="T20" fmla="*/ 23472 w 132"/>
                  <a:gd name="T21" fmla="*/ 40699 h 132"/>
                  <a:gd name="T22" fmla="*/ 21515 w 132"/>
                  <a:gd name="T23" fmla="*/ 42637 h 132"/>
                  <a:gd name="T24" fmla="*/ 21515 w 132"/>
                  <a:gd name="T25" fmla="*/ 42637 h 132"/>
                  <a:gd name="T26" fmla="*/ 21515 w 132"/>
                  <a:gd name="T27" fmla="*/ 46513 h 132"/>
                  <a:gd name="T28" fmla="*/ 17604 w 132"/>
                  <a:gd name="T29" fmla="*/ 46513 h 132"/>
                  <a:gd name="T30" fmla="*/ 14670 w 132"/>
                  <a:gd name="T31" fmla="*/ 44575 h 132"/>
                  <a:gd name="T32" fmla="*/ 12714 w 132"/>
                  <a:gd name="T33" fmla="*/ 42637 h 132"/>
                  <a:gd name="T34" fmla="*/ 10758 w 132"/>
                  <a:gd name="T35" fmla="*/ 40699 h 132"/>
                  <a:gd name="T36" fmla="*/ 8802 w 132"/>
                  <a:gd name="T37" fmla="*/ 37792 h 132"/>
                  <a:gd name="T38" fmla="*/ 6846 w 132"/>
                  <a:gd name="T39" fmla="*/ 36823 h 132"/>
                  <a:gd name="T40" fmla="*/ 6846 w 132"/>
                  <a:gd name="T41" fmla="*/ 36823 h 132"/>
                  <a:gd name="T42" fmla="*/ 3912 w 132"/>
                  <a:gd name="T43" fmla="*/ 33916 h 132"/>
                  <a:gd name="T44" fmla="*/ 3912 w 132"/>
                  <a:gd name="T45" fmla="*/ 30039 h 132"/>
                  <a:gd name="T46" fmla="*/ 1956 w 132"/>
                  <a:gd name="T47" fmla="*/ 27133 h 132"/>
                  <a:gd name="T48" fmla="*/ 0 w 132"/>
                  <a:gd name="T49" fmla="*/ 26164 h 132"/>
                  <a:gd name="T50" fmla="*/ 1956 w 132"/>
                  <a:gd name="T51" fmla="*/ 23256 h 132"/>
                  <a:gd name="T52" fmla="*/ 3912 w 132"/>
                  <a:gd name="T53" fmla="*/ 21319 h 132"/>
                  <a:gd name="T54" fmla="*/ 3912 w 132"/>
                  <a:gd name="T55" fmla="*/ 21319 h 132"/>
                  <a:gd name="T56" fmla="*/ 8802 w 132"/>
                  <a:gd name="T57" fmla="*/ 19380 h 132"/>
                  <a:gd name="T58" fmla="*/ 6846 w 132"/>
                  <a:gd name="T59" fmla="*/ 17442 h 132"/>
                  <a:gd name="T60" fmla="*/ 8802 w 132"/>
                  <a:gd name="T61" fmla="*/ 14535 h 132"/>
                  <a:gd name="T62" fmla="*/ 8802 w 132"/>
                  <a:gd name="T63" fmla="*/ 14535 h 132"/>
                  <a:gd name="T64" fmla="*/ 10758 w 132"/>
                  <a:gd name="T65" fmla="*/ 12597 h 132"/>
                  <a:gd name="T66" fmla="*/ 12714 w 132"/>
                  <a:gd name="T67" fmla="*/ 10659 h 132"/>
                  <a:gd name="T68" fmla="*/ 14670 w 132"/>
                  <a:gd name="T69" fmla="*/ 8721 h 132"/>
                  <a:gd name="T70" fmla="*/ 17604 w 132"/>
                  <a:gd name="T71" fmla="*/ 6783 h 132"/>
                  <a:gd name="T72" fmla="*/ 19560 w 132"/>
                  <a:gd name="T73" fmla="*/ 3876 h 132"/>
                  <a:gd name="T74" fmla="*/ 21515 w 132"/>
                  <a:gd name="T75" fmla="*/ 1938 h 132"/>
                  <a:gd name="T76" fmla="*/ 21515 w 132"/>
                  <a:gd name="T77" fmla="*/ 1938 h 132"/>
                  <a:gd name="T78" fmla="*/ 26406 w 132"/>
                  <a:gd name="T79" fmla="*/ 1938 h 132"/>
                  <a:gd name="T80" fmla="*/ 30318 w 132"/>
                  <a:gd name="T81" fmla="*/ 0 h 132"/>
                  <a:gd name="T82" fmla="*/ 32273 w 132"/>
                  <a:gd name="T83" fmla="*/ 1938 h 132"/>
                  <a:gd name="T84" fmla="*/ 34229 w 132"/>
                  <a:gd name="T85" fmla="*/ 3876 h 132"/>
                  <a:gd name="T86" fmla="*/ 38141 w 132"/>
                  <a:gd name="T87" fmla="*/ 6783 h 132"/>
                  <a:gd name="T88" fmla="*/ 43031 w 132"/>
                  <a:gd name="T89" fmla="*/ 8721 h 132"/>
                  <a:gd name="T90" fmla="*/ 44987 w 132"/>
                  <a:gd name="T91" fmla="*/ 10659 h 132"/>
                  <a:gd name="T92" fmla="*/ 46943 w 132"/>
                  <a:gd name="T93" fmla="*/ 12597 h 132"/>
                  <a:gd name="T94" fmla="*/ 46943 w 132"/>
                  <a:gd name="T95" fmla="*/ 17442 h 132"/>
                  <a:gd name="T96" fmla="*/ 44987 w 132"/>
                  <a:gd name="T97" fmla="*/ 19380 h 132"/>
                  <a:gd name="T98" fmla="*/ 44987 w 132"/>
                  <a:gd name="T99" fmla="*/ 23256 h 132"/>
                  <a:gd name="T100" fmla="*/ 43031 w 132"/>
                  <a:gd name="T101" fmla="*/ 26164 h 132"/>
                  <a:gd name="T102" fmla="*/ 43031 w 132"/>
                  <a:gd name="T103" fmla="*/ 2616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2" h="132">
                    <a:moveTo>
                      <a:pt x="120" y="72"/>
                    </a:moveTo>
                    <a:lnTo>
                      <a:pt x="120" y="78"/>
                    </a:lnTo>
                    <a:lnTo>
                      <a:pt x="114" y="78"/>
                    </a:lnTo>
                    <a:lnTo>
                      <a:pt x="120" y="78"/>
                    </a:lnTo>
                    <a:lnTo>
                      <a:pt x="120" y="84"/>
                    </a:lnTo>
                    <a:lnTo>
                      <a:pt x="114" y="84"/>
                    </a:lnTo>
                    <a:lnTo>
                      <a:pt x="114" y="90"/>
                    </a:lnTo>
                    <a:lnTo>
                      <a:pt x="114" y="84"/>
                    </a:lnTo>
                    <a:lnTo>
                      <a:pt x="114" y="90"/>
                    </a:lnTo>
                    <a:lnTo>
                      <a:pt x="108" y="90"/>
                    </a:lnTo>
                    <a:lnTo>
                      <a:pt x="102" y="96"/>
                    </a:lnTo>
                    <a:lnTo>
                      <a:pt x="96" y="96"/>
                    </a:lnTo>
                    <a:lnTo>
                      <a:pt x="90" y="96"/>
                    </a:lnTo>
                    <a:lnTo>
                      <a:pt x="84" y="96"/>
                    </a:lnTo>
                    <a:lnTo>
                      <a:pt x="84" y="102"/>
                    </a:lnTo>
                    <a:lnTo>
                      <a:pt x="84" y="96"/>
                    </a:lnTo>
                    <a:lnTo>
                      <a:pt x="78" y="102"/>
                    </a:lnTo>
                    <a:lnTo>
                      <a:pt x="78" y="96"/>
                    </a:lnTo>
                    <a:lnTo>
                      <a:pt x="72" y="102"/>
                    </a:lnTo>
                    <a:lnTo>
                      <a:pt x="72" y="108"/>
                    </a:lnTo>
                    <a:lnTo>
                      <a:pt x="66" y="108"/>
                    </a:lnTo>
                    <a:lnTo>
                      <a:pt x="66" y="114"/>
                    </a:lnTo>
                    <a:lnTo>
                      <a:pt x="66" y="120"/>
                    </a:lnTo>
                    <a:lnTo>
                      <a:pt x="60" y="120"/>
                    </a:lnTo>
                    <a:lnTo>
                      <a:pt x="66" y="120"/>
                    </a:lnTo>
                    <a:lnTo>
                      <a:pt x="60" y="120"/>
                    </a:lnTo>
                    <a:lnTo>
                      <a:pt x="60" y="126"/>
                    </a:lnTo>
                    <a:lnTo>
                      <a:pt x="60" y="132"/>
                    </a:lnTo>
                    <a:lnTo>
                      <a:pt x="54" y="132"/>
                    </a:lnTo>
                    <a:lnTo>
                      <a:pt x="48" y="132"/>
                    </a:lnTo>
                    <a:lnTo>
                      <a:pt x="48" y="126"/>
                    </a:lnTo>
                    <a:lnTo>
                      <a:pt x="42" y="126"/>
                    </a:lnTo>
                    <a:lnTo>
                      <a:pt x="36" y="126"/>
                    </a:lnTo>
                    <a:lnTo>
                      <a:pt x="36" y="120"/>
                    </a:lnTo>
                    <a:lnTo>
                      <a:pt x="30" y="120"/>
                    </a:lnTo>
                    <a:lnTo>
                      <a:pt x="30" y="114"/>
                    </a:lnTo>
                    <a:lnTo>
                      <a:pt x="24" y="114"/>
                    </a:lnTo>
                    <a:lnTo>
                      <a:pt x="24" y="108"/>
                    </a:lnTo>
                    <a:lnTo>
                      <a:pt x="18" y="108"/>
                    </a:lnTo>
                    <a:lnTo>
                      <a:pt x="18" y="102"/>
                    </a:lnTo>
                    <a:lnTo>
                      <a:pt x="18" y="96"/>
                    </a:lnTo>
                    <a:lnTo>
                      <a:pt x="18" y="102"/>
                    </a:lnTo>
                    <a:lnTo>
                      <a:pt x="18" y="96"/>
                    </a:lnTo>
                    <a:lnTo>
                      <a:pt x="12" y="96"/>
                    </a:lnTo>
                    <a:lnTo>
                      <a:pt x="12" y="90"/>
                    </a:lnTo>
                    <a:lnTo>
                      <a:pt x="12" y="84"/>
                    </a:lnTo>
                    <a:lnTo>
                      <a:pt x="6" y="84"/>
                    </a:lnTo>
                    <a:lnTo>
                      <a:pt x="6" y="78"/>
                    </a:lnTo>
                    <a:lnTo>
                      <a:pt x="6" y="72"/>
                    </a:lnTo>
                    <a:lnTo>
                      <a:pt x="0" y="72"/>
                    </a:lnTo>
                    <a:lnTo>
                      <a:pt x="0" y="66"/>
                    </a:lnTo>
                    <a:lnTo>
                      <a:pt x="6" y="66"/>
                    </a:lnTo>
                    <a:lnTo>
                      <a:pt x="6" y="60"/>
                    </a:lnTo>
                    <a:lnTo>
                      <a:pt x="12" y="60"/>
                    </a:lnTo>
                    <a:lnTo>
                      <a:pt x="18" y="60"/>
                    </a:lnTo>
                    <a:lnTo>
                      <a:pt x="12" y="60"/>
                    </a:lnTo>
                    <a:lnTo>
                      <a:pt x="18" y="54"/>
                    </a:lnTo>
                    <a:lnTo>
                      <a:pt x="24" y="54"/>
                    </a:lnTo>
                    <a:lnTo>
                      <a:pt x="24" y="48"/>
                    </a:lnTo>
                    <a:lnTo>
                      <a:pt x="18" y="48"/>
                    </a:lnTo>
                    <a:lnTo>
                      <a:pt x="24" y="48"/>
                    </a:lnTo>
                    <a:lnTo>
                      <a:pt x="24" y="42"/>
                    </a:lnTo>
                    <a:lnTo>
                      <a:pt x="30" y="42"/>
                    </a:lnTo>
                    <a:lnTo>
                      <a:pt x="24" y="42"/>
                    </a:lnTo>
                    <a:lnTo>
                      <a:pt x="30" y="42"/>
                    </a:lnTo>
                    <a:lnTo>
                      <a:pt x="30" y="36"/>
                    </a:lnTo>
                    <a:lnTo>
                      <a:pt x="36" y="36"/>
                    </a:lnTo>
                    <a:lnTo>
                      <a:pt x="36" y="30"/>
                    </a:lnTo>
                    <a:lnTo>
                      <a:pt x="36" y="24"/>
                    </a:lnTo>
                    <a:lnTo>
                      <a:pt x="42" y="24"/>
                    </a:lnTo>
                    <a:lnTo>
                      <a:pt x="42" y="18"/>
                    </a:lnTo>
                    <a:lnTo>
                      <a:pt x="48" y="18"/>
                    </a:lnTo>
                    <a:lnTo>
                      <a:pt x="54" y="18"/>
                    </a:lnTo>
                    <a:lnTo>
                      <a:pt x="54" y="12"/>
                    </a:lnTo>
                    <a:lnTo>
                      <a:pt x="60" y="12"/>
                    </a:lnTo>
                    <a:lnTo>
                      <a:pt x="60" y="6"/>
                    </a:lnTo>
                    <a:lnTo>
                      <a:pt x="60" y="12"/>
                    </a:lnTo>
                    <a:lnTo>
                      <a:pt x="60" y="6"/>
                    </a:lnTo>
                    <a:lnTo>
                      <a:pt x="66" y="6"/>
                    </a:lnTo>
                    <a:lnTo>
                      <a:pt x="72" y="6"/>
                    </a:lnTo>
                    <a:lnTo>
                      <a:pt x="78" y="0"/>
                    </a:lnTo>
                    <a:lnTo>
                      <a:pt x="84" y="0"/>
                    </a:lnTo>
                    <a:lnTo>
                      <a:pt x="90" y="0"/>
                    </a:lnTo>
                    <a:lnTo>
                      <a:pt x="90" y="6"/>
                    </a:lnTo>
                    <a:lnTo>
                      <a:pt x="96" y="6"/>
                    </a:lnTo>
                    <a:lnTo>
                      <a:pt x="96" y="12"/>
                    </a:lnTo>
                    <a:lnTo>
                      <a:pt x="102" y="12"/>
                    </a:lnTo>
                    <a:lnTo>
                      <a:pt x="108" y="18"/>
                    </a:lnTo>
                    <a:lnTo>
                      <a:pt x="114" y="24"/>
                    </a:lnTo>
                    <a:lnTo>
                      <a:pt x="120" y="24"/>
                    </a:lnTo>
                    <a:lnTo>
                      <a:pt x="120" y="30"/>
                    </a:lnTo>
                    <a:lnTo>
                      <a:pt x="126" y="30"/>
                    </a:lnTo>
                    <a:lnTo>
                      <a:pt x="126" y="36"/>
                    </a:lnTo>
                    <a:lnTo>
                      <a:pt x="132" y="36"/>
                    </a:lnTo>
                    <a:lnTo>
                      <a:pt x="132" y="42"/>
                    </a:lnTo>
                    <a:lnTo>
                      <a:pt x="132" y="48"/>
                    </a:lnTo>
                    <a:lnTo>
                      <a:pt x="132" y="54"/>
                    </a:lnTo>
                    <a:lnTo>
                      <a:pt x="126" y="54"/>
                    </a:lnTo>
                    <a:lnTo>
                      <a:pt x="126" y="60"/>
                    </a:lnTo>
                    <a:lnTo>
                      <a:pt x="126" y="66"/>
                    </a:lnTo>
                    <a:lnTo>
                      <a:pt x="120" y="66"/>
                    </a:lnTo>
                    <a:lnTo>
                      <a:pt x="120" y="72"/>
                    </a:lnTo>
                    <a:lnTo>
                      <a:pt x="114" y="72"/>
                    </a:lnTo>
                    <a:lnTo>
                      <a:pt x="120" y="7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8" name="Freeform 59"/>
              <p:cNvSpPr>
                <a:spLocks noEditPoints="1"/>
              </p:cNvSpPr>
              <p:nvPr>
                <p:custDataLst>
                  <p:tags r:id="rId55"/>
                </p:custDataLst>
              </p:nvPr>
            </p:nvSpPr>
            <p:spPr bwMode="gray">
              <a:xfrm>
                <a:off x="3143276" y="3627489"/>
                <a:ext cx="1151218" cy="947702"/>
              </a:xfrm>
              <a:custGeom>
                <a:avLst/>
                <a:gdLst>
                  <a:gd name="T0" fmla="*/ 321822 w 912"/>
                  <a:gd name="T1" fmla="*/ 120404 h 804"/>
                  <a:gd name="T2" fmla="*/ 311127 w 912"/>
                  <a:gd name="T3" fmla="*/ 145650 h 804"/>
                  <a:gd name="T4" fmla="*/ 295571 w 912"/>
                  <a:gd name="T5" fmla="*/ 156332 h 804"/>
                  <a:gd name="T6" fmla="*/ 284876 w 912"/>
                  <a:gd name="T7" fmla="*/ 175752 h 804"/>
                  <a:gd name="T8" fmla="*/ 275153 w 912"/>
                  <a:gd name="T9" fmla="*/ 196142 h 804"/>
                  <a:gd name="T10" fmla="*/ 255708 w 912"/>
                  <a:gd name="T11" fmla="*/ 213621 h 804"/>
                  <a:gd name="T12" fmla="*/ 242096 w 912"/>
                  <a:gd name="T13" fmla="*/ 231099 h 804"/>
                  <a:gd name="T14" fmla="*/ 229456 w 912"/>
                  <a:gd name="T15" fmla="*/ 241780 h 804"/>
                  <a:gd name="T16" fmla="*/ 216816 w 912"/>
                  <a:gd name="T17" fmla="*/ 252461 h 804"/>
                  <a:gd name="T18" fmla="*/ 199316 w 912"/>
                  <a:gd name="T19" fmla="*/ 260229 h 804"/>
                  <a:gd name="T20" fmla="*/ 181815 w 912"/>
                  <a:gd name="T21" fmla="*/ 263142 h 804"/>
                  <a:gd name="T22" fmla="*/ 165286 w 912"/>
                  <a:gd name="T23" fmla="*/ 271881 h 804"/>
                  <a:gd name="T24" fmla="*/ 145841 w 912"/>
                  <a:gd name="T25" fmla="*/ 267026 h 804"/>
                  <a:gd name="T26" fmla="*/ 131257 w 912"/>
                  <a:gd name="T27" fmla="*/ 267026 h 804"/>
                  <a:gd name="T28" fmla="*/ 109867 w 912"/>
                  <a:gd name="T29" fmla="*/ 271881 h 804"/>
                  <a:gd name="T30" fmla="*/ 92366 w 912"/>
                  <a:gd name="T31" fmla="*/ 275765 h 804"/>
                  <a:gd name="T32" fmla="*/ 74865 w 912"/>
                  <a:gd name="T33" fmla="*/ 282562 h 804"/>
                  <a:gd name="T34" fmla="*/ 56392 w 912"/>
                  <a:gd name="T35" fmla="*/ 279649 h 804"/>
                  <a:gd name="T36" fmla="*/ 47641 w 912"/>
                  <a:gd name="T37" fmla="*/ 275765 h 804"/>
                  <a:gd name="T38" fmla="*/ 37919 w 912"/>
                  <a:gd name="T39" fmla="*/ 273823 h 804"/>
                  <a:gd name="T40" fmla="*/ 34029 w 912"/>
                  <a:gd name="T41" fmla="*/ 252461 h 804"/>
                  <a:gd name="T42" fmla="*/ 27224 w 912"/>
                  <a:gd name="T43" fmla="*/ 241780 h 804"/>
                  <a:gd name="T44" fmla="*/ 36946 w 912"/>
                  <a:gd name="T45" fmla="*/ 229157 h 804"/>
                  <a:gd name="T46" fmla="*/ 27224 w 912"/>
                  <a:gd name="T47" fmla="*/ 204882 h 804"/>
                  <a:gd name="T48" fmla="*/ 17501 w 912"/>
                  <a:gd name="T49" fmla="*/ 184491 h 804"/>
                  <a:gd name="T50" fmla="*/ 10695 w 912"/>
                  <a:gd name="T51" fmla="*/ 162158 h 804"/>
                  <a:gd name="T52" fmla="*/ 0 w 912"/>
                  <a:gd name="T53" fmla="*/ 140796 h 804"/>
                  <a:gd name="T54" fmla="*/ 8750 w 912"/>
                  <a:gd name="T55" fmla="*/ 130115 h 804"/>
                  <a:gd name="T56" fmla="*/ 17501 w 912"/>
                  <a:gd name="T57" fmla="*/ 140796 h 804"/>
                  <a:gd name="T58" fmla="*/ 42780 w 912"/>
                  <a:gd name="T59" fmla="*/ 147593 h 804"/>
                  <a:gd name="T60" fmla="*/ 60281 w 912"/>
                  <a:gd name="T61" fmla="*/ 140796 h 804"/>
                  <a:gd name="T62" fmla="*/ 70976 w 912"/>
                  <a:gd name="T63" fmla="*/ 110695 h 804"/>
                  <a:gd name="T64" fmla="*/ 70976 w 912"/>
                  <a:gd name="T65" fmla="*/ 70883 h 804"/>
                  <a:gd name="T66" fmla="*/ 76810 w 912"/>
                  <a:gd name="T67" fmla="*/ 64086 h 804"/>
                  <a:gd name="T68" fmla="*/ 86533 w 912"/>
                  <a:gd name="T69" fmla="*/ 78652 h 804"/>
                  <a:gd name="T70" fmla="*/ 81671 w 912"/>
                  <a:gd name="T71" fmla="*/ 98072 h 804"/>
                  <a:gd name="T72" fmla="*/ 96255 w 912"/>
                  <a:gd name="T73" fmla="*/ 100984 h 804"/>
                  <a:gd name="T74" fmla="*/ 117645 w 912"/>
                  <a:gd name="T75" fmla="*/ 90303 h 804"/>
                  <a:gd name="T76" fmla="*/ 128340 w 912"/>
                  <a:gd name="T77" fmla="*/ 72826 h 804"/>
                  <a:gd name="T78" fmla="*/ 139035 w 912"/>
                  <a:gd name="T79" fmla="*/ 67970 h 804"/>
                  <a:gd name="T80" fmla="*/ 158481 w 912"/>
                  <a:gd name="T81" fmla="*/ 76709 h 804"/>
                  <a:gd name="T82" fmla="*/ 181815 w 912"/>
                  <a:gd name="T83" fmla="*/ 70883 h 804"/>
                  <a:gd name="T84" fmla="*/ 199316 w 912"/>
                  <a:gd name="T85" fmla="*/ 51463 h 804"/>
                  <a:gd name="T86" fmla="*/ 210011 w 912"/>
                  <a:gd name="T87" fmla="*/ 32043 h 804"/>
                  <a:gd name="T88" fmla="*/ 220706 w 912"/>
                  <a:gd name="T89" fmla="*/ 23304 h 804"/>
                  <a:gd name="T90" fmla="*/ 234317 w 912"/>
                  <a:gd name="T91" fmla="*/ 8739 h 804"/>
                  <a:gd name="T92" fmla="*/ 257652 w 912"/>
                  <a:gd name="T93" fmla="*/ 0 h 804"/>
                  <a:gd name="T94" fmla="*/ 280986 w 912"/>
                  <a:gd name="T95" fmla="*/ 3884 h 804"/>
                  <a:gd name="T96" fmla="*/ 300432 w 912"/>
                  <a:gd name="T97" fmla="*/ 19420 h 804"/>
                  <a:gd name="T98" fmla="*/ 309182 w 912"/>
                  <a:gd name="T99" fmla="*/ 53406 h 804"/>
                  <a:gd name="T100" fmla="*/ 306265 w 912"/>
                  <a:gd name="T101" fmla="*/ 83506 h 804"/>
                  <a:gd name="T102" fmla="*/ 287793 w 912"/>
                  <a:gd name="T103" fmla="*/ 90303 h 804"/>
                  <a:gd name="T104" fmla="*/ 293626 w 912"/>
                  <a:gd name="T105" fmla="*/ 110695 h 804"/>
                  <a:gd name="T106" fmla="*/ 311127 w 912"/>
                  <a:gd name="T107" fmla="*/ 100984 h 804"/>
                  <a:gd name="T108" fmla="*/ 252790 w 912"/>
                  <a:gd name="T109" fmla="*/ 151476 h 804"/>
                  <a:gd name="T110" fmla="*/ 231401 w 912"/>
                  <a:gd name="T111" fmla="*/ 143709 h 804"/>
                  <a:gd name="T112" fmla="*/ 218761 w 912"/>
                  <a:gd name="T113" fmla="*/ 158273 h 804"/>
                  <a:gd name="T114" fmla="*/ 214872 w 912"/>
                  <a:gd name="T115" fmla="*/ 170896 h 804"/>
                  <a:gd name="T116" fmla="*/ 227512 w 912"/>
                  <a:gd name="T117" fmla="*/ 185462 h 804"/>
                  <a:gd name="T118" fmla="*/ 240151 w 912"/>
                  <a:gd name="T119" fmla="*/ 175752 h 804"/>
                  <a:gd name="T120" fmla="*/ 252790 w 912"/>
                  <a:gd name="T121" fmla="*/ 166042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2" h="804">
                    <a:moveTo>
                      <a:pt x="870" y="288"/>
                    </a:moveTo>
                    <a:lnTo>
                      <a:pt x="876" y="288"/>
                    </a:lnTo>
                    <a:lnTo>
                      <a:pt x="876" y="282"/>
                    </a:lnTo>
                    <a:lnTo>
                      <a:pt x="882" y="288"/>
                    </a:lnTo>
                    <a:lnTo>
                      <a:pt x="906" y="288"/>
                    </a:lnTo>
                    <a:lnTo>
                      <a:pt x="912" y="288"/>
                    </a:lnTo>
                    <a:lnTo>
                      <a:pt x="912" y="294"/>
                    </a:lnTo>
                    <a:lnTo>
                      <a:pt x="912" y="300"/>
                    </a:lnTo>
                    <a:lnTo>
                      <a:pt x="912" y="306"/>
                    </a:lnTo>
                    <a:lnTo>
                      <a:pt x="906" y="306"/>
                    </a:lnTo>
                    <a:lnTo>
                      <a:pt x="906" y="312"/>
                    </a:lnTo>
                    <a:lnTo>
                      <a:pt x="906" y="318"/>
                    </a:lnTo>
                    <a:lnTo>
                      <a:pt x="900" y="324"/>
                    </a:lnTo>
                    <a:lnTo>
                      <a:pt x="900" y="330"/>
                    </a:lnTo>
                    <a:lnTo>
                      <a:pt x="900" y="336"/>
                    </a:lnTo>
                    <a:lnTo>
                      <a:pt x="900" y="342"/>
                    </a:lnTo>
                    <a:lnTo>
                      <a:pt x="900" y="348"/>
                    </a:lnTo>
                    <a:lnTo>
                      <a:pt x="894" y="354"/>
                    </a:lnTo>
                    <a:lnTo>
                      <a:pt x="894" y="360"/>
                    </a:lnTo>
                    <a:lnTo>
                      <a:pt x="894" y="366"/>
                    </a:lnTo>
                    <a:lnTo>
                      <a:pt x="894" y="372"/>
                    </a:lnTo>
                    <a:lnTo>
                      <a:pt x="894" y="378"/>
                    </a:lnTo>
                    <a:lnTo>
                      <a:pt x="888" y="378"/>
                    </a:lnTo>
                    <a:lnTo>
                      <a:pt x="888" y="384"/>
                    </a:lnTo>
                    <a:lnTo>
                      <a:pt x="888" y="390"/>
                    </a:lnTo>
                    <a:lnTo>
                      <a:pt x="882" y="396"/>
                    </a:lnTo>
                    <a:lnTo>
                      <a:pt x="882" y="402"/>
                    </a:lnTo>
                    <a:lnTo>
                      <a:pt x="876" y="402"/>
                    </a:lnTo>
                    <a:lnTo>
                      <a:pt x="876" y="408"/>
                    </a:lnTo>
                    <a:lnTo>
                      <a:pt x="870" y="408"/>
                    </a:lnTo>
                    <a:lnTo>
                      <a:pt x="864" y="414"/>
                    </a:lnTo>
                    <a:lnTo>
                      <a:pt x="858" y="414"/>
                    </a:lnTo>
                    <a:lnTo>
                      <a:pt x="858" y="420"/>
                    </a:lnTo>
                    <a:lnTo>
                      <a:pt x="852" y="420"/>
                    </a:lnTo>
                    <a:lnTo>
                      <a:pt x="852" y="414"/>
                    </a:lnTo>
                    <a:lnTo>
                      <a:pt x="852" y="420"/>
                    </a:lnTo>
                    <a:lnTo>
                      <a:pt x="846" y="420"/>
                    </a:lnTo>
                    <a:lnTo>
                      <a:pt x="846" y="426"/>
                    </a:lnTo>
                    <a:lnTo>
                      <a:pt x="840" y="426"/>
                    </a:lnTo>
                    <a:lnTo>
                      <a:pt x="840" y="432"/>
                    </a:lnTo>
                    <a:lnTo>
                      <a:pt x="834" y="438"/>
                    </a:lnTo>
                    <a:lnTo>
                      <a:pt x="834" y="432"/>
                    </a:lnTo>
                    <a:lnTo>
                      <a:pt x="834" y="438"/>
                    </a:lnTo>
                    <a:lnTo>
                      <a:pt x="834" y="444"/>
                    </a:lnTo>
                    <a:lnTo>
                      <a:pt x="828" y="438"/>
                    </a:lnTo>
                    <a:lnTo>
                      <a:pt x="828" y="444"/>
                    </a:lnTo>
                    <a:lnTo>
                      <a:pt x="822" y="450"/>
                    </a:lnTo>
                    <a:lnTo>
                      <a:pt x="822" y="456"/>
                    </a:lnTo>
                    <a:lnTo>
                      <a:pt x="816" y="456"/>
                    </a:lnTo>
                    <a:lnTo>
                      <a:pt x="816" y="462"/>
                    </a:lnTo>
                    <a:lnTo>
                      <a:pt x="816" y="468"/>
                    </a:lnTo>
                    <a:lnTo>
                      <a:pt x="810" y="468"/>
                    </a:lnTo>
                    <a:lnTo>
                      <a:pt x="810" y="474"/>
                    </a:lnTo>
                    <a:lnTo>
                      <a:pt x="804" y="474"/>
                    </a:lnTo>
                    <a:lnTo>
                      <a:pt x="810" y="474"/>
                    </a:lnTo>
                    <a:lnTo>
                      <a:pt x="810" y="480"/>
                    </a:lnTo>
                    <a:lnTo>
                      <a:pt x="810" y="474"/>
                    </a:lnTo>
                    <a:lnTo>
                      <a:pt x="810" y="480"/>
                    </a:lnTo>
                    <a:lnTo>
                      <a:pt x="804" y="486"/>
                    </a:lnTo>
                    <a:lnTo>
                      <a:pt x="798" y="492"/>
                    </a:lnTo>
                    <a:lnTo>
                      <a:pt x="798" y="498"/>
                    </a:lnTo>
                    <a:lnTo>
                      <a:pt x="798" y="504"/>
                    </a:lnTo>
                    <a:lnTo>
                      <a:pt x="792" y="504"/>
                    </a:lnTo>
                    <a:lnTo>
                      <a:pt x="792" y="510"/>
                    </a:lnTo>
                    <a:lnTo>
                      <a:pt x="792" y="516"/>
                    </a:lnTo>
                    <a:lnTo>
                      <a:pt x="786" y="516"/>
                    </a:lnTo>
                    <a:lnTo>
                      <a:pt x="786" y="522"/>
                    </a:lnTo>
                    <a:lnTo>
                      <a:pt x="786" y="528"/>
                    </a:lnTo>
                    <a:lnTo>
                      <a:pt x="780" y="528"/>
                    </a:lnTo>
                    <a:lnTo>
                      <a:pt x="780" y="534"/>
                    </a:lnTo>
                    <a:lnTo>
                      <a:pt x="774" y="534"/>
                    </a:lnTo>
                    <a:lnTo>
                      <a:pt x="774" y="540"/>
                    </a:lnTo>
                    <a:lnTo>
                      <a:pt x="774" y="546"/>
                    </a:lnTo>
                    <a:lnTo>
                      <a:pt x="768" y="546"/>
                    </a:lnTo>
                    <a:lnTo>
                      <a:pt x="768" y="552"/>
                    </a:lnTo>
                    <a:lnTo>
                      <a:pt x="762" y="552"/>
                    </a:lnTo>
                    <a:lnTo>
                      <a:pt x="762" y="558"/>
                    </a:lnTo>
                    <a:lnTo>
                      <a:pt x="762" y="564"/>
                    </a:lnTo>
                    <a:lnTo>
                      <a:pt x="756" y="564"/>
                    </a:lnTo>
                    <a:lnTo>
                      <a:pt x="750" y="570"/>
                    </a:lnTo>
                    <a:lnTo>
                      <a:pt x="750" y="576"/>
                    </a:lnTo>
                    <a:lnTo>
                      <a:pt x="744" y="576"/>
                    </a:lnTo>
                    <a:lnTo>
                      <a:pt x="738" y="576"/>
                    </a:lnTo>
                    <a:lnTo>
                      <a:pt x="738" y="582"/>
                    </a:lnTo>
                    <a:lnTo>
                      <a:pt x="732" y="588"/>
                    </a:lnTo>
                    <a:lnTo>
                      <a:pt x="726" y="588"/>
                    </a:lnTo>
                    <a:lnTo>
                      <a:pt x="726" y="594"/>
                    </a:lnTo>
                    <a:lnTo>
                      <a:pt x="720" y="594"/>
                    </a:lnTo>
                    <a:lnTo>
                      <a:pt x="720" y="600"/>
                    </a:lnTo>
                    <a:lnTo>
                      <a:pt x="714" y="600"/>
                    </a:lnTo>
                    <a:lnTo>
                      <a:pt x="720" y="600"/>
                    </a:lnTo>
                    <a:lnTo>
                      <a:pt x="714" y="600"/>
                    </a:lnTo>
                    <a:lnTo>
                      <a:pt x="714" y="606"/>
                    </a:lnTo>
                    <a:lnTo>
                      <a:pt x="708" y="606"/>
                    </a:lnTo>
                    <a:lnTo>
                      <a:pt x="708" y="612"/>
                    </a:lnTo>
                    <a:lnTo>
                      <a:pt x="702" y="618"/>
                    </a:lnTo>
                    <a:lnTo>
                      <a:pt x="702" y="624"/>
                    </a:lnTo>
                    <a:lnTo>
                      <a:pt x="696" y="624"/>
                    </a:lnTo>
                    <a:lnTo>
                      <a:pt x="696" y="630"/>
                    </a:lnTo>
                    <a:lnTo>
                      <a:pt x="690" y="630"/>
                    </a:lnTo>
                    <a:lnTo>
                      <a:pt x="690" y="636"/>
                    </a:lnTo>
                    <a:lnTo>
                      <a:pt x="684" y="636"/>
                    </a:lnTo>
                    <a:lnTo>
                      <a:pt x="684" y="642"/>
                    </a:lnTo>
                    <a:lnTo>
                      <a:pt x="678" y="642"/>
                    </a:lnTo>
                    <a:lnTo>
                      <a:pt x="678" y="648"/>
                    </a:lnTo>
                    <a:lnTo>
                      <a:pt x="678" y="642"/>
                    </a:lnTo>
                    <a:lnTo>
                      <a:pt x="678" y="648"/>
                    </a:lnTo>
                    <a:lnTo>
                      <a:pt x="672" y="648"/>
                    </a:lnTo>
                    <a:lnTo>
                      <a:pt x="672" y="654"/>
                    </a:lnTo>
                    <a:lnTo>
                      <a:pt x="666" y="654"/>
                    </a:lnTo>
                    <a:lnTo>
                      <a:pt x="666" y="660"/>
                    </a:lnTo>
                    <a:lnTo>
                      <a:pt x="660" y="660"/>
                    </a:lnTo>
                    <a:lnTo>
                      <a:pt x="660" y="666"/>
                    </a:lnTo>
                    <a:lnTo>
                      <a:pt x="654" y="666"/>
                    </a:lnTo>
                    <a:lnTo>
                      <a:pt x="648" y="666"/>
                    </a:lnTo>
                    <a:lnTo>
                      <a:pt x="648" y="672"/>
                    </a:lnTo>
                    <a:lnTo>
                      <a:pt x="648" y="678"/>
                    </a:lnTo>
                    <a:lnTo>
                      <a:pt x="642" y="678"/>
                    </a:lnTo>
                    <a:lnTo>
                      <a:pt x="636" y="678"/>
                    </a:lnTo>
                    <a:lnTo>
                      <a:pt x="642" y="678"/>
                    </a:lnTo>
                    <a:lnTo>
                      <a:pt x="636" y="678"/>
                    </a:lnTo>
                    <a:lnTo>
                      <a:pt x="636" y="684"/>
                    </a:lnTo>
                    <a:lnTo>
                      <a:pt x="630" y="684"/>
                    </a:lnTo>
                    <a:lnTo>
                      <a:pt x="630" y="690"/>
                    </a:lnTo>
                    <a:lnTo>
                      <a:pt x="624" y="690"/>
                    </a:lnTo>
                    <a:lnTo>
                      <a:pt x="624" y="696"/>
                    </a:lnTo>
                    <a:lnTo>
                      <a:pt x="618" y="696"/>
                    </a:lnTo>
                    <a:lnTo>
                      <a:pt x="612" y="696"/>
                    </a:lnTo>
                    <a:lnTo>
                      <a:pt x="612" y="702"/>
                    </a:lnTo>
                    <a:lnTo>
                      <a:pt x="612" y="696"/>
                    </a:lnTo>
                    <a:lnTo>
                      <a:pt x="606" y="696"/>
                    </a:lnTo>
                    <a:lnTo>
                      <a:pt x="612" y="696"/>
                    </a:lnTo>
                    <a:lnTo>
                      <a:pt x="612" y="702"/>
                    </a:lnTo>
                    <a:lnTo>
                      <a:pt x="606" y="702"/>
                    </a:lnTo>
                    <a:lnTo>
                      <a:pt x="606" y="708"/>
                    </a:lnTo>
                    <a:lnTo>
                      <a:pt x="600" y="708"/>
                    </a:lnTo>
                    <a:lnTo>
                      <a:pt x="594" y="708"/>
                    </a:lnTo>
                    <a:lnTo>
                      <a:pt x="600" y="708"/>
                    </a:lnTo>
                    <a:lnTo>
                      <a:pt x="600" y="714"/>
                    </a:lnTo>
                    <a:lnTo>
                      <a:pt x="594" y="714"/>
                    </a:lnTo>
                    <a:lnTo>
                      <a:pt x="588" y="714"/>
                    </a:lnTo>
                    <a:lnTo>
                      <a:pt x="594" y="714"/>
                    </a:lnTo>
                    <a:lnTo>
                      <a:pt x="588" y="720"/>
                    </a:lnTo>
                    <a:lnTo>
                      <a:pt x="582" y="720"/>
                    </a:lnTo>
                    <a:lnTo>
                      <a:pt x="576" y="720"/>
                    </a:lnTo>
                    <a:lnTo>
                      <a:pt x="576" y="726"/>
                    </a:lnTo>
                    <a:lnTo>
                      <a:pt x="570" y="726"/>
                    </a:lnTo>
                    <a:lnTo>
                      <a:pt x="564" y="726"/>
                    </a:lnTo>
                    <a:lnTo>
                      <a:pt x="564" y="732"/>
                    </a:lnTo>
                    <a:lnTo>
                      <a:pt x="558" y="732"/>
                    </a:lnTo>
                    <a:lnTo>
                      <a:pt x="552" y="732"/>
                    </a:lnTo>
                    <a:lnTo>
                      <a:pt x="546" y="732"/>
                    </a:lnTo>
                    <a:lnTo>
                      <a:pt x="540" y="732"/>
                    </a:lnTo>
                    <a:lnTo>
                      <a:pt x="534" y="732"/>
                    </a:lnTo>
                    <a:lnTo>
                      <a:pt x="534" y="726"/>
                    </a:lnTo>
                    <a:lnTo>
                      <a:pt x="528" y="726"/>
                    </a:lnTo>
                    <a:lnTo>
                      <a:pt x="528" y="732"/>
                    </a:lnTo>
                    <a:lnTo>
                      <a:pt x="522" y="732"/>
                    </a:lnTo>
                    <a:lnTo>
                      <a:pt x="522" y="726"/>
                    </a:lnTo>
                    <a:lnTo>
                      <a:pt x="522" y="732"/>
                    </a:lnTo>
                    <a:lnTo>
                      <a:pt x="516" y="732"/>
                    </a:lnTo>
                    <a:lnTo>
                      <a:pt x="510" y="732"/>
                    </a:lnTo>
                    <a:lnTo>
                      <a:pt x="510" y="738"/>
                    </a:lnTo>
                    <a:lnTo>
                      <a:pt x="504" y="738"/>
                    </a:lnTo>
                    <a:lnTo>
                      <a:pt x="510" y="738"/>
                    </a:lnTo>
                    <a:lnTo>
                      <a:pt x="510" y="744"/>
                    </a:lnTo>
                    <a:lnTo>
                      <a:pt x="510" y="750"/>
                    </a:lnTo>
                    <a:lnTo>
                      <a:pt x="516" y="750"/>
                    </a:lnTo>
                    <a:lnTo>
                      <a:pt x="510" y="750"/>
                    </a:lnTo>
                    <a:lnTo>
                      <a:pt x="504" y="750"/>
                    </a:lnTo>
                    <a:lnTo>
                      <a:pt x="498" y="750"/>
                    </a:lnTo>
                    <a:lnTo>
                      <a:pt x="492" y="750"/>
                    </a:lnTo>
                    <a:lnTo>
                      <a:pt x="486" y="744"/>
                    </a:lnTo>
                    <a:lnTo>
                      <a:pt x="480" y="744"/>
                    </a:lnTo>
                    <a:lnTo>
                      <a:pt x="474" y="744"/>
                    </a:lnTo>
                    <a:lnTo>
                      <a:pt x="474" y="750"/>
                    </a:lnTo>
                    <a:lnTo>
                      <a:pt x="468" y="750"/>
                    </a:lnTo>
                    <a:lnTo>
                      <a:pt x="468" y="756"/>
                    </a:lnTo>
                    <a:lnTo>
                      <a:pt x="462" y="756"/>
                    </a:lnTo>
                    <a:lnTo>
                      <a:pt x="462" y="762"/>
                    </a:lnTo>
                    <a:lnTo>
                      <a:pt x="468" y="762"/>
                    </a:lnTo>
                    <a:lnTo>
                      <a:pt x="462" y="762"/>
                    </a:lnTo>
                    <a:lnTo>
                      <a:pt x="468" y="762"/>
                    </a:lnTo>
                    <a:lnTo>
                      <a:pt x="462" y="762"/>
                    </a:lnTo>
                    <a:lnTo>
                      <a:pt x="456" y="762"/>
                    </a:lnTo>
                    <a:lnTo>
                      <a:pt x="450" y="762"/>
                    </a:lnTo>
                    <a:lnTo>
                      <a:pt x="444" y="762"/>
                    </a:lnTo>
                    <a:lnTo>
                      <a:pt x="444" y="756"/>
                    </a:lnTo>
                    <a:lnTo>
                      <a:pt x="438" y="756"/>
                    </a:lnTo>
                    <a:lnTo>
                      <a:pt x="432" y="756"/>
                    </a:lnTo>
                    <a:lnTo>
                      <a:pt x="432" y="750"/>
                    </a:lnTo>
                    <a:lnTo>
                      <a:pt x="426" y="750"/>
                    </a:lnTo>
                    <a:lnTo>
                      <a:pt x="420" y="750"/>
                    </a:lnTo>
                    <a:lnTo>
                      <a:pt x="414" y="750"/>
                    </a:lnTo>
                    <a:lnTo>
                      <a:pt x="408" y="750"/>
                    </a:lnTo>
                    <a:lnTo>
                      <a:pt x="402" y="750"/>
                    </a:lnTo>
                    <a:lnTo>
                      <a:pt x="402" y="744"/>
                    </a:lnTo>
                    <a:lnTo>
                      <a:pt x="396" y="744"/>
                    </a:lnTo>
                    <a:lnTo>
                      <a:pt x="396" y="750"/>
                    </a:lnTo>
                    <a:lnTo>
                      <a:pt x="390" y="750"/>
                    </a:lnTo>
                    <a:lnTo>
                      <a:pt x="384" y="750"/>
                    </a:lnTo>
                    <a:lnTo>
                      <a:pt x="384" y="756"/>
                    </a:lnTo>
                    <a:lnTo>
                      <a:pt x="378" y="756"/>
                    </a:lnTo>
                    <a:lnTo>
                      <a:pt x="372" y="756"/>
                    </a:lnTo>
                    <a:lnTo>
                      <a:pt x="366" y="756"/>
                    </a:lnTo>
                    <a:lnTo>
                      <a:pt x="366" y="750"/>
                    </a:lnTo>
                    <a:lnTo>
                      <a:pt x="360" y="750"/>
                    </a:lnTo>
                    <a:lnTo>
                      <a:pt x="366" y="750"/>
                    </a:lnTo>
                    <a:lnTo>
                      <a:pt x="366" y="756"/>
                    </a:lnTo>
                    <a:lnTo>
                      <a:pt x="366" y="750"/>
                    </a:lnTo>
                    <a:lnTo>
                      <a:pt x="360" y="756"/>
                    </a:lnTo>
                    <a:lnTo>
                      <a:pt x="360" y="750"/>
                    </a:lnTo>
                    <a:lnTo>
                      <a:pt x="354" y="750"/>
                    </a:lnTo>
                    <a:lnTo>
                      <a:pt x="348" y="750"/>
                    </a:lnTo>
                    <a:lnTo>
                      <a:pt x="342" y="750"/>
                    </a:lnTo>
                    <a:lnTo>
                      <a:pt x="336" y="750"/>
                    </a:lnTo>
                    <a:lnTo>
                      <a:pt x="330" y="750"/>
                    </a:lnTo>
                    <a:lnTo>
                      <a:pt x="324" y="750"/>
                    </a:lnTo>
                    <a:lnTo>
                      <a:pt x="318" y="750"/>
                    </a:lnTo>
                    <a:lnTo>
                      <a:pt x="318" y="756"/>
                    </a:lnTo>
                    <a:lnTo>
                      <a:pt x="312" y="756"/>
                    </a:lnTo>
                    <a:lnTo>
                      <a:pt x="312" y="762"/>
                    </a:lnTo>
                    <a:lnTo>
                      <a:pt x="318" y="762"/>
                    </a:lnTo>
                    <a:lnTo>
                      <a:pt x="312" y="762"/>
                    </a:lnTo>
                    <a:lnTo>
                      <a:pt x="306" y="762"/>
                    </a:lnTo>
                    <a:lnTo>
                      <a:pt x="300" y="768"/>
                    </a:lnTo>
                    <a:lnTo>
                      <a:pt x="306" y="768"/>
                    </a:lnTo>
                    <a:lnTo>
                      <a:pt x="300" y="768"/>
                    </a:lnTo>
                    <a:lnTo>
                      <a:pt x="300" y="774"/>
                    </a:lnTo>
                    <a:lnTo>
                      <a:pt x="300" y="768"/>
                    </a:lnTo>
                    <a:lnTo>
                      <a:pt x="300" y="774"/>
                    </a:lnTo>
                    <a:lnTo>
                      <a:pt x="294" y="774"/>
                    </a:lnTo>
                    <a:lnTo>
                      <a:pt x="288" y="774"/>
                    </a:lnTo>
                    <a:lnTo>
                      <a:pt x="282" y="774"/>
                    </a:lnTo>
                    <a:lnTo>
                      <a:pt x="276" y="774"/>
                    </a:lnTo>
                    <a:lnTo>
                      <a:pt x="270" y="774"/>
                    </a:lnTo>
                    <a:lnTo>
                      <a:pt x="270" y="780"/>
                    </a:lnTo>
                    <a:lnTo>
                      <a:pt x="264" y="780"/>
                    </a:lnTo>
                    <a:lnTo>
                      <a:pt x="264" y="774"/>
                    </a:lnTo>
                    <a:lnTo>
                      <a:pt x="258" y="774"/>
                    </a:lnTo>
                    <a:lnTo>
                      <a:pt x="252" y="774"/>
                    </a:lnTo>
                    <a:lnTo>
                      <a:pt x="246" y="774"/>
                    </a:lnTo>
                    <a:lnTo>
                      <a:pt x="240" y="774"/>
                    </a:lnTo>
                    <a:lnTo>
                      <a:pt x="246" y="774"/>
                    </a:lnTo>
                    <a:lnTo>
                      <a:pt x="246" y="780"/>
                    </a:lnTo>
                    <a:lnTo>
                      <a:pt x="240" y="780"/>
                    </a:lnTo>
                    <a:lnTo>
                      <a:pt x="234" y="780"/>
                    </a:lnTo>
                    <a:lnTo>
                      <a:pt x="228" y="780"/>
                    </a:lnTo>
                    <a:lnTo>
                      <a:pt x="222" y="780"/>
                    </a:lnTo>
                    <a:lnTo>
                      <a:pt x="222" y="786"/>
                    </a:lnTo>
                    <a:lnTo>
                      <a:pt x="216" y="786"/>
                    </a:lnTo>
                    <a:lnTo>
                      <a:pt x="216" y="792"/>
                    </a:lnTo>
                    <a:lnTo>
                      <a:pt x="210" y="792"/>
                    </a:lnTo>
                    <a:lnTo>
                      <a:pt x="210" y="798"/>
                    </a:lnTo>
                    <a:lnTo>
                      <a:pt x="210" y="792"/>
                    </a:lnTo>
                    <a:lnTo>
                      <a:pt x="204" y="792"/>
                    </a:lnTo>
                    <a:lnTo>
                      <a:pt x="204" y="798"/>
                    </a:lnTo>
                    <a:lnTo>
                      <a:pt x="198" y="798"/>
                    </a:lnTo>
                    <a:lnTo>
                      <a:pt x="198" y="804"/>
                    </a:lnTo>
                    <a:lnTo>
                      <a:pt x="192" y="804"/>
                    </a:lnTo>
                    <a:lnTo>
                      <a:pt x="186" y="798"/>
                    </a:lnTo>
                    <a:lnTo>
                      <a:pt x="180" y="798"/>
                    </a:lnTo>
                    <a:lnTo>
                      <a:pt x="180" y="804"/>
                    </a:lnTo>
                    <a:lnTo>
                      <a:pt x="174" y="804"/>
                    </a:lnTo>
                    <a:lnTo>
                      <a:pt x="174" y="798"/>
                    </a:lnTo>
                    <a:lnTo>
                      <a:pt x="168" y="798"/>
                    </a:lnTo>
                    <a:lnTo>
                      <a:pt x="168" y="792"/>
                    </a:lnTo>
                    <a:lnTo>
                      <a:pt x="162" y="792"/>
                    </a:lnTo>
                    <a:lnTo>
                      <a:pt x="156" y="792"/>
                    </a:lnTo>
                    <a:lnTo>
                      <a:pt x="156" y="786"/>
                    </a:lnTo>
                    <a:lnTo>
                      <a:pt x="162" y="786"/>
                    </a:lnTo>
                    <a:lnTo>
                      <a:pt x="162" y="780"/>
                    </a:lnTo>
                    <a:lnTo>
                      <a:pt x="156" y="780"/>
                    </a:lnTo>
                    <a:lnTo>
                      <a:pt x="156" y="774"/>
                    </a:lnTo>
                    <a:lnTo>
                      <a:pt x="150" y="780"/>
                    </a:lnTo>
                    <a:lnTo>
                      <a:pt x="150" y="774"/>
                    </a:lnTo>
                    <a:lnTo>
                      <a:pt x="144" y="774"/>
                    </a:lnTo>
                    <a:lnTo>
                      <a:pt x="150" y="774"/>
                    </a:lnTo>
                    <a:lnTo>
                      <a:pt x="150" y="768"/>
                    </a:lnTo>
                    <a:lnTo>
                      <a:pt x="144" y="768"/>
                    </a:lnTo>
                    <a:lnTo>
                      <a:pt x="144" y="774"/>
                    </a:lnTo>
                    <a:lnTo>
                      <a:pt x="138" y="774"/>
                    </a:lnTo>
                    <a:lnTo>
                      <a:pt x="138" y="768"/>
                    </a:lnTo>
                    <a:lnTo>
                      <a:pt x="138" y="774"/>
                    </a:lnTo>
                    <a:lnTo>
                      <a:pt x="132" y="774"/>
                    </a:lnTo>
                    <a:lnTo>
                      <a:pt x="132" y="768"/>
                    </a:lnTo>
                    <a:lnTo>
                      <a:pt x="132" y="762"/>
                    </a:lnTo>
                    <a:lnTo>
                      <a:pt x="132" y="756"/>
                    </a:lnTo>
                    <a:lnTo>
                      <a:pt x="126" y="756"/>
                    </a:lnTo>
                    <a:lnTo>
                      <a:pt x="126" y="750"/>
                    </a:lnTo>
                    <a:lnTo>
                      <a:pt x="120" y="750"/>
                    </a:lnTo>
                    <a:lnTo>
                      <a:pt x="120" y="756"/>
                    </a:lnTo>
                    <a:lnTo>
                      <a:pt x="114" y="756"/>
                    </a:lnTo>
                    <a:lnTo>
                      <a:pt x="108" y="756"/>
                    </a:lnTo>
                    <a:lnTo>
                      <a:pt x="108" y="762"/>
                    </a:lnTo>
                    <a:lnTo>
                      <a:pt x="108" y="768"/>
                    </a:lnTo>
                    <a:lnTo>
                      <a:pt x="108" y="774"/>
                    </a:lnTo>
                    <a:lnTo>
                      <a:pt x="114" y="774"/>
                    </a:lnTo>
                    <a:lnTo>
                      <a:pt x="108" y="774"/>
                    </a:lnTo>
                    <a:lnTo>
                      <a:pt x="108" y="768"/>
                    </a:lnTo>
                    <a:lnTo>
                      <a:pt x="108" y="762"/>
                    </a:lnTo>
                    <a:lnTo>
                      <a:pt x="102" y="762"/>
                    </a:lnTo>
                    <a:lnTo>
                      <a:pt x="102" y="756"/>
                    </a:lnTo>
                    <a:lnTo>
                      <a:pt x="102" y="750"/>
                    </a:lnTo>
                    <a:lnTo>
                      <a:pt x="102" y="744"/>
                    </a:lnTo>
                    <a:lnTo>
                      <a:pt x="108" y="744"/>
                    </a:lnTo>
                    <a:lnTo>
                      <a:pt x="114" y="738"/>
                    </a:lnTo>
                    <a:lnTo>
                      <a:pt x="108" y="738"/>
                    </a:lnTo>
                    <a:lnTo>
                      <a:pt x="108" y="732"/>
                    </a:lnTo>
                    <a:lnTo>
                      <a:pt x="108" y="726"/>
                    </a:lnTo>
                    <a:lnTo>
                      <a:pt x="108" y="720"/>
                    </a:lnTo>
                    <a:lnTo>
                      <a:pt x="102" y="720"/>
                    </a:lnTo>
                    <a:lnTo>
                      <a:pt x="102" y="714"/>
                    </a:lnTo>
                    <a:lnTo>
                      <a:pt x="102" y="708"/>
                    </a:lnTo>
                    <a:lnTo>
                      <a:pt x="96" y="708"/>
                    </a:lnTo>
                    <a:lnTo>
                      <a:pt x="90" y="708"/>
                    </a:lnTo>
                    <a:lnTo>
                      <a:pt x="90" y="702"/>
                    </a:lnTo>
                    <a:lnTo>
                      <a:pt x="96" y="702"/>
                    </a:lnTo>
                    <a:lnTo>
                      <a:pt x="90" y="702"/>
                    </a:lnTo>
                    <a:lnTo>
                      <a:pt x="90" y="696"/>
                    </a:lnTo>
                    <a:lnTo>
                      <a:pt x="84" y="690"/>
                    </a:lnTo>
                    <a:lnTo>
                      <a:pt x="84" y="684"/>
                    </a:lnTo>
                    <a:lnTo>
                      <a:pt x="84" y="690"/>
                    </a:lnTo>
                    <a:lnTo>
                      <a:pt x="90" y="690"/>
                    </a:lnTo>
                    <a:lnTo>
                      <a:pt x="90" y="696"/>
                    </a:lnTo>
                    <a:lnTo>
                      <a:pt x="90" y="690"/>
                    </a:lnTo>
                    <a:lnTo>
                      <a:pt x="84" y="690"/>
                    </a:lnTo>
                    <a:lnTo>
                      <a:pt x="84" y="684"/>
                    </a:lnTo>
                    <a:lnTo>
                      <a:pt x="78" y="684"/>
                    </a:lnTo>
                    <a:lnTo>
                      <a:pt x="78" y="678"/>
                    </a:lnTo>
                    <a:lnTo>
                      <a:pt x="78" y="672"/>
                    </a:lnTo>
                    <a:lnTo>
                      <a:pt x="78" y="666"/>
                    </a:lnTo>
                    <a:lnTo>
                      <a:pt x="78" y="660"/>
                    </a:lnTo>
                    <a:lnTo>
                      <a:pt x="78" y="666"/>
                    </a:lnTo>
                    <a:lnTo>
                      <a:pt x="78" y="660"/>
                    </a:lnTo>
                    <a:lnTo>
                      <a:pt x="84" y="660"/>
                    </a:lnTo>
                    <a:lnTo>
                      <a:pt x="84" y="666"/>
                    </a:lnTo>
                    <a:lnTo>
                      <a:pt x="84" y="660"/>
                    </a:lnTo>
                    <a:lnTo>
                      <a:pt x="84" y="666"/>
                    </a:lnTo>
                    <a:lnTo>
                      <a:pt x="90" y="666"/>
                    </a:lnTo>
                    <a:lnTo>
                      <a:pt x="96" y="666"/>
                    </a:lnTo>
                    <a:lnTo>
                      <a:pt x="96" y="660"/>
                    </a:lnTo>
                    <a:lnTo>
                      <a:pt x="102" y="654"/>
                    </a:lnTo>
                    <a:lnTo>
                      <a:pt x="102" y="648"/>
                    </a:lnTo>
                    <a:lnTo>
                      <a:pt x="102" y="642"/>
                    </a:lnTo>
                    <a:lnTo>
                      <a:pt x="102" y="636"/>
                    </a:lnTo>
                    <a:lnTo>
                      <a:pt x="102" y="630"/>
                    </a:lnTo>
                    <a:lnTo>
                      <a:pt x="102" y="624"/>
                    </a:lnTo>
                    <a:lnTo>
                      <a:pt x="102" y="618"/>
                    </a:lnTo>
                    <a:lnTo>
                      <a:pt x="102" y="612"/>
                    </a:lnTo>
                    <a:lnTo>
                      <a:pt x="102" y="606"/>
                    </a:lnTo>
                    <a:lnTo>
                      <a:pt x="96" y="606"/>
                    </a:lnTo>
                    <a:lnTo>
                      <a:pt x="96" y="600"/>
                    </a:lnTo>
                    <a:lnTo>
                      <a:pt x="96" y="594"/>
                    </a:lnTo>
                    <a:lnTo>
                      <a:pt x="90" y="594"/>
                    </a:lnTo>
                    <a:lnTo>
                      <a:pt x="90" y="588"/>
                    </a:lnTo>
                    <a:lnTo>
                      <a:pt x="90" y="582"/>
                    </a:lnTo>
                    <a:lnTo>
                      <a:pt x="84" y="582"/>
                    </a:lnTo>
                    <a:lnTo>
                      <a:pt x="84" y="576"/>
                    </a:lnTo>
                    <a:lnTo>
                      <a:pt x="78" y="576"/>
                    </a:lnTo>
                    <a:lnTo>
                      <a:pt x="78" y="570"/>
                    </a:lnTo>
                    <a:lnTo>
                      <a:pt x="78" y="564"/>
                    </a:lnTo>
                    <a:lnTo>
                      <a:pt x="72" y="564"/>
                    </a:lnTo>
                    <a:lnTo>
                      <a:pt x="72" y="558"/>
                    </a:lnTo>
                    <a:lnTo>
                      <a:pt x="66" y="558"/>
                    </a:lnTo>
                    <a:lnTo>
                      <a:pt x="66" y="552"/>
                    </a:lnTo>
                    <a:lnTo>
                      <a:pt x="66" y="546"/>
                    </a:lnTo>
                    <a:lnTo>
                      <a:pt x="60" y="546"/>
                    </a:lnTo>
                    <a:lnTo>
                      <a:pt x="60" y="540"/>
                    </a:lnTo>
                    <a:lnTo>
                      <a:pt x="60" y="534"/>
                    </a:lnTo>
                    <a:lnTo>
                      <a:pt x="54" y="534"/>
                    </a:lnTo>
                    <a:lnTo>
                      <a:pt x="54" y="528"/>
                    </a:lnTo>
                    <a:lnTo>
                      <a:pt x="54" y="522"/>
                    </a:lnTo>
                    <a:lnTo>
                      <a:pt x="48" y="522"/>
                    </a:lnTo>
                    <a:lnTo>
                      <a:pt x="48" y="516"/>
                    </a:lnTo>
                    <a:lnTo>
                      <a:pt x="48" y="510"/>
                    </a:lnTo>
                    <a:lnTo>
                      <a:pt x="42" y="510"/>
                    </a:lnTo>
                    <a:lnTo>
                      <a:pt x="42" y="504"/>
                    </a:lnTo>
                    <a:lnTo>
                      <a:pt x="42" y="498"/>
                    </a:lnTo>
                    <a:lnTo>
                      <a:pt x="42" y="492"/>
                    </a:lnTo>
                    <a:lnTo>
                      <a:pt x="36" y="492"/>
                    </a:lnTo>
                    <a:lnTo>
                      <a:pt x="36" y="486"/>
                    </a:lnTo>
                    <a:lnTo>
                      <a:pt x="36" y="480"/>
                    </a:lnTo>
                    <a:lnTo>
                      <a:pt x="36" y="474"/>
                    </a:lnTo>
                    <a:lnTo>
                      <a:pt x="30" y="474"/>
                    </a:lnTo>
                    <a:lnTo>
                      <a:pt x="36" y="474"/>
                    </a:lnTo>
                    <a:lnTo>
                      <a:pt x="30" y="474"/>
                    </a:lnTo>
                    <a:lnTo>
                      <a:pt x="30" y="468"/>
                    </a:lnTo>
                    <a:lnTo>
                      <a:pt x="30" y="462"/>
                    </a:lnTo>
                    <a:lnTo>
                      <a:pt x="30" y="456"/>
                    </a:lnTo>
                    <a:lnTo>
                      <a:pt x="30" y="450"/>
                    </a:lnTo>
                    <a:lnTo>
                      <a:pt x="24" y="450"/>
                    </a:lnTo>
                    <a:lnTo>
                      <a:pt x="24" y="444"/>
                    </a:lnTo>
                    <a:lnTo>
                      <a:pt x="24" y="438"/>
                    </a:lnTo>
                    <a:lnTo>
                      <a:pt x="18" y="438"/>
                    </a:lnTo>
                    <a:lnTo>
                      <a:pt x="18" y="432"/>
                    </a:lnTo>
                    <a:lnTo>
                      <a:pt x="18" y="426"/>
                    </a:lnTo>
                    <a:lnTo>
                      <a:pt x="12" y="426"/>
                    </a:lnTo>
                    <a:lnTo>
                      <a:pt x="12" y="420"/>
                    </a:lnTo>
                    <a:lnTo>
                      <a:pt x="12" y="414"/>
                    </a:lnTo>
                    <a:lnTo>
                      <a:pt x="6" y="414"/>
                    </a:lnTo>
                    <a:lnTo>
                      <a:pt x="6" y="408"/>
                    </a:lnTo>
                    <a:lnTo>
                      <a:pt x="6" y="402"/>
                    </a:lnTo>
                    <a:lnTo>
                      <a:pt x="0" y="402"/>
                    </a:lnTo>
                    <a:lnTo>
                      <a:pt x="0" y="396"/>
                    </a:lnTo>
                    <a:lnTo>
                      <a:pt x="6" y="396"/>
                    </a:lnTo>
                    <a:lnTo>
                      <a:pt x="6" y="390"/>
                    </a:lnTo>
                    <a:lnTo>
                      <a:pt x="12" y="390"/>
                    </a:lnTo>
                    <a:lnTo>
                      <a:pt x="18" y="384"/>
                    </a:lnTo>
                    <a:lnTo>
                      <a:pt x="18" y="378"/>
                    </a:lnTo>
                    <a:lnTo>
                      <a:pt x="12" y="378"/>
                    </a:lnTo>
                    <a:lnTo>
                      <a:pt x="18" y="378"/>
                    </a:lnTo>
                    <a:lnTo>
                      <a:pt x="18" y="372"/>
                    </a:lnTo>
                    <a:lnTo>
                      <a:pt x="18" y="378"/>
                    </a:lnTo>
                    <a:lnTo>
                      <a:pt x="18" y="372"/>
                    </a:lnTo>
                    <a:lnTo>
                      <a:pt x="18" y="366"/>
                    </a:lnTo>
                    <a:lnTo>
                      <a:pt x="24" y="372"/>
                    </a:lnTo>
                    <a:lnTo>
                      <a:pt x="24" y="366"/>
                    </a:lnTo>
                    <a:lnTo>
                      <a:pt x="24" y="360"/>
                    </a:lnTo>
                    <a:lnTo>
                      <a:pt x="24" y="366"/>
                    </a:lnTo>
                    <a:lnTo>
                      <a:pt x="24" y="360"/>
                    </a:lnTo>
                    <a:lnTo>
                      <a:pt x="30" y="360"/>
                    </a:lnTo>
                    <a:lnTo>
                      <a:pt x="30" y="366"/>
                    </a:lnTo>
                    <a:lnTo>
                      <a:pt x="30" y="360"/>
                    </a:lnTo>
                    <a:lnTo>
                      <a:pt x="36" y="360"/>
                    </a:lnTo>
                    <a:lnTo>
                      <a:pt x="36" y="366"/>
                    </a:lnTo>
                    <a:lnTo>
                      <a:pt x="42" y="366"/>
                    </a:lnTo>
                    <a:lnTo>
                      <a:pt x="36" y="372"/>
                    </a:lnTo>
                    <a:lnTo>
                      <a:pt x="42" y="372"/>
                    </a:lnTo>
                    <a:lnTo>
                      <a:pt x="48" y="372"/>
                    </a:lnTo>
                    <a:lnTo>
                      <a:pt x="48" y="378"/>
                    </a:lnTo>
                    <a:lnTo>
                      <a:pt x="54" y="384"/>
                    </a:lnTo>
                    <a:lnTo>
                      <a:pt x="48" y="384"/>
                    </a:lnTo>
                    <a:lnTo>
                      <a:pt x="48" y="390"/>
                    </a:lnTo>
                    <a:lnTo>
                      <a:pt x="48" y="396"/>
                    </a:lnTo>
                    <a:lnTo>
                      <a:pt x="54" y="396"/>
                    </a:lnTo>
                    <a:lnTo>
                      <a:pt x="54" y="402"/>
                    </a:lnTo>
                    <a:lnTo>
                      <a:pt x="60" y="402"/>
                    </a:lnTo>
                    <a:lnTo>
                      <a:pt x="60" y="408"/>
                    </a:lnTo>
                    <a:lnTo>
                      <a:pt x="66" y="408"/>
                    </a:lnTo>
                    <a:lnTo>
                      <a:pt x="72" y="408"/>
                    </a:lnTo>
                    <a:lnTo>
                      <a:pt x="78" y="408"/>
                    </a:lnTo>
                    <a:lnTo>
                      <a:pt x="84" y="408"/>
                    </a:lnTo>
                    <a:lnTo>
                      <a:pt x="84" y="414"/>
                    </a:lnTo>
                    <a:lnTo>
                      <a:pt x="90" y="414"/>
                    </a:lnTo>
                    <a:lnTo>
                      <a:pt x="96" y="414"/>
                    </a:lnTo>
                    <a:lnTo>
                      <a:pt x="102" y="414"/>
                    </a:lnTo>
                    <a:lnTo>
                      <a:pt x="108" y="414"/>
                    </a:lnTo>
                    <a:lnTo>
                      <a:pt x="114" y="414"/>
                    </a:lnTo>
                    <a:lnTo>
                      <a:pt x="120" y="414"/>
                    </a:lnTo>
                    <a:lnTo>
                      <a:pt x="126" y="414"/>
                    </a:lnTo>
                    <a:lnTo>
                      <a:pt x="132" y="414"/>
                    </a:lnTo>
                    <a:lnTo>
                      <a:pt x="138" y="414"/>
                    </a:lnTo>
                    <a:lnTo>
                      <a:pt x="138" y="420"/>
                    </a:lnTo>
                    <a:lnTo>
                      <a:pt x="144" y="420"/>
                    </a:lnTo>
                    <a:lnTo>
                      <a:pt x="150" y="420"/>
                    </a:lnTo>
                    <a:lnTo>
                      <a:pt x="150" y="414"/>
                    </a:lnTo>
                    <a:lnTo>
                      <a:pt x="156" y="414"/>
                    </a:lnTo>
                    <a:lnTo>
                      <a:pt x="156" y="408"/>
                    </a:lnTo>
                    <a:lnTo>
                      <a:pt x="156" y="402"/>
                    </a:lnTo>
                    <a:lnTo>
                      <a:pt x="156" y="408"/>
                    </a:lnTo>
                    <a:lnTo>
                      <a:pt x="162" y="408"/>
                    </a:lnTo>
                    <a:lnTo>
                      <a:pt x="162" y="402"/>
                    </a:lnTo>
                    <a:lnTo>
                      <a:pt x="168" y="402"/>
                    </a:lnTo>
                    <a:lnTo>
                      <a:pt x="168" y="396"/>
                    </a:lnTo>
                    <a:lnTo>
                      <a:pt x="174" y="390"/>
                    </a:lnTo>
                    <a:lnTo>
                      <a:pt x="180" y="390"/>
                    </a:lnTo>
                    <a:lnTo>
                      <a:pt x="186" y="390"/>
                    </a:lnTo>
                    <a:lnTo>
                      <a:pt x="186" y="384"/>
                    </a:lnTo>
                    <a:lnTo>
                      <a:pt x="192" y="384"/>
                    </a:lnTo>
                    <a:lnTo>
                      <a:pt x="198" y="384"/>
                    </a:lnTo>
                    <a:lnTo>
                      <a:pt x="198" y="378"/>
                    </a:lnTo>
                    <a:lnTo>
                      <a:pt x="198" y="366"/>
                    </a:lnTo>
                    <a:lnTo>
                      <a:pt x="198" y="360"/>
                    </a:lnTo>
                    <a:lnTo>
                      <a:pt x="198" y="354"/>
                    </a:lnTo>
                    <a:lnTo>
                      <a:pt x="198" y="342"/>
                    </a:lnTo>
                    <a:lnTo>
                      <a:pt x="198" y="336"/>
                    </a:lnTo>
                    <a:lnTo>
                      <a:pt x="198" y="330"/>
                    </a:lnTo>
                    <a:lnTo>
                      <a:pt x="198" y="318"/>
                    </a:lnTo>
                    <a:lnTo>
                      <a:pt x="198" y="312"/>
                    </a:lnTo>
                    <a:lnTo>
                      <a:pt x="198" y="306"/>
                    </a:lnTo>
                    <a:lnTo>
                      <a:pt x="198" y="294"/>
                    </a:lnTo>
                    <a:lnTo>
                      <a:pt x="198" y="288"/>
                    </a:lnTo>
                    <a:lnTo>
                      <a:pt x="198" y="282"/>
                    </a:lnTo>
                    <a:lnTo>
                      <a:pt x="198" y="276"/>
                    </a:lnTo>
                    <a:lnTo>
                      <a:pt x="198" y="264"/>
                    </a:lnTo>
                    <a:lnTo>
                      <a:pt x="198" y="258"/>
                    </a:lnTo>
                    <a:lnTo>
                      <a:pt x="198" y="252"/>
                    </a:lnTo>
                    <a:lnTo>
                      <a:pt x="198" y="240"/>
                    </a:lnTo>
                    <a:lnTo>
                      <a:pt x="198" y="234"/>
                    </a:lnTo>
                    <a:lnTo>
                      <a:pt x="198" y="228"/>
                    </a:lnTo>
                    <a:lnTo>
                      <a:pt x="198" y="216"/>
                    </a:lnTo>
                    <a:lnTo>
                      <a:pt x="198" y="210"/>
                    </a:lnTo>
                    <a:lnTo>
                      <a:pt x="198" y="204"/>
                    </a:lnTo>
                    <a:lnTo>
                      <a:pt x="198" y="198"/>
                    </a:lnTo>
                    <a:lnTo>
                      <a:pt x="198" y="192"/>
                    </a:lnTo>
                    <a:lnTo>
                      <a:pt x="198" y="186"/>
                    </a:lnTo>
                    <a:lnTo>
                      <a:pt x="198" y="180"/>
                    </a:lnTo>
                    <a:lnTo>
                      <a:pt x="198" y="174"/>
                    </a:lnTo>
                    <a:lnTo>
                      <a:pt x="198" y="168"/>
                    </a:lnTo>
                    <a:lnTo>
                      <a:pt x="198" y="162"/>
                    </a:lnTo>
                    <a:lnTo>
                      <a:pt x="198" y="156"/>
                    </a:lnTo>
                    <a:lnTo>
                      <a:pt x="198" y="162"/>
                    </a:lnTo>
                    <a:lnTo>
                      <a:pt x="204" y="162"/>
                    </a:lnTo>
                    <a:lnTo>
                      <a:pt x="204" y="168"/>
                    </a:lnTo>
                    <a:lnTo>
                      <a:pt x="210" y="168"/>
                    </a:lnTo>
                    <a:lnTo>
                      <a:pt x="216" y="168"/>
                    </a:lnTo>
                    <a:lnTo>
                      <a:pt x="216" y="174"/>
                    </a:lnTo>
                    <a:lnTo>
                      <a:pt x="222" y="180"/>
                    </a:lnTo>
                    <a:lnTo>
                      <a:pt x="216" y="180"/>
                    </a:lnTo>
                    <a:lnTo>
                      <a:pt x="222" y="180"/>
                    </a:lnTo>
                    <a:lnTo>
                      <a:pt x="222" y="186"/>
                    </a:lnTo>
                    <a:lnTo>
                      <a:pt x="228" y="192"/>
                    </a:lnTo>
                    <a:lnTo>
                      <a:pt x="228" y="186"/>
                    </a:lnTo>
                    <a:lnTo>
                      <a:pt x="228" y="192"/>
                    </a:lnTo>
                    <a:lnTo>
                      <a:pt x="222" y="192"/>
                    </a:lnTo>
                    <a:lnTo>
                      <a:pt x="228" y="192"/>
                    </a:lnTo>
                    <a:lnTo>
                      <a:pt x="228" y="198"/>
                    </a:lnTo>
                    <a:lnTo>
                      <a:pt x="234" y="198"/>
                    </a:lnTo>
                    <a:lnTo>
                      <a:pt x="234" y="204"/>
                    </a:lnTo>
                    <a:lnTo>
                      <a:pt x="228" y="204"/>
                    </a:lnTo>
                    <a:lnTo>
                      <a:pt x="234" y="204"/>
                    </a:lnTo>
                    <a:lnTo>
                      <a:pt x="234" y="210"/>
                    </a:lnTo>
                    <a:lnTo>
                      <a:pt x="234" y="216"/>
                    </a:lnTo>
                    <a:lnTo>
                      <a:pt x="240" y="222"/>
                    </a:lnTo>
                    <a:lnTo>
                      <a:pt x="240" y="228"/>
                    </a:lnTo>
                    <a:lnTo>
                      <a:pt x="240" y="234"/>
                    </a:lnTo>
                    <a:lnTo>
                      <a:pt x="240" y="240"/>
                    </a:lnTo>
                    <a:lnTo>
                      <a:pt x="246" y="240"/>
                    </a:lnTo>
                    <a:lnTo>
                      <a:pt x="240" y="246"/>
                    </a:lnTo>
                    <a:lnTo>
                      <a:pt x="240" y="252"/>
                    </a:lnTo>
                    <a:lnTo>
                      <a:pt x="234" y="252"/>
                    </a:lnTo>
                    <a:lnTo>
                      <a:pt x="234" y="258"/>
                    </a:lnTo>
                    <a:lnTo>
                      <a:pt x="228" y="258"/>
                    </a:lnTo>
                    <a:lnTo>
                      <a:pt x="228" y="264"/>
                    </a:lnTo>
                    <a:lnTo>
                      <a:pt x="228" y="270"/>
                    </a:lnTo>
                    <a:lnTo>
                      <a:pt x="234" y="270"/>
                    </a:lnTo>
                    <a:lnTo>
                      <a:pt x="228" y="270"/>
                    </a:lnTo>
                    <a:lnTo>
                      <a:pt x="234" y="276"/>
                    </a:lnTo>
                    <a:lnTo>
                      <a:pt x="228" y="276"/>
                    </a:lnTo>
                    <a:lnTo>
                      <a:pt x="234" y="276"/>
                    </a:lnTo>
                    <a:lnTo>
                      <a:pt x="228" y="282"/>
                    </a:lnTo>
                    <a:lnTo>
                      <a:pt x="234" y="282"/>
                    </a:lnTo>
                    <a:lnTo>
                      <a:pt x="228" y="282"/>
                    </a:lnTo>
                    <a:lnTo>
                      <a:pt x="234" y="282"/>
                    </a:lnTo>
                    <a:lnTo>
                      <a:pt x="234" y="288"/>
                    </a:lnTo>
                    <a:lnTo>
                      <a:pt x="240" y="288"/>
                    </a:lnTo>
                    <a:lnTo>
                      <a:pt x="240" y="282"/>
                    </a:lnTo>
                    <a:lnTo>
                      <a:pt x="246" y="282"/>
                    </a:lnTo>
                    <a:lnTo>
                      <a:pt x="252" y="282"/>
                    </a:lnTo>
                    <a:lnTo>
                      <a:pt x="252" y="288"/>
                    </a:lnTo>
                    <a:lnTo>
                      <a:pt x="258" y="288"/>
                    </a:lnTo>
                    <a:lnTo>
                      <a:pt x="264" y="288"/>
                    </a:lnTo>
                    <a:lnTo>
                      <a:pt x="270" y="288"/>
                    </a:lnTo>
                    <a:lnTo>
                      <a:pt x="270" y="282"/>
                    </a:lnTo>
                    <a:lnTo>
                      <a:pt x="276" y="282"/>
                    </a:lnTo>
                    <a:lnTo>
                      <a:pt x="276" y="288"/>
                    </a:lnTo>
                    <a:lnTo>
                      <a:pt x="282" y="288"/>
                    </a:lnTo>
                    <a:lnTo>
                      <a:pt x="288" y="288"/>
                    </a:lnTo>
                    <a:lnTo>
                      <a:pt x="294" y="282"/>
                    </a:lnTo>
                    <a:lnTo>
                      <a:pt x="294" y="276"/>
                    </a:lnTo>
                    <a:lnTo>
                      <a:pt x="300" y="276"/>
                    </a:lnTo>
                    <a:lnTo>
                      <a:pt x="306" y="276"/>
                    </a:lnTo>
                    <a:lnTo>
                      <a:pt x="312" y="270"/>
                    </a:lnTo>
                    <a:lnTo>
                      <a:pt x="312" y="264"/>
                    </a:lnTo>
                    <a:lnTo>
                      <a:pt x="318" y="264"/>
                    </a:lnTo>
                    <a:lnTo>
                      <a:pt x="318" y="258"/>
                    </a:lnTo>
                    <a:lnTo>
                      <a:pt x="324" y="258"/>
                    </a:lnTo>
                    <a:lnTo>
                      <a:pt x="324" y="252"/>
                    </a:lnTo>
                    <a:lnTo>
                      <a:pt x="330" y="252"/>
                    </a:lnTo>
                    <a:lnTo>
                      <a:pt x="330" y="246"/>
                    </a:lnTo>
                    <a:lnTo>
                      <a:pt x="336" y="246"/>
                    </a:lnTo>
                    <a:lnTo>
                      <a:pt x="342" y="246"/>
                    </a:lnTo>
                    <a:lnTo>
                      <a:pt x="342" y="240"/>
                    </a:lnTo>
                    <a:lnTo>
                      <a:pt x="342" y="234"/>
                    </a:lnTo>
                    <a:lnTo>
                      <a:pt x="348" y="234"/>
                    </a:lnTo>
                    <a:lnTo>
                      <a:pt x="348" y="228"/>
                    </a:lnTo>
                    <a:lnTo>
                      <a:pt x="348" y="222"/>
                    </a:lnTo>
                    <a:lnTo>
                      <a:pt x="348" y="216"/>
                    </a:lnTo>
                    <a:lnTo>
                      <a:pt x="354" y="216"/>
                    </a:lnTo>
                    <a:lnTo>
                      <a:pt x="354" y="210"/>
                    </a:lnTo>
                    <a:lnTo>
                      <a:pt x="354" y="204"/>
                    </a:lnTo>
                    <a:lnTo>
                      <a:pt x="354" y="198"/>
                    </a:lnTo>
                    <a:lnTo>
                      <a:pt x="354" y="204"/>
                    </a:lnTo>
                    <a:lnTo>
                      <a:pt x="360" y="204"/>
                    </a:lnTo>
                    <a:lnTo>
                      <a:pt x="360" y="198"/>
                    </a:lnTo>
                    <a:lnTo>
                      <a:pt x="354" y="198"/>
                    </a:lnTo>
                    <a:lnTo>
                      <a:pt x="360" y="198"/>
                    </a:lnTo>
                    <a:lnTo>
                      <a:pt x="360" y="192"/>
                    </a:lnTo>
                    <a:lnTo>
                      <a:pt x="366" y="192"/>
                    </a:lnTo>
                    <a:lnTo>
                      <a:pt x="372" y="192"/>
                    </a:lnTo>
                    <a:lnTo>
                      <a:pt x="372" y="186"/>
                    </a:lnTo>
                    <a:lnTo>
                      <a:pt x="378" y="186"/>
                    </a:lnTo>
                    <a:lnTo>
                      <a:pt x="378" y="192"/>
                    </a:lnTo>
                    <a:lnTo>
                      <a:pt x="378" y="186"/>
                    </a:lnTo>
                    <a:lnTo>
                      <a:pt x="378" y="192"/>
                    </a:lnTo>
                    <a:lnTo>
                      <a:pt x="384" y="186"/>
                    </a:lnTo>
                    <a:lnTo>
                      <a:pt x="384" y="192"/>
                    </a:lnTo>
                    <a:lnTo>
                      <a:pt x="390" y="186"/>
                    </a:lnTo>
                    <a:lnTo>
                      <a:pt x="390" y="192"/>
                    </a:lnTo>
                    <a:lnTo>
                      <a:pt x="396" y="192"/>
                    </a:lnTo>
                    <a:lnTo>
                      <a:pt x="396" y="198"/>
                    </a:lnTo>
                    <a:lnTo>
                      <a:pt x="396" y="192"/>
                    </a:lnTo>
                    <a:lnTo>
                      <a:pt x="396" y="198"/>
                    </a:lnTo>
                    <a:lnTo>
                      <a:pt x="402" y="198"/>
                    </a:lnTo>
                    <a:lnTo>
                      <a:pt x="402" y="204"/>
                    </a:lnTo>
                    <a:lnTo>
                      <a:pt x="408" y="204"/>
                    </a:lnTo>
                    <a:lnTo>
                      <a:pt x="408" y="210"/>
                    </a:lnTo>
                    <a:lnTo>
                      <a:pt x="414" y="210"/>
                    </a:lnTo>
                    <a:lnTo>
                      <a:pt x="420" y="210"/>
                    </a:lnTo>
                    <a:lnTo>
                      <a:pt x="426" y="210"/>
                    </a:lnTo>
                    <a:lnTo>
                      <a:pt x="432" y="210"/>
                    </a:lnTo>
                    <a:lnTo>
                      <a:pt x="432" y="216"/>
                    </a:lnTo>
                    <a:lnTo>
                      <a:pt x="438" y="216"/>
                    </a:lnTo>
                    <a:lnTo>
                      <a:pt x="444" y="216"/>
                    </a:lnTo>
                    <a:lnTo>
                      <a:pt x="450" y="222"/>
                    </a:lnTo>
                    <a:lnTo>
                      <a:pt x="456" y="222"/>
                    </a:lnTo>
                    <a:lnTo>
                      <a:pt x="462" y="222"/>
                    </a:lnTo>
                    <a:lnTo>
                      <a:pt x="468" y="222"/>
                    </a:lnTo>
                    <a:lnTo>
                      <a:pt x="474" y="216"/>
                    </a:lnTo>
                    <a:lnTo>
                      <a:pt x="480" y="216"/>
                    </a:lnTo>
                    <a:lnTo>
                      <a:pt x="486" y="216"/>
                    </a:lnTo>
                    <a:lnTo>
                      <a:pt x="492" y="216"/>
                    </a:lnTo>
                    <a:lnTo>
                      <a:pt x="492" y="222"/>
                    </a:lnTo>
                    <a:lnTo>
                      <a:pt x="492" y="216"/>
                    </a:lnTo>
                    <a:lnTo>
                      <a:pt x="498" y="216"/>
                    </a:lnTo>
                    <a:lnTo>
                      <a:pt x="504" y="210"/>
                    </a:lnTo>
                    <a:lnTo>
                      <a:pt x="510" y="210"/>
                    </a:lnTo>
                    <a:lnTo>
                      <a:pt x="510" y="204"/>
                    </a:lnTo>
                    <a:lnTo>
                      <a:pt x="510" y="198"/>
                    </a:lnTo>
                    <a:lnTo>
                      <a:pt x="510" y="192"/>
                    </a:lnTo>
                    <a:lnTo>
                      <a:pt x="516" y="186"/>
                    </a:lnTo>
                    <a:lnTo>
                      <a:pt x="516" y="180"/>
                    </a:lnTo>
                    <a:lnTo>
                      <a:pt x="522" y="174"/>
                    </a:lnTo>
                    <a:lnTo>
                      <a:pt x="522" y="168"/>
                    </a:lnTo>
                    <a:lnTo>
                      <a:pt x="522" y="162"/>
                    </a:lnTo>
                    <a:lnTo>
                      <a:pt x="522" y="156"/>
                    </a:lnTo>
                    <a:lnTo>
                      <a:pt x="528" y="156"/>
                    </a:lnTo>
                    <a:lnTo>
                      <a:pt x="534" y="156"/>
                    </a:lnTo>
                    <a:lnTo>
                      <a:pt x="534" y="150"/>
                    </a:lnTo>
                    <a:lnTo>
                      <a:pt x="540" y="150"/>
                    </a:lnTo>
                    <a:lnTo>
                      <a:pt x="546" y="150"/>
                    </a:lnTo>
                    <a:lnTo>
                      <a:pt x="552" y="150"/>
                    </a:lnTo>
                    <a:lnTo>
                      <a:pt x="558" y="150"/>
                    </a:lnTo>
                    <a:lnTo>
                      <a:pt x="558" y="144"/>
                    </a:lnTo>
                    <a:lnTo>
                      <a:pt x="558" y="138"/>
                    </a:lnTo>
                    <a:lnTo>
                      <a:pt x="564" y="138"/>
                    </a:lnTo>
                    <a:lnTo>
                      <a:pt x="564" y="132"/>
                    </a:lnTo>
                    <a:lnTo>
                      <a:pt x="570" y="132"/>
                    </a:lnTo>
                    <a:lnTo>
                      <a:pt x="570" y="126"/>
                    </a:lnTo>
                    <a:lnTo>
                      <a:pt x="570" y="132"/>
                    </a:lnTo>
                    <a:lnTo>
                      <a:pt x="576" y="126"/>
                    </a:lnTo>
                    <a:lnTo>
                      <a:pt x="576" y="120"/>
                    </a:lnTo>
                    <a:lnTo>
                      <a:pt x="576" y="114"/>
                    </a:lnTo>
                    <a:lnTo>
                      <a:pt x="582" y="114"/>
                    </a:lnTo>
                    <a:lnTo>
                      <a:pt x="582" y="108"/>
                    </a:lnTo>
                    <a:lnTo>
                      <a:pt x="582" y="102"/>
                    </a:lnTo>
                    <a:lnTo>
                      <a:pt x="582" y="96"/>
                    </a:lnTo>
                    <a:lnTo>
                      <a:pt x="582" y="90"/>
                    </a:lnTo>
                    <a:lnTo>
                      <a:pt x="588" y="90"/>
                    </a:lnTo>
                    <a:lnTo>
                      <a:pt x="588" y="84"/>
                    </a:lnTo>
                    <a:lnTo>
                      <a:pt x="594" y="84"/>
                    </a:lnTo>
                    <a:lnTo>
                      <a:pt x="600" y="84"/>
                    </a:lnTo>
                    <a:lnTo>
                      <a:pt x="594" y="84"/>
                    </a:lnTo>
                    <a:lnTo>
                      <a:pt x="594" y="78"/>
                    </a:lnTo>
                    <a:lnTo>
                      <a:pt x="600" y="78"/>
                    </a:lnTo>
                    <a:lnTo>
                      <a:pt x="606" y="78"/>
                    </a:lnTo>
                    <a:lnTo>
                      <a:pt x="606" y="72"/>
                    </a:lnTo>
                    <a:lnTo>
                      <a:pt x="606" y="78"/>
                    </a:lnTo>
                    <a:lnTo>
                      <a:pt x="606" y="72"/>
                    </a:lnTo>
                    <a:lnTo>
                      <a:pt x="606" y="78"/>
                    </a:lnTo>
                    <a:lnTo>
                      <a:pt x="612" y="78"/>
                    </a:lnTo>
                    <a:lnTo>
                      <a:pt x="612" y="72"/>
                    </a:lnTo>
                    <a:lnTo>
                      <a:pt x="618" y="72"/>
                    </a:lnTo>
                    <a:lnTo>
                      <a:pt x="618" y="66"/>
                    </a:lnTo>
                    <a:lnTo>
                      <a:pt x="624" y="66"/>
                    </a:lnTo>
                    <a:lnTo>
                      <a:pt x="624" y="60"/>
                    </a:lnTo>
                    <a:lnTo>
                      <a:pt x="624" y="66"/>
                    </a:lnTo>
                    <a:lnTo>
                      <a:pt x="630" y="66"/>
                    </a:lnTo>
                    <a:lnTo>
                      <a:pt x="630" y="60"/>
                    </a:lnTo>
                    <a:lnTo>
                      <a:pt x="630" y="54"/>
                    </a:lnTo>
                    <a:lnTo>
                      <a:pt x="636" y="54"/>
                    </a:lnTo>
                    <a:lnTo>
                      <a:pt x="636" y="48"/>
                    </a:lnTo>
                    <a:lnTo>
                      <a:pt x="642" y="48"/>
                    </a:lnTo>
                    <a:lnTo>
                      <a:pt x="642" y="42"/>
                    </a:lnTo>
                    <a:lnTo>
                      <a:pt x="648" y="42"/>
                    </a:lnTo>
                    <a:lnTo>
                      <a:pt x="648" y="36"/>
                    </a:lnTo>
                    <a:lnTo>
                      <a:pt x="648" y="30"/>
                    </a:lnTo>
                    <a:lnTo>
                      <a:pt x="654" y="30"/>
                    </a:lnTo>
                    <a:lnTo>
                      <a:pt x="654" y="24"/>
                    </a:lnTo>
                    <a:lnTo>
                      <a:pt x="660" y="24"/>
                    </a:lnTo>
                    <a:lnTo>
                      <a:pt x="666" y="24"/>
                    </a:lnTo>
                    <a:lnTo>
                      <a:pt x="672" y="24"/>
                    </a:lnTo>
                    <a:lnTo>
                      <a:pt x="678" y="24"/>
                    </a:lnTo>
                    <a:lnTo>
                      <a:pt x="678" y="18"/>
                    </a:lnTo>
                    <a:lnTo>
                      <a:pt x="684" y="18"/>
                    </a:lnTo>
                    <a:lnTo>
                      <a:pt x="690" y="18"/>
                    </a:lnTo>
                    <a:lnTo>
                      <a:pt x="696" y="18"/>
                    </a:lnTo>
                    <a:lnTo>
                      <a:pt x="696" y="12"/>
                    </a:lnTo>
                    <a:lnTo>
                      <a:pt x="696" y="6"/>
                    </a:lnTo>
                    <a:lnTo>
                      <a:pt x="696" y="0"/>
                    </a:lnTo>
                    <a:lnTo>
                      <a:pt x="702" y="0"/>
                    </a:lnTo>
                    <a:lnTo>
                      <a:pt x="708" y="0"/>
                    </a:lnTo>
                    <a:lnTo>
                      <a:pt x="714" y="0"/>
                    </a:lnTo>
                    <a:lnTo>
                      <a:pt x="720" y="0"/>
                    </a:lnTo>
                    <a:lnTo>
                      <a:pt x="726" y="0"/>
                    </a:lnTo>
                    <a:lnTo>
                      <a:pt x="732" y="0"/>
                    </a:lnTo>
                    <a:lnTo>
                      <a:pt x="738" y="0"/>
                    </a:lnTo>
                    <a:lnTo>
                      <a:pt x="744" y="0"/>
                    </a:lnTo>
                    <a:lnTo>
                      <a:pt x="750" y="0"/>
                    </a:lnTo>
                    <a:lnTo>
                      <a:pt x="750" y="6"/>
                    </a:lnTo>
                    <a:lnTo>
                      <a:pt x="756" y="6"/>
                    </a:lnTo>
                    <a:lnTo>
                      <a:pt x="762" y="6"/>
                    </a:lnTo>
                    <a:lnTo>
                      <a:pt x="768" y="6"/>
                    </a:lnTo>
                    <a:lnTo>
                      <a:pt x="768" y="12"/>
                    </a:lnTo>
                    <a:lnTo>
                      <a:pt x="774" y="12"/>
                    </a:lnTo>
                    <a:lnTo>
                      <a:pt x="780" y="12"/>
                    </a:lnTo>
                    <a:lnTo>
                      <a:pt x="780" y="6"/>
                    </a:lnTo>
                    <a:lnTo>
                      <a:pt x="786" y="6"/>
                    </a:lnTo>
                    <a:lnTo>
                      <a:pt x="786" y="12"/>
                    </a:lnTo>
                    <a:lnTo>
                      <a:pt x="786" y="6"/>
                    </a:lnTo>
                    <a:lnTo>
                      <a:pt x="792" y="6"/>
                    </a:lnTo>
                    <a:lnTo>
                      <a:pt x="798" y="6"/>
                    </a:lnTo>
                    <a:lnTo>
                      <a:pt x="804" y="6"/>
                    </a:lnTo>
                    <a:lnTo>
                      <a:pt x="810" y="12"/>
                    </a:lnTo>
                    <a:lnTo>
                      <a:pt x="810" y="6"/>
                    </a:lnTo>
                    <a:lnTo>
                      <a:pt x="810" y="12"/>
                    </a:lnTo>
                    <a:lnTo>
                      <a:pt x="816" y="12"/>
                    </a:lnTo>
                    <a:lnTo>
                      <a:pt x="822" y="12"/>
                    </a:lnTo>
                    <a:lnTo>
                      <a:pt x="828" y="12"/>
                    </a:lnTo>
                    <a:lnTo>
                      <a:pt x="828" y="24"/>
                    </a:lnTo>
                    <a:lnTo>
                      <a:pt x="834" y="36"/>
                    </a:lnTo>
                    <a:lnTo>
                      <a:pt x="834" y="48"/>
                    </a:lnTo>
                    <a:lnTo>
                      <a:pt x="834" y="54"/>
                    </a:lnTo>
                    <a:lnTo>
                      <a:pt x="840" y="54"/>
                    </a:lnTo>
                    <a:lnTo>
                      <a:pt x="840" y="60"/>
                    </a:lnTo>
                    <a:lnTo>
                      <a:pt x="840" y="66"/>
                    </a:lnTo>
                    <a:lnTo>
                      <a:pt x="840" y="72"/>
                    </a:lnTo>
                    <a:lnTo>
                      <a:pt x="840" y="78"/>
                    </a:lnTo>
                    <a:lnTo>
                      <a:pt x="846" y="84"/>
                    </a:lnTo>
                    <a:lnTo>
                      <a:pt x="846" y="90"/>
                    </a:lnTo>
                    <a:lnTo>
                      <a:pt x="846" y="96"/>
                    </a:lnTo>
                    <a:lnTo>
                      <a:pt x="852" y="102"/>
                    </a:lnTo>
                    <a:lnTo>
                      <a:pt x="858" y="108"/>
                    </a:lnTo>
                    <a:lnTo>
                      <a:pt x="858" y="120"/>
                    </a:lnTo>
                    <a:lnTo>
                      <a:pt x="864" y="126"/>
                    </a:lnTo>
                    <a:lnTo>
                      <a:pt x="864" y="132"/>
                    </a:lnTo>
                    <a:lnTo>
                      <a:pt x="864" y="138"/>
                    </a:lnTo>
                    <a:lnTo>
                      <a:pt x="864" y="144"/>
                    </a:lnTo>
                    <a:lnTo>
                      <a:pt x="864" y="150"/>
                    </a:lnTo>
                    <a:lnTo>
                      <a:pt x="864" y="156"/>
                    </a:lnTo>
                    <a:lnTo>
                      <a:pt x="864" y="162"/>
                    </a:lnTo>
                    <a:lnTo>
                      <a:pt x="864" y="168"/>
                    </a:lnTo>
                    <a:lnTo>
                      <a:pt x="864" y="174"/>
                    </a:lnTo>
                    <a:lnTo>
                      <a:pt x="864" y="180"/>
                    </a:lnTo>
                    <a:lnTo>
                      <a:pt x="864" y="186"/>
                    </a:lnTo>
                    <a:lnTo>
                      <a:pt x="864" y="192"/>
                    </a:lnTo>
                    <a:lnTo>
                      <a:pt x="864" y="198"/>
                    </a:lnTo>
                    <a:lnTo>
                      <a:pt x="864" y="204"/>
                    </a:lnTo>
                    <a:lnTo>
                      <a:pt x="864" y="210"/>
                    </a:lnTo>
                    <a:lnTo>
                      <a:pt x="864" y="216"/>
                    </a:lnTo>
                    <a:lnTo>
                      <a:pt x="864" y="222"/>
                    </a:lnTo>
                    <a:lnTo>
                      <a:pt x="858" y="222"/>
                    </a:lnTo>
                    <a:lnTo>
                      <a:pt x="864" y="228"/>
                    </a:lnTo>
                    <a:lnTo>
                      <a:pt x="858" y="234"/>
                    </a:lnTo>
                    <a:lnTo>
                      <a:pt x="852" y="234"/>
                    </a:lnTo>
                    <a:lnTo>
                      <a:pt x="852" y="228"/>
                    </a:lnTo>
                    <a:lnTo>
                      <a:pt x="846" y="228"/>
                    </a:lnTo>
                    <a:lnTo>
                      <a:pt x="846" y="222"/>
                    </a:lnTo>
                    <a:lnTo>
                      <a:pt x="840" y="222"/>
                    </a:lnTo>
                    <a:lnTo>
                      <a:pt x="834" y="222"/>
                    </a:lnTo>
                    <a:lnTo>
                      <a:pt x="834" y="216"/>
                    </a:lnTo>
                    <a:lnTo>
                      <a:pt x="828" y="216"/>
                    </a:lnTo>
                    <a:lnTo>
                      <a:pt x="822" y="222"/>
                    </a:lnTo>
                    <a:lnTo>
                      <a:pt x="816" y="228"/>
                    </a:lnTo>
                    <a:lnTo>
                      <a:pt x="816" y="234"/>
                    </a:lnTo>
                    <a:lnTo>
                      <a:pt x="810" y="234"/>
                    </a:lnTo>
                    <a:lnTo>
                      <a:pt x="810" y="240"/>
                    </a:lnTo>
                    <a:lnTo>
                      <a:pt x="810" y="246"/>
                    </a:lnTo>
                    <a:lnTo>
                      <a:pt x="804" y="252"/>
                    </a:lnTo>
                    <a:lnTo>
                      <a:pt x="804" y="258"/>
                    </a:lnTo>
                    <a:lnTo>
                      <a:pt x="798" y="258"/>
                    </a:lnTo>
                    <a:lnTo>
                      <a:pt x="798" y="270"/>
                    </a:lnTo>
                    <a:lnTo>
                      <a:pt x="798" y="276"/>
                    </a:lnTo>
                    <a:lnTo>
                      <a:pt x="798" y="282"/>
                    </a:lnTo>
                    <a:lnTo>
                      <a:pt x="798" y="288"/>
                    </a:lnTo>
                    <a:lnTo>
                      <a:pt x="798" y="282"/>
                    </a:lnTo>
                    <a:lnTo>
                      <a:pt x="804" y="282"/>
                    </a:lnTo>
                    <a:lnTo>
                      <a:pt x="804" y="288"/>
                    </a:lnTo>
                    <a:lnTo>
                      <a:pt x="810" y="288"/>
                    </a:lnTo>
                    <a:lnTo>
                      <a:pt x="810" y="294"/>
                    </a:lnTo>
                    <a:lnTo>
                      <a:pt x="804" y="294"/>
                    </a:lnTo>
                    <a:lnTo>
                      <a:pt x="810" y="300"/>
                    </a:lnTo>
                    <a:lnTo>
                      <a:pt x="816" y="306"/>
                    </a:lnTo>
                    <a:lnTo>
                      <a:pt x="822" y="312"/>
                    </a:lnTo>
                    <a:lnTo>
                      <a:pt x="828" y="312"/>
                    </a:lnTo>
                    <a:lnTo>
                      <a:pt x="834" y="312"/>
                    </a:lnTo>
                    <a:lnTo>
                      <a:pt x="834" y="318"/>
                    </a:lnTo>
                    <a:lnTo>
                      <a:pt x="840" y="318"/>
                    </a:lnTo>
                    <a:lnTo>
                      <a:pt x="846" y="318"/>
                    </a:lnTo>
                    <a:lnTo>
                      <a:pt x="852" y="318"/>
                    </a:lnTo>
                    <a:lnTo>
                      <a:pt x="858" y="318"/>
                    </a:lnTo>
                    <a:lnTo>
                      <a:pt x="864" y="318"/>
                    </a:lnTo>
                    <a:lnTo>
                      <a:pt x="864" y="312"/>
                    </a:lnTo>
                    <a:lnTo>
                      <a:pt x="864" y="306"/>
                    </a:lnTo>
                    <a:lnTo>
                      <a:pt x="864" y="300"/>
                    </a:lnTo>
                    <a:lnTo>
                      <a:pt x="864" y="294"/>
                    </a:lnTo>
                    <a:lnTo>
                      <a:pt x="864" y="288"/>
                    </a:lnTo>
                    <a:lnTo>
                      <a:pt x="864" y="282"/>
                    </a:lnTo>
                    <a:lnTo>
                      <a:pt x="870" y="282"/>
                    </a:lnTo>
                    <a:lnTo>
                      <a:pt x="870" y="288"/>
                    </a:lnTo>
                    <a:close/>
                    <a:moveTo>
                      <a:pt x="708" y="468"/>
                    </a:moveTo>
                    <a:lnTo>
                      <a:pt x="702" y="468"/>
                    </a:lnTo>
                    <a:lnTo>
                      <a:pt x="708" y="468"/>
                    </a:lnTo>
                    <a:lnTo>
                      <a:pt x="708" y="462"/>
                    </a:lnTo>
                    <a:lnTo>
                      <a:pt x="714" y="462"/>
                    </a:lnTo>
                    <a:lnTo>
                      <a:pt x="714" y="456"/>
                    </a:lnTo>
                    <a:lnTo>
                      <a:pt x="714" y="450"/>
                    </a:lnTo>
                    <a:lnTo>
                      <a:pt x="720" y="450"/>
                    </a:lnTo>
                    <a:lnTo>
                      <a:pt x="720" y="444"/>
                    </a:lnTo>
                    <a:lnTo>
                      <a:pt x="720" y="438"/>
                    </a:lnTo>
                    <a:lnTo>
                      <a:pt x="720" y="432"/>
                    </a:lnTo>
                    <a:lnTo>
                      <a:pt x="714" y="432"/>
                    </a:lnTo>
                    <a:lnTo>
                      <a:pt x="714" y="426"/>
                    </a:lnTo>
                    <a:lnTo>
                      <a:pt x="708" y="426"/>
                    </a:lnTo>
                    <a:lnTo>
                      <a:pt x="708" y="420"/>
                    </a:lnTo>
                    <a:lnTo>
                      <a:pt x="702" y="420"/>
                    </a:lnTo>
                    <a:lnTo>
                      <a:pt x="696" y="414"/>
                    </a:lnTo>
                    <a:lnTo>
                      <a:pt x="690" y="408"/>
                    </a:lnTo>
                    <a:lnTo>
                      <a:pt x="684" y="408"/>
                    </a:lnTo>
                    <a:lnTo>
                      <a:pt x="684" y="402"/>
                    </a:lnTo>
                    <a:lnTo>
                      <a:pt x="678" y="402"/>
                    </a:lnTo>
                    <a:lnTo>
                      <a:pt x="678" y="396"/>
                    </a:lnTo>
                    <a:lnTo>
                      <a:pt x="672" y="396"/>
                    </a:lnTo>
                    <a:lnTo>
                      <a:pt x="666" y="396"/>
                    </a:lnTo>
                    <a:lnTo>
                      <a:pt x="660" y="402"/>
                    </a:lnTo>
                    <a:lnTo>
                      <a:pt x="654" y="402"/>
                    </a:lnTo>
                    <a:lnTo>
                      <a:pt x="648" y="402"/>
                    </a:lnTo>
                    <a:lnTo>
                      <a:pt x="648" y="408"/>
                    </a:lnTo>
                    <a:lnTo>
                      <a:pt x="648" y="402"/>
                    </a:lnTo>
                    <a:lnTo>
                      <a:pt x="648" y="408"/>
                    </a:lnTo>
                    <a:lnTo>
                      <a:pt x="642" y="408"/>
                    </a:lnTo>
                    <a:lnTo>
                      <a:pt x="642" y="414"/>
                    </a:lnTo>
                    <a:lnTo>
                      <a:pt x="636" y="414"/>
                    </a:lnTo>
                    <a:lnTo>
                      <a:pt x="630" y="414"/>
                    </a:lnTo>
                    <a:lnTo>
                      <a:pt x="630" y="420"/>
                    </a:lnTo>
                    <a:lnTo>
                      <a:pt x="624" y="420"/>
                    </a:lnTo>
                    <a:lnTo>
                      <a:pt x="624" y="426"/>
                    </a:lnTo>
                    <a:lnTo>
                      <a:pt x="624" y="432"/>
                    </a:lnTo>
                    <a:lnTo>
                      <a:pt x="618" y="432"/>
                    </a:lnTo>
                    <a:lnTo>
                      <a:pt x="618" y="438"/>
                    </a:lnTo>
                    <a:lnTo>
                      <a:pt x="612" y="438"/>
                    </a:lnTo>
                    <a:lnTo>
                      <a:pt x="618" y="438"/>
                    </a:lnTo>
                    <a:lnTo>
                      <a:pt x="612" y="438"/>
                    </a:lnTo>
                    <a:lnTo>
                      <a:pt x="612" y="444"/>
                    </a:lnTo>
                    <a:lnTo>
                      <a:pt x="606" y="444"/>
                    </a:lnTo>
                    <a:lnTo>
                      <a:pt x="612" y="444"/>
                    </a:lnTo>
                    <a:lnTo>
                      <a:pt x="612" y="450"/>
                    </a:lnTo>
                    <a:lnTo>
                      <a:pt x="606" y="450"/>
                    </a:lnTo>
                    <a:lnTo>
                      <a:pt x="600" y="456"/>
                    </a:lnTo>
                    <a:lnTo>
                      <a:pt x="606" y="456"/>
                    </a:lnTo>
                    <a:lnTo>
                      <a:pt x="600" y="456"/>
                    </a:lnTo>
                    <a:lnTo>
                      <a:pt x="594" y="456"/>
                    </a:lnTo>
                    <a:lnTo>
                      <a:pt x="594" y="462"/>
                    </a:lnTo>
                    <a:lnTo>
                      <a:pt x="588" y="462"/>
                    </a:lnTo>
                    <a:lnTo>
                      <a:pt x="588" y="468"/>
                    </a:lnTo>
                    <a:lnTo>
                      <a:pt x="594" y="468"/>
                    </a:lnTo>
                    <a:lnTo>
                      <a:pt x="594" y="474"/>
                    </a:lnTo>
                    <a:lnTo>
                      <a:pt x="594" y="480"/>
                    </a:lnTo>
                    <a:lnTo>
                      <a:pt x="600" y="480"/>
                    </a:lnTo>
                    <a:lnTo>
                      <a:pt x="600" y="486"/>
                    </a:lnTo>
                    <a:lnTo>
                      <a:pt x="600" y="492"/>
                    </a:lnTo>
                    <a:lnTo>
                      <a:pt x="606" y="492"/>
                    </a:lnTo>
                    <a:lnTo>
                      <a:pt x="606" y="498"/>
                    </a:lnTo>
                    <a:lnTo>
                      <a:pt x="606" y="492"/>
                    </a:lnTo>
                    <a:lnTo>
                      <a:pt x="606" y="498"/>
                    </a:lnTo>
                    <a:lnTo>
                      <a:pt x="606" y="504"/>
                    </a:lnTo>
                    <a:lnTo>
                      <a:pt x="612" y="504"/>
                    </a:lnTo>
                    <a:lnTo>
                      <a:pt x="612" y="510"/>
                    </a:lnTo>
                    <a:lnTo>
                      <a:pt x="618" y="510"/>
                    </a:lnTo>
                    <a:lnTo>
                      <a:pt x="618" y="516"/>
                    </a:lnTo>
                    <a:lnTo>
                      <a:pt x="624" y="516"/>
                    </a:lnTo>
                    <a:lnTo>
                      <a:pt x="624" y="522"/>
                    </a:lnTo>
                    <a:lnTo>
                      <a:pt x="630" y="522"/>
                    </a:lnTo>
                    <a:lnTo>
                      <a:pt x="636" y="522"/>
                    </a:lnTo>
                    <a:lnTo>
                      <a:pt x="636" y="528"/>
                    </a:lnTo>
                    <a:lnTo>
                      <a:pt x="642" y="528"/>
                    </a:lnTo>
                    <a:lnTo>
                      <a:pt x="648" y="528"/>
                    </a:lnTo>
                    <a:lnTo>
                      <a:pt x="648" y="522"/>
                    </a:lnTo>
                    <a:lnTo>
                      <a:pt x="648" y="516"/>
                    </a:lnTo>
                    <a:lnTo>
                      <a:pt x="654" y="516"/>
                    </a:lnTo>
                    <a:lnTo>
                      <a:pt x="648" y="516"/>
                    </a:lnTo>
                    <a:lnTo>
                      <a:pt x="654" y="516"/>
                    </a:lnTo>
                    <a:lnTo>
                      <a:pt x="654" y="510"/>
                    </a:lnTo>
                    <a:lnTo>
                      <a:pt x="654" y="504"/>
                    </a:lnTo>
                    <a:lnTo>
                      <a:pt x="660" y="504"/>
                    </a:lnTo>
                    <a:lnTo>
                      <a:pt x="660" y="498"/>
                    </a:lnTo>
                    <a:lnTo>
                      <a:pt x="666" y="492"/>
                    </a:lnTo>
                    <a:lnTo>
                      <a:pt x="666" y="498"/>
                    </a:lnTo>
                    <a:lnTo>
                      <a:pt x="672" y="492"/>
                    </a:lnTo>
                    <a:lnTo>
                      <a:pt x="672" y="498"/>
                    </a:lnTo>
                    <a:lnTo>
                      <a:pt x="672" y="492"/>
                    </a:lnTo>
                    <a:lnTo>
                      <a:pt x="678" y="492"/>
                    </a:lnTo>
                    <a:lnTo>
                      <a:pt x="684" y="492"/>
                    </a:lnTo>
                    <a:lnTo>
                      <a:pt x="690" y="492"/>
                    </a:lnTo>
                    <a:lnTo>
                      <a:pt x="696" y="486"/>
                    </a:lnTo>
                    <a:lnTo>
                      <a:pt x="702" y="486"/>
                    </a:lnTo>
                    <a:lnTo>
                      <a:pt x="702" y="480"/>
                    </a:lnTo>
                    <a:lnTo>
                      <a:pt x="702" y="486"/>
                    </a:lnTo>
                    <a:lnTo>
                      <a:pt x="702" y="480"/>
                    </a:lnTo>
                    <a:lnTo>
                      <a:pt x="708" y="480"/>
                    </a:lnTo>
                    <a:lnTo>
                      <a:pt x="708" y="474"/>
                    </a:lnTo>
                    <a:lnTo>
                      <a:pt x="702" y="474"/>
                    </a:lnTo>
                    <a:lnTo>
                      <a:pt x="708" y="474"/>
                    </a:lnTo>
                    <a:lnTo>
                      <a:pt x="708" y="468"/>
                    </a:lnTo>
                    <a:close/>
                    <a:moveTo>
                      <a:pt x="102" y="732"/>
                    </a:moveTo>
                    <a:lnTo>
                      <a:pt x="108" y="732"/>
                    </a:lnTo>
                    <a:lnTo>
                      <a:pt x="108" y="738"/>
                    </a:lnTo>
                    <a:lnTo>
                      <a:pt x="102" y="738"/>
                    </a:lnTo>
                    <a:lnTo>
                      <a:pt x="102" y="73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09" name="Freeform 60"/>
              <p:cNvSpPr>
                <a:spLocks/>
              </p:cNvSpPr>
              <p:nvPr>
                <p:custDataLst>
                  <p:tags r:id="rId56"/>
                </p:custDataLst>
              </p:nvPr>
            </p:nvSpPr>
            <p:spPr bwMode="gray">
              <a:xfrm>
                <a:off x="4150994" y="3882117"/>
                <a:ext cx="88679" cy="122041"/>
              </a:xfrm>
              <a:custGeom>
                <a:avLst/>
                <a:gdLst>
                  <a:gd name="T0" fmla="*/ 21490 w 72"/>
                  <a:gd name="T1" fmla="*/ 3956 h 102"/>
                  <a:gd name="T2" fmla="*/ 21490 w 72"/>
                  <a:gd name="T3" fmla="*/ 6924 h 102"/>
                  <a:gd name="T4" fmla="*/ 24294 w 72"/>
                  <a:gd name="T5" fmla="*/ 6924 h 102"/>
                  <a:gd name="T6" fmla="*/ 24294 w 72"/>
                  <a:gd name="T7" fmla="*/ 10880 h 102"/>
                  <a:gd name="T8" fmla="*/ 24294 w 72"/>
                  <a:gd name="T9" fmla="*/ 12858 h 102"/>
                  <a:gd name="T10" fmla="*/ 24294 w 72"/>
                  <a:gd name="T11" fmla="*/ 15825 h 102"/>
                  <a:gd name="T12" fmla="*/ 24294 w 72"/>
                  <a:gd name="T13" fmla="*/ 17803 h 102"/>
                  <a:gd name="T14" fmla="*/ 24294 w 72"/>
                  <a:gd name="T15" fmla="*/ 21760 h 102"/>
                  <a:gd name="T16" fmla="*/ 24294 w 72"/>
                  <a:gd name="T17" fmla="*/ 26705 h 102"/>
                  <a:gd name="T18" fmla="*/ 24294 w 72"/>
                  <a:gd name="T19" fmla="*/ 23738 h 102"/>
                  <a:gd name="T20" fmla="*/ 21490 w 72"/>
                  <a:gd name="T21" fmla="*/ 23738 h 102"/>
                  <a:gd name="T22" fmla="*/ 21490 w 72"/>
                  <a:gd name="T23" fmla="*/ 26705 h 102"/>
                  <a:gd name="T24" fmla="*/ 21490 w 72"/>
                  <a:gd name="T25" fmla="*/ 28684 h 102"/>
                  <a:gd name="T26" fmla="*/ 21490 w 72"/>
                  <a:gd name="T27" fmla="*/ 30662 h 102"/>
                  <a:gd name="T28" fmla="*/ 21490 w 72"/>
                  <a:gd name="T29" fmla="*/ 32640 h 102"/>
                  <a:gd name="T30" fmla="*/ 21490 w 72"/>
                  <a:gd name="T31" fmla="*/ 34618 h 102"/>
                  <a:gd name="T32" fmla="*/ 21490 w 72"/>
                  <a:gd name="T33" fmla="*/ 37585 h 102"/>
                  <a:gd name="T34" fmla="*/ 20556 w 72"/>
                  <a:gd name="T35" fmla="*/ 37585 h 102"/>
                  <a:gd name="T36" fmla="*/ 17753 w 72"/>
                  <a:gd name="T37" fmla="*/ 37585 h 102"/>
                  <a:gd name="T38" fmla="*/ 15884 w 72"/>
                  <a:gd name="T39" fmla="*/ 37585 h 102"/>
                  <a:gd name="T40" fmla="*/ 14016 w 72"/>
                  <a:gd name="T41" fmla="*/ 37585 h 102"/>
                  <a:gd name="T42" fmla="*/ 12147 w 72"/>
                  <a:gd name="T43" fmla="*/ 37585 h 102"/>
                  <a:gd name="T44" fmla="*/ 12147 w 72"/>
                  <a:gd name="T45" fmla="*/ 34618 h 102"/>
                  <a:gd name="T46" fmla="*/ 10278 w 72"/>
                  <a:gd name="T47" fmla="*/ 34618 h 102"/>
                  <a:gd name="T48" fmla="*/ 7475 w 72"/>
                  <a:gd name="T49" fmla="*/ 34618 h 102"/>
                  <a:gd name="T50" fmla="*/ 6540 w 72"/>
                  <a:gd name="T51" fmla="*/ 32640 h 102"/>
                  <a:gd name="T52" fmla="*/ 3738 w 72"/>
                  <a:gd name="T53" fmla="*/ 30662 h 102"/>
                  <a:gd name="T54" fmla="*/ 1868 w 72"/>
                  <a:gd name="T55" fmla="*/ 28684 h 102"/>
                  <a:gd name="T56" fmla="*/ 3738 w 72"/>
                  <a:gd name="T57" fmla="*/ 28684 h 102"/>
                  <a:gd name="T58" fmla="*/ 3738 w 72"/>
                  <a:gd name="T59" fmla="*/ 26705 h 102"/>
                  <a:gd name="T60" fmla="*/ 1868 w 72"/>
                  <a:gd name="T61" fmla="*/ 26705 h 102"/>
                  <a:gd name="T62" fmla="*/ 1868 w 72"/>
                  <a:gd name="T63" fmla="*/ 23738 h 102"/>
                  <a:gd name="T64" fmla="*/ 0 w 72"/>
                  <a:gd name="T65" fmla="*/ 23738 h 102"/>
                  <a:gd name="T66" fmla="*/ 0 w 72"/>
                  <a:gd name="T67" fmla="*/ 26705 h 102"/>
                  <a:gd name="T68" fmla="*/ 0 w 72"/>
                  <a:gd name="T69" fmla="*/ 23738 h 102"/>
                  <a:gd name="T70" fmla="*/ 0 w 72"/>
                  <a:gd name="T71" fmla="*/ 21760 h 102"/>
                  <a:gd name="T72" fmla="*/ 0 w 72"/>
                  <a:gd name="T73" fmla="*/ 19781 h 102"/>
                  <a:gd name="T74" fmla="*/ 0 w 72"/>
                  <a:gd name="T75" fmla="*/ 15825 h 102"/>
                  <a:gd name="T76" fmla="*/ 1868 w 72"/>
                  <a:gd name="T77" fmla="*/ 15825 h 102"/>
                  <a:gd name="T78" fmla="*/ 1868 w 72"/>
                  <a:gd name="T79" fmla="*/ 12858 h 102"/>
                  <a:gd name="T80" fmla="*/ 3738 w 72"/>
                  <a:gd name="T81" fmla="*/ 10880 h 102"/>
                  <a:gd name="T82" fmla="*/ 3738 w 72"/>
                  <a:gd name="T83" fmla="*/ 8902 h 102"/>
                  <a:gd name="T84" fmla="*/ 3738 w 72"/>
                  <a:gd name="T85" fmla="*/ 6924 h 102"/>
                  <a:gd name="T86" fmla="*/ 6540 w 72"/>
                  <a:gd name="T87" fmla="*/ 6924 h 102"/>
                  <a:gd name="T88" fmla="*/ 6540 w 72"/>
                  <a:gd name="T89" fmla="*/ 3956 h 102"/>
                  <a:gd name="T90" fmla="*/ 7475 w 72"/>
                  <a:gd name="T91" fmla="*/ 1978 h 102"/>
                  <a:gd name="T92" fmla="*/ 10278 w 72"/>
                  <a:gd name="T93" fmla="*/ 0 h 102"/>
                  <a:gd name="T94" fmla="*/ 12147 w 72"/>
                  <a:gd name="T95" fmla="*/ 0 h 102"/>
                  <a:gd name="T96" fmla="*/ 12147 w 72"/>
                  <a:gd name="T97" fmla="*/ 1978 h 102"/>
                  <a:gd name="T98" fmla="*/ 14016 w 72"/>
                  <a:gd name="T99" fmla="*/ 1978 h 102"/>
                  <a:gd name="T100" fmla="*/ 15884 w 72"/>
                  <a:gd name="T101" fmla="*/ 1978 h 102"/>
                  <a:gd name="T102" fmla="*/ 15884 w 72"/>
                  <a:gd name="T103" fmla="*/ 3956 h 102"/>
                  <a:gd name="T104" fmla="*/ 17753 w 72"/>
                  <a:gd name="T105" fmla="*/ 3956 h 102"/>
                  <a:gd name="T106" fmla="*/ 17753 w 72"/>
                  <a:gd name="T107" fmla="*/ 6924 h 102"/>
                  <a:gd name="T108" fmla="*/ 20556 w 72"/>
                  <a:gd name="T109" fmla="*/ 6924 h 102"/>
                  <a:gd name="T110" fmla="*/ 21490 w 72"/>
                  <a:gd name="T111" fmla="*/ 3956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 h="102">
                    <a:moveTo>
                      <a:pt x="66" y="12"/>
                    </a:moveTo>
                    <a:lnTo>
                      <a:pt x="66" y="18"/>
                    </a:lnTo>
                    <a:lnTo>
                      <a:pt x="72" y="18"/>
                    </a:lnTo>
                    <a:lnTo>
                      <a:pt x="72" y="30"/>
                    </a:lnTo>
                    <a:lnTo>
                      <a:pt x="72" y="36"/>
                    </a:lnTo>
                    <a:lnTo>
                      <a:pt x="72" y="42"/>
                    </a:lnTo>
                    <a:lnTo>
                      <a:pt x="72" y="48"/>
                    </a:lnTo>
                    <a:lnTo>
                      <a:pt x="72" y="60"/>
                    </a:lnTo>
                    <a:lnTo>
                      <a:pt x="72" y="72"/>
                    </a:lnTo>
                    <a:lnTo>
                      <a:pt x="72" y="66"/>
                    </a:lnTo>
                    <a:lnTo>
                      <a:pt x="66" y="66"/>
                    </a:lnTo>
                    <a:lnTo>
                      <a:pt x="66" y="72"/>
                    </a:lnTo>
                    <a:lnTo>
                      <a:pt x="66" y="78"/>
                    </a:lnTo>
                    <a:lnTo>
                      <a:pt x="66" y="84"/>
                    </a:lnTo>
                    <a:lnTo>
                      <a:pt x="66" y="90"/>
                    </a:lnTo>
                    <a:lnTo>
                      <a:pt x="66" y="96"/>
                    </a:lnTo>
                    <a:lnTo>
                      <a:pt x="66" y="102"/>
                    </a:lnTo>
                    <a:lnTo>
                      <a:pt x="60" y="102"/>
                    </a:lnTo>
                    <a:lnTo>
                      <a:pt x="54" y="102"/>
                    </a:lnTo>
                    <a:lnTo>
                      <a:pt x="48" y="102"/>
                    </a:lnTo>
                    <a:lnTo>
                      <a:pt x="42" y="102"/>
                    </a:lnTo>
                    <a:lnTo>
                      <a:pt x="36" y="102"/>
                    </a:lnTo>
                    <a:lnTo>
                      <a:pt x="36" y="96"/>
                    </a:lnTo>
                    <a:lnTo>
                      <a:pt x="30" y="96"/>
                    </a:lnTo>
                    <a:lnTo>
                      <a:pt x="24" y="96"/>
                    </a:lnTo>
                    <a:lnTo>
                      <a:pt x="18" y="90"/>
                    </a:lnTo>
                    <a:lnTo>
                      <a:pt x="12" y="84"/>
                    </a:lnTo>
                    <a:lnTo>
                      <a:pt x="6" y="78"/>
                    </a:lnTo>
                    <a:lnTo>
                      <a:pt x="12" y="78"/>
                    </a:lnTo>
                    <a:lnTo>
                      <a:pt x="12" y="72"/>
                    </a:lnTo>
                    <a:lnTo>
                      <a:pt x="6" y="72"/>
                    </a:lnTo>
                    <a:lnTo>
                      <a:pt x="6" y="66"/>
                    </a:lnTo>
                    <a:lnTo>
                      <a:pt x="0" y="66"/>
                    </a:lnTo>
                    <a:lnTo>
                      <a:pt x="0" y="72"/>
                    </a:lnTo>
                    <a:lnTo>
                      <a:pt x="0" y="66"/>
                    </a:lnTo>
                    <a:lnTo>
                      <a:pt x="0" y="60"/>
                    </a:lnTo>
                    <a:lnTo>
                      <a:pt x="0" y="54"/>
                    </a:lnTo>
                    <a:lnTo>
                      <a:pt x="0" y="42"/>
                    </a:lnTo>
                    <a:lnTo>
                      <a:pt x="6" y="42"/>
                    </a:lnTo>
                    <a:lnTo>
                      <a:pt x="6" y="36"/>
                    </a:lnTo>
                    <a:lnTo>
                      <a:pt x="12" y="30"/>
                    </a:lnTo>
                    <a:lnTo>
                      <a:pt x="12" y="24"/>
                    </a:lnTo>
                    <a:lnTo>
                      <a:pt x="12" y="18"/>
                    </a:lnTo>
                    <a:lnTo>
                      <a:pt x="18" y="18"/>
                    </a:lnTo>
                    <a:lnTo>
                      <a:pt x="18" y="12"/>
                    </a:lnTo>
                    <a:lnTo>
                      <a:pt x="24" y="6"/>
                    </a:lnTo>
                    <a:lnTo>
                      <a:pt x="30" y="0"/>
                    </a:lnTo>
                    <a:lnTo>
                      <a:pt x="36" y="0"/>
                    </a:lnTo>
                    <a:lnTo>
                      <a:pt x="36" y="6"/>
                    </a:lnTo>
                    <a:lnTo>
                      <a:pt x="42" y="6"/>
                    </a:lnTo>
                    <a:lnTo>
                      <a:pt x="48" y="6"/>
                    </a:lnTo>
                    <a:lnTo>
                      <a:pt x="48" y="12"/>
                    </a:lnTo>
                    <a:lnTo>
                      <a:pt x="54" y="12"/>
                    </a:lnTo>
                    <a:lnTo>
                      <a:pt x="54" y="18"/>
                    </a:lnTo>
                    <a:lnTo>
                      <a:pt x="60" y="18"/>
                    </a:lnTo>
                    <a:lnTo>
                      <a:pt x="66" y="1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sp>
            <p:nvSpPr>
              <p:cNvPr id="310" name="Freeform 61"/>
              <p:cNvSpPr>
                <a:spLocks noEditPoints="1"/>
              </p:cNvSpPr>
              <p:nvPr>
                <p:custDataLst>
                  <p:tags r:id="rId57"/>
                </p:custDataLst>
              </p:nvPr>
            </p:nvSpPr>
            <p:spPr bwMode="gray">
              <a:xfrm>
                <a:off x="2811132" y="3265887"/>
                <a:ext cx="946451" cy="855794"/>
              </a:xfrm>
              <a:custGeom>
                <a:avLst/>
                <a:gdLst>
                  <a:gd name="T0" fmla="*/ 165322 w 750"/>
                  <a:gd name="T1" fmla="*/ 179743 h 726"/>
                  <a:gd name="T2" fmla="*/ 165322 w 750"/>
                  <a:gd name="T3" fmla="*/ 201118 h 726"/>
                  <a:gd name="T4" fmla="*/ 165322 w 750"/>
                  <a:gd name="T5" fmla="*/ 222493 h 726"/>
                  <a:gd name="T6" fmla="*/ 165322 w 750"/>
                  <a:gd name="T7" fmla="*/ 245811 h 726"/>
                  <a:gd name="T8" fmla="*/ 152679 w 750"/>
                  <a:gd name="T9" fmla="*/ 252612 h 726"/>
                  <a:gd name="T10" fmla="*/ 145872 w 750"/>
                  <a:gd name="T11" fmla="*/ 259413 h 726"/>
                  <a:gd name="T12" fmla="*/ 131285 w 750"/>
                  <a:gd name="T13" fmla="*/ 256498 h 726"/>
                  <a:gd name="T14" fmla="*/ 116698 w 750"/>
                  <a:gd name="T15" fmla="*/ 254556 h 726"/>
                  <a:gd name="T16" fmla="*/ 111835 w 750"/>
                  <a:gd name="T17" fmla="*/ 244839 h 726"/>
                  <a:gd name="T18" fmla="*/ 105028 w 750"/>
                  <a:gd name="T19" fmla="*/ 239982 h 726"/>
                  <a:gd name="T20" fmla="*/ 101138 w 750"/>
                  <a:gd name="T21" fmla="*/ 241925 h 726"/>
                  <a:gd name="T22" fmla="*/ 96276 w 750"/>
                  <a:gd name="T23" fmla="*/ 248726 h 726"/>
                  <a:gd name="T24" fmla="*/ 83633 w 750"/>
                  <a:gd name="T25" fmla="*/ 241925 h 726"/>
                  <a:gd name="T26" fmla="*/ 76826 w 750"/>
                  <a:gd name="T27" fmla="*/ 231237 h 726"/>
                  <a:gd name="T28" fmla="*/ 70991 w 750"/>
                  <a:gd name="T29" fmla="*/ 220550 h 726"/>
                  <a:gd name="T30" fmla="*/ 67101 w 750"/>
                  <a:gd name="T31" fmla="*/ 209863 h 726"/>
                  <a:gd name="T32" fmla="*/ 68074 w 750"/>
                  <a:gd name="T33" fmla="*/ 203062 h 726"/>
                  <a:gd name="T34" fmla="*/ 62238 w 750"/>
                  <a:gd name="T35" fmla="*/ 190431 h 726"/>
                  <a:gd name="T36" fmla="*/ 62238 w 750"/>
                  <a:gd name="T37" fmla="*/ 175857 h 726"/>
                  <a:gd name="T38" fmla="*/ 57377 w 750"/>
                  <a:gd name="T39" fmla="*/ 160311 h 726"/>
                  <a:gd name="T40" fmla="*/ 53487 w 750"/>
                  <a:gd name="T41" fmla="*/ 150596 h 726"/>
                  <a:gd name="T42" fmla="*/ 53487 w 750"/>
                  <a:gd name="T43" fmla="*/ 135050 h 726"/>
                  <a:gd name="T44" fmla="*/ 53487 w 750"/>
                  <a:gd name="T45" fmla="*/ 131164 h 726"/>
                  <a:gd name="T46" fmla="*/ 56404 w 750"/>
                  <a:gd name="T47" fmla="*/ 120476 h 726"/>
                  <a:gd name="T48" fmla="*/ 49597 w 750"/>
                  <a:gd name="T49" fmla="*/ 106874 h 726"/>
                  <a:gd name="T50" fmla="*/ 42789 w 750"/>
                  <a:gd name="T51" fmla="*/ 96187 h 726"/>
                  <a:gd name="T52" fmla="*/ 36954 w 750"/>
                  <a:gd name="T53" fmla="*/ 85500 h 726"/>
                  <a:gd name="T54" fmla="*/ 30147 w 750"/>
                  <a:gd name="T55" fmla="*/ 74812 h 726"/>
                  <a:gd name="T56" fmla="*/ 26257 w 750"/>
                  <a:gd name="T57" fmla="*/ 62181 h 726"/>
                  <a:gd name="T58" fmla="*/ 19449 w 750"/>
                  <a:gd name="T59" fmla="*/ 46636 h 726"/>
                  <a:gd name="T60" fmla="*/ 10697 w 750"/>
                  <a:gd name="T61" fmla="*/ 36920 h 726"/>
                  <a:gd name="T62" fmla="*/ 3890 w 750"/>
                  <a:gd name="T63" fmla="*/ 26233 h 726"/>
                  <a:gd name="T64" fmla="*/ 0 w 750"/>
                  <a:gd name="T65" fmla="*/ 8745 h 726"/>
                  <a:gd name="T66" fmla="*/ 6808 w 750"/>
                  <a:gd name="T67" fmla="*/ 1943 h 726"/>
                  <a:gd name="T68" fmla="*/ 14587 w 750"/>
                  <a:gd name="T69" fmla="*/ 6801 h 726"/>
                  <a:gd name="T70" fmla="*/ 28202 w 750"/>
                  <a:gd name="T71" fmla="*/ 0 h 726"/>
                  <a:gd name="T72" fmla="*/ 36954 w 750"/>
                  <a:gd name="T73" fmla="*/ 3886 h 726"/>
                  <a:gd name="T74" fmla="*/ 49597 w 750"/>
                  <a:gd name="T75" fmla="*/ 8745 h 726"/>
                  <a:gd name="T76" fmla="*/ 109890 w 750"/>
                  <a:gd name="T77" fmla="*/ 8745 h 726"/>
                  <a:gd name="T78" fmla="*/ 126423 w 750"/>
                  <a:gd name="T79" fmla="*/ 8745 h 726"/>
                  <a:gd name="T80" fmla="*/ 137120 w 750"/>
                  <a:gd name="T81" fmla="*/ 14574 h 726"/>
                  <a:gd name="T82" fmla="*/ 152679 w 750"/>
                  <a:gd name="T83" fmla="*/ 17488 h 726"/>
                  <a:gd name="T84" fmla="*/ 163377 w 750"/>
                  <a:gd name="T85" fmla="*/ 19432 h 726"/>
                  <a:gd name="T86" fmla="*/ 172130 w 750"/>
                  <a:gd name="T87" fmla="*/ 19432 h 726"/>
                  <a:gd name="T88" fmla="*/ 180881 w 750"/>
                  <a:gd name="T89" fmla="*/ 21375 h 726"/>
                  <a:gd name="T90" fmla="*/ 193524 w 750"/>
                  <a:gd name="T91" fmla="*/ 21375 h 726"/>
                  <a:gd name="T92" fmla="*/ 253817 w 750"/>
                  <a:gd name="T93" fmla="*/ 10687 h 726"/>
                  <a:gd name="T94" fmla="*/ 266460 w 750"/>
                  <a:gd name="T95" fmla="*/ 12631 h 726"/>
                  <a:gd name="T96" fmla="*/ 266460 w 750"/>
                  <a:gd name="T97" fmla="*/ 17488 h 726"/>
                  <a:gd name="T98" fmla="*/ 259653 w 750"/>
                  <a:gd name="T99" fmla="*/ 19432 h 726"/>
                  <a:gd name="T100" fmla="*/ 248955 w 750"/>
                  <a:gd name="T101" fmla="*/ 21375 h 726"/>
                  <a:gd name="T102" fmla="*/ 241176 w 750"/>
                  <a:gd name="T103" fmla="*/ 30119 h 726"/>
                  <a:gd name="T104" fmla="*/ 231450 w 750"/>
                  <a:gd name="T105" fmla="*/ 23318 h 726"/>
                  <a:gd name="T106" fmla="*/ 184771 w 750"/>
                  <a:gd name="T107" fmla="*/ 27205 h 726"/>
                  <a:gd name="T108" fmla="*/ 165322 w 750"/>
                  <a:gd name="T109" fmla="*/ 111732 h 726"/>
                  <a:gd name="T110" fmla="*/ 165322 w 750"/>
                  <a:gd name="T111" fmla="*/ 128249 h 726"/>
                  <a:gd name="T112" fmla="*/ 165322 w 750"/>
                  <a:gd name="T113" fmla="*/ 145737 h 726"/>
                  <a:gd name="T114" fmla="*/ 165322 w 750"/>
                  <a:gd name="T115" fmla="*/ 162255 h 726"/>
                  <a:gd name="T116" fmla="*/ 65156 w 750"/>
                  <a:gd name="T117" fmla="*/ 20111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50" h="726">
                    <a:moveTo>
                      <a:pt x="462" y="462"/>
                    </a:moveTo>
                    <a:lnTo>
                      <a:pt x="462" y="468"/>
                    </a:lnTo>
                    <a:lnTo>
                      <a:pt x="462" y="474"/>
                    </a:lnTo>
                    <a:lnTo>
                      <a:pt x="462" y="480"/>
                    </a:lnTo>
                    <a:lnTo>
                      <a:pt x="462" y="486"/>
                    </a:lnTo>
                    <a:lnTo>
                      <a:pt x="462" y="492"/>
                    </a:lnTo>
                    <a:lnTo>
                      <a:pt x="462" y="498"/>
                    </a:lnTo>
                    <a:lnTo>
                      <a:pt x="462" y="504"/>
                    </a:lnTo>
                    <a:lnTo>
                      <a:pt x="462" y="510"/>
                    </a:lnTo>
                    <a:lnTo>
                      <a:pt x="462" y="516"/>
                    </a:lnTo>
                    <a:lnTo>
                      <a:pt x="462" y="522"/>
                    </a:lnTo>
                    <a:lnTo>
                      <a:pt x="462" y="534"/>
                    </a:lnTo>
                    <a:lnTo>
                      <a:pt x="462" y="540"/>
                    </a:lnTo>
                    <a:lnTo>
                      <a:pt x="462" y="546"/>
                    </a:lnTo>
                    <a:lnTo>
                      <a:pt x="462" y="558"/>
                    </a:lnTo>
                    <a:lnTo>
                      <a:pt x="462" y="564"/>
                    </a:lnTo>
                    <a:lnTo>
                      <a:pt x="462" y="570"/>
                    </a:lnTo>
                    <a:lnTo>
                      <a:pt x="462" y="582"/>
                    </a:lnTo>
                    <a:lnTo>
                      <a:pt x="462" y="588"/>
                    </a:lnTo>
                    <a:lnTo>
                      <a:pt x="462" y="594"/>
                    </a:lnTo>
                    <a:lnTo>
                      <a:pt x="462" y="600"/>
                    </a:lnTo>
                    <a:lnTo>
                      <a:pt x="462" y="612"/>
                    </a:lnTo>
                    <a:lnTo>
                      <a:pt x="462" y="618"/>
                    </a:lnTo>
                    <a:lnTo>
                      <a:pt x="462" y="624"/>
                    </a:lnTo>
                    <a:lnTo>
                      <a:pt x="462" y="636"/>
                    </a:lnTo>
                    <a:lnTo>
                      <a:pt x="462" y="642"/>
                    </a:lnTo>
                    <a:lnTo>
                      <a:pt x="462" y="648"/>
                    </a:lnTo>
                    <a:lnTo>
                      <a:pt x="462" y="660"/>
                    </a:lnTo>
                    <a:lnTo>
                      <a:pt x="462" y="666"/>
                    </a:lnTo>
                    <a:lnTo>
                      <a:pt x="462" y="672"/>
                    </a:lnTo>
                    <a:lnTo>
                      <a:pt x="462" y="684"/>
                    </a:lnTo>
                    <a:lnTo>
                      <a:pt x="462" y="690"/>
                    </a:lnTo>
                    <a:lnTo>
                      <a:pt x="456" y="690"/>
                    </a:lnTo>
                    <a:lnTo>
                      <a:pt x="450" y="690"/>
                    </a:lnTo>
                    <a:lnTo>
                      <a:pt x="450" y="696"/>
                    </a:lnTo>
                    <a:lnTo>
                      <a:pt x="444" y="696"/>
                    </a:lnTo>
                    <a:lnTo>
                      <a:pt x="438" y="696"/>
                    </a:lnTo>
                    <a:lnTo>
                      <a:pt x="432" y="702"/>
                    </a:lnTo>
                    <a:lnTo>
                      <a:pt x="432" y="708"/>
                    </a:lnTo>
                    <a:lnTo>
                      <a:pt x="426" y="708"/>
                    </a:lnTo>
                    <a:lnTo>
                      <a:pt x="426" y="714"/>
                    </a:lnTo>
                    <a:lnTo>
                      <a:pt x="420" y="714"/>
                    </a:lnTo>
                    <a:lnTo>
                      <a:pt x="420" y="708"/>
                    </a:lnTo>
                    <a:lnTo>
                      <a:pt x="420" y="714"/>
                    </a:lnTo>
                    <a:lnTo>
                      <a:pt x="420" y="720"/>
                    </a:lnTo>
                    <a:lnTo>
                      <a:pt x="414" y="720"/>
                    </a:lnTo>
                    <a:lnTo>
                      <a:pt x="414" y="726"/>
                    </a:lnTo>
                    <a:lnTo>
                      <a:pt x="408" y="726"/>
                    </a:lnTo>
                    <a:lnTo>
                      <a:pt x="402" y="726"/>
                    </a:lnTo>
                    <a:lnTo>
                      <a:pt x="402" y="720"/>
                    </a:lnTo>
                    <a:lnTo>
                      <a:pt x="396" y="720"/>
                    </a:lnTo>
                    <a:lnTo>
                      <a:pt x="390" y="720"/>
                    </a:lnTo>
                    <a:lnTo>
                      <a:pt x="384" y="720"/>
                    </a:lnTo>
                    <a:lnTo>
                      <a:pt x="378" y="720"/>
                    </a:lnTo>
                    <a:lnTo>
                      <a:pt x="372" y="720"/>
                    </a:lnTo>
                    <a:lnTo>
                      <a:pt x="366" y="720"/>
                    </a:lnTo>
                    <a:lnTo>
                      <a:pt x="360" y="720"/>
                    </a:lnTo>
                    <a:lnTo>
                      <a:pt x="354" y="720"/>
                    </a:lnTo>
                    <a:lnTo>
                      <a:pt x="348" y="720"/>
                    </a:lnTo>
                    <a:lnTo>
                      <a:pt x="348" y="714"/>
                    </a:lnTo>
                    <a:lnTo>
                      <a:pt x="342" y="714"/>
                    </a:lnTo>
                    <a:lnTo>
                      <a:pt x="336" y="714"/>
                    </a:lnTo>
                    <a:lnTo>
                      <a:pt x="330" y="714"/>
                    </a:lnTo>
                    <a:lnTo>
                      <a:pt x="324" y="714"/>
                    </a:lnTo>
                    <a:lnTo>
                      <a:pt x="324" y="708"/>
                    </a:lnTo>
                    <a:lnTo>
                      <a:pt x="318" y="708"/>
                    </a:lnTo>
                    <a:lnTo>
                      <a:pt x="318" y="702"/>
                    </a:lnTo>
                    <a:lnTo>
                      <a:pt x="312" y="702"/>
                    </a:lnTo>
                    <a:lnTo>
                      <a:pt x="312" y="696"/>
                    </a:lnTo>
                    <a:lnTo>
                      <a:pt x="312" y="690"/>
                    </a:lnTo>
                    <a:lnTo>
                      <a:pt x="318" y="690"/>
                    </a:lnTo>
                    <a:lnTo>
                      <a:pt x="312" y="684"/>
                    </a:lnTo>
                    <a:lnTo>
                      <a:pt x="312" y="678"/>
                    </a:lnTo>
                    <a:lnTo>
                      <a:pt x="306" y="678"/>
                    </a:lnTo>
                    <a:lnTo>
                      <a:pt x="300" y="678"/>
                    </a:lnTo>
                    <a:lnTo>
                      <a:pt x="306" y="672"/>
                    </a:lnTo>
                    <a:lnTo>
                      <a:pt x="300" y="672"/>
                    </a:lnTo>
                    <a:lnTo>
                      <a:pt x="300" y="666"/>
                    </a:lnTo>
                    <a:lnTo>
                      <a:pt x="294" y="666"/>
                    </a:lnTo>
                    <a:lnTo>
                      <a:pt x="294" y="672"/>
                    </a:lnTo>
                    <a:lnTo>
                      <a:pt x="294" y="666"/>
                    </a:lnTo>
                    <a:lnTo>
                      <a:pt x="288" y="666"/>
                    </a:lnTo>
                    <a:lnTo>
                      <a:pt x="288" y="672"/>
                    </a:lnTo>
                    <a:lnTo>
                      <a:pt x="288" y="666"/>
                    </a:lnTo>
                    <a:lnTo>
                      <a:pt x="288" y="672"/>
                    </a:lnTo>
                    <a:lnTo>
                      <a:pt x="288" y="678"/>
                    </a:lnTo>
                    <a:lnTo>
                      <a:pt x="282" y="672"/>
                    </a:lnTo>
                    <a:lnTo>
                      <a:pt x="282" y="678"/>
                    </a:lnTo>
                    <a:lnTo>
                      <a:pt x="282" y="684"/>
                    </a:lnTo>
                    <a:lnTo>
                      <a:pt x="282" y="678"/>
                    </a:lnTo>
                    <a:lnTo>
                      <a:pt x="282" y="684"/>
                    </a:lnTo>
                    <a:lnTo>
                      <a:pt x="276" y="684"/>
                    </a:lnTo>
                    <a:lnTo>
                      <a:pt x="282" y="684"/>
                    </a:lnTo>
                    <a:lnTo>
                      <a:pt x="282" y="690"/>
                    </a:lnTo>
                    <a:lnTo>
                      <a:pt x="276" y="696"/>
                    </a:lnTo>
                    <a:lnTo>
                      <a:pt x="270" y="696"/>
                    </a:lnTo>
                    <a:lnTo>
                      <a:pt x="270" y="702"/>
                    </a:lnTo>
                    <a:lnTo>
                      <a:pt x="264" y="702"/>
                    </a:lnTo>
                    <a:lnTo>
                      <a:pt x="258" y="702"/>
                    </a:lnTo>
                    <a:lnTo>
                      <a:pt x="252" y="696"/>
                    </a:lnTo>
                    <a:lnTo>
                      <a:pt x="246" y="690"/>
                    </a:lnTo>
                    <a:lnTo>
                      <a:pt x="240" y="684"/>
                    </a:lnTo>
                    <a:lnTo>
                      <a:pt x="240" y="678"/>
                    </a:lnTo>
                    <a:lnTo>
                      <a:pt x="234" y="678"/>
                    </a:lnTo>
                    <a:lnTo>
                      <a:pt x="234" y="672"/>
                    </a:lnTo>
                    <a:lnTo>
                      <a:pt x="228" y="672"/>
                    </a:lnTo>
                    <a:lnTo>
                      <a:pt x="228" y="666"/>
                    </a:lnTo>
                    <a:lnTo>
                      <a:pt x="222" y="666"/>
                    </a:lnTo>
                    <a:lnTo>
                      <a:pt x="222" y="660"/>
                    </a:lnTo>
                    <a:lnTo>
                      <a:pt x="216" y="660"/>
                    </a:lnTo>
                    <a:lnTo>
                      <a:pt x="216" y="654"/>
                    </a:lnTo>
                    <a:lnTo>
                      <a:pt x="216" y="648"/>
                    </a:lnTo>
                    <a:lnTo>
                      <a:pt x="210" y="648"/>
                    </a:lnTo>
                    <a:lnTo>
                      <a:pt x="210" y="642"/>
                    </a:lnTo>
                    <a:lnTo>
                      <a:pt x="210" y="636"/>
                    </a:lnTo>
                    <a:lnTo>
                      <a:pt x="204" y="636"/>
                    </a:lnTo>
                    <a:lnTo>
                      <a:pt x="204" y="630"/>
                    </a:lnTo>
                    <a:lnTo>
                      <a:pt x="204" y="624"/>
                    </a:lnTo>
                    <a:lnTo>
                      <a:pt x="198" y="624"/>
                    </a:lnTo>
                    <a:lnTo>
                      <a:pt x="198" y="618"/>
                    </a:lnTo>
                    <a:lnTo>
                      <a:pt x="198" y="612"/>
                    </a:lnTo>
                    <a:lnTo>
                      <a:pt x="198" y="606"/>
                    </a:lnTo>
                    <a:lnTo>
                      <a:pt x="192" y="606"/>
                    </a:lnTo>
                    <a:lnTo>
                      <a:pt x="192" y="600"/>
                    </a:lnTo>
                    <a:lnTo>
                      <a:pt x="192" y="594"/>
                    </a:lnTo>
                    <a:lnTo>
                      <a:pt x="192" y="600"/>
                    </a:lnTo>
                    <a:lnTo>
                      <a:pt x="192" y="594"/>
                    </a:lnTo>
                    <a:lnTo>
                      <a:pt x="186" y="588"/>
                    </a:lnTo>
                    <a:lnTo>
                      <a:pt x="186" y="582"/>
                    </a:lnTo>
                    <a:lnTo>
                      <a:pt x="186" y="576"/>
                    </a:lnTo>
                    <a:lnTo>
                      <a:pt x="186" y="582"/>
                    </a:lnTo>
                    <a:lnTo>
                      <a:pt x="186" y="576"/>
                    </a:lnTo>
                    <a:lnTo>
                      <a:pt x="186" y="582"/>
                    </a:lnTo>
                    <a:lnTo>
                      <a:pt x="192" y="582"/>
                    </a:lnTo>
                    <a:lnTo>
                      <a:pt x="192" y="576"/>
                    </a:lnTo>
                    <a:lnTo>
                      <a:pt x="192" y="570"/>
                    </a:lnTo>
                    <a:lnTo>
                      <a:pt x="186" y="570"/>
                    </a:lnTo>
                    <a:lnTo>
                      <a:pt x="186" y="564"/>
                    </a:lnTo>
                    <a:lnTo>
                      <a:pt x="180" y="564"/>
                    </a:lnTo>
                    <a:lnTo>
                      <a:pt x="180" y="558"/>
                    </a:lnTo>
                    <a:lnTo>
                      <a:pt x="180" y="552"/>
                    </a:lnTo>
                    <a:lnTo>
                      <a:pt x="180" y="546"/>
                    </a:lnTo>
                    <a:lnTo>
                      <a:pt x="180" y="540"/>
                    </a:lnTo>
                    <a:lnTo>
                      <a:pt x="174" y="534"/>
                    </a:lnTo>
                    <a:lnTo>
                      <a:pt x="174" y="528"/>
                    </a:lnTo>
                    <a:lnTo>
                      <a:pt x="174" y="522"/>
                    </a:lnTo>
                    <a:lnTo>
                      <a:pt x="174" y="516"/>
                    </a:lnTo>
                    <a:lnTo>
                      <a:pt x="174" y="510"/>
                    </a:lnTo>
                    <a:lnTo>
                      <a:pt x="174" y="504"/>
                    </a:lnTo>
                    <a:lnTo>
                      <a:pt x="168" y="498"/>
                    </a:lnTo>
                    <a:lnTo>
                      <a:pt x="168" y="492"/>
                    </a:lnTo>
                    <a:lnTo>
                      <a:pt x="174" y="492"/>
                    </a:lnTo>
                    <a:lnTo>
                      <a:pt x="174" y="486"/>
                    </a:lnTo>
                    <a:lnTo>
                      <a:pt x="174" y="480"/>
                    </a:lnTo>
                    <a:lnTo>
                      <a:pt x="174" y="474"/>
                    </a:lnTo>
                    <a:lnTo>
                      <a:pt x="168" y="474"/>
                    </a:lnTo>
                    <a:lnTo>
                      <a:pt x="168" y="468"/>
                    </a:lnTo>
                    <a:lnTo>
                      <a:pt x="168" y="462"/>
                    </a:lnTo>
                    <a:lnTo>
                      <a:pt x="162" y="456"/>
                    </a:lnTo>
                    <a:lnTo>
                      <a:pt x="162" y="450"/>
                    </a:lnTo>
                    <a:lnTo>
                      <a:pt x="156" y="450"/>
                    </a:lnTo>
                    <a:lnTo>
                      <a:pt x="162" y="450"/>
                    </a:lnTo>
                    <a:lnTo>
                      <a:pt x="162" y="444"/>
                    </a:lnTo>
                    <a:lnTo>
                      <a:pt x="156" y="438"/>
                    </a:lnTo>
                    <a:lnTo>
                      <a:pt x="156" y="432"/>
                    </a:lnTo>
                    <a:lnTo>
                      <a:pt x="156" y="426"/>
                    </a:lnTo>
                    <a:lnTo>
                      <a:pt x="150" y="426"/>
                    </a:lnTo>
                    <a:lnTo>
                      <a:pt x="150" y="420"/>
                    </a:lnTo>
                    <a:lnTo>
                      <a:pt x="150" y="414"/>
                    </a:lnTo>
                    <a:lnTo>
                      <a:pt x="156" y="414"/>
                    </a:lnTo>
                    <a:lnTo>
                      <a:pt x="156" y="408"/>
                    </a:lnTo>
                    <a:lnTo>
                      <a:pt x="156" y="402"/>
                    </a:lnTo>
                    <a:lnTo>
                      <a:pt x="156" y="396"/>
                    </a:lnTo>
                    <a:lnTo>
                      <a:pt x="150" y="390"/>
                    </a:lnTo>
                    <a:lnTo>
                      <a:pt x="150" y="384"/>
                    </a:lnTo>
                    <a:lnTo>
                      <a:pt x="150" y="378"/>
                    </a:lnTo>
                    <a:lnTo>
                      <a:pt x="156" y="378"/>
                    </a:lnTo>
                    <a:lnTo>
                      <a:pt x="156" y="372"/>
                    </a:lnTo>
                    <a:lnTo>
                      <a:pt x="156" y="378"/>
                    </a:lnTo>
                    <a:lnTo>
                      <a:pt x="150" y="378"/>
                    </a:lnTo>
                    <a:lnTo>
                      <a:pt x="156" y="378"/>
                    </a:lnTo>
                    <a:lnTo>
                      <a:pt x="156" y="372"/>
                    </a:lnTo>
                    <a:lnTo>
                      <a:pt x="150" y="372"/>
                    </a:lnTo>
                    <a:lnTo>
                      <a:pt x="150" y="366"/>
                    </a:lnTo>
                    <a:lnTo>
                      <a:pt x="150" y="360"/>
                    </a:lnTo>
                    <a:lnTo>
                      <a:pt x="150" y="354"/>
                    </a:lnTo>
                    <a:lnTo>
                      <a:pt x="150" y="348"/>
                    </a:lnTo>
                    <a:lnTo>
                      <a:pt x="150" y="354"/>
                    </a:lnTo>
                    <a:lnTo>
                      <a:pt x="156" y="354"/>
                    </a:lnTo>
                    <a:lnTo>
                      <a:pt x="156" y="348"/>
                    </a:lnTo>
                    <a:lnTo>
                      <a:pt x="156" y="342"/>
                    </a:lnTo>
                    <a:lnTo>
                      <a:pt x="156" y="336"/>
                    </a:lnTo>
                    <a:lnTo>
                      <a:pt x="156" y="330"/>
                    </a:lnTo>
                    <a:lnTo>
                      <a:pt x="150" y="324"/>
                    </a:lnTo>
                    <a:lnTo>
                      <a:pt x="150" y="318"/>
                    </a:lnTo>
                    <a:lnTo>
                      <a:pt x="150" y="312"/>
                    </a:lnTo>
                    <a:lnTo>
                      <a:pt x="144" y="312"/>
                    </a:lnTo>
                    <a:lnTo>
                      <a:pt x="144" y="306"/>
                    </a:lnTo>
                    <a:lnTo>
                      <a:pt x="144" y="300"/>
                    </a:lnTo>
                    <a:lnTo>
                      <a:pt x="138" y="300"/>
                    </a:lnTo>
                    <a:lnTo>
                      <a:pt x="138" y="294"/>
                    </a:lnTo>
                    <a:lnTo>
                      <a:pt x="132" y="294"/>
                    </a:lnTo>
                    <a:lnTo>
                      <a:pt x="132" y="288"/>
                    </a:lnTo>
                    <a:lnTo>
                      <a:pt x="126" y="288"/>
                    </a:lnTo>
                    <a:lnTo>
                      <a:pt x="126" y="282"/>
                    </a:lnTo>
                    <a:lnTo>
                      <a:pt x="126" y="276"/>
                    </a:lnTo>
                    <a:lnTo>
                      <a:pt x="120" y="276"/>
                    </a:lnTo>
                    <a:lnTo>
                      <a:pt x="120" y="270"/>
                    </a:lnTo>
                    <a:lnTo>
                      <a:pt x="120" y="264"/>
                    </a:lnTo>
                    <a:lnTo>
                      <a:pt x="114" y="264"/>
                    </a:lnTo>
                    <a:lnTo>
                      <a:pt x="114" y="258"/>
                    </a:lnTo>
                    <a:lnTo>
                      <a:pt x="108" y="258"/>
                    </a:lnTo>
                    <a:lnTo>
                      <a:pt x="108" y="252"/>
                    </a:lnTo>
                    <a:lnTo>
                      <a:pt x="108" y="246"/>
                    </a:lnTo>
                    <a:lnTo>
                      <a:pt x="102" y="246"/>
                    </a:lnTo>
                    <a:lnTo>
                      <a:pt x="102" y="240"/>
                    </a:lnTo>
                    <a:lnTo>
                      <a:pt x="102" y="234"/>
                    </a:lnTo>
                    <a:lnTo>
                      <a:pt x="96" y="234"/>
                    </a:lnTo>
                    <a:lnTo>
                      <a:pt x="96" y="228"/>
                    </a:lnTo>
                    <a:lnTo>
                      <a:pt x="90" y="228"/>
                    </a:lnTo>
                    <a:lnTo>
                      <a:pt x="90" y="222"/>
                    </a:lnTo>
                    <a:lnTo>
                      <a:pt x="90" y="216"/>
                    </a:lnTo>
                    <a:lnTo>
                      <a:pt x="90" y="210"/>
                    </a:lnTo>
                    <a:lnTo>
                      <a:pt x="84" y="210"/>
                    </a:lnTo>
                    <a:lnTo>
                      <a:pt x="84" y="204"/>
                    </a:lnTo>
                    <a:lnTo>
                      <a:pt x="84" y="198"/>
                    </a:lnTo>
                    <a:lnTo>
                      <a:pt x="84" y="192"/>
                    </a:lnTo>
                    <a:lnTo>
                      <a:pt x="78" y="192"/>
                    </a:lnTo>
                    <a:lnTo>
                      <a:pt x="78" y="186"/>
                    </a:lnTo>
                    <a:lnTo>
                      <a:pt x="72" y="186"/>
                    </a:lnTo>
                    <a:lnTo>
                      <a:pt x="72" y="180"/>
                    </a:lnTo>
                    <a:lnTo>
                      <a:pt x="72" y="174"/>
                    </a:lnTo>
                    <a:lnTo>
                      <a:pt x="66" y="168"/>
                    </a:lnTo>
                    <a:lnTo>
                      <a:pt x="66" y="162"/>
                    </a:lnTo>
                    <a:lnTo>
                      <a:pt x="60" y="156"/>
                    </a:lnTo>
                    <a:lnTo>
                      <a:pt x="60" y="150"/>
                    </a:lnTo>
                    <a:lnTo>
                      <a:pt x="60" y="144"/>
                    </a:lnTo>
                    <a:lnTo>
                      <a:pt x="54" y="144"/>
                    </a:lnTo>
                    <a:lnTo>
                      <a:pt x="54" y="138"/>
                    </a:lnTo>
                    <a:lnTo>
                      <a:pt x="54" y="132"/>
                    </a:lnTo>
                    <a:lnTo>
                      <a:pt x="48" y="132"/>
                    </a:lnTo>
                    <a:lnTo>
                      <a:pt x="48" y="126"/>
                    </a:lnTo>
                    <a:lnTo>
                      <a:pt x="48" y="120"/>
                    </a:lnTo>
                    <a:lnTo>
                      <a:pt x="42" y="120"/>
                    </a:lnTo>
                    <a:lnTo>
                      <a:pt x="42" y="114"/>
                    </a:lnTo>
                    <a:lnTo>
                      <a:pt x="36" y="108"/>
                    </a:lnTo>
                    <a:lnTo>
                      <a:pt x="36" y="102"/>
                    </a:lnTo>
                    <a:lnTo>
                      <a:pt x="30" y="102"/>
                    </a:lnTo>
                    <a:lnTo>
                      <a:pt x="30" y="96"/>
                    </a:lnTo>
                    <a:lnTo>
                      <a:pt x="24" y="96"/>
                    </a:lnTo>
                    <a:lnTo>
                      <a:pt x="24" y="90"/>
                    </a:lnTo>
                    <a:lnTo>
                      <a:pt x="18" y="90"/>
                    </a:lnTo>
                    <a:lnTo>
                      <a:pt x="18" y="84"/>
                    </a:lnTo>
                    <a:lnTo>
                      <a:pt x="12" y="84"/>
                    </a:lnTo>
                    <a:lnTo>
                      <a:pt x="12" y="78"/>
                    </a:lnTo>
                    <a:lnTo>
                      <a:pt x="12" y="72"/>
                    </a:lnTo>
                    <a:lnTo>
                      <a:pt x="6" y="66"/>
                    </a:lnTo>
                    <a:lnTo>
                      <a:pt x="6" y="60"/>
                    </a:lnTo>
                    <a:lnTo>
                      <a:pt x="0" y="54"/>
                    </a:lnTo>
                    <a:lnTo>
                      <a:pt x="0" y="48"/>
                    </a:lnTo>
                    <a:lnTo>
                      <a:pt x="0" y="42"/>
                    </a:lnTo>
                    <a:lnTo>
                      <a:pt x="0" y="36"/>
                    </a:lnTo>
                    <a:lnTo>
                      <a:pt x="0" y="30"/>
                    </a:lnTo>
                    <a:lnTo>
                      <a:pt x="0" y="24"/>
                    </a:lnTo>
                    <a:lnTo>
                      <a:pt x="0" y="18"/>
                    </a:lnTo>
                    <a:lnTo>
                      <a:pt x="0" y="12"/>
                    </a:lnTo>
                    <a:lnTo>
                      <a:pt x="0" y="18"/>
                    </a:lnTo>
                    <a:lnTo>
                      <a:pt x="6" y="18"/>
                    </a:lnTo>
                    <a:lnTo>
                      <a:pt x="6" y="12"/>
                    </a:lnTo>
                    <a:lnTo>
                      <a:pt x="12" y="12"/>
                    </a:lnTo>
                    <a:lnTo>
                      <a:pt x="18" y="12"/>
                    </a:lnTo>
                    <a:lnTo>
                      <a:pt x="18" y="6"/>
                    </a:lnTo>
                    <a:lnTo>
                      <a:pt x="18" y="12"/>
                    </a:lnTo>
                    <a:lnTo>
                      <a:pt x="18" y="6"/>
                    </a:lnTo>
                    <a:lnTo>
                      <a:pt x="18" y="12"/>
                    </a:lnTo>
                    <a:lnTo>
                      <a:pt x="24" y="12"/>
                    </a:lnTo>
                    <a:lnTo>
                      <a:pt x="30" y="12"/>
                    </a:lnTo>
                    <a:lnTo>
                      <a:pt x="36" y="12"/>
                    </a:lnTo>
                    <a:lnTo>
                      <a:pt x="36" y="18"/>
                    </a:lnTo>
                    <a:lnTo>
                      <a:pt x="42" y="18"/>
                    </a:lnTo>
                    <a:lnTo>
                      <a:pt x="42" y="12"/>
                    </a:lnTo>
                    <a:lnTo>
                      <a:pt x="48" y="12"/>
                    </a:lnTo>
                    <a:lnTo>
                      <a:pt x="54" y="12"/>
                    </a:lnTo>
                    <a:lnTo>
                      <a:pt x="54" y="6"/>
                    </a:lnTo>
                    <a:lnTo>
                      <a:pt x="60" y="6"/>
                    </a:lnTo>
                    <a:lnTo>
                      <a:pt x="66" y="0"/>
                    </a:lnTo>
                    <a:lnTo>
                      <a:pt x="72" y="0"/>
                    </a:lnTo>
                    <a:lnTo>
                      <a:pt x="78" y="0"/>
                    </a:lnTo>
                    <a:lnTo>
                      <a:pt x="84" y="0"/>
                    </a:lnTo>
                    <a:lnTo>
                      <a:pt x="90" y="0"/>
                    </a:lnTo>
                    <a:lnTo>
                      <a:pt x="96" y="0"/>
                    </a:lnTo>
                    <a:lnTo>
                      <a:pt x="96" y="6"/>
                    </a:lnTo>
                    <a:lnTo>
                      <a:pt x="102" y="6"/>
                    </a:lnTo>
                    <a:lnTo>
                      <a:pt x="96" y="6"/>
                    </a:lnTo>
                    <a:lnTo>
                      <a:pt x="102" y="6"/>
                    </a:lnTo>
                    <a:lnTo>
                      <a:pt x="102" y="12"/>
                    </a:lnTo>
                    <a:lnTo>
                      <a:pt x="108" y="12"/>
                    </a:lnTo>
                    <a:lnTo>
                      <a:pt x="108" y="18"/>
                    </a:lnTo>
                    <a:lnTo>
                      <a:pt x="114" y="18"/>
                    </a:lnTo>
                    <a:lnTo>
                      <a:pt x="120" y="18"/>
                    </a:lnTo>
                    <a:lnTo>
                      <a:pt x="120" y="24"/>
                    </a:lnTo>
                    <a:lnTo>
                      <a:pt x="126" y="24"/>
                    </a:lnTo>
                    <a:lnTo>
                      <a:pt x="132" y="24"/>
                    </a:lnTo>
                    <a:lnTo>
                      <a:pt x="138" y="24"/>
                    </a:lnTo>
                    <a:lnTo>
                      <a:pt x="144" y="24"/>
                    </a:lnTo>
                    <a:lnTo>
                      <a:pt x="162" y="24"/>
                    </a:lnTo>
                    <a:lnTo>
                      <a:pt x="180" y="24"/>
                    </a:lnTo>
                    <a:lnTo>
                      <a:pt x="192" y="24"/>
                    </a:lnTo>
                    <a:lnTo>
                      <a:pt x="204" y="24"/>
                    </a:lnTo>
                    <a:lnTo>
                      <a:pt x="294" y="24"/>
                    </a:lnTo>
                    <a:lnTo>
                      <a:pt x="300" y="24"/>
                    </a:lnTo>
                    <a:lnTo>
                      <a:pt x="306" y="24"/>
                    </a:lnTo>
                    <a:lnTo>
                      <a:pt x="312" y="24"/>
                    </a:lnTo>
                    <a:lnTo>
                      <a:pt x="318" y="24"/>
                    </a:lnTo>
                    <a:lnTo>
                      <a:pt x="324" y="24"/>
                    </a:lnTo>
                    <a:lnTo>
                      <a:pt x="330" y="24"/>
                    </a:lnTo>
                    <a:lnTo>
                      <a:pt x="336" y="24"/>
                    </a:lnTo>
                    <a:lnTo>
                      <a:pt x="342" y="24"/>
                    </a:lnTo>
                    <a:lnTo>
                      <a:pt x="348" y="24"/>
                    </a:lnTo>
                    <a:lnTo>
                      <a:pt x="354" y="24"/>
                    </a:lnTo>
                    <a:lnTo>
                      <a:pt x="360" y="24"/>
                    </a:lnTo>
                    <a:lnTo>
                      <a:pt x="366" y="24"/>
                    </a:lnTo>
                    <a:lnTo>
                      <a:pt x="372" y="24"/>
                    </a:lnTo>
                    <a:lnTo>
                      <a:pt x="372" y="30"/>
                    </a:lnTo>
                    <a:lnTo>
                      <a:pt x="378" y="30"/>
                    </a:lnTo>
                    <a:lnTo>
                      <a:pt x="378" y="36"/>
                    </a:lnTo>
                    <a:lnTo>
                      <a:pt x="384" y="36"/>
                    </a:lnTo>
                    <a:lnTo>
                      <a:pt x="384" y="42"/>
                    </a:lnTo>
                    <a:lnTo>
                      <a:pt x="390" y="42"/>
                    </a:lnTo>
                    <a:lnTo>
                      <a:pt x="390" y="48"/>
                    </a:lnTo>
                    <a:lnTo>
                      <a:pt x="396" y="48"/>
                    </a:lnTo>
                    <a:lnTo>
                      <a:pt x="402" y="48"/>
                    </a:lnTo>
                    <a:lnTo>
                      <a:pt x="408" y="48"/>
                    </a:lnTo>
                    <a:lnTo>
                      <a:pt x="414" y="48"/>
                    </a:lnTo>
                    <a:lnTo>
                      <a:pt x="420" y="48"/>
                    </a:lnTo>
                    <a:lnTo>
                      <a:pt x="426" y="48"/>
                    </a:lnTo>
                    <a:lnTo>
                      <a:pt x="432" y="48"/>
                    </a:lnTo>
                    <a:lnTo>
                      <a:pt x="438" y="48"/>
                    </a:lnTo>
                    <a:lnTo>
                      <a:pt x="444" y="48"/>
                    </a:lnTo>
                    <a:lnTo>
                      <a:pt x="444" y="54"/>
                    </a:lnTo>
                    <a:lnTo>
                      <a:pt x="450" y="54"/>
                    </a:lnTo>
                    <a:lnTo>
                      <a:pt x="456" y="54"/>
                    </a:lnTo>
                    <a:lnTo>
                      <a:pt x="456" y="48"/>
                    </a:lnTo>
                    <a:lnTo>
                      <a:pt x="456" y="54"/>
                    </a:lnTo>
                    <a:lnTo>
                      <a:pt x="462" y="54"/>
                    </a:lnTo>
                    <a:lnTo>
                      <a:pt x="468" y="54"/>
                    </a:lnTo>
                    <a:lnTo>
                      <a:pt x="474" y="54"/>
                    </a:lnTo>
                    <a:lnTo>
                      <a:pt x="474" y="48"/>
                    </a:lnTo>
                    <a:lnTo>
                      <a:pt x="474" y="54"/>
                    </a:lnTo>
                    <a:lnTo>
                      <a:pt x="474" y="48"/>
                    </a:lnTo>
                    <a:lnTo>
                      <a:pt x="480" y="48"/>
                    </a:lnTo>
                    <a:lnTo>
                      <a:pt x="480" y="54"/>
                    </a:lnTo>
                    <a:lnTo>
                      <a:pt x="486" y="54"/>
                    </a:lnTo>
                    <a:lnTo>
                      <a:pt x="492" y="60"/>
                    </a:lnTo>
                    <a:lnTo>
                      <a:pt x="492" y="54"/>
                    </a:lnTo>
                    <a:lnTo>
                      <a:pt x="492" y="60"/>
                    </a:lnTo>
                    <a:lnTo>
                      <a:pt x="492" y="54"/>
                    </a:lnTo>
                    <a:lnTo>
                      <a:pt x="492" y="60"/>
                    </a:lnTo>
                    <a:lnTo>
                      <a:pt x="498" y="60"/>
                    </a:lnTo>
                    <a:lnTo>
                      <a:pt x="504" y="60"/>
                    </a:lnTo>
                    <a:lnTo>
                      <a:pt x="510" y="60"/>
                    </a:lnTo>
                    <a:lnTo>
                      <a:pt x="510" y="54"/>
                    </a:lnTo>
                    <a:lnTo>
                      <a:pt x="516" y="54"/>
                    </a:lnTo>
                    <a:lnTo>
                      <a:pt x="522" y="54"/>
                    </a:lnTo>
                    <a:lnTo>
                      <a:pt x="528" y="54"/>
                    </a:lnTo>
                    <a:lnTo>
                      <a:pt x="534" y="54"/>
                    </a:lnTo>
                    <a:lnTo>
                      <a:pt x="534" y="60"/>
                    </a:lnTo>
                    <a:lnTo>
                      <a:pt x="540" y="60"/>
                    </a:lnTo>
                    <a:lnTo>
                      <a:pt x="558" y="54"/>
                    </a:lnTo>
                    <a:lnTo>
                      <a:pt x="624" y="42"/>
                    </a:lnTo>
                    <a:lnTo>
                      <a:pt x="642" y="36"/>
                    </a:lnTo>
                    <a:lnTo>
                      <a:pt x="648" y="36"/>
                    </a:lnTo>
                    <a:lnTo>
                      <a:pt x="654" y="36"/>
                    </a:lnTo>
                    <a:lnTo>
                      <a:pt x="696" y="30"/>
                    </a:lnTo>
                    <a:lnTo>
                      <a:pt x="702" y="30"/>
                    </a:lnTo>
                    <a:lnTo>
                      <a:pt x="708" y="30"/>
                    </a:lnTo>
                    <a:lnTo>
                      <a:pt x="714" y="30"/>
                    </a:lnTo>
                    <a:lnTo>
                      <a:pt x="720" y="30"/>
                    </a:lnTo>
                    <a:lnTo>
                      <a:pt x="726" y="30"/>
                    </a:lnTo>
                    <a:lnTo>
                      <a:pt x="732" y="30"/>
                    </a:lnTo>
                    <a:lnTo>
                      <a:pt x="738" y="36"/>
                    </a:lnTo>
                    <a:lnTo>
                      <a:pt x="738" y="30"/>
                    </a:lnTo>
                    <a:lnTo>
                      <a:pt x="738" y="36"/>
                    </a:lnTo>
                    <a:lnTo>
                      <a:pt x="744" y="36"/>
                    </a:lnTo>
                    <a:lnTo>
                      <a:pt x="744" y="42"/>
                    </a:lnTo>
                    <a:lnTo>
                      <a:pt x="750" y="42"/>
                    </a:lnTo>
                    <a:lnTo>
                      <a:pt x="750" y="48"/>
                    </a:lnTo>
                    <a:lnTo>
                      <a:pt x="750" y="42"/>
                    </a:lnTo>
                    <a:lnTo>
                      <a:pt x="750" y="48"/>
                    </a:lnTo>
                    <a:lnTo>
                      <a:pt x="744" y="48"/>
                    </a:lnTo>
                    <a:lnTo>
                      <a:pt x="738" y="48"/>
                    </a:lnTo>
                    <a:lnTo>
                      <a:pt x="744" y="48"/>
                    </a:lnTo>
                    <a:lnTo>
                      <a:pt x="738" y="48"/>
                    </a:lnTo>
                    <a:lnTo>
                      <a:pt x="732" y="48"/>
                    </a:lnTo>
                    <a:lnTo>
                      <a:pt x="726" y="48"/>
                    </a:lnTo>
                    <a:lnTo>
                      <a:pt x="726" y="54"/>
                    </a:lnTo>
                    <a:lnTo>
                      <a:pt x="726" y="48"/>
                    </a:lnTo>
                    <a:lnTo>
                      <a:pt x="726" y="54"/>
                    </a:lnTo>
                    <a:lnTo>
                      <a:pt x="720" y="54"/>
                    </a:lnTo>
                    <a:lnTo>
                      <a:pt x="726" y="54"/>
                    </a:lnTo>
                    <a:lnTo>
                      <a:pt x="720" y="54"/>
                    </a:lnTo>
                    <a:lnTo>
                      <a:pt x="720" y="60"/>
                    </a:lnTo>
                    <a:lnTo>
                      <a:pt x="714" y="60"/>
                    </a:lnTo>
                    <a:lnTo>
                      <a:pt x="708" y="60"/>
                    </a:lnTo>
                    <a:lnTo>
                      <a:pt x="708" y="54"/>
                    </a:lnTo>
                    <a:lnTo>
                      <a:pt x="702" y="54"/>
                    </a:lnTo>
                    <a:lnTo>
                      <a:pt x="702" y="60"/>
                    </a:lnTo>
                    <a:lnTo>
                      <a:pt x="696" y="60"/>
                    </a:lnTo>
                    <a:lnTo>
                      <a:pt x="690" y="60"/>
                    </a:lnTo>
                    <a:lnTo>
                      <a:pt x="690" y="66"/>
                    </a:lnTo>
                    <a:lnTo>
                      <a:pt x="684" y="66"/>
                    </a:lnTo>
                    <a:lnTo>
                      <a:pt x="684" y="72"/>
                    </a:lnTo>
                    <a:lnTo>
                      <a:pt x="678" y="72"/>
                    </a:lnTo>
                    <a:lnTo>
                      <a:pt x="678" y="78"/>
                    </a:lnTo>
                    <a:lnTo>
                      <a:pt x="672" y="78"/>
                    </a:lnTo>
                    <a:lnTo>
                      <a:pt x="672" y="84"/>
                    </a:lnTo>
                    <a:lnTo>
                      <a:pt x="666" y="84"/>
                    </a:lnTo>
                    <a:lnTo>
                      <a:pt x="660" y="90"/>
                    </a:lnTo>
                    <a:lnTo>
                      <a:pt x="660" y="84"/>
                    </a:lnTo>
                    <a:lnTo>
                      <a:pt x="660" y="78"/>
                    </a:lnTo>
                    <a:lnTo>
                      <a:pt x="654" y="78"/>
                    </a:lnTo>
                    <a:lnTo>
                      <a:pt x="654" y="72"/>
                    </a:lnTo>
                    <a:lnTo>
                      <a:pt x="648" y="72"/>
                    </a:lnTo>
                    <a:lnTo>
                      <a:pt x="648" y="66"/>
                    </a:lnTo>
                    <a:lnTo>
                      <a:pt x="642" y="60"/>
                    </a:lnTo>
                    <a:lnTo>
                      <a:pt x="648" y="60"/>
                    </a:lnTo>
                    <a:lnTo>
                      <a:pt x="642" y="60"/>
                    </a:lnTo>
                    <a:lnTo>
                      <a:pt x="636" y="60"/>
                    </a:lnTo>
                    <a:lnTo>
                      <a:pt x="630" y="60"/>
                    </a:lnTo>
                    <a:lnTo>
                      <a:pt x="624" y="60"/>
                    </a:lnTo>
                    <a:lnTo>
                      <a:pt x="540" y="78"/>
                    </a:lnTo>
                    <a:lnTo>
                      <a:pt x="516" y="78"/>
                    </a:lnTo>
                    <a:lnTo>
                      <a:pt x="516" y="126"/>
                    </a:lnTo>
                    <a:lnTo>
                      <a:pt x="516" y="174"/>
                    </a:lnTo>
                    <a:lnTo>
                      <a:pt x="516" y="234"/>
                    </a:lnTo>
                    <a:lnTo>
                      <a:pt x="516" y="294"/>
                    </a:lnTo>
                    <a:lnTo>
                      <a:pt x="462" y="294"/>
                    </a:lnTo>
                    <a:lnTo>
                      <a:pt x="462" y="300"/>
                    </a:lnTo>
                    <a:lnTo>
                      <a:pt x="462" y="306"/>
                    </a:lnTo>
                    <a:lnTo>
                      <a:pt x="462" y="312"/>
                    </a:lnTo>
                    <a:lnTo>
                      <a:pt x="462" y="318"/>
                    </a:lnTo>
                    <a:lnTo>
                      <a:pt x="462" y="324"/>
                    </a:lnTo>
                    <a:lnTo>
                      <a:pt x="462" y="330"/>
                    </a:lnTo>
                    <a:lnTo>
                      <a:pt x="462" y="336"/>
                    </a:lnTo>
                    <a:lnTo>
                      <a:pt x="462" y="342"/>
                    </a:lnTo>
                    <a:lnTo>
                      <a:pt x="462" y="348"/>
                    </a:lnTo>
                    <a:lnTo>
                      <a:pt x="462" y="354"/>
                    </a:lnTo>
                    <a:lnTo>
                      <a:pt x="462" y="360"/>
                    </a:lnTo>
                    <a:lnTo>
                      <a:pt x="462" y="366"/>
                    </a:lnTo>
                    <a:lnTo>
                      <a:pt x="462" y="372"/>
                    </a:lnTo>
                    <a:lnTo>
                      <a:pt x="462" y="378"/>
                    </a:lnTo>
                    <a:lnTo>
                      <a:pt x="462" y="384"/>
                    </a:lnTo>
                    <a:lnTo>
                      <a:pt x="462" y="390"/>
                    </a:lnTo>
                    <a:lnTo>
                      <a:pt x="462" y="396"/>
                    </a:lnTo>
                    <a:lnTo>
                      <a:pt x="462" y="402"/>
                    </a:lnTo>
                    <a:lnTo>
                      <a:pt x="462" y="408"/>
                    </a:lnTo>
                    <a:lnTo>
                      <a:pt x="462" y="414"/>
                    </a:lnTo>
                    <a:lnTo>
                      <a:pt x="462" y="420"/>
                    </a:lnTo>
                    <a:lnTo>
                      <a:pt x="462" y="426"/>
                    </a:lnTo>
                    <a:lnTo>
                      <a:pt x="462" y="432"/>
                    </a:lnTo>
                    <a:lnTo>
                      <a:pt x="462" y="438"/>
                    </a:lnTo>
                    <a:lnTo>
                      <a:pt x="462" y="444"/>
                    </a:lnTo>
                    <a:lnTo>
                      <a:pt x="462" y="450"/>
                    </a:lnTo>
                    <a:lnTo>
                      <a:pt x="462" y="456"/>
                    </a:lnTo>
                    <a:lnTo>
                      <a:pt x="462" y="462"/>
                    </a:lnTo>
                    <a:close/>
                    <a:moveTo>
                      <a:pt x="192" y="600"/>
                    </a:moveTo>
                    <a:lnTo>
                      <a:pt x="192" y="606"/>
                    </a:lnTo>
                    <a:lnTo>
                      <a:pt x="193" y="606"/>
                    </a:lnTo>
                    <a:lnTo>
                      <a:pt x="192" y="600"/>
                    </a:lnTo>
                    <a:close/>
                    <a:moveTo>
                      <a:pt x="180" y="558"/>
                    </a:moveTo>
                    <a:lnTo>
                      <a:pt x="180" y="564"/>
                    </a:lnTo>
                    <a:lnTo>
                      <a:pt x="181" y="564"/>
                    </a:lnTo>
                    <a:lnTo>
                      <a:pt x="180" y="558"/>
                    </a:lnTo>
                    <a:close/>
                    <a:moveTo>
                      <a:pt x="192" y="606"/>
                    </a:moveTo>
                    <a:lnTo>
                      <a:pt x="192" y="612"/>
                    </a:lnTo>
                    <a:lnTo>
                      <a:pt x="193" y="612"/>
                    </a:lnTo>
                    <a:lnTo>
                      <a:pt x="192" y="60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CA" sz="2000" dirty="0">
                  <a:solidFill>
                    <a:srgbClr val="000000"/>
                  </a:solidFill>
                </a:endParaRPr>
              </a:p>
            </p:txBody>
          </p:sp>
        </p:grpSp>
        <p:sp>
          <p:nvSpPr>
            <p:cNvPr id="198" name="Rectangle 3"/>
            <p:cNvSpPr txBox="1"/>
            <p:nvPr/>
          </p:nvSpPr>
          <p:spPr bwMode="gray">
            <a:xfrm>
              <a:off x="2952805" y="3099737"/>
              <a:ext cx="41678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Lagos</a:t>
              </a:r>
            </a:p>
          </p:txBody>
        </p:sp>
        <p:sp>
          <p:nvSpPr>
            <p:cNvPr id="199" name="Rectangle 3"/>
            <p:cNvSpPr txBox="1"/>
            <p:nvPr/>
          </p:nvSpPr>
          <p:spPr bwMode="gray">
            <a:xfrm>
              <a:off x="3180488" y="5682601"/>
              <a:ext cx="96981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Johannesburg</a:t>
              </a:r>
            </a:p>
          </p:txBody>
        </p:sp>
        <p:sp>
          <p:nvSpPr>
            <p:cNvPr id="200" name="Rectangle 3"/>
            <p:cNvSpPr txBox="1"/>
            <p:nvPr/>
          </p:nvSpPr>
          <p:spPr bwMode="gray">
            <a:xfrm>
              <a:off x="4765067" y="1638929"/>
              <a:ext cx="36548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Cairo</a:t>
              </a:r>
            </a:p>
          </p:txBody>
        </p:sp>
        <p:sp>
          <p:nvSpPr>
            <p:cNvPr id="201" name="Rectangle 3"/>
            <p:cNvSpPr txBox="1"/>
            <p:nvPr/>
          </p:nvSpPr>
          <p:spPr bwMode="gray">
            <a:xfrm>
              <a:off x="3034104" y="6003531"/>
              <a:ext cx="6892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buClr>
                  <a:srgbClr val="002960"/>
                </a:buClr>
              </a:pPr>
              <a:r>
                <a:rPr lang="en-US" sz="1200" dirty="0" smtClean="0">
                  <a:solidFill>
                    <a:srgbClr val="000000"/>
                  </a:solidFill>
                </a:rPr>
                <a:t>Capetown</a:t>
              </a:r>
              <a:endParaRPr lang="en-US" sz="1200" dirty="0">
                <a:solidFill>
                  <a:srgbClr val="000000"/>
                </a:solidFill>
              </a:endParaRPr>
            </a:p>
          </p:txBody>
        </p:sp>
        <p:sp>
          <p:nvSpPr>
            <p:cNvPr id="202" name="Rectangle 3"/>
            <p:cNvSpPr txBox="1"/>
            <p:nvPr/>
          </p:nvSpPr>
          <p:spPr bwMode="gray">
            <a:xfrm>
              <a:off x="3532081" y="421326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Luanda</a:t>
              </a:r>
              <a:endParaRPr lang="en-US" sz="1200" dirty="0">
                <a:solidFill>
                  <a:srgbClr val="000000"/>
                </a:solidFill>
              </a:endParaRPr>
            </a:p>
          </p:txBody>
        </p:sp>
        <p:sp>
          <p:nvSpPr>
            <p:cNvPr id="203" name="Rectangle 3"/>
            <p:cNvSpPr txBox="1"/>
            <p:nvPr/>
          </p:nvSpPr>
          <p:spPr bwMode="gray">
            <a:xfrm>
              <a:off x="3576425" y="5474885"/>
              <a:ext cx="53700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Pretoria</a:t>
              </a:r>
            </a:p>
          </p:txBody>
        </p:sp>
        <p:sp>
          <p:nvSpPr>
            <p:cNvPr id="204" name="Rectangle 3"/>
            <p:cNvSpPr txBox="1"/>
            <p:nvPr/>
          </p:nvSpPr>
          <p:spPr bwMode="gray">
            <a:xfrm>
              <a:off x="1058134" y="1296196"/>
              <a:ext cx="80791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buClr>
                  <a:srgbClr val="002960"/>
                </a:buClr>
              </a:pPr>
              <a:r>
                <a:rPr lang="en-US" sz="1200" dirty="0" smtClean="0">
                  <a:solidFill>
                    <a:srgbClr val="000000"/>
                  </a:solidFill>
                </a:rPr>
                <a:t>Casablanca</a:t>
              </a:r>
              <a:endParaRPr lang="en-US" sz="1200" dirty="0">
                <a:solidFill>
                  <a:srgbClr val="000000"/>
                </a:solidFill>
              </a:endParaRPr>
            </a:p>
          </p:txBody>
        </p:sp>
        <p:sp>
          <p:nvSpPr>
            <p:cNvPr id="205" name="Rectangle 3"/>
            <p:cNvSpPr txBox="1"/>
            <p:nvPr/>
          </p:nvSpPr>
          <p:spPr bwMode="gray">
            <a:xfrm>
              <a:off x="2632429" y="2765655"/>
              <a:ext cx="46807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Ibadan</a:t>
              </a:r>
            </a:p>
          </p:txBody>
        </p:sp>
        <p:sp>
          <p:nvSpPr>
            <p:cNvPr id="206" name="Rectangle 3"/>
            <p:cNvSpPr txBox="1"/>
            <p:nvPr/>
          </p:nvSpPr>
          <p:spPr bwMode="gray">
            <a:xfrm>
              <a:off x="4704699" y="1424086"/>
              <a:ext cx="7229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Alexandria</a:t>
              </a:r>
              <a:endParaRPr lang="en-US" sz="1200" dirty="0">
                <a:solidFill>
                  <a:srgbClr val="000000"/>
                </a:solidFill>
              </a:endParaRPr>
            </a:p>
          </p:txBody>
        </p:sp>
        <p:sp>
          <p:nvSpPr>
            <p:cNvPr id="207" name="Rectangle 3"/>
            <p:cNvSpPr txBox="1"/>
            <p:nvPr/>
          </p:nvSpPr>
          <p:spPr bwMode="gray">
            <a:xfrm>
              <a:off x="1757563" y="3389686"/>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Abidjan</a:t>
              </a:r>
              <a:endParaRPr lang="en-US" sz="1200" dirty="0">
                <a:solidFill>
                  <a:srgbClr val="000000"/>
                </a:solidFill>
              </a:endParaRPr>
            </a:p>
          </p:txBody>
        </p:sp>
        <p:sp>
          <p:nvSpPr>
            <p:cNvPr id="208" name="Rectangle 3"/>
            <p:cNvSpPr txBox="1"/>
            <p:nvPr/>
          </p:nvSpPr>
          <p:spPr bwMode="gray">
            <a:xfrm>
              <a:off x="5118084" y="3655425"/>
              <a:ext cx="48410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Nairobi</a:t>
              </a:r>
              <a:endParaRPr lang="en-US" sz="1200" dirty="0">
                <a:solidFill>
                  <a:srgbClr val="000000"/>
                </a:solidFill>
              </a:endParaRPr>
            </a:p>
          </p:txBody>
        </p:sp>
        <p:sp>
          <p:nvSpPr>
            <p:cNvPr id="209" name="Rectangle 3"/>
            <p:cNvSpPr txBox="1"/>
            <p:nvPr/>
          </p:nvSpPr>
          <p:spPr bwMode="gray">
            <a:xfrm>
              <a:off x="3090373" y="2936314"/>
              <a:ext cx="39113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Abuja</a:t>
              </a:r>
            </a:p>
          </p:txBody>
        </p:sp>
        <p:sp>
          <p:nvSpPr>
            <p:cNvPr id="210" name="Rectangle 3"/>
            <p:cNvSpPr txBox="1"/>
            <p:nvPr/>
          </p:nvSpPr>
          <p:spPr bwMode="gray">
            <a:xfrm>
              <a:off x="2382403" y="3293117"/>
              <a:ext cx="39273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Accra</a:t>
              </a:r>
              <a:endParaRPr lang="en-US" sz="1200" dirty="0">
                <a:solidFill>
                  <a:srgbClr val="000000"/>
                </a:solidFill>
              </a:endParaRPr>
            </a:p>
          </p:txBody>
        </p:sp>
        <p:sp>
          <p:nvSpPr>
            <p:cNvPr id="211" name="Rectangle 3"/>
            <p:cNvSpPr txBox="1"/>
            <p:nvPr/>
          </p:nvSpPr>
          <p:spPr bwMode="gray">
            <a:xfrm>
              <a:off x="2610231" y="3483440"/>
              <a:ext cx="588303"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US" sz="1200" dirty="0" smtClean="0">
                  <a:solidFill>
                    <a:srgbClr val="000000"/>
                  </a:solidFill>
                </a:rPr>
                <a:t>Poart</a:t>
              </a:r>
              <a:br>
                <a:rPr lang="en-US" sz="1200" dirty="0" smtClean="0">
                  <a:solidFill>
                    <a:srgbClr val="000000"/>
                  </a:solidFill>
                </a:rPr>
              </a:br>
              <a:r>
                <a:rPr lang="en-US" sz="1200" dirty="0" smtClean="0">
                  <a:solidFill>
                    <a:srgbClr val="000000"/>
                  </a:solidFill>
                </a:rPr>
                <a:t>Harcourt</a:t>
              </a:r>
              <a:endParaRPr lang="en-US" sz="1200" dirty="0">
                <a:solidFill>
                  <a:srgbClr val="000000"/>
                </a:solidFill>
              </a:endParaRPr>
            </a:p>
          </p:txBody>
        </p:sp>
        <p:sp>
          <p:nvSpPr>
            <p:cNvPr id="212" name="Rectangle 3"/>
            <p:cNvSpPr txBox="1"/>
            <p:nvPr/>
          </p:nvSpPr>
          <p:spPr bwMode="gray">
            <a:xfrm>
              <a:off x="2740645" y="1099090"/>
              <a:ext cx="36939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Tunis</a:t>
              </a:r>
              <a:endParaRPr lang="en-US" sz="1200" dirty="0">
                <a:solidFill>
                  <a:srgbClr val="000000"/>
                </a:solidFill>
              </a:endParaRPr>
            </a:p>
          </p:txBody>
        </p:sp>
        <p:sp>
          <p:nvSpPr>
            <p:cNvPr id="213" name="Rectangle 3"/>
            <p:cNvSpPr txBox="1"/>
            <p:nvPr/>
          </p:nvSpPr>
          <p:spPr bwMode="gray">
            <a:xfrm>
              <a:off x="4104877" y="2656448"/>
              <a:ext cx="66524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buClr>
                  <a:srgbClr val="002960"/>
                </a:buClr>
              </a:pPr>
              <a:r>
                <a:rPr lang="en-US" sz="1200" dirty="0" smtClean="0">
                  <a:solidFill>
                    <a:srgbClr val="000000"/>
                  </a:solidFill>
                </a:rPr>
                <a:t>Khartoum</a:t>
              </a:r>
              <a:endParaRPr lang="en-US" sz="1200" dirty="0">
                <a:solidFill>
                  <a:srgbClr val="000000"/>
                </a:solidFill>
              </a:endParaRPr>
            </a:p>
          </p:txBody>
        </p:sp>
        <p:sp>
          <p:nvSpPr>
            <p:cNvPr id="217" name="Oval 216"/>
            <p:cNvSpPr>
              <a:spLocks/>
            </p:cNvSpPr>
            <p:nvPr/>
          </p:nvSpPr>
          <p:spPr bwMode="gray">
            <a:xfrm>
              <a:off x="4567647" y="1623431"/>
              <a:ext cx="175024" cy="175024"/>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19" name="Oval 218"/>
            <p:cNvSpPr>
              <a:spLocks/>
            </p:cNvSpPr>
            <p:nvPr/>
          </p:nvSpPr>
          <p:spPr bwMode="gray">
            <a:xfrm>
              <a:off x="2722963" y="3142395"/>
              <a:ext cx="175024" cy="175024"/>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20" name="Oval 219"/>
            <p:cNvSpPr>
              <a:spLocks/>
            </p:cNvSpPr>
            <p:nvPr/>
          </p:nvSpPr>
          <p:spPr bwMode="gray">
            <a:xfrm>
              <a:off x="2836343" y="3074445"/>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21" name="Oval 220"/>
            <p:cNvSpPr>
              <a:spLocks/>
            </p:cNvSpPr>
            <p:nvPr/>
          </p:nvSpPr>
          <p:spPr bwMode="gray">
            <a:xfrm>
              <a:off x="2977871" y="2990321"/>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22" name="Oval 221"/>
            <p:cNvSpPr>
              <a:spLocks/>
            </p:cNvSpPr>
            <p:nvPr/>
          </p:nvSpPr>
          <p:spPr bwMode="gray">
            <a:xfrm>
              <a:off x="2977871" y="3304936"/>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cxnSp>
          <p:nvCxnSpPr>
            <p:cNvPr id="223" name="Straight Connector 222"/>
            <p:cNvCxnSpPr>
              <a:stCxn id="222" idx="4"/>
            </p:cNvCxnSpPr>
            <p:nvPr/>
          </p:nvCxnSpPr>
          <p:spPr bwMode="gray">
            <a:xfrm>
              <a:off x="3013973" y="3377140"/>
              <a:ext cx="2753" cy="14949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24" name="Oval 223"/>
            <p:cNvSpPr>
              <a:spLocks/>
            </p:cNvSpPr>
            <p:nvPr/>
          </p:nvSpPr>
          <p:spPr bwMode="gray">
            <a:xfrm>
              <a:off x="4182610" y="5691105"/>
              <a:ext cx="175024" cy="175024"/>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25" name="Oval 224"/>
            <p:cNvSpPr>
              <a:spLocks/>
            </p:cNvSpPr>
            <p:nvPr/>
          </p:nvSpPr>
          <p:spPr bwMode="gray">
            <a:xfrm>
              <a:off x="3746381" y="5988185"/>
              <a:ext cx="175024" cy="175024"/>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28" name="Oval 227"/>
            <p:cNvSpPr>
              <a:spLocks/>
            </p:cNvSpPr>
            <p:nvPr/>
          </p:nvSpPr>
          <p:spPr bwMode="gray">
            <a:xfrm>
              <a:off x="4382229" y="5617172"/>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29" name="Rectangle 3"/>
            <p:cNvSpPr txBox="1"/>
            <p:nvPr/>
          </p:nvSpPr>
          <p:spPr bwMode="gray">
            <a:xfrm>
              <a:off x="4336276" y="5358362"/>
              <a:ext cx="59631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algn="r" defTabSz="895350" eaLnBrk="1" hangingPunct="1">
                <a:buClr>
                  <a:srgbClr val="002960"/>
                </a:buClr>
                <a:defRPr sz="900" baseline="0">
                  <a:solidFill>
                    <a:srgbClr val="000000"/>
                  </a:solidFill>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t>Emfuleni</a:t>
              </a:r>
            </a:p>
          </p:txBody>
        </p:sp>
        <p:sp>
          <p:nvSpPr>
            <p:cNvPr id="231" name="Oval 230"/>
            <p:cNvSpPr>
              <a:spLocks/>
            </p:cNvSpPr>
            <p:nvPr/>
          </p:nvSpPr>
          <p:spPr bwMode="gray">
            <a:xfrm>
              <a:off x="3400834" y="1347127"/>
              <a:ext cx="175024" cy="175024"/>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32" name="Rectangle 3"/>
            <p:cNvSpPr txBox="1"/>
            <p:nvPr/>
          </p:nvSpPr>
          <p:spPr bwMode="gray">
            <a:xfrm>
              <a:off x="3278923" y="1520534"/>
              <a:ext cx="4110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Tripoli</a:t>
              </a:r>
              <a:endParaRPr lang="en-US" sz="1200" dirty="0">
                <a:solidFill>
                  <a:srgbClr val="000000"/>
                </a:solidFill>
              </a:endParaRPr>
            </a:p>
          </p:txBody>
        </p:sp>
        <p:sp>
          <p:nvSpPr>
            <p:cNvPr id="233" name="Oval 232"/>
            <p:cNvSpPr>
              <a:spLocks/>
            </p:cNvSpPr>
            <p:nvPr/>
          </p:nvSpPr>
          <p:spPr bwMode="gray">
            <a:xfrm>
              <a:off x="3909266" y="1380741"/>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34" name="Rectangle 3"/>
            <p:cNvSpPr txBox="1"/>
            <p:nvPr/>
          </p:nvSpPr>
          <p:spPr bwMode="gray">
            <a:xfrm>
              <a:off x="3728381" y="1201942"/>
              <a:ext cx="63799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Benghazi</a:t>
              </a:r>
              <a:endParaRPr lang="en-US" sz="1200" dirty="0">
                <a:solidFill>
                  <a:srgbClr val="000000"/>
                </a:solidFill>
              </a:endParaRPr>
            </a:p>
          </p:txBody>
        </p:sp>
        <p:sp>
          <p:nvSpPr>
            <p:cNvPr id="235" name="Oval 234"/>
            <p:cNvSpPr>
              <a:spLocks/>
            </p:cNvSpPr>
            <p:nvPr/>
          </p:nvSpPr>
          <p:spPr bwMode="gray">
            <a:xfrm>
              <a:off x="3393434" y="4252168"/>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36" name="Oval 235"/>
            <p:cNvSpPr>
              <a:spLocks/>
            </p:cNvSpPr>
            <p:nvPr/>
          </p:nvSpPr>
          <p:spPr bwMode="gray">
            <a:xfrm>
              <a:off x="4989106" y="3691958"/>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37" name="Oval 236"/>
            <p:cNvSpPr>
              <a:spLocks/>
            </p:cNvSpPr>
            <p:nvPr/>
          </p:nvSpPr>
          <p:spPr bwMode="gray">
            <a:xfrm>
              <a:off x="1899241" y="1349164"/>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38" name="Rectangle 3"/>
            <p:cNvSpPr txBox="1"/>
            <p:nvPr/>
          </p:nvSpPr>
          <p:spPr bwMode="gray">
            <a:xfrm>
              <a:off x="1665700" y="1127886"/>
              <a:ext cx="40876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buClr>
                  <a:srgbClr val="002960"/>
                </a:buClr>
              </a:pPr>
              <a:r>
                <a:rPr lang="en-US" sz="1200" dirty="0" smtClean="0">
                  <a:solidFill>
                    <a:srgbClr val="000000"/>
                  </a:solidFill>
                </a:rPr>
                <a:t>Rabat</a:t>
              </a:r>
              <a:endParaRPr lang="en-US" sz="1200" dirty="0">
                <a:solidFill>
                  <a:srgbClr val="000000"/>
                </a:solidFill>
              </a:endParaRPr>
            </a:p>
          </p:txBody>
        </p:sp>
        <p:sp>
          <p:nvSpPr>
            <p:cNvPr id="239" name="Oval 238"/>
            <p:cNvSpPr>
              <a:spLocks/>
            </p:cNvSpPr>
            <p:nvPr/>
          </p:nvSpPr>
          <p:spPr bwMode="gray">
            <a:xfrm>
              <a:off x="2111315" y="1224441"/>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40" name="Oval 239"/>
            <p:cNvSpPr>
              <a:spLocks/>
            </p:cNvSpPr>
            <p:nvPr/>
          </p:nvSpPr>
          <p:spPr bwMode="gray">
            <a:xfrm>
              <a:off x="4584643" y="5729291"/>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41" name="Rectangle 3"/>
            <p:cNvSpPr txBox="1"/>
            <p:nvPr/>
          </p:nvSpPr>
          <p:spPr bwMode="gray">
            <a:xfrm>
              <a:off x="4712325" y="5691377"/>
              <a:ext cx="50174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Durban</a:t>
              </a:r>
              <a:endParaRPr lang="en-US" sz="1200" dirty="0">
                <a:solidFill>
                  <a:srgbClr val="000000"/>
                </a:solidFill>
              </a:endParaRPr>
            </a:p>
          </p:txBody>
        </p:sp>
        <p:sp>
          <p:nvSpPr>
            <p:cNvPr id="243" name="Rectangle 3"/>
            <p:cNvSpPr txBox="1"/>
            <p:nvPr/>
          </p:nvSpPr>
          <p:spPr bwMode="gray">
            <a:xfrm>
              <a:off x="4169120" y="6079715"/>
              <a:ext cx="95539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Port Elizabeth</a:t>
              </a:r>
              <a:endParaRPr lang="en-US" sz="1200" dirty="0">
                <a:solidFill>
                  <a:srgbClr val="000000"/>
                </a:solidFill>
              </a:endParaRPr>
            </a:p>
          </p:txBody>
        </p:sp>
        <p:sp>
          <p:nvSpPr>
            <p:cNvPr id="245" name="Oval 244"/>
            <p:cNvSpPr>
              <a:spLocks/>
            </p:cNvSpPr>
            <p:nvPr/>
          </p:nvSpPr>
          <p:spPr bwMode="gray">
            <a:xfrm>
              <a:off x="2113986" y="3246462"/>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46" name="Oval 245"/>
            <p:cNvSpPr>
              <a:spLocks/>
            </p:cNvSpPr>
            <p:nvPr/>
          </p:nvSpPr>
          <p:spPr bwMode="gray">
            <a:xfrm>
              <a:off x="2467387" y="3240361"/>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47" name="Oval 246"/>
            <p:cNvSpPr>
              <a:spLocks/>
            </p:cNvSpPr>
            <p:nvPr/>
          </p:nvSpPr>
          <p:spPr bwMode="gray">
            <a:xfrm>
              <a:off x="2374335" y="3211108"/>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48" name="Rectangle 3"/>
            <p:cNvSpPr txBox="1"/>
            <p:nvPr/>
          </p:nvSpPr>
          <p:spPr bwMode="gray">
            <a:xfrm>
              <a:off x="2065234" y="2961922"/>
              <a:ext cx="511358"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Kumasi</a:t>
              </a:r>
              <a:endParaRPr lang="en-US" sz="1200" dirty="0">
                <a:solidFill>
                  <a:srgbClr val="000000"/>
                </a:solidFill>
              </a:endParaRPr>
            </a:p>
          </p:txBody>
        </p:sp>
        <p:cxnSp>
          <p:nvCxnSpPr>
            <p:cNvPr id="249" name="Straight Connector 248"/>
            <p:cNvCxnSpPr/>
            <p:nvPr/>
          </p:nvCxnSpPr>
          <p:spPr bwMode="gray">
            <a:xfrm>
              <a:off x="2407318" y="3134401"/>
              <a:ext cx="0" cy="12243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50" name="Oval 249"/>
            <p:cNvSpPr>
              <a:spLocks/>
            </p:cNvSpPr>
            <p:nvPr/>
          </p:nvSpPr>
          <p:spPr bwMode="gray">
            <a:xfrm>
              <a:off x="3148131" y="1176588"/>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51" name="Oval 250"/>
            <p:cNvSpPr>
              <a:spLocks/>
            </p:cNvSpPr>
            <p:nvPr/>
          </p:nvSpPr>
          <p:spPr bwMode="gray">
            <a:xfrm>
              <a:off x="3193314" y="2785808"/>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53" name="Oval 252"/>
            <p:cNvSpPr>
              <a:spLocks/>
            </p:cNvSpPr>
            <p:nvPr/>
          </p:nvSpPr>
          <p:spPr bwMode="gray">
            <a:xfrm>
              <a:off x="3652557" y="3849628"/>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54" name="Rectangle 3"/>
            <p:cNvSpPr txBox="1"/>
            <p:nvPr/>
          </p:nvSpPr>
          <p:spPr bwMode="gray">
            <a:xfrm>
              <a:off x="3742900" y="3800294"/>
              <a:ext cx="62998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Kinshasa</a:t>
              </a:r>
              <a:endParaRPr lang="en-US" sz="1200" dirty="0">
                <a:solidFill>
                  <a:srgbClr val="000000"/>
                </a:solidFill>
              </a:endParaRPr>
            </a:p>
          </p:txBody>
        </p:sp>
        <p:sp>
          <p:nvSpPr>
            <p:cNvPr id="255" name="Oval 254"/>
            <p:cNvSpPr>
              <a:spLocks/>
            </p:cNvSpPr>
            <p:nvPr/>
          </p:nvSpPr>
          <p:spPr bwMode="gray">
            <a:xfrm>
              <a:off x="3205022" y="3406803"/>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56" name="Rectangle 3"/>
            <p:cNvSpPr txBox="1"/>
            <p:nvPr/>
          </p:nvSpPr>
          <p:spPr bwMode="gray">
            <a:xfrm>
              <a:off x="3309461" y="3287570"/>
              <a:ext cx="484107"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Douala</a:t>
              </a:r>
              <a:endParaRPr lang="en-US" sz="1200" dirty="0">
                <a:solidFill>
                  <a:srgbClr val="000000"/>
                </a:solidFill>
              </a:endParaRPr>
            </a:p>
          </p:txBody>
        </p:sp>
        <p:sp>
          <p:nvSpPr>
            <p:cNvPr id="258" name="Oval 257"/>
            <p:cNvSpPr>
              <a:spLocks/>
            </p:cNvSpPr>
            <p:nvPr/>
          </p:nvSpPr>
          <p:spPr bwMode="gray">
            <a:xfrm>
              <a:off x="3387550" y="3485162"/>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59" name="Rectangle 3"/>
            <p:cNvSpPr txBox="1"/>
            <p:nvPr/>
          </p:nvSpPr>
          <p:spPr bwMode="gray">
            <a:xfrm>
              <a:off x="3498664" y="3487786"/>
              <a:ext cx="600934"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Yaounde</a:t>
              </a:r>
              <a:endParaRPr lang="en-US" sz="1200" dirty="0">
                <a:solidFill>
                  <a:srgbClr val="000000"/>
                </a:solidFill>
              </a:endParaRPr>
            </a:p>
          </p:txBody>
        </p:sp>
        <p:sp>
          <p:nvSpPr>
            <p:cNvPr id="261" name="Oval 260"/>
            <p:cNvSpPr>
              <a:spLocks/>
            </p:cNvSpPr>
            <p:nvPr/>
          </p:nvSpPr>
          <p:spPr bwMode="gray">
            <a:xfrm>
              <a:off x="1297454" y="2643782"/>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62" name="Rectangle 3"/>
            <p:cNvSpPr txBox="1"/>
            <p:nvPr/>
          </p:nvSpPr>
          <p:spPr bwMode="gray">
            <a:xfrm>
              <a:off x="860342" y="2570416"/>
              <a:ext cx="40876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Dakar</a:t>
              </a:r>
              <a:endParaRPr lang="en-US" sz="1200" dirty="0">
                <a:solidFill>
                  <a:srgbClr val="000000"/>
                </a:solidFill>
              </a:endParaRPr>
            </a:p>
          </p:txBody>
        </p:sp>
        <p:sp>
          <p:nvSpPr>
            <p:cNvPr id="266" name="Oval 265"/>
            <p:cNvSpPr>
              <a:spLocks/>
            </p:cNvSpPr>
            <p:nvPr/>
          </p:nvSpPr>
          <p:spPr bwMode="gray">
            <a:xfrm>
              <a:off x="4794746" y="2717243"/>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67" name="Oval 266"/>
            <p:cNvSpPr>
              <a:spLocks/>
            </p:cNvSpPr>
            <p:nvPr/>
          </p:nvSpPr>
          <p:spPr bwMode="gray">
            <a:xfrm>
              <a:off x="4794746" y="3648645"/>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68" name="Rectangle 3"/>
            <p:cNvSpPr txBox="1"/>
            <p:nvPr/>
          </p:nvSpPr>
          <p:spPr bwMode="gray">
            <a:xfrm>
              <a:off x="4482840" y="3445274"/>
              <a:ext cx="60433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buClr>
                  <a:srgbClr val="002960"/>
                </a:buClr>
              </a:pPr>
              <a:r>
                <a:rPr lang="en-US" sz="1200" dirty="0" smtClean="0">
                  <a:solidFill>
                    <a:srgbClr val="000000"/>
                  </a:solidFill>
                </a:rPr>
                <a:t>Kampala</a:t>
              </a:r>
              <a:endParaRPr lang="en-US" sz="1200" dirty="0">
                <a:solidFill>
                  <a:srgbClr val="000000"/>
                </a:solidFill>
              </a:endParaRPr>
            </a:p>
          </p:txBody>
        </p:sp>
        <p:sp>
          <p:nvSpPr>
            <p:cNvPr id="269" name="Oval 268"/>
            <p:cNvSpPr>
              <a:spLocks/>
            </p:cNvSpPr>
            <p:nvPr/>
          </p:nvSpPr>
          <p:spPr bwMode="gray">
            <a:xfrm>
              <a:off x="4473809" y="4612430"/>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71" name="Rectangle 3"/>
            <p:cNvSpPr txBox="1"/>
            <p:nvPr/>
          </p:nvSpPr>
          <p:spPr bwMode="gray">
            <a:xfrm>
              <a:off x="3936149" y="4556654"/>
              <a:ext cx="49372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200" dirty="0" smtClean="0">
                  <a:solidFill>
                    <a:srgbClr val="000000"/>
                  </a:solidFill>
                </a:rPr>
                <a:t>Lusaka</a:t>
              </a:r>
              <a:endParaRPr lang="en-US" sz="1200" dirty="0">
                <a:solidFill>
                  <a:srgbClr val="000000"/>
                </a:solidFill>
              </a:endParaRPr>
            </a:p>
          </p:txBody>
        </p:sp>
        <p:sp>
          <p:nvSpPr>
            <p:cNvPr id="272" name="Oval 271"/>
            <p:cNvSpPr>
              <a:spLocks/>
            </p:cNvSpPr>
            <p:nvPr/>
          </p:nvSpPr>
          <p:spPr bwMode="gray">
            <a:xfrm>
              <a:off x="4497123" y="1466464"/>
              <a:ext cx="175024" cy="175024"/>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73" name="Oval 272"/>
            <p:cNvSpPr>
              <a:spLocks/>
            </p:cNvSpPr>
            <p:nvPr/>
          </p:nvSpPr>
          <p:spPr bwMode="gray">
            <a:xfrm>
              <a:off x="4316930" y="5985857"/>
              <a:ext cx="72204" cy="72204"/>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sp>
          <p:nvSpPr>
            <p:cNvPr id="274" name="Rectangle 3"/>
            <p:cNvSpPr txBox="1"/>
            <p:nvPr/>
          </p:nvSpPr>
          <p:spPr bwMode="gray">
            <a:xfrm>
              <a:off x="3283995" y="2717664"/>
              <a:ext cx="35747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buClr>
                  <a:srgbClr val="002960"/>
                </a:buClr>
              </a:pPr>
              <a:r>
                <a:rPr lang="en-US" sz="1200" dirty="0">
                  <a:solidFill>
                    <a:srgbClr val="000000"/>
                  </a:solidFill>
                </a:rPr>
                <a:t>Kano</a:t>
              </a:r>
            </a:p>
          </p:txBody>
        </p:sp>
        <p:cxnSp>
          <p:nvCxnSpPr>
            <p:cNvPr id="276" name="Straight Connector 275"/>
            <p:cNvCxnSpPr/>
            <p:nvPr/>
          </p:nvCxnSpPr>
          <p:spPr bwMode="gray">
            <a:xfrm flipV="1">
              <a:off x="4417404" y="5544241"/>
              <a:ext cx="2007" cy="8270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4127718" y="5574362"/>
              <a:ext cx="182027" cy="6539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26" name="Oval 225"/>
            <p:cNvSpPr>
              <a:spLocks/>
            </p:cNvSpPr>
            <p:nvPr/>
          </p:nvSpPr>
          <p:spPr bwMode="gray">
            <a:xfrm>
              <a:off x="4242252" y="5575447"/>
              <a:ext cx="111132" cy="111132"/>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smtClean="0">
                <a:solidFill>
                  <a:srgbClr val="000000"/>
                </a:solidFill>
              </a:endParaRPr>
            </a:p>
          </p:txBody>
        </p:sp>
        <p:cxnSp>
          <p:nvCxnSpPr>
            <p:cNvPr id="181" name="Straight Connector 180"/>
            <p:cNvCxnSpPr/>
            <p:nvPr/>
          </p:nvCxnSpPr>
          <p:spPr bwMode="gray">
            <a:xfrm>
              <a:off x="2863955" y="2941372"/>
              <a:ext cx="2753" cy="14949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bwMode="gray">
            <a:xfrm>
              <a:off x="2869089" y="3205162"/>
              <a:ext cx="73819" cy="0"/>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bwMode="gray">
            <a:xfrm>
              <a:off x="6423247" y="1049647"/>
              <a:ext cx="1662683" cy="1958223"/>
              <a:chOff x="6620256" y="942967"/>
              <a:chExt cx="1662683" cy="1958223"/>
            </a:xfrm>
          </p:grpSpPr>
          <p:sp>
            <p:nvSpPr>
              <p:cNvPr id="184" name="Rectangle 24"/>
              <p:cNvSpPr txBox="1"/>
              <p:nvPr/>
            </p:nvSpPr>
            <p:spPr bwMode="gray">
              <a:xfrm>
                <a:off x="7035354" y="2029900"/>
                <a:ext cx="327013"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500" dirty="0" smtClean="0">
                    <a:solidFill>
                      <a:srgbClr val="000000"/>
                    </a:solidFill>
                  </a:rPr>
                  <a:t>&gt;10</a:t>
                </a:r>
                <a:endParaRPr lang="en-US" sz="1500" dirty="0">
                  <a:solidFill>
                    <a:srgbClr val="000000"/>
                  </a:solidFill>
                </a:endParaRPr>
              </a:p>
            </p:txBody>
          </p:sp>
          <p:sp>
            <p:nvSpPr>
              <p:cNvPr id="190" name="Oval 189"/>
              <p:cNvSpPr>
                <a:spLocks/>
              </p:cNvSpPr>
              <p:nvPr/>
            </p:nvSpPr>
            <p:spPr bwMode="gray">
              <a:xfrm>
                <a:off x="6712576" y="2016656"/>
                <a:ext cx="241932" cy="241932"/>
              </a:xfrm>
              <a:prstGeom prst="ellipse">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500" dirty="0" smtClean="0">
                  <a:solidFill>
                    <a:srgbClr val="000000"/>
                  </a:solidFill>
                </a:endParaRPr>
              </a:p>
            </p:txBody>
          </p:sp>
          <p:sp>
            <p:nvSpPr>
              <p:cNvPr id="185" name="Rectangle 24"/>
              <p:cNvSpPr txBox="1"/>
              <p:nvPr/>
            </p:nvSpPr>
            <p:spPr bwMode="gray">
              <a:xfrm>
                <a:off x="7035354" y="2314136"/>
                <a:ext cx="429605"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500" dirty="0" smtClean="0">
                    <a:solidFill>
                      <a:srgbClr val="000000"/>
                    </a:solidFill>
                  </a:rPr>
                  <a:t>5–10</a:t>
                </a:r>
                <a:endParaRPr lang="en-US" sz="1500" dirty="0">
                  <a:solidFill>
                    <a:srgbClr val="000000"/>
                  </a:solidFill>
                </a:endParaRPr>
              </a:p>
            </p:txBody>
          </p:sp>
          <p:sp>
            <p:nvSpPr>
              <p:cNvPr id="191" name="Oval 190"/>
              <p:cNvSpPr>
                <a:spLocks/>
              </p:cNvSpPr>
              <p:nvPr/>
            </p:nvSpPr>
            <p:spPr bwMode="gray">
              <a:xfrm>
                <a:off x="6736546" y="2327902"/>
                <a:ext cx="187913" cy="187913"/>
              </a:xfrm>
              <a:prstGeom prst="ellipse">
                <a:avLst/>
              </a:prstGeom>
              <a:solidFill>
                <a:schemeClr val="accent1">
                  <a:lumMod val="2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500" dirty="0" smtClean="0">
                  <a:solidFill>
                    <a:srgbClr val="000000"/>
                  </a:solidFill>
                </a:endParaRPr>
              </a:p>
            </p:txBody>
          </p:sp>
          <p:sp>
            <p:nvSpPr>
              <p:cNvPr id="186" name="Rectangle 24"/>
              <p:cNvSpPr txBox="1"/>
              <p:nvPr/>
            </p:nvSpPr>
            <p:spPr bwMode="gray">
              <a:xfrm>
                <a:off x="7035354" y="2598373"/>
                <a:ext cx="322204"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500" dirty="0" smtClean="0">
                    <a:solidFill>
                      <a:srgbClr val="000000"/>
                    </a:solidFill>
                  </a:rPr>
                  <a:t>2–5</a:t>
                </a:r>
                <a:endParaRPr lang="en-US" sz="1500" dirty="0">
                  <a:solidFill>
                    <a:srgbClr val="000000"/>
                  </a:solidFill>
                </a:endParaRPr>
              </a:p>
            </p:txBody>
          </p:sp>
          <p:sp>
            <p:nvSpPr>
              <p:cNvPr id="192" name="Oval 191"/>
              <p:cNvSpPr>
                <a:spLocks/>
              </p:cNvSpPr>
              <p:nvPr/>
            </p:nvSpPr>
            <p:spPr bwMode="gray">
              <a:xfrm>
                <a:off x="6765758" y="2645052"/>
                <a:ext cx="122087" cy="122087"/>
              </a:xfrm>
              <a:prstGeom prst="ellipse">
                <a:avLst/>
              </a:prstGeom>
              <a:solidFill>
                <a:srgbClr val="FF0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500" dirty="0" smtClean="0">
                  <a:solidFill>
                    <a:srgbClr val="000000"/>
                  </a:solidFill>
                </a:endParaRPr>
              </a:p>
            </p:txBody>
          </p:sp>
          <p:sp>
            <p:nvSpPr>
              <p:cNvPr id="193" name="Rectangle 19"/>
              <p:cNvSpPr txBox="1">
                <a:spLocks/>
              </p:cNvSpPr>
              <p:nvPr/>
            </p:nvSpPr>
            <p:spPr bwMode="gray">
              <a:xfrm>
                <a:off x="6700723" y="1732420"/>
                <a:ext cx="1506017" cy="230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500" b="1" dirty="0" smtClean="0">
                    <a:solidFill>
                      <a:srgbClr val="000000"/>
                    </a:solidFill>
                  </a:rPr>
                  <a:t>Cities</a:t>
                </a:r>
                <a:endParaRPr lang="en-US" sz="1500" dirty="0">
                  <a:solidFill>
                    <a:srgbClr val="808080"/>
                  </a:solidFill>
                </a:endParaRPr>
              </a:p>
            </p:txBody>
          </p:sp>
          <p:sp>
            <p:nvSpPr>
              <p:cNvPr id="194" name="Rectangle 193"/>
              <p:cNvSpPr/>
              <p:nvPr/>
            </p:nvSpPr>
            <p:spPr bwMode="gray">
              <a:xfrm>
                <a:off x="6620256" y="942967"/>
                <a:ext cx="1662683" cy="1958223"/>
              </a:xfrm>
              <a:prstGeom prst="rect">
                <a:avLst/>
              </a:pr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smtClean="0">
                  <a:solidFill>
                    <a:srgbClr val="000000"/>
                  </a:solidFill>
                </a:endParaRPr>
              </a:p>
            </p:txBody>
          </p:sp>
          <p:grpSp>
            <p:nvGrpSpPr>
              <p:cNvPr id="38" name="Group 37"/>
              <p:cNvGrpSpPr>
                <a:grpSpLocks/>
              </p:cNvGrpSpPr>
              <p:nvPr/>
            </p:nvGrpSpPr>
            <p:grpSpPr bwMode="gray">
              <a:xfrm>
                <a:off x="6700723" y="967815"/>
                <a:ext cx="1506017" cy="711201"/>
                <a:chOff x="6883603" y="967815"/>
                <a:chExt cx="1693228" cy="711201"/>
              </a:xfrm>
            </p:grpSpPr>
            <p:cxnSp>
              <p:nvCxnSpPr>
                <p:cNvPr id="196" name="AutoShape 249"/>
                <p:cNvCxnSpPr>
                  <a:cxnSpLocks noChangeShapeType="1"/>
                  <a:stCxn id="197" idx="4"/>
                  <a:endCxn id="197" idx="6"/>
                </p:cNvCxnSpPr>
                <p:nvPr/>
              </p:nvCxnSpPr>
              <p:spPr bwMode="gray">
                <a:xfrm>
                  <a:off x="6883603" y="1679016"/>
                  <a:ext cx="1693228" cy="0"/>
                </a:xfrm>
                <a:prstGeom prst="straightConnector1">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7" name="AutoShape 250"/>
                <p:cNvSpPr>
                  <a:spLocks noChangeArrowheads="1"/>
                </p:cNvSpPr>
                <p:nvPr/>
              </p:nvSpPr>
              <p:spPr bwMode="gray">
                <a:xfrm>
                  <a:off x="6883603" y="967815"/>
                  <a:ext cx="1693228" cy="71120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500" b="1" dirty="0">
                      <a:solidFill>
                        <a:srgbClr val="002960"/>
                      </a:solidFill>
                      <a:latin typeface="Arial"/>
                    </a:rPr>
                    <a:t>Consumption growth, </a:t>
                  </a:r>
                  <a:r>
                    <a:rPr lang="en-US" sz="1500" b="1" dirty="0" smtClean="0">
                      <a:solidFill>
                        <a:srgbClr val="002960"/>
                      </a:solidFill>
                      <a:latin typeface="Arial"/>
                    </a:rPr>
                    <a:t>2013–18 </a:t>
                  </a:r>
                  <a:endParaRPr lang="en-US" sz="1500" b="1" dirty="0">
                    <a:solidFill>
                      <a:srgbClr val="002960"/>
                    </a:solidFill>
                    <a:latin typeface="Arial"/>
                  </a:endParaRPr>
                </a:p>
                <a:p>
                  <a:r>
                    <a:rPr lang="en-US" sz="1500" dirty="0" smtClean="0">
                      <a:solidFill>
                        <a:srgbClr val="808080"/>
                      </a:solidFill>
                      <a:latin typeface="Arial"/>
                    </a:rPr>
                    <a:t>USD </a:t>
                  </a:r>
                  <a:r>
                    <a:rPr lang="en-US" sz="1500" dirty="0">
                      <a:solidFill>
                        <a:srgbClr val="808080"/>
                      </a:solidFill>
                      <a:latin typeface="Arial"/>
                    </a:rPr>
                    <a:t>billion</a:t>
                  </a:r>
                </a:p>
              </p:txBody>
            </p:sp>
          </p:grpSp>
        </p:grpSp>
        <p:sp>
          <p:nvSpPr>
            <p:cNvPr id="143" name="TextBox 142"/>
            <p:cNvSpPr txBox="1"/>
            <p:nvPr/>
          </p:nvSpPr>
          <p:spPr>
            <a:xfrm>
              <a:off x="8545514" y="6435725"/>
              <a:ext cx="208756" cy="152400"/>
            </a:xfrm>
            <a:prstGeom prst="rect">
              <a:avLst/>
            </a:prstGeom>
            <a:noFill/>
          </p:spPr>
          <p:txBody>
            <a:bodyPr vert="horz" wrap="none" lIns="0" tIns="0" rIns="0" bIns="0" rtlCol="0">
              <a:noAutofit/>
            </a:bodyPr>
            <a:lstStyle/>
            <a:p>
              <a:pPr algn="l"/>
              <a:fld id="{EE9006DD-5909-4658-A007-A16E4E446A23}" type="slidenum">
                <a:rPr lang="en-US" sz="1000" b="0" i="0" baseline="0" smtClean="0"/>
                <a:pPr algn="l"/>
                <a:t>4</a:t>
              </a:fld>
              <a:endParaRPr lang="en-US" sz="1000" b="0" i="0" baseline="0"/>
            </a:p>
          </p:txBody>
        </p:sp>
        <p:sp>
          <p:nvSpPr>
            <p:cNvPr id="144" name="TextBox 143"/>
            <p:cNvSpPr txBox="1"/>
            <p:nvPr/>
          </p:nvSpPr>
          <p:spPr>
            <a:xfrm>
              <a:off x="8545514" y="6435725"/>
              <a:ext cx="208756" cy="152400"/>
            </a:xfrm>
            <a:prstGeom prst="rect">
              <a:avLst/>
            </a:prstGeom>
            <a:noFill/>
          </p:spPr>
          <p:txBody>
            <a:bodyPr vert="horz" wrap="none" lIns="0" tIns="0" rIns="0" bIns="0" rtlCol="0">
              <a:noAutofit/>
            </a:bodyPr>
            <a:lstStyle/>
            <a:p>
              <a:pPr algn="l"/>
              <a:fld id="{5A10F79C-1D41-4ABC-822A-DD97D9BAFB3D}" type="slidenum">
                <a:rPr lang="en-US" sz="1000" b="0" i="0" baseline="0" smtClean="0"/>
                <a:pPr algn="l"/>
                <a:t>4</a:t>
              </a:fld>
              <a:endParaRPr lang="en-US" sz="1000" b="0" i="0" baseline="0"/>
            </a:p>
          </p:txBody>
        </p:sp>
        <p:sp>
          <p:nvSpPr>
            <p:cNvPr id="145" name="TextBox 144"/>
            <p:cNvSpPr txBox="1"/>
            <p:nvPr/>
          </p:nvSpPr>
          <p:spPr>
            <a:xfrm>
              <a:off x="8545514" y="6435725"/>
              <a:ext cx="208756" cy="152400"/>
            </a:xfrm>
            <a:prstGeom prst="rect">
              <a:avLst/>
            </a:prstGeom>
            <a:noFill/>
          </p:spPr>
          <p:txBody>
            <a:bodyPr vert="horz" wrap="none" lIns="0" tIns="0" rIns="0" bIns="0" rtlCol="0">
              <a:noAutofit/>
            </a:bodyPr>
            <a:lstStyle/>
            <a:p>
              <a:pPr algn="l"/>
              <a:fld id="{D00A8529-4812-4B3A-B771-B4982336BE91}" type="slidenum">
                <a:rPr lang="en-US" sz="1000" b="0" i="0" baseline="0" smtClean="0"/>
                <a:pPr algn="l"/>
                <a:t>4</a:t>
              </a:fld>
              <a:endParaRPr lang="en-US" sz="1000" b="0" i="0" baseline="0"/>
            </a:p>
          </p:txBody>
        </p:sp>
      </p:grpSp>
    </p:spTree>
    <p:extLst>
      <p:ext uri="{BB962C8B-B14F-4D97-AF65-F5344CB8AC3E}">
        <p14:creationId xmlns:p14="http://schemas.microsoft.com/office/powerpoint/2010/main" val="30881043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1787355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3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pic>
        <p:nvPicPr>
          <p:cNvPr id="23" name="Object 22"/>
          <p:cNvPicPr>
            <a:picLocks noChangeAspect="1"/>
          </p:cNvPicPr>
          <p:nvPr/>
        </p:nvPicPr>
        <p:blipFill>
          <a:blip r:embed="rId12"/>
          <a:srcRect/>
          <a:stretch>
            <a:fillRect/>
          </a:stretch>
        </p:blipFill>
        <p:spPr bwMode="gray">
          <a:xfrm>
            <a:off x="0" y="0"/>
            <a:ext cx="158750" cy="158750"/>
          </a:xfrm>
          <a:prstGeom prst="rect">
            <a:avLst/>
          </a:prstGeom>
          <a:noFill/>
        </p:spPr>
      </p:pic>
      <p:sp>
        <p:nvSpPr>
          <p:cNvPr id="2" name="Title 1"/>
          <p:cNvSpPr>
            <a:spLocks noGrp="1"/>
          </p:cNvSpPr>
          <p:nvPr>
            <p:ph type="title"/>
          </p:nvPr>
        </p:nvSpPr>
        <p:spPr bwMode="gray"/>
        <p:txBody>
          <a:bodyPr/>
          <a:lstStyle/>
          <a:p>
            <a:r>
              <a:rPr lang="en-US" dirty="0" smtClean="0"/>
              <a:t>India </a:t>
            </a:r>
            <a:r>
              <a:rPr lang="en-US" dirty="0"/>
              <a:t>and Africa can gain </a:t>
            </a:r>
            <a:r>
              <a:rPr lang="en-US" dirty="0" smtClean="0"/>
              <a:t>significantly from </a:t>
            </a:r>
            <a:r>
              <a:rPr lang="en-US" dirty="0"/>
              <a:t>mutual </a:t>
            </a:r>
            <a:r>
              <a:rPr lang="en-US" dirty="0" smtClean="0"/>
              <a:t>cooperation </a:t>
            </a:r>
            <a:endParaRPr lang="en-GB" dirty="0"/>
          </a:p>
        </p:txBody>
      </p:sp>
      <p:sp>
        <p:nvSpPr>
          <p:cNvPr id="15" name="McK 5. Source"/>
          <p:cNvSpPr>
            <a:spLocks noChangeArrowheads="1"/>
          </p:cNvSpPr>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latin typeface="Arial"/>
              </a:rPr>
              <a:t>SOURCE: McKinsey analysis</a:t>
            </a:r>
          </a:p>
        </p:txBody>
      </p:sp>
      <p:sp>
        <p:nvSpPr>
          <p:cNvPr id="46" name="TextBox 6"/>
          <p:cNvSpPr txBox="1">
            <a:spLocks/>
          </p:cNvSpPr>
          <p:nvPr>
            <p:custDataLst>
              <p:tags r:id="rId3"/>
            </p:custDataLst>
          </p:nvPr>
        </p:nvSpPr>
        <p:spPr bwMode="gray">
          <a:xfrm flipH="1">
            <a:off x="7133537" y="2204685"/>
            <a:ext cx="1742174" cy="3377981"/>
          </a:xfrm>
          <a:custGeom>
            <a:avLst/>
            <a:gdLst/>
            <a:ahLst/>
            <a:cxnLst/>
            <a:rect l="l" t="t" r="r" b="b"/>
            <a:pathLst>
              <a:path w="1742174" h="3909030">
                <a:moveTo>
                  <a:pt x="72837" y="0"/>
                </a:moveTo>
                <a:lnTo>
                  <a:pt x="1522716" y="0"/>
                </a:lnTo>
                <a:lnTo>
                  <a:pt x="1560512" y="0"/>
                </a:lnTo>
                <a:lnTo>
                  <a:pt x="1742174" y="0"/>
                </a:lnTo>
                <a:lnTo>
                  <a:pt x="1742174" y="3909030"/>
                </a:lnTo>
                <a:lnTo>
                  <a:pt x="1560512" y="3909030"/>
                </a:lnTo>
                <a:lnTo>
                  <a:pt x="1522716" y="3909030"/>
                </a:lnTo>
                <a:lnTo>
                  <a:pt x="72837" y="3909030"/>
                </a:lnTo>
                <a:cubicBezTo>
                  <a:pt x="32610" y="3909030"/>
                  <a:pt x="0" y="3876420"/>
                  <a:pt x="0" y="3836193"/>
                </a:cubicBezTo>
                <a:lnTo>
                  <a:pt x="0" y="72837"/>
                </a:lnTo>
                <a:cubicBezTo>
                  <a:pt x="0" y="32610"/>
                  <a:pt x="32610" y="0"/>
                  <a:pt x="72837" y="0"/>
                </a:cubicBezTo>
                <a:close/>
              </a:path>
            </a:pathLst>
          </a:custGeom>
          <a:solidFill>
            <a:srgbClr val="9EC5E6"/>
          </a:solidFill>
          <a:ln w="28575">
            <a:noFill/>
            <a:headEnd/>
            <a:tailEn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54864" tIns="76200" rIns="54864" bIns="76200" numCol="1" anchor="t" anchorCtr="0" compatLnSpc="1">
            <a:prstTxWarp prst="textNoShape">
              <a:avLst/>
            </a:prstTxWarp>
            <a:noAutofit/>
          </a:bodyPr>
          <a:lstStyle>
            <a:lvl1pPr marL="0" lvl="0" indent="0" defTabSz="895350" eaLnBrk="1" hangingPunct="1">
              <a:buClr>
                <a:schemeClr val="tx2"/>
              </a:buClr>
              <a:defRPr b="0" baseline="0">
                <a:latin typeface="+mn-lt"/>
              </a:defRPr>
            </a:lvl1pPr>
            <a:lvl2pPr marL="193675" indent="-192088" defTabSz="895350" eaLnBrk="1" hangingPunct="1">
              <a:buClr>
                <a:schemeClr val="tx2"/>
              </a:buClr>
              <a:buSzPct val="125000"/>
              <a:buFont typeface="Arial" charset="0"/>
              <a:buChar char="▪"/>
              <a:defRPr b="0" baseline="0">
                <a:latin typeface="+mn-lt"/>
              </a:defRPr>
            </a:lvl2pPr>
            <a:lvl3pPr marL="457200" indent="-261938" defTabSz="895350" eaLnBrk="1" hangingPunct="1">
              <a:buClr>
                <a:schemeClr val="tx2"/>
              </a:buClr>
              <a:buSzPct val="120000"/>
              <a:buFont typeface="Arial" charset="0"/>
              <a:buChar char="–"/>
              <a:defRPr b="0" baseline="0">
                <a:latin typeface="+mn-lt"/>
              </a:defRPr>
            </a:lvl3pPr>
            <a:lvl4pPr marL="614363" indent="-155575" defTabSz="895350" eaLnBrk="1" hangingPunct="1">
              <a:buClr>
                <a:schemeClr val="tx2"/>
              </a:buClr>
              <a:buSzPct val="120000"/>
              <a:buFont typeface="Arial" charset="0"/>
              <a:buChar char="▫"/>
              <a:defRPr b="0" baseline="0">
                <a:latin typeface="+mn-lt"/>
              </a:defRPr>
            </a:lvl4pPr>
            <a:lvl5pPr marL="749808" indent="-130175" defTabSz="895350" eaLnBrk="1" hangingPunct="1">
              <a:buClr>
                <a:schemeClr val="tx2"/>
              </a:buClr>
              <a:buSzPct val="89000"/>
              <a:buFont typeface="Arial" charset="0"/>
              <a:buChar char="-"/>
              <a:defRPr b="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rgbClr val="002960"/>
              </a:buClr>
            </a:pPr>
            <a:endParaRPr lang="en-US" dirty="0">
              <a:solidFill>
                <a:schemeClr val="tx1"/>
              </a:solidFill>
            </a:endParaRPr>
          </a:p>
        </p:txBody>
      </p:sp>
      <p:sp>
        <p:nvSpPr>
          <p:cNvPr id="35" name="TextBox 6"/>
          <p:cNvSpPr txBox="1">
            <a:spLocks/>
          </p:cNvSpPr>
          <p:nvPr>
            <p:custDataLst>
              <p:tags r:id="rId4"/>
            </p:custDataLst>
          </p:nvPr>
        </p:nvSpPr>
        <p:spPr bwMode="gray">
          <a:xfrm>
            <a:off x="115887" y="2204685"/>
            <a:ext cx="1742174" cy="3377981"/>
          </a:xfrm>
          <a:custGeom>
            <a:avLst/>
            <a:gdLst/>
            <a:ahLst/>
            <a:cxnLst/>
            <a:rect l="l" t="t" r="r" b="b"/>
            <a:pathLst>
              <a:path w="1742174" h="3909030">
                <a:moveTo>
                  <a:pt x="72837" y="0"/>
                </a:moveTo>
                <a:lnTo>
                  <a:pt x="1522716" y="0"/>
                </a:lnTo>
                <a:lnTo>
                  <a:pt x="1560512" y="0"/>
                </a:lnTo>
                <a:lnTo>
                  <a:pt x="1742174" y="0"/>
                </a:lnTo>
                <a:lnTo>
                  <a:pt x="1742174" y="3909030"/>
                </a:lnTo>
                <a:lnTo>
                  <a:pt x="1560512" y="3909030"/>
                </a:lnTo>
                <a:lnTo>
                  <a:pt x="1522716" y="3909030"/>
                </a:lnTo>
                <a:lnTo>
                  <a:pt x="72837" y="3909030"/>
                </a:lnTo>
                <a:cubicBezTo>
                  <a:pt x="32610" y="3909030"/>
                  <a:pt x="0" y="3876420"/>
                  <a:pt x="0" y="3836193"/>
                </a:cubicBezTo>
                <a:lnTo>
                  <a:pt x="0" y="72837"/>
                </a:lnTo>
                <a:cubicBezTo>
                  <a:pt x="0" y="32610"/>
                  <a:pt x="32610" y="0"/>
                  <a:pt x="72837" y="0"/>
                </a:cubicBezTo>
                <a:close/>
              </a:path>
            </a:pathLst>
          </a:custGeom>
          <a:solidFill>
            <a:srgbClr val="9EC5E6"/>
          </a:solidFill>
          <a:ln w="28575">
            <a:noFill/>
            <a:headEnd/>
            <a:tailEnd/>
          </a:ln>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vert="horz" wrap="square" lIns="54864" tIns="76200" rIns="54864" bIns="76200" numCol="1" anchor="t" anchorCtr="0" compatLnSpc="1">
            <a:prstTxWarp prst="textNoShape">
              <a:avLst/>
            </a:prstTxWarp>
            <a:noAutofit/>
          </a:bodyPr>
          <a:lstStyle>
            <a:lvl1pPr marL="0" lvl="0" indent="0" defTabSz="895350" eaLnBrk="1" hangingPunct="1">
              <a:buClr>
                <a:schemeClr val="tx2"/>
              </a:buClr>
              <a:defRPr b="0" baseline="0">
                <a:latin typeface="+mn-lt"/>
              </a:defRPr>
            </a:lvl1pPr>
            <a:lvl2pPr marL="193675" indent="-192088" defTabSz="895350" eaLnBrk="1" hangingPunct="1">
              <a:buClr>
                <a:schemeClr val="tx2"/>
              </a:buClr>
              <a:buSzPct val="125000"/>
              <a:buFont typeface="Arial" charset="0"/>
              <a:buChar char="▪"/>
              <a:defRPr b="0" baseline="0">
                <a:latin typeface="+mn-lt"/>
              </a:defRPr>
            </a:lvl2pPr>
            <a:lvl3pPr marL="457200" indent="-261938" defTabSz="895350" eaLnBrk="1" hangingPunct="1">
              <a:buClr>
                <a:schemeClr val="tx2"/>
              </a:buClr>
              <a:buSzPct val="120000"/>
              <a:buFont typeface="Arial" charset="0"/>
              <a:buChar char="–"/>
              <a:defRPr b="0" baseline="0">
                <a:latin typeface="+mn-lt"/>
              </a:defRPr>
            </a:lvl3pPr>
            <a:lvl4pPr marL="614363" indent="-155575" defTabSz="895350" eaLnBrk="1" hangingPunct="1">
              <a:buClr>
                <a:schemeClr val="tx2"/>
              </a:buClr>
              <a:buSzPct val="120000"/>
              <a:buFont typeface="Arial" charset="0"/>
              <a:buChar char="▫"/>
              <a:defRPr b="0" baseline="0">
                <a:latin typeface="+mn-lt"/>
              </a:defRPr>
            </a:lvl4pPr>
            <a:lvl5pPr marL="749808" indent="-130175" defTabSz="895350" eaLnBrk="1" hangingPunct="1">
              <a:buClr>
                <a:schemeClr val="tx2"/>
              </a:buClr>
              <a:buSzPct val="89000"/>
              <a:buFont typeface="Arial" charset="0"/>
              <a:buChar char="-"/>
              <a:defRPr b="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400"/>
              </a:spcBef>
              <a:buClr>
                <a:srgbClr val="002960"/>
              </a:buClr>
            </a:pPr>
            <a:endParaRPr lang="en-US" dirty="0">
              <a:solidFill>
                <a:schemeClr val="tx1"/>
              </a:solidFill>
            </a:endParaRPr>
          </a:p>
        </p:txBody>
      </p:sp>
      <p:sp>
        <p:nvSpPr>
          <p:cNvPr id="22" name="AutoShape 7"/>
          <p:cNvSpPr>
            <a:spLocks noChangeArrowheads="1"/>
          </p:cNvSpPr>
          <p:nvPr/>
        </p:nvSpPr>
        <p:spPr bwMode="gray">
          <a:xfrm flipH="1">
            <a:off x="1858060" y="2204685"/>
            <a:ext cx="2264357" cy="3377981"/>
          </a:xfrm>
          <a:prstGeom prst="rect">
            <a:avLst/>
          </a:prstGeom>
          <a:solidFill>
            <a:schemeClr val="bg1"/>
          </a:solidFill>
          <a:ln w="19050" algn="ctr">
            <a:solidFill>
              <a:srgbClr val="3280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30" tIns="45715" rIns="91430" bIns="45715"/>
          <a:lstStyle/>
          <a:p>
            <a:pPr>
              <a:defRPr/>
            </a:pPr>
            <a:endParaRPr lang="en-US">
              <a:solidFill>
                <a:srgbClr val="000000"/>
              </a:solidFill>
            </a:endParaRPr>
          </a:p>
        </p:txBody>
      </p:sp>
      <p:sp>
        <p:nvSpPr>
          <p:cNvPr id="25" name="AutoShape 7"/>
          <p:cNvSpPr>
            <a:spLocks noChangeArrowheads="1"/>
          </p:cNvSpPr>
          <p:nvPr/>
        </p:nvSpPr>
        <p:spPr bwMode="gray">
          <a:xfrm flipH="1">
            <a:off x="4869179" y="2204685"/>
            <a:ext cx="2264357" cy="3377981"/>
          </a:xfrm>
          <a:prstGeom prst="rect">
            <a:avLst/>
          </a:prstGeom>
          <a:solidFill>
            <a:schemeClr val="bg1"/>
          </a:solidFill>
          <a:ln w="19050" algn="ctr">
            <a:solidFill>
              <a:srgbClr val="3280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30" tIns="45715" rIns="91430" bIns="45715"/>
          <a:lstStyle/>
          <a:p>
            <a:pPr>
              <a:defRPr/>
            </a:pPr>
            <a:endParaRPr lang="en-US">
              <a:solidFill>
                <a:srgbClr val="000000"/>
              </a:solidFill>
            </a:endParaRPr>
          </a:p>
        </p:txBody>
      </p:sp>
      <p:sp>
        <p:nvSpPr>
          <p:cNvPr id="13" name="Isosceles Triangle 12"/>
          <p:cNvSpPr>
            <a:spLocks/>
          </p:cNvSpPr>
          <p:nvPr/>
        </p:nvSpPr>
        <p:spPr>
          <a:xfrm rot="16200000">
            <a:off x="3043980" y="3757468"/>
            <a:ext cx="3377981" cy="272415"/>
          </a:xfrm>
          <a:prstGeom prst="triangle">
            <a:avLst/>
          </a:prstGeom>
          <a:solidFill>
            <a:srgbClr val="3280C0"/>
          </a:solidFill>
          <a:ln w="9525">
            <a:solidFill>
              <a:srgbClr val="328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3" name="Isosceles Triangle 32"/>
          <p:cNvSpPr>
            <a:spLocks/>
          </p:cNvSpPr>
          <p:nvPr/>
        </p:nvSpPr>
        <p:spPr>
          <a:xfrm rot="5400000" flipH="1">
            <a:off x="2569636" y="3757469"/>
            <a:ext cx="3377981" cy="272415"/>
          </a:xfrm>
          <a:prstGeom prst="triangle">
            <a:avLst/>
          </a:prstGeom>
          <a:solidFill>
            <a:srgbClr val="3280C0"/>
          </a:solidFill>
          <a:ln w="9525">
            <a:solidFill>
              <a:srgbClr val="328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38" name="Rectangle 10"/>
          <p:cNvSpPr>
            <a:spLocks noChangeArrowheads="1"/>
          </p:cNvSpPr>
          <p:nvPr/>
        </p:nvSpPr>
        <p:spPr bwMode="gray">
          <a:xfrm>
            <a:off x="1931213" y="2536445"/>
            <a:ext cx="2136038"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defRPr sz="1200">
                <a:solidFill>
                  <a:schemeClr val="tx1"/>
                </a:solidFill>
                <a:latin typeface="Arial" charset="0"/>
              </a:defRPr>
            </a:lvl1pPr>
            <a:lvl2pPr marL="193675" indent="-192088"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lvl="1" eaLnBrk="1" hangingPunct="1">
              <a:spcBef>
                <a:spcPts val="1200"/>
              </a:spcBef>
              <a:spcAft>
                <a:spcPts val="0"/>
              </a:spcAft>
              <a:buClr>
                <a:srgbClr val="002960"/>
              </a:buClr>
              <a:buSzPct val="125000"/>
              <a:buFont typeface="Arial" charset="0"/>
              <a:buChar char="▪"/>
            </a:pPr>
            <a:r>
              <a:rPr lang="en-US" sz="1600" dirty="0" smtClean="0"/>
              <a:t>Low cost </a:t>
            </a:r>
            <a:r>
              <a:rPr lang="en-US" sz="1600" dirty="0"/>
              <a:t>innovation and operating </a:t>
            </a:r>
            <a:r>
              <a:rPr lang="en-US" sz="1600" dirty="0" smtClean="0"/>
              <a:t>model</a:t>
            </a:r>
            <a:endParaRPr lang="en-US" sz="1600" dirty="0" smtClean="0">
              <a:latin typeface="Arial"/>
            </a:endParaRPr>
          </a:p>
          <a:p>
            <a:pPr lvl="1" eaLnBrk="1" hangingPunct="1">
              <a:spcBef>
                <a:spcPts val="1200"/>
              </a:spcBef>
              <a:spcAft>
                <a:spcPts val="0"/>
              </a:spcAft>
              <a:buClr>
                <a:srgbClr val="002960"/>
              </a:buClr>
              <a:buSzPct val="125000"/>
              <a:buFont typeface="Arial" charset="0"/>
              <a:buChar char="▪"/>
            </a:pPr>
            <a:r>
              <a:rPr lang="en-US" sz="1600" dirty="0" smtClean="0">
                <a:latin typeface="Arial"/>
              </a:rPr>
              <a:t>Cultural affinity and understanding</a:t>
            </a:r>
          </a:p>
          <a:p>
            <a:pPr lvl="1" eaLnBrk="1" hangingPunct="1">
              <a:spcBef>
                <a:spcPts val="1200"/>
              </a:spcBef>
              <a:spcAft>
                <a:spcPts val="0"/>
              </a:spcAft>
              <a:buClr>
                <a:srgbClr val="002960"/>
              </a:buClr>
              <a:buSzPct val="125000"/>
              <a:buFont typeface="Arial" charset="0"/>
              <a:buChar char="▪"/>
            </a:pPr>
            <a:r>
              <a:rPr lang="en-US" sz="1600" dirty="0" smtClean="0">
                <a:latin typeface="Arial"/>
              </a:rPr>
              <a:t>Skill and talent development</a:t>
            </a:r>
            <a:endParaRPr lang="en-US" sz="1600" dirty="0">
              <a:latin typeface="Arial"/>
            </a:endParaRPr>
          </a:p>
          <a:p>
            <a:pPr lvl="1" eaLnBrk="1" hangingPunct="1">
              <a:spcBef>
                <a:spcPts val="1200"/>
              </a:spcBef>
              <a:spcAft>
                <a:spcPts val="0"/>
              </a:spcAft>
              <a:buClr>
                <a:srgbClr val="002960"/>
              </a:buClr>
              <a:buSzPct val="125000"/>
              <a:buFont typeface="Arial" charset="0"/>
              <a:buChar char="▪"/>
            </a:pPr>
            <a:r>
              <a:rPr lang="en-US" sz="1600" dirty="0" smtClean="0"/>
              <a:t>Entrepreneurship and service orientation</a:t>
            </a:r>
            <a:endParaRPr lang="en-US" sz="1600" dirty="0"/>
          </a:p>
        </p:txBody>
      </p:sp>
      <p:sp>
        <p:nvSpPr>
          <p:cNvPr id="39" name="Rectangle 16"/>
          <p:cNvSpPr>
            <a:spLocks noChangeArrowheads="1"/>
          </p:cNvSpPr>
          <p:nvPr/>
        </p:nvSpPr>
        <p:spPr bwMode="gray">
          <a:xfrm>
            <a:off x="4934813" y="2536445"/>
            <a:ext cx="2136038"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defRPr sz="1200">
                <a:solidFill>
                  <a:schemeClr val="tx1"/>
                </a:solidFill>
                <a:latin typeface="Arial" charset="0"/>
              </a:defRPr>
            </a:lvl1pPr>
            <a:lvl2pPr marL="193675" indent="-192088"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lvl="1" eaLnBrk="1" hangingPunct="1">
              <a:spcBef>
                <a:spcPts val="1200"/>
              </a:spcBef>
              <a:spcAft>
                <a:spcPts val="0"/>
              </a:spcAft>
              <a:buClr>
                <a:srgbClr val="002960"/>
              </a:buClr>
              <a:buSzPct val="125000"/>
              <a:buFont typeface="Arial" charset="0"/>
              <a:buChar char="▪"/>
            </a:pPr>
            <a:r>
              <a:rPr lang="en-US" sz="1600" dirty="0" smtClean="0">
                <a:latin typeface="Arial"/>
              </a:rPr>
              <a:t>Suitable base for </a:t>
            </a:r>
            <a:r>
              <a:rPr lang="en-US" sz="1600" dirty="0" err="1" smtClean="0">
                <a:latin typeface="Arial"/>
              </a:rPr>
              <a:t>globalisation</a:t>
            </a:r>
            <a:r>
              <a:rPr lang="en-US" sz="1600" dirty="0" smtClean="0">
                <a:latin typeface="Arial"/>
              </a:rPr>
              <a:t> for Indian companies </a:t>
            </a:r>
          </a:p>
          <a:p>
            <a:pPr lvl="1" eaLnBrk="1" hangingPunct="1">
              <a:spcBef>
                <a:spcPts val="1200"/>
              </a:spcBef>
              <a:spcAft>
                <a:spcPts val="0"/>
              </a:spcAft>
              <a:buClr>
                <a:srgbClr val="002960"/>
              </a:buClr>
              <a:buSzPct val="125000"/>
              <a:buFont typeface="Arial" charset="0"/>
              <a:buChar char="▪"/>
            </a:pPr>
            <a:r>
              <a:rPr lang="en-US" sz="1600" dirty="0" smtClean="0">
                <a:latin typeface="Arial"/>
              </a:rPr>
              <a:t>Largest </a:t>
            </a:r>
            <a:r>
              <a:rPr lang="en-US" sz="1600" dirty="0">
                <a:latin typeface="Arial"/>
              </a:rPr>
              <a:t>working age </a:t>
            </a:r>
            <a:r>
              <a:rPr lang="en-US" sz="1600" dirty="0" smtClean="0">
                <a:latin typeface="Arial"/>
              </a:rPr>
              <a:t>population </a:t>
            </a:r>
          </a:p>
          <a:p>
            <a:pPr lvl="1" eaLnBrk="1" hangingPunct="1">
              <a:spcBef>
                <a:spcPts val="1200"/>
              </a:spcBef>
              <a:spcAft>
                <a:spcPts val="0"/>
              </a:spcAft>
              <a:buClr>
                <a:srgbClr val="002960"/>
              </a:buClr>
              <a:buSzPct val="125000"/>
              <a:buFont typeface="Arial" charset="0"/>
              <a:buChar char="▪"/>
            </a:pPr>
            <a:r>
              <a:rPr lang="en-US" sz="1600" dirty="0" smtClean="0">
                <a:latin typeface="Arial"/>
              </a:rPr>
              <a:t>Huge </a:t>
            </a:r>
            <a:r>
              <a:rPr lang="en-US" sz="1600" dirty="0">
                <a:latin typeface="Arial"/>
              </a:rPr>
              <a:t>untapped </a:t>
            </a:r>
            <a:r>
              <a:rPr lang="en-US" sz="1600" dirty="0" smtClean="0">
                <a:latin typeface="Arial"/>
              </a:rPr>
              <a:t>opportunity in rising middle class</a:t>
            </a:r>
          </a:p>
          <a:p>
            <a:pPr lvl="1" eaLnBrk="1" hangingPunct="1">
              <a:spcBef>
                <a:spcPts val="1200"/>
              </a:spcBef>
              <a:spcAft>
                <a:spcPts val="0"/>
              </a:spcAft>
              <a:buClr>
                <a:srgbClr val="002960"/>
              </a:buClr>
              <a:buSzPct val="125000"/>
              <a:buFont typeface="Arial" charset="0"/>
              <a:buChar char="▪"/>
            </a:pPr>
            <a:r>
              <a:rPr lang="en-US" sz="1600" dirty="0">
                <a:latin typeface="Arial"/>
              </a:rPr>
              <a:t>Vast </a:t>
            </a:r>
            <a:r>
              <a:rPr lang="en-US" sz="1600" dirty="0" smtClean="0">
                <a:latin typeface="Arial"/>
              </a:rPr>
              <a:t>resources</a:t>
            </a:r>
            <a:endParaRPr lang="en-US" sz="1600" dirty="0">
              <a:latin typeface="Arial"/>
            </a:endParaRPr>
          </a:p>
        </p:txBody>
      </p:sp>
      <p:sp>
        <p:nvSpPr>
          <p:cNvPr id="36" name="Rectangle 36"/>
          <p:cNvSpPr txBox="1">
            <a:spLocks/>
          </p:cNvSpPr>
          <p:nvPr/>
        </p:nvSpPr>
        <p:spPr>
          <a:xfrm>
            <a:off x="140633" y="2243290"/>
            <a:ext cx="1743281" cy="33393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Bef>
                <a:spcPts val="600"/>
              </a:spcBef>
            </a:pPr>
            <a:r>
              <a:rPr lang="en-US" b="1" dirty="0"/>
              <a:t>Africa’s needs</a:t>
            </a:r>
          </a:p>
          <a:p>
            <a:pPr lvl="1">
              <a:spcBef>
                <a:spcPts val="600"/>
              </a:spcBef>
            </a:pPr>
            <a:r>
              <a:rPr lang="en-US" dirty="0"/>
              <a:t>Constructive </a:t>
            </a:r>
            <a:r>
              <a:rPr lang="en-US" dirty="0" err="1"/>
              <a:t>FDI</a:t>
            </a:r>
            <a:endParaRPr lang="en-US" dirty="0"/>
          </a:p>
          <a:p>
            <a:pPr lvl="1">
              <a:spcBef>
                <a:spcPts val="600"/>
              </a:spcBef>
            </a:pPr>
            <a:r>
              <a:rPr lang="en-US" dirty="0"/>
              <a:t>Employment and job opportunities</a:t>
            </a:r>
          </a:p>
          <a:p>
            <a:pPr lvl="1">
              <a:spcBef>
                <a:spcPts val="600"/>
              </a:spcBef>
            </a:pPr>
            <a:r>
              <a:rPr lang="en-US" dirty="0"/>
              <a:t>Education </a:t>
            </a:r>
            <a:br>
              <a:rPr lang="en-US" dirty="0"/>
            </a:br>
            <a:r>
              <a:rPr lang="en-US" dirty="0"/>
              <a:t>and skill development</a:t>
            </a:r>
          </a:p>
          <a:p>
            <a:pPr lvl="1">
              <a:spcBef>
                <a:spcPts val="600"/>
              </a:spcBef>
            </a:pPr>
            <a:r>
              <a:rPr lang="en-US" dirty="0"/>
              <a:t>Low cost healthcare solutions</a:t>
            </a:r>
          </a:p>
          <a:p>
            <a:pPr lvl="1">
              <a:spcBef>
                <a:spcPts val="600"/>
              </a:spcBef>
            </a:pPr>
            <a:r>
              <a:rPr lang="en-US" dirty="0"/>
              <a:t>Infrastructure </a:t>
            </a:r>
            <a:br>
              <a:rPr lang="en-US" dirty="0"/>
            </a:br>
            <a:r>
              <a:rPr lang="en-US" dirty="0"/>
              <a:t>and </a:t>
            </a:r>
            <a:r>
              <a:rPr lang="en-US" dirty="0" smtClean="0"/>
              <a:t>capital</a:t>
            </a:r>
          </a:p>
        </p:txBody>
      </p:sp>
      <p:sp>
        <p:nvSpPr>
          <p:cNvPr id="43" name="Isosceles Triangle 42"/>
          <p:cNvSpPr>
            <a:spLocks/>
          </p:cNvSpPr>
          <p:nvPr/>
        </p:nvSpPr>
        <p:spPr>
          <a:xfrm rot="5400000" flipH="1">
            <a:off x="2533059" y="3757468"/>
            <a:ext cx="3377981" cy="272415"/>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47" name="Rectangle 36"/>
          <p:cNvSpPr txBox="1">
            <a:spLocks/>
          </p:cNvSpPr>
          <p:nvPr/>
        </p:nvSpPr>
        <p:spPr>
          <a:xfrm>
            <a:off x="7195163" y="2243290"/>
            <a:ext cx="1618922" cy="220060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spcBef>
                <a:spcPts val="600"/>
              </a:spcBef>
            </a:pPr>
            <a:r>
              <a:rPr lang="en-US" b="1" dirty="0" smtClean="0"/>
              <a:t>India’s </a:t>
            </a:r>
            <a:r>
              <a:rPr lang="en-US" b="1" dirty="0"/>
              <a:t>needs</a:t>
            </a:r>
          </a:p>
          <a:p>
            <a:pPr lvl="1">
              <a:spcBef>
                <a:spcPts val="600"/>
              </a:spcBef>
            </a:pPr>
            <a:r>
              <a:rPr lang="en-US" dirty="0"/>
              <a:t>High return and growth opportunity</a:t>
            </a:r>
          </a:p>
          <a:p>
            <a:pPr lvl="1">
              <a:spcBef>
                <a:spcPts val="600"/>
              </a:spcBef>
            </a:pPr>
            <a:r>
              <a:rPr lang="en-US" dirty="0"/>
              <a:t>Hedging of resources risk</a:t>
            </a:r>
          </a:p>
          <a:p>
            <a:pPr lvl="1">
              <a:spcBef>
                <a:spcPts val="600"/>
              </a:spcBef>
            </a:pPr>
            <a:r>
              <a:rPr lang="en-US" dirty="0"/>
              <a:t>Base for </a:t>
            </a:r>
            <a:r>
              <a:rPr lang="en-US" dirty="0" err="1"/>
              <a:t>globalisation</a:t>
            </a:r>
            <a:endParaRPr lang="en-US" dirty="0" smtClean="0"/>
          </a:p>
        </p:txBody>
      </p:sp>
      <p:pic>
        <p:nvPicPr>
          <p:cNvPr id="48" name="Picture 8"/>
          <p:cNvPicPr>
            <a:picLocks noChangeAspect="1" noChangeArrowheads="1"/>
          </p:cNvPicPr>
          <p:nvPr/>
        </p:nvPicPr>
        <p:blipFill>
          <a:blip r:embed="rId13" cstate="email">
            <a:duotone>
              <a:prstClr val="black"/>
              <a:srgbClr val="92D050">
                <a:tint val="45000"/>
                <a:satMod val="400000"/>
              </a:srgbClr>
            </a:duotone>
            <a:extLst>
              <a:ext uri="{28A0092B-C50C-407E-A947-70E740481C1C}">
                <a14:useLocalDpi xmlns:a14="http://schemas.microsoft.com/office/drawing/2010/main"/>
              </a:ext>
            </a:extLst>
          </a:blip>
          <a:srcRect/>
          <a:stretch>
            <a:fillRect/>
          </a:stretch>
        </p:blipFill>
        <p:spPr bwMode="gray">
          <a:xfrm>
            <a:off x="568974" y="1230115"/>
            <a:ext cx="836000" cy="928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9"/>
          <p:cNvPicPr>
            <a:picLocks noChangeAspect="1" noChangeArrowheads="1"/>
          </p:cNvPicPr>
          <p:nvPr/>
        </p:nvPicPr>
        <p:blipFill>
          <a:blip r:embed="rId14" cstate="email">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gray">
          <a:xfrm>
            <a:off x="7545562" y="1222085"/>
            <a:ext cx="918124" cy="1000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Isosceles Triangle 43"/>
          <p:cNvSpPr>
            <a:spLocks/>
          </p:cNvSpPr>
          <p:nvPr/>
        </p:nvSpPr>
        <p:spPr>
          <a:xfrm rot="16200000">
            <a:off x="3087874" y="3757467"/>
            <a:ext cx="3377982" cy="272415"/>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grpSp>
        <p:nvGrpSpPr>
          <p:cNvPr id="5" name="Group 4"/>
          <p:cNvGrpSpPr/>
          <p:nvPr/>
        </p:nvGrpSpPr>
        <p:grpSpPr>
          <a:xfrm>
            <a:off x="1858060" y="1645658"/>
            <a:ext cx="5275476" cy="714375"/>
            <a:chOff x="1858060" y="1645658"/>
            <a:chExt cx="5275476" cy="714375"/>
          </a:xfrm>
        </p:grpSpPr>
        <p:pic>
          <p:nvPicPr>
            <p:cNvPr id="28" name="Picture 5"/>
            <p:cNvPicPr>
              <a:picLocks noChangeArrowheads="1"/>
            </p:cNvPicPr>
            <p:nvPr>
              <p:custDataLst>
                <p:tags r:id="rId5"/>
              </p:custDataLst>
            </p:nvPr>
          </p:nvPicPr>
          <p:blipFill rotWithShape="1">
            <a:blip r:embed="rId15" cstate="email">
              <a:extLst>
                <a:ext uri="{28A0092B-C50C-407E-A947-70E740481C1C}">
                  <a14:useLocalDpi xmlns:a14="http://schemas.microsoft.com/office/drawing/2010/main"/>
                </a:ext>
              </a:extLst>
            </a:blip>
            <a:srcRect r="10606"/>
            <a:stretch/>
          </p:blipFill>
          <p:spPr bwMode="auto">
            <a:xfrm>
              <a:off x="2773680" y="1645658"/>
              <a:ext cx="1348739"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29"/>
            <p:cNvSpPr>
              <a:spLocks/>
            </p:cNvSpPr>
            <p:nvPr>
              <p:custDataLst>
                <p:tags r:id="rId6"/>
              </p:custDataLst>
            </p:nvPr>
          </p:nvSpPr>
          <p:spPr>
            <a:xfrm>
              <a:off x="1858060" y="1645658"/>
              <a:ext cx="2264357" cy="714375"/>
            </a:xfrm>
            <a:prstGeom prst="rect">
              <a:avLst/>
            </a:prstGeom>
            <a:gradFill flip="none" rotWithShape="1">
              <a:gsLst>
                <a:gs pos="48000">
                  <a:schemeClr val="accent5"/>
                </a:gs>
                <a:gs pos="80000">
                  <a:schemeClr val="bg1">
                    <a:alpha val="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54864" rIns="54864" rtlCol="0" anchor="ctr"/>
            <a:lstStyle/>
            <a:p>
              <a:r>
                <a:rPr lang="en-US" b="1" dirty="0" smtClean="0">
                  <a:solidFill>
                    <a:schemeClr val="bg1"/>
                  </a:solidFill>
                </a:rPr>
                <a:t>India’s value </a:t>
              </a:r>
            </a:p>
            <a:p>
              <a:r>
                <a:rPr lang="en-US" b="1" dirty="0" smtClean="0">
                  <a:solidFill>
                    <a:schemeClr val="bg1"/>
                  </a:solidFill>
                </a:rPr>
                <a:t>proposition</a:t>
              </a:r>
              <a:endParaRPr lang="en-GB" b="1" dirty="0" err="1">
                <a:solidFill>
                  <a:schemeClr val="bg1"/>
                </a:solidFill>
              </a:endParaRPr>
            </a:p>
          </p:txBody>
        </p:sp>
        <p:pic>
          <p:nvPicPr>
            <p:cNvPr id="29" name="Picture 2"/>
            <p:cNvPicPr>
              <a:picLocks noChangeArrowheads="1"/>
            </p:cNvPicPr>
            <p:nvPr>
              <p:custDataLst>
                <p:tags r:id="rId7"/>
              </p:custDataLst>
            </p:nvPr>
          </p:nvPicPr>
          <p:blipFill rotWithShape="1">
            <a:blip r:embed="rId16" cstate="email">
              <a:extLst>
                <a:ext uri="{28A0092B-C50C-407E-A947-70E740481C1C}">
                  <a14:useLocalDpi xmlns:a14="http://schemas.microsoft.com/office/drawing/2010/main"/>
                </a:ext>
              </a:extLst>
            </a:blip>
            <a:srcRect/>
            <a:stretch/>
          </p:blipFill>
          <p:spPr bwMode="auto">
            <a:xfrm>
              <a:off x="5649454" y="1645658"/>
              <a:ext cx="1484082" cy="71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a:spLocks/>
            </p:cNvSpPr>
            <p:nvPr>
              <p:custDataLst>
                <p:tags r:id="rId8"/>
              </p:custDataLst>
            </p:nvPr>
          </p:nvSpPr>
          <p:spPr>
            <a:xfrm>
              <a:off x="4869179" y="1645658"/>
              <a:ext cx="2264357" cy="714375"/>
            </a:xfrm>
            <a:prstGeom prst="rect">
              <a:avLst/>
            </a:prstGeom>
            <a:gradFill flip="none" rotWithShape="1">
              <a:gsLst>
                <a:gs pos="48000">
                  <a:srgbClr val="92D050"/>
                </a:gs>
                <a:gs pos="80000">
                  <a:schemeClr val="bg1">
                    <a:alpha val="0"/>
                  </a:schemeClr>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54864" rIns="54864" rtlCol="0" anchor="ctr"/>
            <a:lstStyle/>
            <a:p>
              <a:r>
                <a:rPr lang="en-US" b="1" dirty="0" smtClean="0">
                  <a:solidFill>
                    <a:schemeClr val="bg1"/>
                  </a:solidFill>
                </a:rPr>
                <a:t>Africa’s value </a:t>
              </a:r>
            </a:p>
            <a:p>
              <a:r>
                <a:rPr lang="en-US" b="1" dirty="0" smtClean="0">
                  <a:solidFill>
                    <a:schemeClr val="bg1"/>
                  </a:solidFill>
                </a:rPr>
                <a:t>proposition</a:t>
              </a:r>
              <a:endParaRPr lang="en-GB" b="1" dirty="0" err="1">
                <a:solidFill>
                  <a:schemeClr val="bg1"/>
                </a:solidFill>
              </a:endParaRPr>
            </a:p>
          </p:txBody>
        </p:sp>
      </p:grpSp>
    </p:spTree>
    <p:extLst>
      <p:ext uri="{BB962C8B-B14F-4D97-AF65-F5344CB8AC3E}">
        <p14:creationId xmlns:p14="http://schemas.microsoft.com/office/powerpoint/2010/main" val="33730186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161948"/>
            <a:ext cx="8618537" cy="615553"/>
          </a:xfrm>
        </p:spPr>
        <p:txBody>
          <a:bodyPr/>
          <a:lstStyle/>
          <a:p>
            <a:r>
              <a:rPr lang="en-GB" dirty="0" smtClean="0"/>
              <a:t>Some Indian companies are already participating in the </a:t>
            </a:r>
            <a:br>
              <a:rPr lang="en-GB" dirty="0" smtClean="0"/>
            </a:br>
            <a:r>
              <a:rPr lang="en-GB" dirty="0" smtClean="0"/>
              <a:t>Africa opportunity</a:t>
            </a:r>
            <a:endParaRPr lang="en-GB" dirty="0"/>
          </a:p>
        </p:txBody>
      </p:sp>
      <p:sp>
        <p:nvSpPr>
          <p:cNvPr id="5" name="McK 5. Source"/>
          <p:cNvSpPr>
            <a:spLocks noChangeArrowheads="1"/>
          </p:cNvSpPr>
          <p:nvPr userDrawn="1"/>
        </p:nvSpPr>
        <p:spPr bwMode="auto">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US" sz="1000" dirty="0">
                <a:solidFill>
                  <a:srgbClr val="000000"/>
                </a:solidFill>
              </a:rPr>
              <a:t>SOURCE: </a:t>
            </a:r>
            <a:r>
              <a:rPr lang="en-US" sz="1000" dirty="0" smtClean="0">
                <a:solidFill>
                  <a:srgbClr val="000000"/>
                </a:solidFill>
              </a:rPr>
              <a:t>Company websites</a:t>
            </a:r>
            <a:endParaRPr lang="en-US" sz="1000" dirty="0">
              <a:solidFill>
                <a:srgbClr val="000000"/>
              </a:solidFill>
            </a:endParaRPr>
          </a:p>
        </p:txBody>
      </p:sp>
      <p:sp>
        <p:nvSpPr>
          <p:cNvPr id="8" name="Rectangle 7"/>
          <p:cNvSpPr>
            <a:spLocks/>
          </p:cNvSpPr>
          <p:nvPr>
            <p:custDataLst>
              <p:tags r:id="rId1"/>
            </p:custDataLst>
          </p:nvPr>
        </p:nvSpPr>
        <p:spPr bwMode="gray">
          <a:xfrm>
            <a:off x="193724" y="796517"/>
            <a:ext cx="1998205" cy="2714371"/>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p>
        </p:txBody>
      </p:sp>
      <p:sp>
        <p:nvSpPr>
          <p:cNvPr id="9" name="Rectangle 7"/>
          <p:cNvSpPr>
            <a:spLocks noChangeArrowheads="1"/>
          </p:cNvSpPr>
          <p:nvPr>
            <p:custDataLst>
              <p:tags r:id="rId2"/>
            </p:custDataLst>
          </p:nvPr>
        </p:nvSpPr>
        <p:spPr bwMode="gray">
          <a:xfrm>
            <a:off x="193724" y="7965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Energy and mining</a:t>
            </a:r>
            <a:endParaRPr lang="en-ZA" sz="1400" b="1" dirty="0">
              <a:solidFill>
                <a:schemeClr val="bg1"/>
              </a:solidFill>
            </a:endParaRPr>
          </a:p>
        </p:txBody>
      </p:sp>
      <p:grpSp>
        <p:nvGrpSpPr>
          <p:cNvPr id="14" name="Group 13"/>
          <p:cNvGrpSpPr/>
          <p:nvPr/>
        </p:nvGrpSpPr>
        <p:grpSpPr>
          <a:xfrm>
            <a:off x="7369340" y="285750"/>
            <a:ext cx="1368260" cy="212366"/>
            <a:chOff x="7369340" y="285750"/>
            <a:chExt cx="1368260" cy="212366"/>
          </a:xfrm>
        </p:grpSpPr>
        <p:sp>
          <p:nvSpPr>
            <p:cNvPr id="11" name="StickerRectangle"/>
            <p:cNvSpPr>
              <a:spLocks noChangeArrowheads="1"/>
            </p:cNvSpPr>
            <p:nvPr/>
          </p:nvSpPr>
          <p:spPr bwMode="auto">
            <a:xfrm>
              <a:off x="7369340" y="285750"/>
              <a:ext cx="136826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GB" sz="1200" smtClean="0">
                  <a:solidFill>
                    <a:srgbClr val="808080"/>
                  </a:solidFill>
                  <a:latin typeface="+mn-lt"/>
                </a:rPr>
                <a:t>NOT EXHAUSTIVE</a:t>
              </a:r>
              <a:endParaRPr lang="en-GB" sz="1200" dirty="0">
                <a:solidFill>
                  <a:srgbClr val="808080"/>
                </a:solidFill>
                <a:latin typeface="+mn-lt"/>
              </a:endParaRPr>
            </a:p>
          </p:txBody>
        </p:sp>
        <p:cxnSp>
          <p:nvCxnSpPr>
            <p:cNvPr id="12" name="AutoShape 31"/>
            <p:cNvCxnSpPr>
              <a:cxnSpLocks noChangeShapeType="1"/>
              <a:stCxn id="11" idx="2"/>
              <a:endCxn id="11" idx="4"/>
            </p:cNvCxnSpPr>
            <p:nvPr/>
          </p:nvCxnSpPr>
          <p:spPr bwMode="auto">
            <a:xfrm>
              <a:off x="736934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3" name="AutoShape 32"/>
            <p:cNvCxnSpPr>
              <a:cxnSpLocks noChangeShapeType="1"/>
              <a:stCxn id="11" idx="4"/>
              <a:endCxn id="11" idx="6"/>
            </p:cNvCxnSpPr>
            <p:nvPr/>
          </p:nvCxnSpPr>
          <p:spPr bwMode="auto">
            <a:xfrm>
              <a:off x="7369340" y="498116"/>
              <a:ext cx="136826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23" name="Rectangle 22"/>
          <p:cNvSpPr>
            <a:spLocks/>
          </p:cNvSpPr>
          <p:nvPr>
            <p:custDataLst>
              <p:tags r:id="rId3"/>
            </p:custDataLst>
          </p:nvPr>
        </p:nvSpPr>
        <p:spPr bwMode="gray">
          <a:xfrm>
            <a:off x="2385653" y="796517"/>
            <a:ext cx="1998205" cy="2714371"/>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p>
        </p:txBody>
      </p:sp>
      <p:sp>
        <p:nvSpPr>
          <p:cNvPr id="24" name="Rectangle 7"/>
          <p:cNvSpPr>
            <a:spLocks noChangeArrowheads="1"/>
          </p:cNvSpPr>
          <p:nvPr>
            <p:custDataLst>
              <p:tags r:id="rId4"/>
            </p:custDataLst>
          </p:nvPr>
        </p:nvSpPr>
        <p:spPr bwMode="gray">
          <a:xfrm>
            <a:off x="2385653" y="7965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Communication</a:t>
            </a:r>
            <a:endParaRPr lang="en-ZA" sz="1400" b="1" dirty="0">
              <a:solidFill>
                <a:schemeClr val="bg1"/>
              </a:solidFill>
            </a:endParaRPr>
          </a:p>
        </p:txBody>
      </p:sp>
      <p:sp>
        <p:nvSpPr>
          <p:cNvPr id="26" name="Rectangle 25"/>
          <p:cNvSpPr>
            <a:spLocks/>
          </p:cNvSpPr>
          <p:nvPr>
            <p:custDataLst>
              <p:tags r:id="rId5"/>
            </p:custDataLst>
          </p:nvPr>
        </p:nvSpPr>
        <p:spPr bwMode="gray">
          <a:xfrm>
            <a:off x="4577582" y="796517"/>
            <a:ext cx="1998205" cy="2714371"/>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p>
        </p:txBody>
      </p:sp>
      <p:sp>
        <p:nvSpPr>
          <p:cNvPr id="27" name="Rectangle 7"/>
          <p:cNvSpPr>
            <a:spLocks noChangeArrowheads="1"/>
          </p:cNvSpPr>
          <p:nvPr>
            <p:custDataLst>
              <p:tags r:id="rId6"/>
            </p:custDataLst>
          </p:nvPr>
        </p:nvSpPr>
        <p:spPr bwMode="gray">
          <a:xfrm>
            <a:off x="4577582" y="7965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Manufacturing</a:t>
            </a:r>
            <a:endParaRPr lang="en-ZA" sz="1400" b="1" dirty="0">
              <a:solidFill>
                <a:schemeClr val="bg1"/>
              </a:solidFill>
            </a:endParaRPr>
          </a:p>
        </p:txBody>
      </p:sp>
      <p:sp>
        <p:nvSpPr>
          <p:cNvPr id="29" name="Rectangle 28"/>
          <p:cNvSpPr>
            <a:spLocks/>
          </p:cNvSpPr>
          <p:nvPr>
            <p:custDataLst>
              <p:tags r:id="rId7"/>
            </p:custDataLst>
          </p:nvPr>
        </p:nvSpPr>
        <p:spPr bwMode="gray">
          <a:xfrm>
            <a:off x="6769511" y="796517"/>
            <a:ext cx="1998205" cy="2714371"/>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p>
        </p:txBody>
      </p:sp>
      <p:sp>
        <p:nvSpPr>
          <p:cNvPr id="30" name="Rectangle 7"/>
          <p:cNvSpPr>
            <a:spLocks noChangeArrowheads="1"/>
          </p:cNvSpPr>
          <p:nvPr>
            <p:custDataLst>
              <p:tags r:id="rId8"/>
            </p:custDataLst>
          </p:nvPr>
        </p:nvSpPr>
        <p:spPr bwMode="gray">
          <a:xfrm>
            <a:off x="6769511" y="7965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Agriculture</a:t>
            </a:r>
            <a:endParaRPr lang="en-ZA" sz="1400" b="1" dirty="0">
              <a:solidFill>
                <a:schemeClr val="bg1"/>
              </a:solidFill>
            </a:endParaRPr>
          </a:p>
        </p:txBody>
      </p:sp>
      <p:sp>
        <p:nvSpPr>
          <p:cNvPr id="32" name="Rectangle 31"/>
          <p:cNvSpPr>
            <a:spLocks/>
          </p:cNvSpPr>
          <p:nvPr>
            <p:custDataLst>
              <p:tags r:id="rId9"/>
            </p:custDataLst>
          </p:nvPr>
        </p:nvSpPr>
        <p:spPr bwMode="gray">
          <a:xfrm>
            <a:off x="193724" y="3601818"/>
            <a:ext cx="1998205" cy="2699896"/>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p>
        </p:txBody>
      </p:sp>
      <p:sp>
        <p:nvSpPr>
          <p:cNvPr id="33" name="Rectangle 7"/>
          <p:cNvSpPr>
            <a:spLocks noChangeArrowheads="1"/>
          </p:cNvSpPr>
          <p:nvPr>
            <p:custDataLst>
              <p:tags r:id="rId10"/>
            </p:custDataLst>
          </p:nvPr>
        </p:nvSpPr>
        <p:spPr bwMode="gray">
          <a:xfrm>
            <a:off x="193724" y="36018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Services </a:t>
            </a:r>
            <a:endParaRPr lang="en-ZA" sz="1400" b="1" dirty="0">
              <a:solidFill>
                <a:schemeClr val="bg1"/>
              </a:solidFill>
            </a:endParaRPr>
          </a:p>
        </p:txBody>
      </p:sp>
      <p:sp>
        <p:nvSpPr>
          <p:cNvPr id="35" name="Rectangle 34"/>
          <p:cNvSpPr>
            <a:spLocks/>
          </p:cNvSpPr>
          <p:nvPr>
            <p:custDataLst>
              <p:tags r:id="rId11"/>
            </p:custDataLst>
          </p:nvPr>
        </p:nvSpPr>
        <p:spPr bwMode="gray">
          <a:xfrm>
            <a:off x="2385653" y="3601818"/>
            <a:ext cx="1998205" cy="2699896"/>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p>
        </p:txBody>
      </p:sp>
      <p:sp>
        <p:nvSpPr>
          <p:cNvPr id="36" name="Rectangle 7"/>
          <p:cNvSpPr>
            <a:spLocks noChangeArrowheads="1"/>
          </p:cNvSpPr>
          <p:nvPr>
            <p:custDataLst>
              <p:tags r:id="rId12"/>
            </p:custDataLst>
          </p:nvPr>
        </p:nvSpPr>
        <p:spPr bwMode="gray">
          <a:xfrm>
            <a:off x="2385653" y="36018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Financial services</a:t>
            </a:r>
            <a:endParaRPr lang="en-ZA" sz="1400" b="1" dirty="0">
              <a:solidFill>
                <a:schemeClr val="bg1"/>
              </a:solidFill>
            </a:endParaRPr>
          </a:p>
        </p:txBody>
      </p:sp>
      <p:sp>
        <p:nvSpPr>
          <p:cNvPr id="38" name="Rectangle 37"/>
          <p:cNvSpPr>
            <a:spLocks/>
          </p:cNvSpPr>
          <p:nvPr>
            <p:custDataLst>
              <p:tags r:id="rId13"/>
            </p:custDataLst>
          </p:nvPr>
        </p:nvSpPr>
        <p:spPr bwMode="gray">
          <a:xfrm>
            <a:off x="4577582" y="3601818"/>
            <a:ext cx="1998205" cy="2699896"/>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p>
        </p:txBody>
      </p:sp>
      <p:sp>
        <p:nvSpPr>
          <p:cNvPr id="39" name="Rectangle 7"/>
          <p:cNvSpPr>
            <a:spLocks noChangeArrowheads="1"/>
          </p:cNvSpPr>
          <p:nvPr>
            <p:custDataLst>
              <p:tags r:id="rId14"/>
            </p:custDataLst>
          </p:nvPr>
        </p:nvSpPr>
        <p:spPr bwMode="gray">
          <a:xfrm>
            <a:off x="4577582" y="36018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Pharmaceuticals</a:t>
            </a:r>
            <a:endParaRPr lang="en-ZA" sz="1400" b="1" dirty="0">
              <a:solidFill>
                <a:schemeClr val="bg1"/>
              </a:solidFill>
            </a:endParaRPr>
          </a:p>
        </p:txBody>
      </p:sp>
      <p:sp>
        <p:nvSpPr>
          <p:cNvPr id="41" name="Rectangle 40"/>
          <p:cNvSpPr>
            <a:spLocks/>
          </p:cNvSpPr>
          <p:nvPr>
            <p:custDataLst>
              <p:tags r:id="rId15"/>
            </p:custDataLst>
          </p:nvPr>
        </p:nvSpPr>
        <p:spPr bwMode="gray">
          <a:xfrm>
            <a:off x="6769511" y="3601818"/>
            <a:ext cx="1998205" cy="2699896"/>
          </a:xfrm>
          <a:prstGeom prst="rect">
            <a:avLst/>
          </a:prstGeom>
          <a:solidFill>
            <a:schemeClr val="bg1"/>
          </a:solidFill>
          <a:ln w="19050">
            <a:solidFill>
              <a:srgbClr val="66A3D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p>
        </p:txBody>
      </p:sp>
      <p:sp>
        <p:nvSpPr>
          <p:cNvPr id="42" name="Rectangle 7"/>
          <p:cNvSpPr>
            <a:spLocks noChangeArrowheads="1"/>
          </p:cNvSpPr>
          <p:nvPr>
            <p:custDataLst>
              <p:tags r:id="rId16"/>
            </p:custDataLst>
          </p:nvPr>
        </p:nvSpPr>
        <p:spPr bwMode="gray">
          <a:xfrm>
            <a:off x="6769511" y="3601817"/>
            <a:ext cx="1998205" cy="397891"/>
          </a:xfrm>
          <a:prstGeom prst="rect">
            <a:avLst/>
          </a:prstGeom>
          <a:solidFill>
            <a:srgbClr val="66A3D7"/>
          </a:solidFill>
          <a:ln w="19050">
            <a:noFill/>
            <a:miter lim="800000"/>
            <a:headEnd/>
            <a:tailEnd/>
          </a:ln>
          <a:effectLst/>
          <a:extLst/>
        </p:spPr>
        <p:txBody>
          <a:bodyPr wrap="square" anchor="ctr"/>
          <a:lstStyle/>
          <a:p>
            <a:r>
              <a:rPr lang="en-ZA" sz="1400" b="1" dirty="0" smtClean="0">
                <a:solidFill>
                  <a:schemeClr val="bg1"/>
                </a:solidFill>
              </a:rPr>
              <a:t>Consumer goods</a:t>
            </a:r>
            <a:endParaRPr lang="en-ZA" sz="1400" b="1" dirty="0">
              <a:solidFill>
                <a:schemeClr val="bg1"/>
              </a:solidFill>
            </a:endParaRPr>
          </a:p>
        </p:txBody>
      </p:sp>
      <p:pic>
        <p:nvPicPr>
          <p:cNvPr id="382978" name="Picture 2"/>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1415095" y="1376293"/>
            <a:ext cx="667374" cy="59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79" name="Picture 3"/>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292608" y="1475711"/>
            <a:ext cx="1042957" cy="395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0" name="Picture 4"/>
          <p:cNvPicPr>
            <a:picLocks noChangeAspect="1" noChangeArrowheads="1"/>
          </p:cNvPicPr>
          <p:nvPr/>
        </p:nvPicPr>
        <p:blipFill rotWithShape="1">
          <a:blip r:embed="rId21" cstate="email">
            <a:extLst>
              <a:ext uri="{28A0092B-C50C-407E-A947-70E740481C1C}">
                <a14:useLocalDpi xmlns:a14="http://schemas.microsoft.com/office/drawing/2010/main"/>
              </a:ext>
            </a:extLst>
          </a:blip>
          <a:srcRect/>
          <a:stretch/>
        </p:blipFill>
        <p:spPr bwMode="auto">
          <a:xfrm>
            <a:off x="292608" y="2013028"/>
            <a:ext cx="694944" cy="815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1" name="Picture 5"/>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93140" y="2969146"/>
            <a:ext cx="1799373" cy="506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2" name="Picture 6"/>
          <p:cNvPicPr>
            <a:picLocks noChangeAspect="1" noChangeArrowheads="1"/>
          </p:cNvPicPr>
          <p:nvPr/>
        </p:nvPicPr>
        <p:blipFill rotWithShape="1">
          <a:blip r:embed="rId23" cstate="email">
            <a:extLst>
              <a:ext uri="{28A0092B-C50C-407E-A947-70E740481C1C}">
                <a14:useLocalDpi xmlns:a14="http://schemas.microsoft.com/office/drawing/2010/main"/>
              </a:ext>
            </a:extLst>
          </a:blip>
          <a:srcRect/>
          <a:stretch/>
        </p:blipFill>
        <p:spPr bwMode="auto">
          <a:xfrm>
            <a:off x="1037489" y="2170610"/>
            <a:ext cx="1076603" cy="500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3" name="Picture 7"/>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2869837" y="1318157"/>
            <a:ext cx="1029836" cy="5767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4" name="Picture 8"/>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3008571" y="1941184"/>
            <a:ext cx="752368" cy="691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5" name="Picture 9"/>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2979677" y="2678782"/>
            <a:ext cx="810157" cy="789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6" name="Picture 10"/>
          <p:cNvPicPr>
            <a:picLocks noChangeAspect="1" noChangeArrowheads="1"/>
          </p:cNvPicPr>
          <p:nvPr/>
        </p:nvPicPr>
        <p:blipFill rotWithShape="1">
          <a:blip r:embed="rId27" cstate="email">
            <a:extLst>
              <a:ext uri="{28A0092B-C50C-407E-A947-70E740481C1C}">
                <a14:useLocalDpi xmlns:a14="http://schemas.microsoft.com/office/drawing/2010/main"/>
              </a:ext>
            </a:extLst>
          </a:blip>
          <a:srcRect/>
          <a:stretch/>
        </p:blipFill>
        <p:spPr bwMode="auto">
          <a:xfrm>
            <a:off x="4752568" y="1334210"/>
            <a:ext cx="1648232" cy="59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8"/>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5200500" y="2013486"/>
            <a:ext cx="752368" cy="691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7" name="Picture 11"/>
          <p:cNvPicPr>
            <a:picLocks noChangeAspect="1" noChangeArrowheads="1"/>
          </p:cNvPicPr>
          <p:nvPr/>
        </p:nvPicPr>
        <p:blipFill>
          <a:blip r:embed="rId28">
            <a:extLst>
              <a:ext uri="{28A0092B-C50C-407E-A947-70E740481C1C}">
                <a14:useLocalDpi xmlns:a14="http://schemas.microsoft.com/office/drawing/2010/main"/>
              </a:ext>
            </a:extLst>
          </a:blip>
          <a:srcRect/>
          <a:stretch>
            <a:fillRect/>
          </a:stretch>
        </p:blipFill>
        <p:spPr bwMode="auto">
          <a:xfrm>
            <a:off x="5171872" y="2787039"/>
            <a:ext cx="809625"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8" name="Picture 12"/>
          <p:cNvPicPr>
            <a:picLocks noChangeAspect="1" noChangeArrowheads="1"/>
          </p:cNvPicPr>
          <p:nvPr/>
        </p:nvPicPr>
        <p:blipFill>
          <a:blip r:embed="rId29">
            <a:extLst>
              <a:ext uri="{28A0092B-C50C-407E-A947-70E740481C1C}">
                <a14:useLocalDpi xmlns:a14="http://schemas.microsoft.com/office/drawing/2010/main"/>
              </a:ext>
            </a:extLst>
          </a:blip>
          <a:srcRect/>
          <a:stretch>
            <a:fillRect/>
          </a:stretch>
        </p:blipFill>
        <p:spPr bwMode="auto">
          <a:xfrm>
            <a:off x="7190583" y="1330701"/>
            <a:ext cx="1156060" cy="610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89" name="Picture 13"/>
          <p:cNvPicPr>
            <a:picLocks noChangeAspect="1" noChangeArrowheads="1"/>
          </p:cNvPicPr>
          <p:nvPr/>
        </p:nvPicPr>
        <p:blipFill rotWithShape="1">
          <a:blip r:embed="rId30" cstate="email">
            <a:extLst>
              <a:ext uri="{28A0092B-C50C-407E-A947-70E740481C1C}">
                <a14:useLocalDpi xmlns:a14="http://schemas.microsoft.com/office/drawing/2010/main"/>
              </a:ext>
            </a:extLst>
          </a:blip>
          <a:srcRect/>
          <a:stretch/>
        </p:blipFill>
        <p:spPr bwMode="auto">
          <a:xfrm>
            <a:off x="7181797" y="2012018"/>
            <a:ext cx="1173634" cy="771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0" name="Picture 14"/>
          <p:cNvPicPr>
            <a:picLocks noChangeAspect="1" noChangeArrowheads="1"/>
          </p:cNvPicPr>
          <p:nvPr/>
        </p:nvPicPr>
        <p:blipFill rotWithShape="1">
          <a:blip r:embed="rId31" cstate="email">
            <a:extLst>
              <a:ext uri="{28A0092B-C50C-407E-A947-70E740481C1C}">
                <a14:useLocalDpi xmlns:a14="http://schemas.microsoft.com/office/drawing/2010/main"/>
              </a:ext>
            </a:extLst>
          </a:blip>
          <a:srcRect/>
          <a:stretch/>
        </p:blipFill>
        <p:spPr bwMode="auto">
          <a:xfrm>
            <a:off x="6962570" y="2854348"/>
            <a:ext cx="1612087" cy="6217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1" name="Picture 15"/>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497391" y="4152333"/>
            <a:ext cx="1390870" cy="64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2" name="Picture 16"/>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634653" y="4862641"/>
            <a:ext cx="1116346" cy="664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3" name="Picture 17"/>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833747" y="5556009"/>
            <a:ext cx="718158" cy="718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4" name="Picture 18"/>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2614477" y="4044246"/>
            <a:ext cx="1540558" cy="748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5" name="Picture 19"/>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2573003" y="4963728"/>
            <a:ext cx="1623504" cy="55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7" name="Picture 21"/>
          <p:cNvPicPr>
            <a:picLocks noChangeAspect="1" noChangeArrowheads="1"/>
          </p:cNvPicPr>
          <p:nvPr/>
        </p:nvPicPr>
        <p:blipFill>
          <a:blip r:embed="rId37">
            <a:extLst>
              <a:ext uri="{28A0092B-C50C-407E-A947-70E740481C1C}">
                <a14:useLocalDpi xmlns:a14="http://schemas.microsoft.com/office/drawing/2010/main"/>
              </a:ext>
            </a:extLst>
          </a:blip>
          <a:srcRect/>
          <a:stretch>
            <a:fillRect/>
          </a:stretch>
        </p:blipFill>
        <p:spPr bwMode="auto">
          <a:xfrm>
            <a:off x="4646651" y="4150562"/>
            <a:ext cx="19050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8" name="Picture 22"/>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4733313" y="4896180"/>
            <a:ext cx="1754633" cy="587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2999" name="Picture 23"/>
          <p:cNvPicPr>
            <a:picLocks noChangeAspect="1" noChangeArrowheads="1"/>
          </p:cNvPicPr>
          <p:nvPr/>
        </p:nvPicPr>
        <p:blipFill>
          <a:blip r:embed="rId39" cstate="email">
            <a:extLst>
              <a:ext uri="{28A0092B-C50C-407E-A947-70E740481C1C}">
                <a14:useLocalDpi xmlns:a14="http://schemas.microsoft.com/office/drawing/2010/main"/>
              </a:ext>
            </a:extLst>
          </a:blip>
          <a:srcRect/>
          <a:stretch>
            <a:fillRect/>
          </a:stretch>
        </p:blipFill>
        <p:spPr bwMode="auto">
          <a:xfrm>
            <a:off x="4592211" y="5648666"/>
            <a:ext cx="1887196" cy="55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3000" name="Picture 24"/>
          <p:cNvPicPr>
            <a:picLocks noChangeAspect="1" noChangeArrowheads="1"/>
          </p:cNvPicPr>
          <p:nvPr/>
        </p:nvPicPr>
        <p:blipFill>
          <a:blip r:embed="rId40" cstate="email">
            <a:extLst>
              <a:ext uri="{28A0092B-C50C-407E-A947-70E740481C1C}">
                <a14:useLocalDpi xmlns:a14="http://schemas.microsoft.com/office/drawing/2010/main"/>
              </a:ext>
            </a:extLst>
          </a:blip>
          <a:srcRect/>
          <a:stretch>
            <a:fillRect/>
          </a:stretch>
        </p:blipFill>
        <p:spPr bwMode="auto">
          <a:xfrm>
            <a:off x="6939632" y="4249010"/>
            <a:ext cx="800953" cy="64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3001" name="Picture 25"/>
          <p:cNvPicPr>
            <a:picLocks noChangeAspect="1" noChangeArrowheads="1"/>
          </p:cNvPicPr>
          <p:nvPr/>
        </p:nvPicPr>
        <p:blipFill rotWithShape="1">
          <a:blip r:embed="rId41" cstate="email">
            <a:extLst>
              <a:ext uri="{28A0092B-C50C-407E-A947-70E740481C1C}">
                <a14:useLocalDpi xmlns:a14="http://schemas.microsoft.com/office/drawing/2010/main"/>
              </a:ext>
            </a:extLst>
          </a:blip>
          <a:srcRect/>
          <a:stretch/>
        </p:blipFill>
        <p:spPr bwMode="auto">
          <a:xfrm>
            <a:off x="6877905" y="5387564"/>
            <a:ext cx="919242" cy="514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3002" name="Picture 26"/>
          <p:cNvPicPr>
            <a:picLocks noChangeAspect="1" noChangeArrowheads="1"/>
          </p:cNvPicPr>
          <p:nvPr/>
        </p:nvPicPr>
        <p:blipFill>
          <a:blip r:embed="rId42" cstate="email">
            <a:extLst>
              <a:ext uri="{28A0092B-C50C-407E-A947-70E740481C1C}">
                <a14:useLocalDpi xmlns:a14="http://schemas.microsoft.com/office/drawing/2010/main"/>
              </a:ext>
            </a:extLst>
          </a:blip>
          <a:srcRect/>
          <a:stretch>
            <a:fillRect/>
          </a:stretch>
        </p:blipFill>
        <p:spPr bwMode="auto">
          <a:xfrm>
            <a:off x="7850274" y="4224442"/>
            <a:ext cx="800112" cy="693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1170" name="Picture 2" descr="http://www.dabur.com/en/media/logo/Celebrate_Life.jpg"/>
          <p:cNvPicPr>
            <a:picLocks noChangeAspect="1" noChangeArrowheads="1"/>
          </p:cNvPicPr>
          <p:nvPr/>
        </p:nvPicPr>
        <p:blipFill>
          <a:blip r:embed="rId43" cstate="email">
            <a:extLst>
              <a:ext uri="{28A0092B-C50C-407E-A947-70E740481C1C}">
                <a14:useLocalDpi xmlns:a14="http://schemas.microsoft.com/office/drawing/2010/main"/>
              </a:ext>
            </a:extLst>
          </a:blip>
          <a:srcRect/>
          <a:stretch>
            <a:fillRect/>
          </a:stretch>
        </p:blipFill>
        <p:spPr bwMode="auto">
          <a:xfrm>
            <a:off x="7850274" y="5104257"/>
            <a:ext cx="881630" cy="991060"/>
          </a:xfrm>
          <a:prstGeom prst="rect">
            <a:avLst/>
          </a:prstGeom>
          <a:noFill/>
          <a:extLst>
            <a:ext uri="{909E8E84-426E-40DD-AFC4-6F175D3DCCD1}">
              <a14:hiddenFill xmlns:a14="http://schemas.microsoft.com/office/drawing/2010/main">
                <a:solidFill>
                  <a:srgbClr val="FFFFFF"/>
                </a:solidFill>
              </a14:hiddenFill>
            </a:ext>
          </a:extLst>
        </p:spPr>
      </p:pic>
      <p:pic>
        <p:nvPicPr>
          <p:cNvPr id="39939" name="Picture 3"/>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2846624" y="5477178"/>
            <a:ext cx="1250546" cy="7694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82845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703838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5" name="Object 4"/>
          <p:cNvPicPr>
            <a:picLocks noChangeAspect="1"/>
          </p:cNvPicPr>
          <p:nvPr/>
        </p:nvPicPr>
        <p:blipFill>
          <a:blip r:embed="rId6"/>
          <a:srcRect/>
          <a:stretch>
            <a:fillRect/>
          </a:stretch>
        </p:blipFill>
        <p:spPr bwMode="gray">
          <a:xfrm>
            <a:off x="0" y="0"/>
            <a:ext cx="158750" cy="158750"/>
          </a:xfrm>
          <a:prstGeom prst="rect">
            <a:avLst/>
          </a:prstGeom>
          <a:noFill/>
        </p:spPr>
      </p:pic>
      <p:sp>
        <p:nvSpPr>
          <p:cNvPr id="15" name="Rectangle 14"/>
          <p:cNvSpPr/>
          <p:nvPr/>
        </p:nvSpPr>
        <p:spPr bwMode="gray">
          <a:xfrm>
            <a:off x="5306215" y="3018294"/>
            <a:ext cx="3278888" cy="1847284"/>
          </a:xfrm>
          <a:prstGeom prst="rect">
            <a:avLst/>
          </a:prstGeom>
          <a:solidFill>
            <a:schemeClr val="accent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err="1" smtClean="0">
              <a:solidFill>
                <a:srgbClr val="000000"/>
              </a:solidFill>
            </a:endParaRPr>
          </a:p>
        </p:txBody>
      </p:sp>
      <p:sp>
        <p:nvSpPr>
          <p:cNvPr id="13" name="Rectangle 12"/>
          <p:cNvSpPr>
            <a:spLocks/>
          </p:cNvSpPr>
          <p:nvPr/>
        </p:nvSpPr>
        <p:spPr bwMode="gray">
          <a:xfrm>
            <a:off x="5306215" y="1141303"/>
            <a:ext cx="3278888" cy="184728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err="1">
              <a:solidFill>
                <a:srgbClr val="000000"/>
              </a:solidFill>
            </a:endParaRPr>
          </a:p>
        </p:txBody>
      </p:sp>
      <p:sp>
        <p:nvSpPr>
          <p:cNvPr id="44" name="Oval 43"/>
          <p:cNvSpPr/>
          <p:nvPr/>
        </p:nvSpPr>
        <p:spPr bwMode="gray">
          <a:xfrm>
            <a:off x="5820506" y="2570153"/>
            <a:ext cx="1380153" cy="489787"/>
          </a:xfrm>
          <a:prstGeom prst="ellipse">
            <a:avLst/>
          </a:prstGeom>
          <a:solidFill>
            <a:srgbClr val="FFC000"/>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300" b="1" dirty="0" smtClean="0">
                <a:solidFill>
                  <a:srgbClr val="000000"/>
                </a:solidFill>
              </a:rPr>
              <a:t>Consumer</a:t>
            </a:r>
            <a:br>
              <a:rPr lang="en-US" sz="1300" b="1" dirty="0" smtClean="0">
                <a:solidFill>
                  <a:srgbClr val="000000"/>
                </a:solidFill>
              </a:rPr>
            </a:br>
            <a:r>
              <a:rPr lang="en-US" sz="1300" b="1" dirty="0" smtClean="0">
                <a:solidFill>
                  <a:srgbClr val="000000"/>
                </a:solidFill>
              </a:rPr>
              <a:t>goods</a:t>
            </a:r>
            <a:endParaRPr lang="en-GB" sz="1300" b="1" dirty="0" err="1">
              <a:solidFill>
                <a:srgbClr val="000000"/>
              </a:solidFill>
            </a:endParaRPr>
          </a:p>
        </p:txBody>
      </p:sp>
      <p:sp>
        <p:nvSpPr>
          <p:cNvPr id="6" name="McK 5. Source"/>
          <p:cNvSpPr>
            <a:spLocks noChangeArrowheads="1"/>
          </p:cNvSpPr>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latin typeface="+mn-lt"/>
              </a:rPr>
              <a:t>SOURCE: Expert interviews; McKinsey analysis</a:t>
            </a:r>
          </a:p>
        </p:txBody>
      </p:sp>
      <p:sp>
        <p:nvSpPr>
          <p:cNvPr id="90" name="Rectangle 89"/>
          <p:cNvSpPr/>
          <p:nvPr/>
        </p:nvSpPr>
        <p:spPr bwMode="gray">
          <a:xfrm>
            <a:off x="1993575" y="5262526"/>
            <a:ext cx="6571463" cy="733462"/>
          </a:xfrm>
          <a:prstGeom prst="rect">
            <a:avLst/>
          </a:prstGeom>
          <a:solidFill>
            <a:schemeClr val="accent6">
              <a:lumMod val="20000"/>
              <a:lumOff val="8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err="1">
              <a:solidFill>
                <a:srgbClr val="000000"/>
              </a:solidFill>
            </a:endParaRPr>
          </a:p>
        </p:txBody>
      </p:sp>
      <p:sp>
        <p:nvSpPr>
          <p:cNvPr id="91" name="Rectangle 18"/>
          <p:cNvSpPr txBox="1"/>
          <p:nvPr/>
        </p:nvSpPr>
        <p:spPr bwMode="gray">
          <a:xfrm>
            <a:off x="2059313" y="5512198"/>
            <a:ext cx="3251252" cy="438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defRPr>
            </a:lvl1pPr>
            <a:lvl2pPr marL="193675" lvl="1" indent="-192088" defTabSz="895350" eaLnBrk="0" hangingPunct="0">
              <a:buClr>
                <a:schemeClr val="tx2"/>
              </a:buClr>
              <a:buSzPct val="125000"/>
              <a:buFont typeface="Arial" pitchFamily="34" charset="0"/>
              <a:buChar char="▪"/>
              <a:defRPr sz="1600">
                <a:latin typeface="+mn-lt"/>
              </a:defRPr>
            </a:lvl2pPr>
            <a:lvl3pPr marL="457200" lvl="2" indent="-261938" defTabSz="895350" eaLnBrk="0" hangingPunct="0">
              <a:buClr>
                <a:schemeClr val="tx2"/>
              </a:buClr>
              <a:buSzPct val="120000"/>
              <a:buFont typeface="Arial" pitchFamily="34" charset="0"/>
              <a:buChar char="–"/>
              <a:defRPr sz="1600">
                <a:latin typeface="+mn-lt"/>
              </a:defRPr>
            </a:lvl3pPr>
            <a:lvl4pPr marL="614363" lvl="3" indent="-155575" defTabSz="895350" eaLnBrk="0" hangingPunct="0">
              <a:buClr>
                <a:schemeClr val="tx2"/>
              </a:buClr>
              <a:buSzPct val="120000"/>
              <a:buFont typeface="Arial" pitchFamily="34" charset="0"/>
              <a:buChar char="▫"/>
              <a:defRPr sz="1600">
                <a:latin typeface="+mn-lt"/>
              </a:defRPr>
            </a:lvl4pPr>
            <a:lvl5pPr marL="746125" lvl="4" indent="-130175" defTabSz="895350" eaLnBrk="0" hangingPunct="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39700" lvl="1" indent="-138113">
              <a:spcBef>
                <a:spcPts val="300"/>
              </a:spcBef>
              <a:buClr>
                <a:srgbClr val="002960"/>
              </a:buClr>
            </a:pPr>
            <a:r>
              <a:rPr lang="en-US" sz="1300" dirty="0" smtClean="0">
                <a:solidFill>
                  <a:srgbClr val="000000"/>
                </a:solidFill>
              </a:rPr>
              <a:t>Employment and job opportunities</a:t>
            </a:r>
          </a:p>
          <a:p>
            <a:pPr marL="139700" lvl="1" indent="-138113">
              <a:spcBef>
                <a:spcPts val="300"/>
              </a:spcBef>
              <a:buClr>
                <a:srgbClr val="002960"/>
              </a:buClr>
            </a:pPr>
            <a:r>
              <a:rPr lang="en-US" sz="1300" dirty="0" smtClean="0">
                <a:solidFill>
                  <a:srgbClr val="000000"/>
                </a:solidFill>
              </a:rPr>
              <a:t>Infrastructure and capital</a:t>
            </a:r>
          </a:p>
        </p:txBody>
      </p:sp>
      <p:sp>
        <p:nvSpPr>
          <p:cNvPr id="92" name="Rectangle 25"/>
          <p:cNvSpPr txBox="1"/>
          <p:nvPr/>
        </p:nvSpPr>
        <p:spPr bwMode="gray">
          <a:xfrm>
            <a:off x="1993575" y="5262525"/>
            <a:ext cx="6571463" cy="241495"/>
          </a:xfrm>
          <a:prstGeom prst="rect">
            <a:avLst/>
          </a:prstGeom>
          <a:solidFill>
            <a:srgbClr val="66A3D7"/>
          </a:solidFill>
          <a:ln w="19050">
            <a:noFill/>
            <a:miter lim="800000"/>
            <a:headEnd/>
            <a:tailEnd/>
          </a:ln>
          <a:effectLst/>
          <a:extLst/>
        </p:spPr>
        <p:txBody>
          <a:bodyPr vert="horz" wrap="square" lIns="72009" tIns="72009" rIns="72009" bIns="72009" numCol="1" anchor="ctr" anchorCtr="0" compatLnSpc="1">
            <a:prstTxWarp prst="textNoShape">
              <a:avLst/>
            </a:prstTxWarp>
            <a:noAutofit/>
          </a:bodyPr>
          <a:lstStyle>
            <a:lvl1pPr marL="342900" lvl="0" indent="-342900" defTabSz="895350" eaLnBrk="0" hangingPunct="0">
              <a:buClr>
                <a:schemeClr val="tx2"/>
              </a:buClr>
              <a:defRPr sz="1600">
                <a:latin typeface="+mn-lt"/>
              </a:defRPr>
            </a:lvl1pPr>
            <a:lvl2pPr marL="193675" lvl="1" indent="-192088" defTabSz="895350" eaLnBrk="0" hangingPunct="0">
              <a:buClr>
                <a:schemeClr val="tx2"/>
              </a:buClr>
              <a:buSzPct val="125000"/>
              <a:buFont typeface="Arial" pitchFamily="34" charset="0"/>
              <a:buChar char="▪"/>
              <a:defRPr sz="1600">
                <a:latin typeface="+mn-lt"/>
              </a:defRPr>
            </a:lvl2pPr>
            <a:lvl3pPr marL="457200" lvl="2" indent="-261938" defTabSz="895350" eaLnBrk="0" hangingPunct="0">
              <a:buClr>
                <a:schemeClr val="tx2"/>
              </a:buClr>
              <a:buSzPct val="120000"/>
              <a:buFont typeface="Arial" pitchFamily="34" charset="0"/>
              <a:buChar char="–"/>
              <a:defRPr sz="1600">
                <a:latin typeface="+mn-lt"/>
              </a:defRPr>
            </a:lvl3pPr>
            <a:lvl4pPr marL="614363" lvl="3" indent="-155575" defTabSz="895350" eaLnBrk="0" hangingPunct="0">
              <a:buClr>
                <a:schemeClr val="tx2"/>
              </a:buClr>
              <a:buSzPct val="120000"/>
              <a:buFont typeface="Arial" pitchFamily="34" charset="0"/>
              <a:buChar char="▫"/>
              <a:defRPr sz="1600">
                <a:latin typeface="+mn-lt"/>
              </a:defRPr>
            </a:lvl4pPr>
            <a:lvl5pPr marL="746125" lvl="4" indent="-130175" defTabSz="895350" eaLnBrk="0" hangingPunct="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indent="0">
              <a:buClr>
                <a:srgbClr val="800000"/>
              </a:buClr>
            </a:pPr>
            <a:r>
              <a:rPr lang="en-US" sz="1300" b="1" dirty="0" smtClean="0">
                <a:solidFill>
                  <a:schemeClr val="bg1"/>
                </a:solidFill>
              </a:rPr>
              <a:t>Africa’s need for trade and investment</a:t>
            </a:r>
            <a:endParaRPr lang="en-US" sz="1300" b="1" dirty="0">
              <a:solidFill>
                <a:schemeClr val="bg1"/>
              </a:solidFill>
            </a:endParaRPr>
          </a:p>
        </p:txBody>
      </p:sp>
      <p:grpSp>
        <p:nvGrpSpPr>
          <p:cNvPr id="8" name="Group 7"/>
          <p:cNvGrpSpPr/>
          <p:nvPr/>
        </p:nvGrpSpPr>
        <p:grpSpPr>
          <a:xfrm>
            <a:off x="119063" y="1397281"/>
            <a:ext cx="1436287" cy="3467100"/>
            <a:chOff x="168675" y="1397281"/>
            <a:chExt cx="1436287" cy="3467100"/>
          </a:xfrm>
        </p:grpSpPr>
        <p:sp>
          <p:nvSpPr>
            <p:cNvPr id="10" name="Rectangle 9"/>
            <p:cNvSpPr>
              <a:spLocks/>
            </p:cNvSpPr>
            <p:nvPr/>
          </p:nvSpPr>
          <p:spPr bwMode="gray">
            <a:xfrm>
              <a:off x="168675" y="1397281"/>
              <a:ext cx="1436287" cy="3467100"/>
            </a:xfrm>
            <a:prstGeom prst="rect">
              <a:avLst/>
            </a:prstGeom>
            <a:solidFill>
              <a:schemeClr val="accent6">
                <a:lumMod val="20000"/>
                <a:lumOff val="80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err="1" smtClean="0">
                <a:solidFill>
                  <a:srgbClr val="000000"/>
                </a:solidFill>
              </a:endParaRPr>
            </a:p>
          </p:txBody>
        </p:sp>
        <p:sp>
          <p:nvSpPr>
            <p:cNvPr id="58" name="Rectangle 18"/>
            <p:cNvSpPr txBox="1"/>
            <p:nvPr/>
          </p:nvSpPr>
          <p:spPr bwMode="gray">
            <a:xfrm>
              <a:off x="209787" y="2185324"/>
              <a:ext cx="135406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342900" lvl="0" indent="-342900" defTabSz="895350" eaLnBrk="0" hangingPunct="0">
                <a:buClr>
                  <a:schemeClr val="tx2"/>
                </a:buClr>
                <a:defRPr>
                  <a:latin typeface="+mn-lt"/>
                </a:defRPr>
              </a:lvl1pPr>
              <a:lvl2pPr marL="139700" lvl="1" indent="-138113" defTabSz="895350" eaLnBrk="0" hangingPunct="0">
                <a:spcBef>
                  <a:spcPts val="300"/>
                </a:spcBef>
                <a:buClr>
                  <a:schemeClr val="accent4"/>
                </a:buClr>
                <a:buSzPct val="125000"/>
                <a:buFont typeface="Arial" pitchFamily="34" charset="0"/>
                <a:buChar char="▪"/>
                <a:defRPr sz="1200">
                  <a:solidFill>
                    <a:srgbClr val="000000"/>
                  </a:solidFill>
                  <a:latin typeface="+mn-lt"/>
                </a:defRPr>
              </a:lvl2pPr>
              <a:lvl3pPr marL="457200" lvl="2" indent="-261938" defTabSz="895350" eaLnBrk="0" hangingPunct="0">
                <a:buClr>
                  <a:schemeClr val="tx2"/>
                </a:buClr>
                <a:buSzPct val="120000"/>
                <a:buFont typeface="Arial" pitchFamily="34" charset="0"/>
                <a:buChar char="–"/>
                <a:defRPr>
                  <a:latin typeface="+mn-lt"/>
                </a:defRPr>
              </a:lvl3pPr>
              <a:lvl4pPr marL="614363" lvl="3" indent="-155575" defTabSz="895350" eaLnBrk="0" hangingPunct="0">
                <a:buClr>
                  <a:schemeClr val="tx2"/>
                </a:buClr>
                <a:buSzPct val="120000"/>
                <a:buFont typeface="Arial" pitchFamily="34" charset="0"/>
                <a:buChar char="▫"/>
                <a:defRPr>
                  <a:latin typeface="+mn-lt"/>
                </a:defRPr>
              </a:lvl4pPr>
              <a:lvl5pPr marL="746125" lvl="4" indent="-130175" defTabSz="895350" eaLnBrk="0" hangingPunct="0">
                <a:buClr>
                  <a:schemeClr val="tx2"/>
                </a:buClr>
                <a:buSzPct val="89000"/>
                <a:buFont typeface="Arial" pitchFamily="34"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800"/>
                </a:spcBef>
                <a:buClr>
                  <a:srgbClr val="002960"/>
                </a:buClr>
              </a:pPr>
              <a:r>
                <a:rPr lang="en-US" sz="1300" dirty="0"/>
                <a:t>Low cost innovation/ </a:t>
              </a:r>
              <a:r>
                <a:rPr lang="en-US" sz="1300" dirty="0" smtClean="0"/>
                <a:t>operating model</a:t>
              </a:r>
              <a:endParaRPr lang="en-US" sz="1300" dirty="0"/>
            </a:p>
            <a:p>
              <a:pPr lvl="1">
                <a:spcBef>
                  <a:spcPts val="800"/>
                </a:spcBef>
                <a:buClr>
                  <a:srgbClr val="002960"/>
                </a:buClr>
              </a:pPr>
              <a:r>
                <a:rPr lang="en-US" sz="1300" dirty="0"/>
                <a:t>Similar market dynamics</a:t>
              </a:r>
            </a:p>
            <a:p>
              <a:pPr lvl="1">
                <a:spcBef>
                  <a:spcPts val="800"/>
                </a:spcBef>
                <a:buClr>
                  <a:srgbClr val="002960"/>
                </a:buClr>
              </a:pPr>
              <a:r>
                <a:rPr lang="en-US" sz="1300" dirty="0"/>
                <a:t>Highly skilled manpower</a:t>
              </a:r>
            </a:p>
            <a:p>
              <a:pPr lvl="1">
                <a:spcBef>
                  <a:spcPts val="800"/>
                </a:spcBef>
                <a:buClr>
                  <a:srgbClr val="002960"/>
                </a:buClr>
              </a:pPr>
              <a:r>
                <a:rPr lang="en-US" sz="1300" dirty="0" smtClean="0"/>
                <a:t>Entrepreneur-ship and service orientation</a:t>
              </a:r>
              <a:endParaRPr lang="en-US" sz="1300" dirty="0"/>
            </a:p>
          </p:txBody>
        </p:sp>
        <p:sp>
          <p:nvSpPr>
            <p:cNvPr id="88" name="Rectangle 25"/>
            <p:cNvSpPr txBox="1">
              <a:spLocks/>
            </p:cNvSpPr>
            <p:nvPr/>
          </p:nvSpPr>
          <p:spPr bwMode="gray">
            <a:xfrm>
              <a:off x="168675" y="1397281"/>
              <a:ext cx="1436287" cy="759674"/>
            </a:xfrm>
            <a:prstGeom prst="rect">
              <a:avLst/>
            </a:prstGeom>
            <a:solidFill>
              <a:srgbClr val="66A3D7"/>
            </a:solidFill>
            <a:ln w="19050">
              <a:noFill/>
              <a:miter lim="800000"/>
              <a:headEnd/>
              <a:tailEnd/>
            </a:ln>
            <a:effectLst/>
            <a:extLst/>
          </p:spPr>
          <p:txBody>
            <a:bodyPr vert="horz" wrap="square" lIns="72009" tIns="72009" rIns="72009" bIns="72009" numCol="1" anchor="ctr" anchorCtr="0" compatLnSpc="1">
              <a:prstTxWarp prst="textNoShape">
                <a:avLst/>
              </a:prstTxWarp>
              <a:noAutofit/>
            </a:bodyPr>
            <a:lstStyle>
              <a:lvl1pPr marL="342900" lvl="0" indent="-342900" defTabSz="895350" eaLnBrk="0" hangingPunct="0">
                <a:buClr>
                  <a:schemeClr val="tx2"/>
                </a:buClr>
                <a:defRPr sz="1600">
                  <a:latin typeface="+mn-lt"/>
                </a:defRPr>
              </a:lvl1pPr>
              <a:lvl2pPr marL="193675" lvl="1" indent="-192088" defTabSz="895350" eaLnBrk="0" hangingPunct="0">
                <a:buClr>
                  <a:schemeClr val="tx2"/>
                </a:buClr>
                <a:buSzPct val="125000"/>
                <a:buFont typeface="Arial" pitchFamily="34" charset="0"/>
                <a:buChar char="▪"/>
                <a:defRPr sz="1600">
                  <a:latin typeface="+mn-lt"/>
                </a:defRPr>
              </a:lvl2pPr>
              <a:lvl3pPr marL="457200" lvl="2" indent="-261938" defTabSz="895350" eaLnBrk="0" hangingPunct="0">
                <a:buClr>
                  <a:schemeClr val="tx2"/>
                </a:buClr>
                <a:buSzPct val="120000"/>
                <a:buFont typeface="Arial" pitchFamily="34" charset="0"/>
                <a:buChar char="–"/>
                <a:defRPr sz="1600">
                  <a:latin typeface="+mn-lt"/>
                </a:defRPr>
              </a:lvl3pPr>
              <a:lvl4pPr marL="614363" lvl="3" indent="-155575" defTabSz="895350" eaLnBrk="0" hangingPunct="0">
                <a:buClr>
                  <a:schemeClr val="tx2"/>
                </a:buClr>
                <a:buSzPct val="120000"/>
                <a:buFont typeface="Arial" pitchFamily="34" charset="0"/>
                <a:buChar char="▫"/>
                <a:defRPr sz="1600">
                  <a:latin typeface="+mn-lt"/>
                </a:defRPr>
              </a:lvl4pPr>
              <a:lvl5pPr marL="746125" lvl="4" indent="-130175" defTabSz="895350" eaLnBrk="0" hangingPunct="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indent="0">
                <a:buClr>
                  <a:srgbClr val="800000"/>
                </a:buClr>
              </a:pPr>
              <a:r>
                <a:rPr lang="en-US" sz="1300" b="1" dirty="0" smtClean="0">
                  <a:solidFill>
                    <a:schemeClr val="bg1"/>
                  </a:solidFill>
                </a:rPr>
                <a:t>India’s unique value proposition</a:t>
              </a:r>
              <a:endParaRPr lang="en-US" sz="1300" b="1" dirty="0">
                <a:solidFill>
                  <a:schemeClr val="bg1"/>
                </a:solidFill>
              </a:endParaRPr>
            </a:p>
          </p:txBody>
        </p:sp>
      </p:grpSp>
      <p:sp>
        <p:nvSpPr>
          <p:cNvPr id="11" name="Rectangle 10"/>
          <p:cNvSpPr/>
          <p:nvPr/>
        </p:nvSpPr>
        <p:spPr bwMode="gray">
          <a:xfrm>
            <a:off x="1993576" y="1141303"/>
            <a:ext cx="3278888" cy="184728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err="1" smtClean="0">
              <a:solidFill>
                <a:srgbClr val="000000"/>
              </a:solidFill>
            </a:endParaRPr>
          </a:p>
        </p:txBody>
      </p:sp>
      <p:sp>
        <p:nvSpPr>
          <p:cNvPr id="14" name="Rectangle 13"/>
          <p:cNvSpPr/>
          <p:nvPr/>
        </p:nvSpPr>
        <p:spPr bwMode="gray">
          <a:xfrm>
            <a:off x="1993576" y="3018294"/>
            <a:ext cx="3278888" cy="184728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err="1" smtClean="0">
              <a:solidFill>
                <a:srgbClr val="000000"/>
              </a:solidFill>
            </a:endParaRPr>
          </a:p>
        </p:txBody>
      </p:sp>
      <p:sp>
        <p:nvSpPr>
          <p:cNvPr id="61" name="AutoShape 5"/>
          <p:cNvSpPr>
            <a:spLocks noChangeArrowheads="1"/>
          </p:cNvSpPr>
          <p:nvPr/>
        </p:nvSpPr>
        <p:spPr bwMode="gray">
          <a:xfrm>
            <a:off x="1993576" y="4829490"/>
            <a:ext cx="6810382" cy="446936"/>
          </a:xfrm>
          <a:prstGeom prst="rightArrow">
            <a:avLst>
              <a:gd name="adj1" fmla="val 70000"/>
              <a:gd name="adj2" fmla="val 38329"/>
            </a:avLst>
          </a:prstGeom>
          <a:solidFill>
            <a:srgbClr val="3280C0"/>
          </a:solidFill>
          <a:ln w="19050">
            <a:solidFill>
              <a:srgbClr val="3280C0"/>
            </a:solidFill>
            <a:miter lim="800000"/>
            <a:headEnd/>
            <a:tailEnd/>
          </a:ln>
          <a:effectLst/>
          <a:extLst/>
        </p:spPr>
        <p:txBody>
          <a:bodyPr wrap="none" anchor="ctr"/>
          <a:lstStyle/>
          <a:p>
            <a:endParaRPr lang="en-GB" sz="1300">
              <a:solidFill>
                <a:srgbClr val="000000"/>
              </a:solidFill>
            </a:endParaRPr>
          </a:p>
        </p:txBody>
      </p:sp>
      <p:sp>
        <p:nvSpPr>
          <p:cNvPr id="64" name="Rectangle 20"/>
          <p:cNvSpPr>
            <a:spLocks noChangeArrowheads="1"/>
          </p:cNvSpPr>
          <p:nvPr/>
        </p:nvSpPr>
        <p:spPr bwMode="gray">
          <a:xfrm>
            <a:off x="2048142" y="4941224"/>
            <a:ext cx="3187087" cy="224957"/>
          </a:xfrm>
          <a:prstGeom prst="rect">
            <a:avLst/>
          </a:prstGeom>
          <a:solidFill>
            <a:srgbClr val="3280C0"/>
          </a:solidFill>
          <a:ln w="19050">
            <a:noFill/>
            <a:miter lim="800000"/>
            <a:headEnd/>
            <a:tailEnd/>
          </a:ln>
          <a:effectLst/>
          <a:extLst/>
        </p:spPr>
        <p:txBody>
          <a:bodyPr lIns="72009" tIns="72009" rIns="72009" bIns="72009"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buClr>
                <a:srgbClr val="800000"/>
              </a:buClr>
            </a:pPr>
            <a:r>
              <a:rPr lang="en-GB" sz="1300" b="1" dirty="0" smtClean="0">
                <a:solidFill>
                  <a:schemeClr val="bg1"/>
                </a:solidFill>
              </a:rPr>
              <a:t>Low</a:t>
            </a:r>
            <a:endParaRPr lang="en-GB" sz="1300" b="1" dirty="0">
              <a:solidFill>
                <a:schemeClr val="bg1"/>
              </a:solidFill>
            </a:endParaRPr>
          </a:p>
        </p:txBody>
      </p:sp>
      <p:sp>
        <p:nvSpPr>
          <p:cNvPr id="65" name="Rectangle 21"/>
          <p:cNvSpPr>
            <a:spLocks noChangeArrowheads="1"/>
          </p:cNvSpPr>
          <p:nvPr/>
        </p:nvSpPr>
        <p:spPr bwMode="gray">
          <a:xfrm>
            <a:off x="5344364" y="4941224"/>
            <a:ext cx="3187087" cy="224957"/>
          </a:xfrm>
          <a:prstGeom prst="rect">
            <a:avLst/>
          </a:prstGeom>
          <a:solidFill>
            <a:srgbClr val="3280C0"/>
          </a:solidFill>
          <a:ln w="19050">
            <a:noFill/>
            <a:miter lim="800000"/>
            <a:headEnd/>
            <a:tailEnd/>
          </a:ln>
          <a:effectLst/>
          <a:extLst/>
        </p:spPr>
        <p:txBody>
          <a:bodyPr lIns="72009" tIns="72009" rIns="72009" bIns="72009"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buClr>
                <a:srgbClr val="800000"/>
              </a:buClr>
            </a:pPr>
            <a:r>
              <a:rPr lang="en-GB" sz="1300" b="1" dirty="0" smtClean="0">
                <a:solidFill>
                  <a:schemeClr val="bg1"/>
                </a:solidFill>
              </a:rPr>
              <a:t>High</a:t>
            </a:r>
            <a:endParaRPr lang="en-GB" sz="1300" b="1" dirty="0">
              <a:solidFill>
                <a:schemeClr val="bg1"/>
              </a:solidFill>
            </a:endParaRPr>
          </a:p>
        </p:txBody>
      </p:sp>
      <p:sp>
        <p:nvSpPr>
          <p:cNvPr id="68" name="Line 24"/>
          <p:cNvSpPr>
            <a:spLocks noChangeShapeType="1"/>
          </p:cNvSpPr>
          <p:nvPr/>
        </p:nvSpPr>
        <p:spPr bwMode="gray">
          <a:xfrm>
            <a:off x="5289797" y="4901001"/>
            <a:ext cx="1706" cy="294978"/>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00">
              <a:solidFill>
                <a:srgbClr val="000000"/>
              </a:solidFill>
            </a:endParaRPr>
          </a:p>
        </p:txBody>
      </p:sp>
      <p:sp>
        <p:nvSpPr>
          <p:cNvPr id="60" name="AutoShape 4"/>
          <p:cNvSpPr>
            <a:spLocks noChangeArrowheads="1"/>
          </p:cNvSpPr>
          <p:nvPr/>
        </p:nvSpPr>
        <p:spPr bwMode="gray">
          <a:xfrm rot="16200000">
            <a:off x="-163088" y="2691992"/>
            <a:ext cx="3903362" cy="428119"/>
          </a:xfrm>
          <a:prstGeom prst="rightArrow">
            <a:avLst>
              <a:gd name="adj1" fmla="val 70000"/>
              <a:gd name="adj2" fmla="val 37688"/>
            </a:avLst>
          </a:prstGeom>
          <a:solidFill>
            <a:srgbClr val="3280C0"/>
          </a:solidFill>
          <a:ln w="19050">
            <a:solidFill>
              <a:srgbClr val="3280C0"/>
            </a:solidFill>
            <a:miter lim="800000"/>
            <a:headEnd/>
            <a:tailEnd/>
          </a:ln>
          <a:effectLst/>
          <a:extLst/>
        </p:spPr>
        <p:txBody>
          <a:bodyPr wrap="none" anchor="ctr"/>
          <a:lstStyle/>
          <a:p>
            <a:endParaRPr lang="en-GB" sz="1200">
              <a:solidFill>
                <a:srgbClr val="000000"/>
              </a:solidFill>
            </a:endParaRPr>
          </a:p>
        </p:txBody>
      </p:sp>
      <p:sp>
        <p:nvSpPr>
          <p:cNvPr id="62" name="Rectangle 18"/>
          <p:cNvSpPr>
            <a:spLocks noChangeArrowheads="1"/>
          </p:cNvSpPr>
          <p:nvPr/>
        </p:nvSpPr>
        <p:spPr bwMode="gray">
          <a:xfrm rot="16200000">
            <a:off x="885357" y="1948245"/>
            <a:ext cx="1804956" cy="214815"/>
          </a:xfrm>
          <a:prstGeom prst="rect">
            <a:avLst/>
          </a:prstGeom>
          <a:solidFill>
            <a:srgbClr val="3280C0"/>
          </a:solidFill>
          <a:ln w="19050">
            <a:noFill/>
            <a:miter lim="800000"/>
            <a:headEnd/>
            <a:tailEnd/>
          </a:ln>
          <a:effectLst/>
          <a:extLst/>
        </p:spPr>
        <p:txBody>
          <a:bodyPr lIns="72009" tIns="72009" rIns="72009" bIns="72009"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buClr>
                <a:srgbClr val="800000"/>
              </a:buClr>
            </a:pPr>
            <a:r>
              <a:rPr lang="en-GB" sz="1300" b="1" dirty="0" smtClean="0">
                <a:solidFill>
                  <a:schemeClr val="bg1"/>
                </a:solidFill>
              </a:rPr>
              <a:t>High</a:t>
            </a:r>
            <a:endParaRPr lang="en-GB" sz="1300" b="1" dirty="0">
              <a:solidFill>
                <a:schemeClr val="bg1"/>
              </a:solidFill>
            </a:endParaRPr>
          </a:p>
        </p:txBody>
      </p:sp>
      <p:sp>
        <p:nvSpPr>
          <p:cNvPr id="63" name="Rectangle 19"/>
          <p:cNvSpPr>
            <a:spLocks noChangeArrowheads="1"/>
          </p:cNvSpPr>
          <p:nvPr/>
        </p:nvSpPr>
        <p:spPr bwMode="gray">
          <a:xfrm rot="16200000">
            <a:off x="885357" y="3817187"/>
            <a:ext cx="1804956" cy="214815"/>
          </a:xfrm>
          <a:prstGeom prst="rect">
            <a:avLst/>
          </a:prstGeom>
          <a:solidFill>
            <a:srgbClr val="3280C0"/>
          </a:solidFill>
          <a:ln w="19050">
            <a:noFill/>
            <a:miter lim="800000"/>
            <a:headEnd/>
            <a:tailEnd/>
          </a:ln>
          <a:effectLst/>
          <a:extLst/>
        </p:spPr>
        <p:txBody>
          <a:bodyPr lIns="72009" tIns="72009" rIns="72009" bIns="72009" anchor="ctr"/>
          <a:lstStyle>
            <a:lvl1pPr defTabSz="895350">
              <a:buClr>
                <a:schemeClr val="tx2"/>
              </a:buClr>
              <a:defRPr sz="1600">
                <a:solidFill>
                  <a:schemeClr val="tx1"/>
                </a:solidFill>
                <a:latin typeface="Arial" charset="0"/>
                <a:cs typeface="Arial" charset="0"/>
              </a:defRPr>
            </a:lvl1pPr>
            <a:lvl2pPr marL="193675" indent="-192088" defTabSz="895350">
              <a:buClr>
                <a:schemeClr val="tx2"/>
              </a:buClr>
              <a:buSzPct val="125000"/>
              <a:buFont typeface="Arial" charset="0"/>
              <a:buChar char="▪"/>
              <a:defRPr sz="1600">
                <a:solidFill>
                  <a:schemeClr val="tx1"/>
                </a:solidFill>
                <a:latin typeface="Arial" charset="0"/>
                <a:cs typeface="Arial" charset="0"/>
              </a:defRPr>
            </a:lvl2pPr>
            <a:lvl3pPr marL="457200" indent="-261938" defTabSz="895350">
              <a:buClr>
                <a:schemeClr val="tx2"/>
              </a:buClr>
              <a:buSzPct val="120000"/>
              <a:buFont typeface="Arial" charset="0"/>
              <a:buChar char="–"/>
              <a:defRPr sz="1600">
                <a:solidFill>
                  <a:schemeClr val="tx1"/>
                </a:solidFill>
                <a:latin typeface="Arial" charset="0"/>
                <a:cs typeface="Arial" charset="0"/>
              </a:defRPr>
            </a:lvl3pPr>
            <a:lvl4pPr marL="614363" indent="-155575" defTabSz="895350">
              <a:buClr>
                <a:schemeClr val="tx2"/>
              </a:buClr>
              <a:buSzPct val="120000"/>
              <a:buFont typeface="Arial" charset="0"/>
              <a:buChar char="▫"/>
              <a:defRPr sz="1600">
                <a:solidFill>
                  <a:schemeClr val="tx1"/>
                </a:solidFill>
                <a:latin typeface="Arial" charset="0"/>
                <a:cs typeface="Arial" charset="0"/>
              </a:defRPr>
            </a:lvl4pPr>
            <a:lvl5pPr marL="746125" indent="-130175" defTabSz="895350">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algn="ctr">
              <a:buClr>
                <a:srgbClr val="800000"/>
              </a:buClr>
            </a:pPr>
            <a:r>
              <a:rPr lang="en-GB" sz="1300" b="1" dirty="0" smtClean="0">
                <a:solidFill>
                  <a:schemeClr val="bg1"/>
                </a:solidFill>
              </a:rPr>
              <a:t>Low</a:t>
            </a:r>
            <a:endParaRPr lang="en-GB" sz="1300" b="1" dirty="0">
              <a:solidFill>
                <a:schemeClr val="bg1"/>
              </a:solidFill>
            </a:endParaRPr>
          </a:p>
        </p:txBody>
      </p:sp>
      <p:sp>
        <p:nvSpPr>
          <p:cNvPr id="69" name="Line 25"/>
          <p:cNvSpPr>
            <a:spLocks noChangeShapeType="1"/>
          </p:cNvSpPr>
          <p:nvPr/>
        </p:nvSpPr>
        <p:spPr bwMode="gray">
          <a:xfrm rot="5400000">
            <a:off x="1787170" y="2849434"/>
            <a:ext cx="1334" cy="281379"/>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sz="1300">
              <a:solidFill>
                <a:srgbClr val="000000"/>
              </a:solidFill>
            </a:endParaRPr>
          </a:p>
        </p:txBody>
      </p:sp>
      <p:sp>
        <p:nvSpPr>
          <p:cNvPr id="82" name="Oval 81"/>
          <p:cNvSpPr/>
          <p:nvPr/>
        </p:nvSpPr>
        <p:spPr bwMode="gray">
          <a:xfrm>
            <a:off x="3118871" y="2156386"/>
            <a:ext cx="1605230" cy="489787"/>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300" dirty="0" smtClean="0">
                <a:solidFill>
                  <a:schemeClr val="tx1">
                    <a:lumMod val="75000"/>
                    <a:lumOff val="25000"/>
                  </a:schemeClr>
                </a:solidFill>
              </a:rPr>
              <a:t>Telecommunication</a:t>
            </a:r>
            <a:endParaRPr lang="en-GB" sz="1300" dirty="0" err="1" smtClean="0">
              <a:solidFill>
                <a:schemeClr val="tx1">
                  <a:lumMod val="75000"/>
                  <a:lumOff val="25000"/>
                </a:schemeClr>
              </a:solidFill>
            </a:endParaRPr>
          </a:p>
        </p:txBody>
      </p:sp>
      <p:sp>
        <p:nvSpPr>
          <p:cNvPr id="83" name="Oval 82"/>
          <p:cNvSpPr>
            <a:spLocks/>
          </p:cNvSpPr>
          <p:nvPr/>
        </p:nvSpPr>
        <p:spPr bwMode="gray">
          <a:xfrm>
            <a:off x="6232467" y="2974732"/>
            <a:ext cx="1143092" cy="428784"/>
          </a:xfrm>
          <a:prstGeom prst="ellipse">
            <a:avLst/>
          </a:prstGeom>
          <a:solidFill>
            <a:srgbClr val="FFC000"/>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300" b="1" dirty="0">
                <a:solidFill>
                  <a:srgbClr val="000000"/>
                </a:solidFill>
              </a:rPr>
              <a:t>Agriculture</a:t>
            </a:r>
            <a:endParaRPr lang="en-GB" sz="1300" b="1" dirty="0" err="1">
              <a:solidFill>
                <a:srgbClr val="000000"/>
              </a:solidFill>
            </a:endParaRPr>
          </a:p>
        </p:txBody>
      </p:sp>
      <p:sp>
        <p:nvSpPr>
          <p:cNvPr id="84" name="Oval 83"/>
          <p:cNvSpPr/>
          <p:nvPr/>
        </p:nvSpPr>
        <p:spPr bwMode="gray">
          <a:xfrm>
            <a:off x="2597215" y="3216208"/>
            <a:ext cx="1215693" cy="489787"/>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Hotels &amp; restaurants</a:t>
            </a:r>
            <a:endParaRPr lang="en-GB" sz="1300" dirty="0" err="1" smtClean="0">
              <a:solidFill>
                <a:schemeClr val="tx1">
                  <a:lumMod val="75000"/>
                  <a:lumOff val="25000"/>
                </a:schemeClr>
              </a:solidFill>
            </a:endParaRPr>
          </a:p>
        </p:txBody>
      </p:sp>
      <p:sp>
        <p:nvSpPr>
          <p:cNvPr id="85" name="Oval 84"/>
          <p:cNvSpPr>
            <a:spLocks/>
          </p:cNvSpPr>
          <p:nvPr/>
        </p:nvSpPr>
        <p:spPr bwMode="gray">
          <a:xfrm>
            <a:off x="2606084" y="2686046"/>
            <a:ext cx="1883295" cy="489787"/>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300" dirty="0" smtClean="0">
                <a:solidFill>
                  <a:schemeClr val="tx1">
                    <a:lumMod val="75000"/>
                    <a:lumOff val="25000"/>
                  </a:schemeClr>
                </a:solidFill>
              </a:rPr>
              <a:t>Automotive – </a:t>
            </a:r>
            <a:br>
              <a:rPr lang="en-US" sz="1300" dirty="0" smtClean="0">
                <a:solidFill>
                  <a:schemeClr val="tx1">
                    <a:lumMod val="75000"/>
                    <a:lumOff val="25000"/>
                  </a:schemeClr>
                </a:solidFill>
              </a:rPr>
            </a:br>
            <a:r>
              <a:rPr lang="en-US" sz="1300" dirty="0" smtClean="0">
                <a:solidFill>
                  <a:schemeClr val="tx1">
                    <a:lumMod val="75000"/>
                    <a:lumOff val="25000"/>
                  </a:schemeClr>
                </a:solidFill>
              </a:rPr>
              <a:t>Passenger vehicles</a:t>
            </a:r>
            <a:endParaRPr lang="en-US" sz="1300" dirty="0">
              <a:solidFill>
                <a:schemeClr val="tx1">
                  <a:lumMod val="75000"/>
                  <a:lumOff val="25000"/>
                </a:schemeClr>
              </a:solidFill>
            </a:endParaRPr>
          </a:p>
        </p:txBody>
      </p:sp>
      <p:sp>
        <p:nvSpPr>
          <p:cNvPr id="86" name="Oval 85"/>
          <p:cNvSpPr/>
          <p:nvPr/>
        </p:nvSpPr>
        <p:spPr bwMode="gray">
          <a:xfrm>
            <a:off x="3641685" y="3524937"/>
            <a:ext cx="1293535" cy="486423"/>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Transport &amp; storage</a:t>
            </a:r>
            <a:endParaRPr lang="en-US" sz="1300" dirty="0">
              <a:solidFill>
                <a:schemeClr val="tx1">
                  <a:lumMod val="75000"/>
                  <a:lumOff val="25000"/>
                </a:schemeClr>
              </a:solidFill>
            </a:endParaRPr>
          </a:p>
        </p:txBody>
      </p:sp>
      <p:sp>
        <p:nvSpPr>
          <p:cNvPr id="87" name="Oval 86"/>
          <p:cNvSpPr/>
          <p:nvPr/>
        </p:nvSpPr>
        <p:spPr bwMode="gray">
          <a:xfrm>
            <a:off x="3831279" y="4075943"/>
            <a:ext cx="1215693" cy="315544"/>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Real estate</a:t>
            </a:r>
            <a:endParaRPr lang="en-US" sz="1300" dirty="0">
              <a:solidFill>
                <a:schemeClr val="tx1">
                  <a:lumMod val="75000"/>
                  <a:lumOff val="25000"/>
                </a:schemeClr>
              </a:solidFill>
            </a:endParaRPr>
          </a:p>
        </p:txBody>
      </p:sp>
      <p:sp>
        <p:nvSpPr>
          <p:cNvPr id="53" name="Oval 52"/>
          <p:cNvSpPr/>
          <p:nvPr/>
        </p:nvSpPr>
        <p:spPr bwMode="gray">
          <a:xfrm>
            <a:off x="5725636" y="1644799"/>
            <a:ext cx="1380153" cy="489787"/>
          </a:xfrm>
          <a:prstGeom prst="ellipse">
            <a:avLst/>
          </a:prstGeom>
          <a:solidFill>
            <a:srgbClr val="FFC000"/>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300" b="1" dirty="0">
                <a:solidFill>
                  <a:srgbClr val="000000"/>
                </a:solidFill>
              </a:rPr>
              <a:t>IT services</a:t>
            </a:r>
            <a:endParaRPr lang="en-GB" sz="1300" b="1" dirty="0" err="1">
              <a:solidFill>
                <a:srgbClr val="000000"/>
              </a:solidFill>
            </a:endParaRPr>
          </a:p>
        </p:txBody>
      </p:sp>
      <p:sp>
        <p:nvSpPr>
          <p:cNvPr id="54" name="Oval 53"/>
          <p:cNvSpPr/>
          <p:nvPr/>
        </p:nvSpPr>
        <p:spPr bwMode="gray">
          <a:xfrm>
            <a:off x="6776303" y="2062628"/>
            <a:ext cx="1788736" cy="613892"/>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Pharmaceuticals &amp; </a:t>
            </a:r>
            <a:r>
              <a:rPr lang="en-US" sz="1300" dirty="0">
                <a:solidFill>
                  <a:schemeClr val="tx1">
                    <a:lumMod val="75000"/>
                    <a:lumOff val="25000"/>
                  </a:schemeClr>
                </a:solidFill>
              </a:rPr>
              <a:t>healthcare</a:t>
            </a:r>
            <a:endParaRPr lang="en-GB" sz="1300" dirty="0" err="1">
              <a:solidFill>
                <a:schemeClr val="tx1">
                  <a:lumMod val="75000"/>
                  <a:lumOff val="25000"/>
                </a:schemeClr>
              </a:solidFill>
            </a:endParaRPr>
          </a:p>
        </p:txBody>
      </p:sp>
      <p:sp>
        <p:nvSpPr>
          <p:cNvPr id="56" name="Oval 55"/>
          <p:cNvSpPr/>
          <p:nvPr/>
        </p:nvSpPr>
        <p:spPr bwMode="gray">
          <a:xfrm>
            <a:off x="4216288" y="3096932"/>
            <a:ext cx="1015627" cy="409183"/>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a:solidFill>
                  <a:schemeClr val="tx1">
                    <a:lumMod val="75000"/>
                    <a:lumOff val="25000"/>
                  </a:schemeClr>
                </a:solidFill>
              </a:rPr>
              <a:t>Banking</a:t>
            </a:r>
            <a:endParaRPr lang="en-GB" sz="1300" dirty="0" err="1">
              <a:solidFill>
                <a:schemeClr val="tx1">
                  <a:lumMod val="75000"/>
                  <a:lumOff val="25000"/>
                </a:schemeClr>
              </a:solidFill>
            </a:endParaRPr>
          </a:p>
        </p:txBody>
      </p:sp>
      <p:grpSp>
        <p:nvGrpSpPr>
          <p:cNvPr id="72" name="Group 71"/>
          <p:cNvGrpSpPr/>
          <p:nvPr/>
        </p:nvGrpSpPr>
        <p:grpSpPr bwMode="gray">
          <a:xfrm>
            <a:off x="7369340" y="291148"/>
            <a:ext cx="1368260" cy="212366"/>
            <a:chOff x="7369340" y="285750"/>
            <a:chExt cx="1368260" cy="212366"/>
          </a:xfrm>
        </p:grpSpPr>
        <p:sp>
          <p:nvSpPr>
            <p:cNvPr id="74" name="StickerRectangle"/>
            <p:cNvSpPr>
              <a:spLocks noChangeArrowheads="1"/>
            </p:cNvSpPr>
            <p:nvPr/>
          </p:nvSpPr>
          <p:spPr bwMode="gray">
            <a:xfrm>
              <a:off x="7369340" y="285750"/>
              <a:ext cx="136826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1200" dirty="0" smtClean="0">
                  <a:solidFill>
                    <a:srgbClr val="808080"/>
                  </a:solidFill>
                  <a:latin typeface="Arial"/>
                </a:rPr>
                <a:t>NOT EXHAUSTIVE</a:t>
              </a:r>
              <a:endParaRPr lang="en-US" sz="1200" dirty="0">
                <a:solidFill>
                  <a:srgbClr val="808080"/>
                </a:solidFill>
                <a:latin typeface="Arial"/>
              </a:endParaRPr>
            </a:p>
          </p:txBody>
        </p:sp>
        <p:cxnSp>
          <p:nvCxnSpPr>
            <p:cNvPr id="75" name="AutoShape 31"/>
            <p:cNvCxnSpPr>
              <a:cxnSpLocks noChangeShapeType="1"/>
              <a:stCxn id="74" idx="2"/>
              <a:endCxn id="74" idx="4"/>
            </p:cNvCxnSpPr>
            <p:nvPr/>
          </p:nvCxnSpPr>
          <p:spPr bwMode="gray">
            <a:xfrm>
              <a:off x="736934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76" name="AutoShape 32"/>
            <p:cNvCxnSpPr>
              <a:cxnSpLocks noChangeShapeType="1"/>
              <a:stCxn id="74" idx="4"/>
              <a:endCxn id="74" idx="6"/>
            </p:cNvCxnSpPr>
            <p:nvPr/>
          </p:nvCxnSpPr>
          <p:spPr bwMode="gray">
            <a:xfrm>
              <a:off x="7369340" y="498116"/>
              <a:ext cx="136826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4" name="Title 3"/>
          <p:cNvSpPr>
            <a:spLocks noGrp="1"/>
          </p:cNvSpPr>
          <p:nvPr>
            <p:ph type="title"/>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Comparison of sectors by India’s value </a:t>
            </a:r>
            <a:r>
              <a:rPr lang="en-US" dirty="0" smtClean="0"/>
              <a:t>proposition</a:t>
            </a:r>
            <a:br>
              <a:rPr lang="en-US" dirty="0" smtClean="0"/>
            </a:br>
            <a:r>
              <a:rPr lang="en-US" dirty="0" smtClean="0"/>
              <a:t>and </a:t>
            </a:r>
            <a:r>
              <a:rPr lang="en-US" dirty="0"/>
              <a:t>Africa’s need for development</a:t>
            </a:r>
            <a:endParaRPr lang="en-GB" dirty="0"/>
          </a:p>
        </p:txBody>
      </p:sp>
      <p:grpSp>
        <p:nvGrpSpPr>
          <p:cNvPr id="16" name="Group 15"/>
          <p:cNvGrpSpPr/>
          <p:nvPr/>
        </p:nvGrpSpPr>
        <p:grpSpPr>
          <a:xfrm>
            <a:off x="7324777" y="712629"/>
            <a:ext cx="1412823" cy="217011"/>
            <a:chOff x="7175391" y="621189"/>
            <a:chExt cx="1412823" cy="217011"/>
          </a:xfrm>
        </p:grpSpPr>
        <p:sp>
          <p:nvSpPr>
            <p:cNvPr id="3" name="Oval 2"/>
            <p:cNvSpPr/>
            <p:nvPr/>
          </p:nvSpPr>
          <p:spPr>
            <a:xfrm>
              <a:off x="7175391" y="621189"/>
              <a:ext cx="414128" cy="217011"/>
            </a:xfrm>
            <a:prstGeom prst="ellipse">
              <a:avLst/>
            </a:prstGeom>
            <a:solidFill>
              <a:srgbClr val="FFC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solidFill>
                  <a:schemeClr val="tx1"/>
                </a:solidFill>
              </a:endParaRPr>
            </a:p>
          </p:txBody>
        </p:sp>
        <p:sp>
          <p:nvSpPr>
            <p:cNvPr id="7" name="Rectangle 7"/>
            <p:cNvSpPr txBox="1"/>
            <p:nvPr/>
          </p:nvSpPr>
          <p:spPr>
            <a:xfrm>
              <a:off x="7685723" y="637361"/>
              <a:ext cx="902491"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lvl="0" indent="0" defTabSz="895350" eaLnBrk="1" hangingPunct="1">
                <a:buClr>
                  <a:schemeClr val="tx2"/>
                </a:buClr>
                <a:defRPr lang="en-US" b="0" baseline="0" noProof="0" dirty="0" smtClean="0">
                  <a:latin typeface="+mn-lt"/>
                </a:defRPr>
              </a:lvl1pPr>
              <a:lvl2pPr marL="193675" lvl="1" indent="-192088" defTabSz="895350" eaLnBrk="1" hangingPunct="1">
                <a:buClr>
                  <a:schemeClr val="tx2"/>
                </a:buClr>
                <a:buSzPct val="125000"/>
                <a:buFont typeface="Arial" charset="0"/>
                <a:buChar char="▪"/>
                <a:defRPr b="0" baseline="0">
                  <a:latin typeface="+mn-lt"/>
                </a:defRPr>
              </a:lvl2pPr>
              <a:lvl3pPr marL="457200" lvl="2" indent="-261938" defTabSz="895350" eaLnBrk="1" hangingPunct="1">
                <a:buClr>
                  <a:schemeClr val="tx2"/>
                </a:buClr>
                <a:buSzPct val="120000"/>
                <a:buFont typeface="Arial" charset="0"/>
                <a:buChar char="–"/>
                <a:defRPr b="0" baseline="0">
                  <a:latin typeface="+mn-lt"/>
                </a:defRPr>
              </a:lvl3pPr>
              <a:lvl4pPr marL="614363" lvl="3" indent="-155575" defTabSz="895350" eaLnBrk="1" hangingPunct="1">
                <a:buClr>
                  <a:schemeClr val="tx2"/>
                </a:buClr>
                <a:buSzPct val="120000"/>
                <a:buFont typeface="Arial" charset="0"/>
                <a:buChar char="▫"/>
                <a:defRPr b="0" baseline="0">
                  <a:latin typeface="+mn-lt"/>
                </a:defRPr>
              </a:lvl4pPr>
              <a:lvl5pPr marL="749808" lvl="4" indent="-130175" defTabSz="895350" eaLnBrk="1" hangingPunct="1">
                <a:buClr>
                  <a:schemeClr val="tx2"/>
                </a:buClr>
                <a:buSzPct val="89000"/>
                <a:buFont typeface="Arial" charset="0"/>
                <a:buChar char="-"/>
                <a:defRPr b="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smtClean="0"/>
                <a:t>Detailed later</a:t>
              </a:r>
              <a:endParaRPr lang="en-US" sz="1200" dirty="0"/>
            </a:p>
          </p:txBody>
        </p:sp>
      </p:grpSp>
      <p:sp>
        <p:nvSpPr>
          <p:cNvPr id="47" name="McK 4. Footnote"/>
          <p:cNvSpPr txBox="1">
            <a:spLocks noChangeArrowheads="1"/>
          </p:cNvSpPr>
          <p:nvPr/>
        </p:nvSpPr>
        <p:spPr bwMode="auto">
          <a:xfrm>
            <a:off x="119063" y="6080125"/>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This report focuses only on the power sector opportunity</a:t>
            </a:r>
          </a:p>
        </p:txBody>
      </p:sp>
      <p:sp>
        <p:nvSpPr>
          <p:cNvPr id="48" name="Rectangle 18"/>
          <p:cNvSpPr txBox="1"/>
          <p:nvPr/>
        </p:nvSpPr>
        <p:spPr bwMode="gray">
          <a:xfrm>
            <a:off x="5306215" y="5512198"/>
            <a:ext cx="3251252"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defRPr>
            </a:lvl1pPr>
            <a:lvl2pPr marL="193675" lvl="1" indent="-192088" defTabSz="895350" eaLnBrk="0" hangingPunct="0">
              <a:buClr>
                <a:schemeClr val="tx2"/>
              </a:buClr>
              <a:buSzPct val="125000"/>
              <a:buFont typeface="Arial" pitchFamily="34" charset="0"/>
              <a:buChar char="▪"/>
              <a:defRPr sz="1600">
                <a:latin typeface="+mn-lt"/>
              </a:defRPr>
            </a:lvl2pPr>
            <a:lvl3pPr marL="457200" lvl="2" indent="-261938" defTabSz="895350" eaLnBrk="0" hangingPunct="0">
              <a:buClr>
                <a:schemeClr val="tx2"/>
              </a:buClr>
              <a:buSzPct val="120000"/>
              <a:buFont typeface="Arial" pitchFamily="34" charset="0"/>
              <a:buChar char="–"/>
              <a:defRPr sz="1600">
                <a:latin typeface="+mn-lt"/>
              </a:defRPr>
            </a:lvl3pPr>
            <a:lvl4pPr marL="614363" lvl="3" indent="-155575" defTabSz="895350" eaLnBrk="0" hangingPunct="0">
              <a:buClr>
                <a:schemeClr val="tx2"/>
              </a:buClr>
              <a:buSzPct val="120000"/>
              <a:buFont typeface="Arial" pitchFamily="34" charset="0"/>
              <a:buChar char="▫"/>
              <a:defRPr sz="1600">
                <a:latin typeface="+mn-lt"/>
              </a:defRPr>
            </a:lvl4pPr>
            <a:lvl5pPr marL="746125" lvl="4" indent="-130175" defTabSz="895350" eaLnBrk="0" hangingPunct="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39700" lvl="1" indent="-138113">
              <a:spcBef>
                <a:spcPts val="300"/>
              </a:spcBef>
              <a:buClr>
                <a:srgbClr val="002960"/>
              </a:buClr>
            </a:pPr>
            <a:r>
              <a:rPr lang="en-US" sz="1300" dirty="0" smtClean="0">
                <a:solidFill>
                  <a:srgbClr val="000000"/>
                </a:solidFill>
              </a:rPr>
              <a:t>Education and skill development</a:t>
            </a:r>
          </a:p>
        </p:txBody>
      </p:sp>
      <p:sp>
        <p:nvSpPr>
          <p:cNvPr id="9" name="Oval 8"/>
          <p:cNvSpPr/>
          <p:nvPr/>
        </p:nvSpPr>
        <p:spPr>
          <a:xfrm>
            <a:off x="4903569" y="1220965"/>
            <a:ext cx="3798471" cy="2498565"/>
          </a:xfrm>
          <a:prstGeom prst="ellipse">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
        <p:nvSpPr>
          <p:cNvPr id="42" name="Oval 41"/>
          <p:cNvSpPr/>
          <p:nvPr/>
        </p:nvSpPr>
        <p:spPr bwMode="gray">
          <a:xfrm>
            <a:off x="4730171" y="2085396"/>
            <a:ext cx="1380153" cy="489787"/>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Engineering consultancy</a:t>
            </a:r>
            <a:endParaRPr lang="en-GB" sz="1300" dirty="0" err="1">
              <a:solidFill>
                <a:schemeClr val="tx1">
                  <a:lumMod val="75000"/>
                  <a:lumOff val="25000"/>
                </a:schemeClr>
              </a:solidFill>
            </a:endParaRPr>
          </a:p>
        </p:txBody>
      </p:sp>
      <p:sp>
        <p:nvSpPr>
          <p:cNvPr id="55" name="Oval 54"/>
          <p:cNvSpPr>
            <a:spLocks/>
          </p:cNvSpPr>
          <p:nvPr/>
        </p:nvSpPr>
        <p:spPr bwMode="gray">
          <a:xfrm>
            <a:off x="4189547" y="2627484"/>
            <a:ext cx="1883295" cy="489787"/>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US" sz="1300" dirty="0">
                <a:solidFill>
                  <a:schemeClr val="tx1">
                    <a:lumMod val="75000"/>
                    <a:lumOff val="25000"/>
                  </a:schemeClr>
                </a:solidFill>
              </a:rPr>
              <a:t>Automotive – </a:t>
            </a:r>
            <a:br>
              <a:rPr lang="en-US" sz="1300" dirty="0">
                <a:solidFill>
                  <a:schemeClr val="tx1">
                    <a:lumMod val="75000"/>
                    <a:lumOff val="25000"/>
                  </a:schemeClr>
                </a:solidFill>
              </a:rPr>
            </a:br>
            <a:r>
              <a:rPr lang="en-US" sz="1300" dirty="0" smtClean="0">
                <a:solidFill>
                  <a:schemeClr val="tx1">
                    <a:lumMod val="75000"/>
                    <a:lumOff val="25000"/>
                  </a:schemeClr>
                </a:solidFill>
              </a:rPr>
              <a:t>Commercial vehicles</a:t>
            </a:r>
            <a:endParaRPr lang="en-US" sz="1300" dirty="0">
              <a:solidFill>
                <a:schemeClr val="tx1">
                  <a:lumMod val="75000"/>
                  <a:lumOff val="25000"/>
                </a:schemeClr>
              </a:solidFill>
            </a:endParaRPr>
          </a:p>
        </p:txBody>
      </p:sp>
      <p:sp>
        <p:nvSpPr>
          <p:cNvPr id="80" name="Oval 79"/>
          <p:cNvSpPr>
            <a:spLocks/>
          </p:cNvSpPr>
          <p:nvPr/>
        </p:nvSpPr>
        <p:spPr bwMode="gray">
          <a:xfrm>
            <a:off x="6072079" y="3310545"/>
            <a:ext cx="1143092" cy="428784"/>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Education</a:t>
            </a:r>
            <a:endParaRPr lang="en-GB" sz="1300" dirty="0" err="1">
              <a:solidFill>
                <a:schemeClr val="tx1">
                  <a:lumMod val="75000"/>
                  <a:lumOff val="25000"/>
                </a:schemeClr>
              </a:solidFill>
            </a:endParaRPr>
          </a:p>
        </p:txBody>
      </p:sp>
      <p:sp>
        <p:nvSpPr>
          <p:cNvPr id="81" name="Oval 80"/>
          <p:cNvSpPr>
            <a:spLocks/>
          </p:cNvSpPr>
          <p:nvPr/>
        </p:nvSpPr>
        <p:spPr bwMode="gray">
          <a:xfrm>
            <a:off x="7128346" y="3550969"/>
            <a:ext cx="1143092" cy="428784"/>
          </a:xfrm>
          <a:prstGeom prst="ellipse">
            <a:avLst/>
          </a:prstGeom>
          <a:solidFill>
            <a:schemeClr val="accent6">
              <a:lumMod val="40000"/>
              <a:lumOff val="60000"/>
            </a:schemeClr>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00" dirty="0" smtClean="0">
                <a:solidFill>
                  <a:schemeClr val="tx1">
                    <a:lumMod val="75000"/>
                    <a:lumOff val="25000"/>
                  </a:schemeClr>
                </a:solidFill>
              </a:rPr>
              <a:t>Resources</a:t>
            </a:r>
            <a:endParaRPr lang="en-US" sz="1300" dirty="0">
              <a:solidFill>
                <a:schemeClr val="tx1">
                  <a:lumMod val="75000"/>
                  <a:lumOff val="25000"/>
                </a:schemeClr>
              </a:solidFill>
            </a:endParaRPr>
          </a:p>
        </p:txBody>
      </p:sp>
      <p:sp>
        <p:nvSpPr>
          <p:cNvPr id="73" name="Oval 72"/>
          <p:cNvSpPr/>
          <p:nvPr/>
        </p:nvSpPr>
        <p:spPr bwMode="gray">
          <a:xfrm>
            <a:off x="7156977" y="3136285"/>
            <a:ext cx="1297923" cy="489787"/>
          </a:xfrm>
          <a:prstGeom prst="ellipse">
            <a:avLst/>
          </a:prstGeom>
          <a:solidFill>
            <a:srgbClr val="FFC000"/>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300" b="1" dirty="0" smtClean="0">
                <a:solidFill>
                  <a:srgbClr val="000000"/>
                </a:solidFill>
              </a:rPr>
              <a:t>Infrastructure</a:t>
            </a:r>
            <a:r>
              <a:rPr lang="en-US" sz="1300" b="1" baseline="30000" dirty="0" smtClean="0">
                <a:solidFill>
                  <a:srgbClr val="000000"/>
                </a:solidFill>
              </a:rPr>
              <a:t>1</a:t>
            </a:r>
            <a:r>
              <a:rPr lang="en-US" sz="1300" b="1" dirty="0" smtClean="0">
                <a:solidFill>
                  <a:srgbClr val="000000"/>
                </a:solidFill>
              </a:rPr>
              <a:t> </a:t>
            </a:r>
            <a:endParaRPr lang="en-GB" sz="1300" b="1" dirty="0" err="1">
              <a:solidFill>
                <a:srgbClr val="000000"/>
              </a:solidFill>
            </a:endParaRPr>
          </a:p>
        </p:txBody>
      </p:sp>
      <p:cxnSp>
        <p:nvCxnSpPr>
          <p:cNvPr id="18" name="Elbow Connector 17"/>
          <p:cNvCxnSpPr/>
          <p:nvPr/>
        </p:nvCxnSpPr>
        <p:spPr>
          <a:xfrm>
            <a:off x="5593080" y="3426898"/>
            <a:ext cx="0" cy="1004860"/>
          </a:xfrm>
          <a:prstGeom prst="straightConnector1">
            <a:avLst/>
          </a:prstGeom>
          <a:ln w="28575">
            <a:solidFill>
              <a:schemeClr val="accent5"/>
            </a:solidFill>
            <a:headEnd type="oval"/>
          </a:ln>
        </p:spPr>
        <p:style>
          <a:lnRef idx="1">
            <a:schemeClr val="accent1"/>
          </a:lnRef>
          <a:fillRef idx="0">
            <a:schemeClr val="accent1"/>
          </a:fillRef>
          <a:effectRef idx="0">
            <a:schemeClr val="accent1"/>
          </a:effectRef>
          <a:fontRef idx="minor">
            <a:schemeClr val="tx1"/>
          </a:fontRef>
        </p:style>
      </p:cxnSp>
      <p:sp>
        <p:nvSpPr>
          <p:cNvPr id="57" name="Rectangle 18"/>
          <p:cNvSpPr txBox="1"/>
          <p:nvPr/>
        </p:nvSpPr>
        <p:spPr bwMode="gray">
          <a:xfrm>
            <a:off x="5341387" y="4302218"/>
            <a:ext cx="1297397" cy="272758"/>
          </a:xfrm>
          <a:prstGeom prst="rect">
            <a:avLst/>
          </a:prstGeom>
          <a:solidFill>
            <a:schemeClr val="accent5"/>
          </a:solidFill>
          <a:ln w="9525">
            <a:noFill/>
            <a:miter lim="800000"/>
            <a:headEnd/>
            <a:tailEnd/>
          </a:ln>
          <a:effectLst/>
          <a:extLst/>
        </p:spPr>
        <p:txBody>
          <a:bodyPr vert="horz" wrap="square" lIns="36000" tIns="36000" rIns="36000" bIns="36000" numCol="1" anchor="t" anchorCtr="0" compatLnSpc="1">
            <a:prstTxWarp prst="textNoShape">
              <a:avLst/>
            </a:prstTxWarp>
            <a:spAutoFit/>
          </a:bodyPr>
          <a:lstStyle>
            <a:lvl1pPr marL="342900" lvl="0" indent="-342900" defTabSz="895350" eaLnBrk="0" hangingPunct="0">
              <a:buClr>
                <a:schemeClr val="tx2"/>
              </a:buClr>
              <a:defRPr sz="1600">
                <a:latin typeface="+mn-lt"/>
              </a:defRPr>
            </a:lvl1pPr>
            <a:lvl2pPr marL="193675" lvl="1" indent="-192088" defTabSz="895350" eaLnBrk="0" hangingPunct="0">
              <a:buClr>
                <a:schemeClr val="tx2"/>
              </a:buClr>
              <a:buSzPct val="125000"/>
              <a:buFont typeface="Arial" pitchFamily="34" charset="0"/>
              <a:buChar char="▪"/>
              <a:defRPr sz="1600">
                <a:latin typeface="+mn-lt"/>
              </a:defRPr>
            </a:lvl2pPr>
            <a:lvl3pPr marL="457200" lvl="2" indent="-261938" defTabSz="895350" eaLnBrk="0" hangingPunct="0">
              <a:buClr>
                <a:schemeClr val="tx2"/>
              </a:buClr>
              <a:buSzPct val="120000"/>
              <a:buFont typeface="Arial" pitchFamily="34" charset="0"/>
              <a:buChar char="–"/>
              <a:defRPr sz="1600">
                <a:latin typeface="+mn-lt"/>
              </a:defRPr>
            </a:lvl3pPr>
            <a:lvl4pPr marL="614363" lvl="3" indent="-155575" defTabSz="895350" eaLnBrk="0" hangingPunct="0">
              <a:buClr>
                <a:schemeClr val="tx2"/>
              </a:buClr>
              <a:buSzPct val="120000"/>
              <a:buFont typeface="Arial" pitchFamily="34" charset="0"/>
              <a:buChar char="▫"/>
              <a:defRPr sz="1600">
                <a:latin typeface="+mn-lt"/>
              </a:defRPr>
            </a:lvl4pPr>
            <a:lvl5pPr marL="746125" lvl="4" indent="-130175" defTabSz="895350" eaLnBrk="0" hangingPunct="0">
              <a:buClr>
                <a:schemeClr val="tx2"/>
              </a:buClr>
              <a:buSzPct val="89000"/>
              <a:buFont typeface="Arial" pitchFamily="34"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indent="0">
              <a:spcBef>
                <a:spcPts val="300"/>
              </a:spcBef>
              <a:buClr>
                <a:srgbClr val="002960"/>
              </a:buClr>
            </a:pPr>
            <a:r>
              <a:rPr lang="en-US" sz="1300" b="1" dirty="0" smtClean="0">
                <a:solidFill>
                  <a:schemeClr val="bg1"/>
                </a:solidFill>
              </a:rPr>
              <a:t>Lead sectors</a:t>
            </a:r>
          </a:p>
        </p:txBody>
      </p:sp>
    </p:spTree>
    <p:extLst>
      <p:ext uri="{BB962C8B-B14F-4D97-AF65-F5344CB8AC3E}">
        <p14:creationId xmlns:p14="http://schemas.microsoft.com/office/powerpoint/2010/main" val="13762049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42379619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7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58750" cy="158750"/>
                      </a:xfrm>
                      <a:prstGeom prst="rect">
                        <a:avLst/>
                      </a:prstGeom>
                    </p:spPr>
                  </p:pic>
                </p:oleObj>
              </mc:Fallback>
            </mc:AlternateContent>
          </a:graphicData>
        </a:graphic>
      </p:graphicFrame>
      <p:sp>
        <p:nvSpPr>
          <p:cNvPr id="7" name="Rectangle 6" hidden="1"/>
          <p:cNvSpPr/>
          <p:nvPr>
            <p:custDataLst>
              <p:tags r:id="rId4"/>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50" dirty="0" err="1" smtClean="0">
              <a:solidFill>
                <a:srgbClr val="000000"/>
              </a:solidFill>
              <a:latin typeface="Arial"/>
              <a:ea typeface="ＭＳ Ｐゴシック"/>
              <a:cs typeface="Arial"/>
              <a:sym typeface="Arial"/>
            </a:endParaRPr>
          </a:p>
        </p:txBody>
      </p:sp>
      <p:sp>
        <p:nvSpPr>
          <p:cNvPr id="82" name="Rectangle 81"/>
          <p:cNvSpPr>
            <a:spLocks/>
          </p:cNvSpPr>
          <p:nvPr/>
        </p:nvSpPr>
        <p:spPr bwMode="gray">
          <a:xfrm>
            <a:off x="115888" y="883919"/>
            <a:ext cx="8724900" cy="5120945"/>
          </a:xfrm>
          <a:prstGeom prst="rect">
            <a:avLst/>
          </a:prstGeom>
          <a:solidFill>
            <a:schemeClr val="bg1">
              <a:alpha val="85000"/>
            </a:schemeClr>
          </a:solidFill>
          <a:ln w="19050">
            <a:solidFill>
              <a:srgbClr val="66A3D7"/>
            </a:solidFill>
            <a:miter lim="800000"/>
            <a:headEnd/>
            <a:tailEnd/>
          </a:ln>
          <a:effectLst/>
        </p:spPr>
        <p:txBody>
          <a:bodyPr wrap="none" anchor="ctr">
            <a:noAutofit/>
          </a:bodyPr>
          <a:lstStyle/>
          <a:p>
            <a:endParaRPr lang="en-US" sz="1200" dirty="0">
              <a:solidFill>
                <a:srgbClr val="000000"/>
              </a:solidFill>
              <a:latin typeface="+mn-lt"/>
            </a:endParaRPr>
          </a:p>
        </p:txBody>
      </p:sp>
      <p:graphicFrame>
        <p:nvGraphicFramePr>
          <p:cNvPr id="6" name="Object 5"/>
          <p:cNvGraphicFramePr>
            <a:graphicFrameLocks/>
          </p:cNvGraphicFramePr>
          <p:nvPr>
            <p:custDataLst>
              <p:tags r:id="rId5"/>
            </p:custDataLst>
            <p:extLst>
              <p:ext uri="{D42A27DB-BD31-4B8C-83A1-F6EECF244321}">
                <p14:modId xmlns:p14="http://schemas.microsoft.com/office/powerpoint/2010/main" val="1413914038"/>
              </p:ext>
            </p:extLst>
          </p:nvPr>
        </p:nvGraphicFramePr>
        <p:xfrm>
          <a:off x="1865313" y="1293813"/>
          <a:ext cx="2276411" cy="1133451"/>
        </p:xfrm>
        <a:graphic>
          <a:graphicData uri="http://schemas.openxmlformats.org/presentationml/2006/ole">
            <mc:AlternateContent xmlns:mc="http://schemas.openxmlformats.org/markup-compatibility/2006">
              <mc:Choice xmlns:v="urn:schemas-microsoft-com:vml" Requires="v">
                <p:oleObj spid="_x0000_s21880" name="Chart" r:id="rId24" imgW="2276411" imgH="1133451" progId="MSGraph.Chart.8">
                  <p:embed followColorScheme="full"/>
                </p:oleObj>
              </mc:Choice>
              <mc:Fallback>
                <p:oleObj name="Chart" r:id="rId24" imgW="2276411" imgH="1133451" progId="MSGraph.Chart.8">
                  <p:embed followColorScheme="full"/>
                  <p:pic>
                    <p:nvPicPr>
                      <p:cNvPr id="0" name=""/>
                      <p:cNvPicPr/>
                      <p:nvPr/>
                    </p:nvPicPr>
                    <p:blipFill>
                      <a:blip r:embed="rId25"/>
                      <a:stretch>
                        <a:fillRect/>
                      </a:stretch>
                    </p:blipFill>
                    <p:spPr>
                      <a:xfrm>
                        <a:off x="1865313" y="1293813"/>
                        <a:ext cx="2276411" cy="1133451"/>
                      </a:xfrm>
                      <a:prstGeom prst="rect">
                        <a:avLst/>
                      </a:prstGeom>
                    </p:spPr>
                  </p:pic>
                </p:oleObj>
              </mc:Fallback>
            </mc:AlternateContent>
          </a:graphicData>
        </a:graphic>
      </p:graphicFrame>
      <p:cxnSp>
        <p:nvCxnSpPr>
          <p:cNvPr id="19" name="Straight Connector 18"/>
          <p:cNvCxnSpPr/>
          <p:nvPr>
            <p:custDataLst>
              <p:tags r:id="rId6"/>
            </p:custDataLst>
          </p:nvPr>
        </p:nvCxnSpPr>
        <p:spPr bwMode="gray">
          <a:xfrm flipV="1">
            <a:off x="2474913" y="1270000"/>
            <a:ext cx="1033463" cy="3238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1" name="Oval 50"/>
          <p:cNvSpPr>
            <a:spLocks noGrp="1" noChangeArrowheads="1"/>
          </p:cNvSpPr>
          <p:nvPr>
            <p:custDataLst>
              <p:tags r:id="rId7"/>
            </p:custDataLst>
          </p:nvPr>
        </p:nvSpPr>
        <p:spPr bwMode="gray">
          <a:xfrm>
            <a:off x="2703513" y="1311275"/>
            <a:ext cx="577850" cy="242888"/>
          </a:xfrm>
          <a:prstGeom prst="ellipse">
            <a:avLst/>
          </a:prstGeom>
          <a:solidFill>
            <a:schemeClr val="folHlink"/>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lang="en-US" sz="1600" b="0" baseline="0" noProof="0" dirty="0" smtClean="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2960"/>
              </a:buClr>
            </a:pPr>
            <a:r>
              <a:rPr lang="en-US" sz="1250" b="1" dirty="0" smtClean="0">
                <a:solidFill>
                  <a:srgbClr val="FFFFFF"/>
                </a:solidFill>
                <a:latin typeface="Arial"/>
                <a:cs typeface="Arial"/>
                <a:sym typeface="Arial"/>
              </a:rPr>
              <a:t>6–7%</a:t>
            </a:r>
            <a:endParaRPr sz="1250" b="1" dirty="0">
              <a:solidFill>
                <a:srgbClr val="FFFFFF"/>
              </a:solidFill>
              <a:latin typeface="Arial"/>
              <a:cs typeface="Arial"/>
              <a:sym typeface="Arial"/>
            </a:endParaRPr>
          </a:p>
        </p:txBody>
      </p:sp>
      <p:graphicFrame>
        <p:nvGraphicFramePr>
          <p:cNvPr id="10" name="Object 9"/>
          <p:cNvGraphicFramePr>
            <a:graphicFrameLocks/>
          </p:cNvGraphicFramePr>
          <p:nvPr>
            <p:custDataLst>
              <p:tags r:id="rId8"/>
            </p:custDataLst>
            <p:extLst>
              <p:ext uri="{D42A27DB-BD31-4B8C-83A1-F6EECF244321}">
                <p14:modId xmlns:p14="http://schemas.microsoft.com/office/powerpoint/2010/main" val="2371927283"/>
              </p:ext>
            </p:extLst>
          </p:nvPr>
        </p:nvGraphicFramePr>
        <p:xfrm>
          <a:off x="1839913" y="2794000"/>
          <a:ext cx="2276411" cy="914535"/>
        </p:xfrm>
        <a:graphic>
          <a:graphicData uri="http://schemas.openxmlformats.org/presentationml/2006/ole">
            <mc:AlternateContent xmlns:mc="http://schemas.openxmlformats.org/markup-compatibility/2006">
              <mc:Choice xmlns:v="urn:schemas-microsoft-com:vml" Requires="v">
                <p:oleObj spid="_x0000_s21881" name="Chart" r:id="rId26" imgW="2276411" imgH="914535" progId="MSGraph.Chart.8">
                  <p:embed followColorScheme="full"/>
                </p:oleObj>
              </mc:Choice>
              <mc:Fallback>
                <p:oleObj name="Chart" r:id="rId26" imgW="2276411" imgH="914535" progId="MSGraph.Chart.8">
                  <p:embed followColorScheme="full"/>
                  <p:pic>
                    <p:nvPicPr>
                      <p:cNvPr id="0" name=""/>
                      <p:cNvPicPr/>
                      <p:nvPr/>
                    </p:nvPicPr>
                    <p:blipFill>
                      <a:blip r:embed="rId27"/>
                      <a:stretch>
                        <a:fillRect/>
                      </a:stretch>
                    </p:blipFill>
                    <p:spPr>
                      <a:xfrm>
                        <a:off x="1839913" y="2794000"/>
                        <a:ext cx="2276411" cy="914535"/>
                      </a:xfrm>
                      <a:prstGeom prst="rect">
                        <a:avLst/>
                      </a:prstGeom>
                    </p:spPr>
                  </p:pic>
                </p:oleObj>
              </mc:Fallback>
            </mc:AlternateContent>
          </a:graphicData>
        </a:graphic>
      </p:graphicFrame>
      <p:cxnSp>
        <p:nvCxnSpPr>
          <p:cNvPr id="13" name="Straight Connector 12"/>
          <p:cNvCxnSpPr/>
          <p:nvPr>
            <p:custDataLst>
              <p:tags r:id="rId9"/>
            </p:custDataLst>
          </p:nvPr>
        </p:nvCxnSpPr>
        <p:spPr bwMode="gray">
          <a:xfrm flipV="1">
            <a:off x="2449513" y="2465388"/>
            <a:ext cx="1033462" cy="4000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5" name="Oval 54"/>
          <p:cNvSpPr>
            <a:spLocks noGrp="1" noChangeArrowheads="1"/>
          </p:cNvSpPr>
          <p:nvPr>
            <p:custDataLst>
              <p:tags r:id="rId10"/>
            </p:custDataLst>
          </p:nvPr>
        </p:nvSpPr>
        <p:spPr bwMode="gray">
          <a:xfrm>
            <a:off x="2678113" y="2544763"/>
            <a:ext cx="577850" cy="242888"/>
          </a:xfrm>
          <a:prstGeom prst="ellipse">
            <a:avLst/>
          </a:prstGeom>
          <a:solidFill>
            <a:schemeClr val="folHlink"/>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lang="en-US" sz="1600" b="0" baseline="0" noProof="0" dirty="0" smtClean="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2960"/>
              </a:buClr>
            </a:pPr>
            <a:r>
              <a:rPr lang="en-US" sz="1250" b="1" dirty="0" smtClean="0">
                <a:solidFill>
                  <a:srgbClr val="FFFFFF"/>
                </a:solidFill>
                <a:latin typeface="Arial"/>
                <a:cs typeface="Arial"/>
                <a:sym typeface="Arial"/>
              </a:rPr>
              <a:t>8–9%</a:t>
            </a:r>
            <a:endParaRPr sz="1250" b="1" dirty="0">
              <a:solidFill>
                <a:srgbClr val="FFFFFF"/>
              </a:solidFill>
              <a:latin typeface="Arial"/>
              <a:cs typeface="Arial"/>
              <a:sym typeface="Arial"/>
            </a:endParaRPr>
          </a:p>
        </p:txBody>
      </p:sp>
      <p:sp>
        <p:nvSpPr>
          <p:cNvPr id="61" name="Rectangle 60"/>
          <p:cNvSpPr>
            <a:spLocks noGrp="1" noChangeArrowheads="1"/>
          </p:cNvSpPr>
          <p:nvPr>
            <p:custDataLst>
              <p:tags r:id="rId11"/>
            </p:custDataLst>
          </p:nvPr>
        </p:nvSpPr>
        <p:spPr bwMode="auto">
          <a:xfrm>
            <a:off x="3260725" y="2673350"/>
            <a:ext cx="446088"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b"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250" dirty="0" smtClean="0">
                <a:cs typeface="Arial"/>
              </a:rPr>
              <a:t>80-95</a:t>
            </a:r>
            <a:endParaRPr lang="en-US" sz="1250" dirty="0" smtClean="0">
              <a:latin typeface="Arial"/>
              <a:cs typeface="Arial"/>
              <a:sym typeface="Arial"/>
            </a:endParaRPr>
          </a:p>
        </p:txBody>
      </p:sp>
      <p:sp>
        <p:nvSpPr>
          <p:cNvPr id="59" name="Rectangle 58"/>
          <p:cNvSpPr>
            <a:spLocks noGrp="1" noChangeArrowheads="1"/>
          </p:cNvSpPr>
          <p:nvPr>
            <p:custDataLst>
              <p:tags r:id="rId12"/>
            </p:custDataLst>
          </p:nvPr>
        </p:nvSpPr>
        <p:spPr bwMode="auto">
          <a:xfrm>
            <a:off x="2227263" y="3073400"/>
            <a:ext cx="446088" cy="19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050" tIns="0" rIns="19050" bIns="0" numCol="1" anchor="b" anchorCtr="0" compatLnSpc="1">
            <a:prstTxWarp prst="textNoShape">
              <a:avLst/>
            </a:prstTxWarp>
            <a:no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sz="1250" dirty="0" smtClean="0">
                <a:cs typeface="Arial"/>
              </a:rPr>
              <a:t>25-35</a:t>
            </a:r>
            <a:endParaRPr lang="en-US" sz="1250" dirty="0" smtClean="0">
              <a:latin typeface="Arial"/>
              <a:cs typeface="Arial"/>
              <a:sym typeface="Arial"/>
            </a:endParaRPr>
          </a:p>
        </p:txBody>
      </p:sp>
      <p:graphicFrame>
        <p:nvGraphicFramePr>
          <p:cNvPr id="9" name="Object 8"/>
          <p:cNvGraphicFramePr>
            <a:graphicFrameLocks/>
          </p:cNvGraphicFramePr>
          <p:nvPr>
            <p:custDataLst>
              <p:tags r:id="rId13"/>
            </p:custDataLst>
            <p:extLst>
              <p:ext uri="{D42A27DB-BD31-4B8C-83A1-F6EECF244321}">
                <p14:modId xmlns:p14="http://schemas.microsoft.com/office/powerpoint/2010/main" val="2611012205"/>
              </p:ext>
            </p:extLst>
          </p:nvPr>
        </p:nvGraphicFramePr>
        <p:xfrm>
          <a:off x="1839913" y="3746500"/>
          <a:ext cx="2276411" cy="1133451"/>
        </p:xfrm>
        <a:graphic>
          <a:graphicData uri="http://schemas.openxmlformats.org/presentationml/2006/ole">
            <mc:AlternateContent xmlns:mc="http://schemas.openxmlformats.org/markup-compatibility/2006">
              <mc:Choice xmlns:v="urn:schemas-microsoft-com:vml" Requires="v">
                <p:oleObj spid="_x0000_s21882" name="Chart" r:id="rId28" imgW="2276411" imgH="1133451" progId="MSGraph.Chart.8">
                  <p:embed followColorScheme="full"/>
                </p:oleObj>
              </mc:Choice>
              <mc:Fallback>
                <p:oleObj name="Chart" r:id="rId28" imgW="2276411" imgH="1133451" progId="MSGraph.Chart.8">
                  <p:embed followColorScheme="full"/>
                  <p:pic>
                    <p:nvPicPr>
                      <p:cNvPr id="0" name=""/>
                      <p:cNvPicPr/>
                      <p:nvPr/>
                    </p:nvPicPr>
                    <p:blipFill>
                      <a:blip r:embed="rId29"/>
                      <a:stretch>
                        <a:fillRect/>
                      </a:stretch>
                    </p:blipFill>
                    <p:spPr>
                      <a:xfrm>
                        <a:off x="1839913" y="3746500"/>
                        <a:ext cx="2276411" cy="1133451"/>
                      </a:xfrm>
                      <a:prstGeom prst="rect">
                        <a:avLst/>
                      </a:prstGeom>
                    </p:spPr>
                  </p:pic>
                </p:oleObj>
              </mc:Fallback>
            </mc:AlternateContent>
          </a:graphicData>
        </a:graphic>
      </p:graphicFrame>
      <p:cxnSp>
        <p:nvCxnSpPr>
          <p:cNvPr id="16" name="Straight Connector 15"/>
          <p:cNvCxnSpPr/>
          <p:nvPr>
            <p:custDataLst>
              <p:tags r:id="rId14"/>
            </p:custDataLst>
          </p:nvPr>
        </p:nvCxnSpPr>
        <p:spPr bwMode="gray">
          <a:xfrm flipV="1">
            <a:off x="2449513" y="3756025"/>
            <a:ext cx="1033462" cy="25717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8" name="Oval 57"/>
          <p:cNvSpPr>
            <a:spLocks noGrp="1" noChangeArrowheads="1"/>
          </p:cNvSpPr>
          <p:nvPr>
            <p:custDataLst>
              <p:tags r:id="rId15"/>
            </p:custDataLst>
          </p:nvPr>
        </p:nvSpPr>
        <p:spPr bwMode="gray">
          <a:xfrm>
            <a:off x="2678113" y="3763963"/>
            <a:ext cx="577850" cy="242888"/>
          </a:xfrm>
          <a:prstGeom prst="ellipse">
            <a:avLst/>
          </a:prstGeom>
          <a:solidFill>
            <a:schemeClr val="folHlink"/>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lang="en-US" sz="1600" b="0" baseline="0" noProof="0" dirty="0" smtClean="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2960"/>
              </a:buClr>
            </a:pPr>
            <a:r>
              <a:rPr lang="en-US" sz="1250" b="1" dirty="0" smtClean="0">
                <a:solidFill>
                  <a:srgbClr val="FFFFFF"/>
                </a:solidFill>
                <a:latin typeface="Arial"/>
                <a:cs typeface="Arial"/>
                <a:sym typeface="Arial"/>
              </a:rPr>
              <a:t>5–6%</a:t>
            </a:r>
            <a:endParaRPr sz="1250" b="1" dirty="0">
              <a:solidFill>
                <a:srgbClr val="FFFFFF"/>
              </a:solidFill>
              <a:latin typeface="Arial"/>
              <a:cs typeface="Arial"/>
              <a:sym typeface="Arial"/>
            </a:endParaRPr>
          </a:p>
        </p:txBody>
      </p:sp>
      <p:pic>
        <p:nvPicPr>
          <p:cNvPr id="83" name="Object 82"/>
          <p:cNvPicPr>
            <a:picLocks noChangeAspect="1"/>
          </p:cNvPicPr>
          <p:nvPr/>
        </p:nvPicPr>
        <p:blipFill>
          <a:blip r:embed="rId30"/>
          <a:srcRect/>
          <a:stretch>
            <a:fillRect/>
          </a:stretch>
        </p:blipFill>
        <p:spPr bwMode="gray">
          <a:xfrm>
            <a:off x="0" y="0"/>
            <a:ext cx="158750" cy="158750"/>
          </a:xfrm>
          <a:prstGeom prst="rect">
            <a:avLst/>
          </a:prstGeom>
          <a:noFill/>
        </p:spPr>
      </p:pic>
      <p:sp>
        <p:nvSpPr>
          <p:cNvPr id="2" name="Rectangle 1" hidden="1"/>
          <p:cNvSpPr/>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dirty="0" err="1" smtClean="0">
              <a:solidFill>
                <a:srgbClr val="000000"/>
              </a:solidFill>
              <a:ea typeface="Arial Unicode MS"/>
              <a:cs typeface="Arial Unicode MS"/>
              <a:sym typeface="Arial"/>
            </a:endParaRPr>
          </a:p>
        </p:txBody>
      </p:sp>
      <p:sp>
        <p:nvSpPr>
          <p:cNvPr id="81" name="Title 80"/>
          <p:cNvSpPr>
            <a:spLocks noGrp="1"/>
          </p:cNvSpPr>
          <p:nvPr>
            <p:ph type="title"/>
          </p:nvPr>
        </p:nvSpPr>
        <p:spPr bwMode="gray">
          <a:xfrm>
            <a:off x="119063" y="230188"/>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Opportunity and India’s value proposition</a:t>
            </a:r>
            <a:br>
              <a:rPr lang="en-US" dirty="0"/>
            </a:br>
            <a:r>
              <a:rPr lang="en-US" dirty="0"/>
              <a:t>in four lead sectors</a:t>
            </a:r>
            <a:endParaRPr lang="en-ZA" dirty="0"/>
          </a:p>
        </p:txBody>
      </p:sp>
      <p:sp>
        <p:nvSpPr>
          <p:cNvPr id="41" name="McK 4. Footnote"/>
          <p:cNvSpPr txBox="1">
            <a:spLocks noChangeArrowheads="1"/>
          </p:cNvSpPr>
          <p:nvPr/>
        </p:nvSpPr>
        <p:spPr bwMode="gray">
          <a:xfrm>
            <a:off x="119063" y="6080125"/>
            <a:ext cx="85486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Opportunity size is in 'power generation' space </a:t>
            </a:r>
            <a:r>
              <a:rPr lang="en-US" dirty="0" smtClean="0"/>
              <a:t>only and covers capital expenditure and not revenues</a:t>
            </a:r>
            <a:endParaRPr lang="en-US" dirty="0"/>
          </a:p>
        </p:txBody>
      </p:sp>
      <p:sp>
        <p:nvSpPr>
          <p:cNvPr id="72" name="Rectangle 43"/>
          <p:cNvSpPr txBox="1">
            <a:spLocks/>
          </p:cNvSpPr>
          <p:nvPr/>
        </p:nvSpPr>
        <p:spPr bwMode="gray">
          <a:xfrm>
            <a:off x="7345210" y="288827"/>
            <a:ext cx="1435971"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2960"/>
              </a:buClr>
              <a:buFont typeface="Arial" charset="0"/>
              <a:buNone/>
            </a:pPr>
            <a:r>
              <a:rPr lang="en-US" sz="1100" dirty="0" smtClean="0">
                <a:solidFill>
                  <a:srgbClr val="000000"/>
                </a:solidFill>
              </a:rPr>
              <a:t>2013 revenue, USD </a:t>
            </a:r>
            <a:r>
              <a:rPr lang="en-US" sz="1100" dirty="0" err="1" smtClean="0">
                <a:solidFill>
                  <a:srgbClr val="000000"/>
                </a:solidFill>
              </a:rPr>
              <a:t>bn</a:t>
            </a:r>
            <a:endParaRPr lang="en-US" sz="1100" dirty="0">
              <a:solidFill>
                <a:srgbClr val="000000"/>
              </a:solidFill>
            </a:endParaRPr>
          </a:p>
        </p:txBody>
      </p:sp>
      <p:sp>
        <p:nvSpPr>
          <p:cNvPr id="73" name="Rectangle 72"/>
          <p:cNvSpPr/>
          <p:nvPr/>
        </p:nvSpPr>
        <p:spPr bwMode="gray">
          <a:xfrm>
            <a:off x="7154131" y="310785"/>
            <a:ext cx="137460" cy="125361"/>
          </a:xfrm>
          <a:prstGeom prst="rect">
            <a:avLst/>
          </a:prstGeom>
          <a:solidFill>
            <a:srgbClr val="66A3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smtClean="0">
              <a:solidFill>
                <a:srgbClr val="000000"/>
              </a:solidFill>
            </a:endParaRPr>
          </a:p>
        </p:txBody>
      </p:sp>
      <p:sp>
        <p:nvSpPr>
          <p:cNvPr id="74" name="Rectangle 73"/>
          <p:cNvSpPr/>
          <p:nvPr/>
        </p:nvSpPr>
        <p:spPr bwMode="gray">
          <a:xfrm>
            <a:off x="7154131" y="579364"/>
            <a:ext cx="137460" cy="12536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smtClean="0">
              <a:solidFill>
                <a:srgbClr val="000000"/>
              </a:solidFill>
            </a:endParaRPr>
          </a:p>
        </p:txBody>
      </p:sp>
      <p:sp>
        <p:nvSpPr>
          <p:cNvPr id="75" name="Rectangle 43"/>
          <p:cNvSpPr txBox="1">
            <a:spLocks/>
          </p:cNvSpPr>
          <p:nvPr/>
        </p:nvSpPr>
        <p:spPr bwMode="gray">
          <a:xfrm>
            <a:off x="7345210" y="557406"/>
            <a:ext cx="1435971"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2960"/>
              </a:buClr>
              <a:buFont typeface="Arial" charset="0"/>
              <a:buNone/>
            </a:pPr>
            <a:r>
              <a:rPr lang="en-US" sz="1100" dirty="0" smtClean="0">
                <a:solidFill>
                  <a:srgbClr val="000000"/>
                </a:solidFill>
              </a:rPr>
              <a:t>2025 revenue, USD </a:t>
            </a:r>
            <a:r>
              <a:rPr lang="en-US" sz="1100" dirty="0" err="1" smtClean="0">
                <a:solidFill>
                  <a:srgbClr val="000000"/>
                </a:solidFill>
              </a:rPr>
              <a:t>bn</a:t>
            </a:r>
            <a:endParaRPr lang="en-US" sz="1100" dirty="0">
              <a:solidFill>
                <a:srgbClr val="000000"/>
              </a:solidFill>
            </a:endParaRPr>
          </a:p>
        </p:txBody>
      </p:sp>
      <p:sp>
        <p:nvSpPr>
          <p:cNvPr id="49" name="Legend1"/>
          <p:cNvSpPr>
            <a:spLocks noChangeArrowheads="1"/>
          </p:cNvSpPr>
          <p:nvPr/>
        </p:nvSpPr>
        <p:spPr bwMode="gray">
          <a:xfrm>
            <a:off x="5979706" y="310785"/>
            <a:ext cx="1000213"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rgbClr val="002960"/>
              </a:buClr>
            </a:pPr>
            <a:r>
              <a:rPr lang="en-US" sz="1100" dirty="0">
                <a:solidFill>
                  <a:srgbClr val="000000"/>
                </a:solidFill>
              </a:rPr>
              <a:t>Compound </a:t>
            </a:r>
            <a:r>
              <a:rPr lang="en-US" sz="1100" dirty="0" smtClean="0">
                <a:solidFill>
                  <a:srgbClr val="000000"/>
                </a:solidFill>
              </a:rPr>
              <a:t>Annual Growth Rate</a:t>
            </a:r>
            <a:endParaRPr lang="en-US" sz="1100" dirty="0">
              <a:solidFill>
                <a:srgbClr val="808080"/>
              </a:solidFill>
            </a:endParaRPr>
          </a:p>
        </p:txBody>
      </p:sp>
      <p:sp>
        <p:nvSpPr>
          <p:cNvPr id="50" name="LegendRectangle1"/>
          <p:cNvSpPr>
            <a:spLocks noChangeArrowheads="1"/>
          </p:cNvSpPr>
          <p:nvPr/>
        </p:nvSpPr>
        <p:spPr bwMode="gray">
          <a:xfrm>
            <a:off x="5523814" y="352060"/>
            <a:ext cx="402273" cy="242252"/>
          </a:xfrm>
          <a:prstGeom prst="ellipse">
            <a:avLst/>
          </a:prstGeom>
          <a:solidFill>
            <a:schemeClr val="tx2"/>
          </a:solidFill>
          <a:ln w="12700">
            <a:solidFill>
              <a:schemeClr val="accent4"/>
            </a:solidFill>
            <a:round/>
            <a:headEnd/>
            <a:tailEnd/>
          </a:ln>
          <a:effectLst/>
          <a:extLst/>
        </p:spPr>
        <p:txBody>
          <a:bodyPr wrap="none" anchor="ctr"/>
          <a:lstStyle/>
          <a:p>
            <a:pPr algn="ctr"/>
            <a:r>
              <a:rPr lang="en-US" sz="1100" dirty="0" smtClean="0">
                <a:solidFill>
                  <a:schemeClr val="bg1"/>
                </a:solidFill>
              </a:rPr>
              <a:t>xx</a:t>
            </a:r>
            <a:endParaRPr lang="en-US" sz="1100" dirty="0">
              <a:solidFill>
                <a:schemeClr val="bg1"/>
              </a:solidFill>
            </a:endParaRPr>
          </a:p>
        </p:txBody>
      </p:sp>
      <p:graphicFrame>
        <p:nvGraphicFramePr>
          <p:cNvPr id="11" name="Object 10"/>
          <p:cNvGraphicFramePr>
            <a:graphicFrameLocks/>
          </p:cNvGraphicFramePr>
          <p:nvPr>
            <p:custDataLst>
              <p:tags r:id="rId16"/>
            </p:custDataLst>
            <p:extLst>
              <p:ext uri="{D42A27DB-BD31-4B8C-83A1-F6EECF244321}">
                <p14:modId xmlns:p14="http://schemas.microsoft.com/office/powerpoint/2010/main" val="3815626113"/>
              </p:ext>
            </p:extLst>
          </p:nvPr>
        </p:nvGraphicFramePr>
        <p:xfrm>
          <a:off x="1839913" y="4957763"/>
          <a:ext cx="2276411" cy="1133451"/>
        </p:xfrm>
        <a:graphic>
          <a:graphicData uri="http://schemas.openxmlformats.org/presentationml/2006/ole">
            <mc:AlternateContent xmlns:mc="http://schemas.openxmlformats.org/markup-compatibility/2006">
              <mc:Choice xmlns:v="urn:schemas-microsoft-com:vml" Requires="v">
                <p:oleObj spid="_x0000_s21883" name="Chart" r:id="rId31" imgW="2276411" imgH="1133451" progId="MSGraph.Chart.8">
                  <p:embed followColorScheme="full"/>
                </p:oleObj>
              </mc:Choice>
              <mc:Fallback>
                <p:oleObj name="Chart" r:id="rId31" imgW="2276411" imgH="1133451" progId="MSGraph.Chart.8">
                  <p:embed followColorScheme="full"/>
                  <p:pic>
                    <p:nvPicPr>
                      <p:cNvPr id="0" name=""/>
                      <p:cNvPicPr/>
                      <p:nvPr/>
                    </p:nvPicPr>
                    <p:blipFill>
                      <a:blip r:embed="rId32"/>
                      <a:stretch>
                        <a:fillRect/>
                      </a:stretch>
                    </p:blipFill>
                    <p:spPr>
                      <a:xfrm>
                        <a:off x="1839913" y="4957763"/>
                        <a:ext cx="2276411" cy="1133451"/>
                      </a:xfrm>
                      <a:prstGeom prst="rect">
                        <a:avLst/>
                      </a:prstGeom>
                    </p:spPr>
                  </p:pic>
                </p:oleObj>
              </mc:Fallback>
            </mc:AlternateContent>
          </a:graphicData>
        </a:graphic>
      </p:graphicFrame>
      <p:cxnSp>
        <p:nvCxnSpPr>
          <p:cNvPr id="17" name="Straight Connector 16"/>
          <p:cNvCxnSpPr/>
          <p:nvPr>
            <p:custDataLst>
              <p:tags r:id="rId17"/>
            </p:custDataLst>
          </p:nvPr>
        </p:nvCxnSpPr>
        <p:spPr bwMode="gray">
          <a:xfrm flipV="1">
            <a:off x="2449513" y="4943475"/>
            <a:ext cx="1033462" cy="30480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60" name="Oval 59"/>
          <p:cNvSpPr>
            <a:spLocks noGrp="1" noChangeArrowheads="1"/>
          </p:cNvSpPr>
          <p:nvPr>
            <p:custDataLst>
              <p:tags r:id="rId18"/>
            </p:custDataLst>
          </p:nvPr>
        </p:nvSpPr>
        <p:spPr bwMode="gray">
          <a:xfrm>
            <a:off x="2678113" y="4975225"/>
            <a:ext cx="577850" cy="242888"/>
          </a:xfrm>
          <a:prstGeom prst="ellipse">
            <a:avLst/>
          </a:prstGeom>
          <a:solidFill>
            <a:schemeClr val="folHlink"/>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lang="en-US" sz="1600" b="0" baseline="0" noProof="0" dirty="0" smtClean="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002960"/>
              </a:buClr>
            </a:pPr>
            <a:r>
              <a:rPr lang="en-US" sz="1250" b="1" dirty="0" smtClean="0">
                <a:solidFill>
                  <a:srgbClr val="FFFFFF"/>
                </a:solidFill>
                <a:latin typeface="Arial"/>
                <a:cs typeface="Arial"/>
                <a:sym typeface="Arial"/>
              </a:rPr>
              <a:t>5–6%</a:t>
            </a:r>
            <a:endParaRPr sz="1250" b="1" dirty="0">
              <a:solidFill>
                <a:srgbClr val="FFFFFF"/>
              </a:solidFill>
              <a:latin typeface="Arial"/>
              <a:cs typeface="Arial"/>
              <a:sym typeface="Arial"/>
            </a:endParaRPr>
          </a:p>
        </p:txBody>
      </p:sp>
      <p:cxnSp>
        <p:nvCxnSpPr>
          <p:cNvPr id="43" name="Straight Connector 42"/>
          <p:cNvCxnSpPr>
            <a:cxnSpLocks/>
          </p:cNvCxnSpPr>
          <p:nvPr/>
        </p:nvCxnSpPr>
        <p:spPr bwMode="gray">
          <a:xfrm flipH="1">
            <a:off x="186182" y="3571082"/>
            <a:ext cx="856436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bwMode="gray">
          <a:xfrm flipH="1">
            <a:off x="186182" y="2359191"/>
            <a:ext cx="856436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6" name="Rectangle 6"/>
          <p:cNvSpPr txBox="1">
            <a:spLocks/>
          </p:cNvSpPr>
          <p:nvPr/>
        </p:nvSpPr>
        <p:spPr bwMode="gray">
          <a:xfrm>
            <a:off x="186180" y="3622344"/>
            <a:ext cx="1579557" cy="1109366"/>
          </a:xfrm>
          <a:prstGeom prst="rect">
            <a:avLst/>
          </a:prstGeom>
          <a:solidFill>
            <a:srgbClr val="3280C0"/>
          </a:solidFill>
          <a:ln w="19050">
            <a:noFill/>
            <a:miter lim="800000"/>
            <a:headEnd/>
            <a:tailEnd/>
          </a:ln>
          <a:effectLst/>
          <a:extLst/>
        </p:spPr>
        <p:txBody>
          <a:bodyPr vert="horz" wrap="square" lIns="45720" tIns="36576" rIns="45720" bIns="36576" numCol="1" anchor="b" anchorCtr="0" compatLnSpc="1">
            <a:prstTxWarp prst="textNoShape">
              <a:avLst/>
            </a:prstTxWarp>
            <a:noAutofit/>
          </a:bodyPr>
          <a:lstStyle>
            <a:defPPr>
              <a:defRPr lang="en-US"/>
            </a:defPPr>
            <a:lvl1pPr marL="0" lvl="0" indent="0" defTabSz="895350" eaLnBrk="1" hangingPunct="1">
              <a:buClr>
                <a:srgbClr val="00296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smtClean="0">
                <a:solidFill>
                  <a:schemeClr val="bg1"/>
                </a:solidFill>
              </a:rPr>
              <a:t>Infrastructure (Power</a:t>
            </a:r>
            <a:r>
              <a:rPr lang="en-US" sz="1600" baseline="30000" dirty="0" smtClean="0">
                <a:solidFill>
                  <a:schemeClr val="bg1"/>
                </a:solidFill>
              </a:rPr>
              <a:t>1</a:t>
            </a:r>
            <a:r>
              <a:rPr lang="en-US" sz="1600" dirty="0" smtClean="0">
                <a:solidFill>
                  <a:schemeClr val="bg1"/>
                </a:solidFill>
              </a:rPr>
              <a:t>)</a:t>
            </a:r>
          </a:p>
        </p:txBody>
      </p:sp>
      <p:sp>
        <p:nvSpPr>
          <p:cNvPr id="62" name="Rectangle 6"/>
          <p:cNvSpPr txBox="1">
            <a:spLocks/>
          </p:cNvSpPr>
          <p:nvPr/>
        </p:nvSpPr>
        <p:spPr bwMode="gray">
          <a:xfrm>
            <a:off x="186180" y="1198563"/>
            <a:ext cx="1579557" cy="1109366"/>
          </a:xfrm>
          <a:prstGeom prst="rect">
            <a:avLst/>
          </a:prstGeom>
          <a:solidFill>
            <a:srgbClr val="3280C0"/>
          </a:solidFill>
          <a:ln w="19050">
            <a:noFill/>
            <a:miter lim="800000"/>
            <a:headEnd/>
            <a:tailEnd/>
          </a:ln>
          <a:effectLst/>
          <a:extLst/>
        </p:spPr>
        <p:txBody>
          <a:bodyPr vert="horz" wrap="square" lIns="45720" tIns="36576" rIns="45720" bIns="36576" numCol="1" anchor="b" anchorCtr="0" compatLnSpc="1">
            <a:prstTxWarp prst="textNoShape">
              <a:avLst/>
            </a:prstTxWarp>
            <a:noAutofit/>
          </a:bodyPr>
          <a:lstStyle>
            <a:defPPr>
              <a:defRPr lang="en-US"/>
            </a:defPPr>
            <a:lvl1pPr marL="0" lvl="0" indent="0" defTabSz="895350" eaLnBrk="1" hangingPunct="1">
              <a:buClr>
                <a:srgbClr val="00296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solidFill>
                  <a:schemeClr val="bg1"/>
                </a:solidFill>
              </a:rPr>
              <a:t>Consumer </a:t>
            </a:r>
            <a:r>
              <a:rPr lang="en-US" sz="1600" dirty="0" smtClean="0">
                <a:solidFill>
                  <a:schemeClr val="bg1"/>
                </a:solidFill>
              </a:rPr>
              <a:t>goods</a:t>
            </a:r>
            <a:endParaRPr lang="en-US" sz="1600" dirty="0">
              <a:solidFill>
                <a:schemeClr val="bg1"/>
              </a:solidFill>
            </a:endParaRPr>
          </a:p>
        </p:txBody>
      </p:sp>
      <p:sp>
        <p:nvSpPr>
          <p:cNvPr id="12" name="Rectangle 6"/>
          <p:cNvSpPr txBox="1">
            <a:spLocks/>
          </p:cNvSpPr>
          <p:nvPr/>
        </p:nvSpPr>
        <p:spPr bwMode="gray">
          <a:xfrm>
            <a:off x="186180" y="2410454"/>
            <a:ext cx="1579557" cy="1109366"/>
          </a:xfrm>
          <a:prstGeom prst="rect">
            <a:avLst/>
          </a:prstGeom>
          <a:solidFill>
            <a:srgbClr val="3280C0"/>
          </a:solidFill>
          <a:ln w="19050">
            <a:noFill/>
            <a:miter lim="800000"/>
            <a:headEnd/>
            <a:tailEnd/>
          </a:ln>
          <a:effectLst/>
          <a:extLst/>
        </p:spPr>
        <p:txBody>
          <a:bodyPr vert="horz" wrap="square" lIns="45720" tIns="36576" rIns="45720" bIns="36576" numCol="1" anchor="b" anchorCtr="0" compatLnSpc="1">
            <a:prstTxWarp prst="textNoShape">
              <a:avLst/>
            </a:prstTxWarp>
            <a:noAutofit/>
          </a:bodyPr>
          <a:lstStyle>
            <a:defPPr>
              <a:defRPr lang="en-US"/>
            </a:defPPr>
            <a:lvl1pPr marL="0" lvl="0" indent="0" defTabSz="895350" eaLnBrk="1" hangingPunct="1">
              <a:buClr>
                <a:srgbClr val="00296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a:solidFill>
                  <a:schemeClr val="bg1"/>
                </a:solidFill>
              </a:rPr>
              <a:t>IT </a:t>
            </a:r>
            <a:r>
              <a:rPr lang="en-US" sz="1600" dirty="0" smtClean="0">
                <a:solidFill>
                  <a:schemeClr val="bg1"/>
                </a:solidFill>
              </a:rPr>
              <a:t>and </a:t>
            </a:r>
            <a:r>
              <a:rPr lang="en-US" sz="1600" dirty="0" err="1" smtClean="0">
                <a:solidFill>
                  <a:schemeClr val="bg1"/>
                </a:solidFill>
              </a:rPr>
              <a:t>ITeS</a:t>
            </a:r>
            <a:endParaRPr lang="en-US" sz="1600" dirty="0">
              <a:solidFill>
                <a:schemeClr val="bg1"/>
              </a:solidFill>
            </a:endParaRPr>
          </a:p>
        </p:txBody>
      </p:sp>
      <p:sp>
        <p:nvSpPr>
          <p:cNvPr id="44" name="Rectangle 6"/>
          <p:cNvSpPr txBox="1">
            <a:spLocks/>
          </p:cNvSpPr>
          <p:nvPr/>
        </p:nvSpPr>
        <p:spPr bwMode="gray">
          <a:xfrm>
            <a:off x="186180" y="4834234"/>
            <a:ext cx="1579557" cy="1109366"/>
          </a:xfrm>
          <a:prstGeom prst="rect">
            <a:avLst/>
          </a:prstGeom>
          <a:solidFill>
            <a:srgbClr val="3280C0"/>
          </a:solidFill>
          <a:ln w="19050">
            <a:noFill/>
            <a:miter lim="800000"/>
            <a:headEnd/>
            <a:tailEnd/>
          </a:ln>
          <a:effectLst/>
          <a:extLst/>
        </p:spPr>
        <p:txBody>
          <a:bodyPr vert="horz" wrap="square" lIns="45720" tIns="36576" rIns="45720" bIns="36576" numCol="1" anchor="b" anchorCtr="0" compatLnSpc="1">
            <a:prstTxWarp prst="textNoShape">
              <a:avLst/>
            </a:prstTxWarp>
            <a:noAutofit/>
          </a:bodyPr>
          <a:lstStyle>
            <a:defPPr>
              <a:defRPr lang="en-US"/>
            </a:defPPr>
            <a:lvl1pPr marL="0" lvl="0" indent="0" defTabSz="895350" eaLnBrk="1" hangingPunct="1">
              <a:buClr>
                <a:srgbClr val="002960"/>
              </a:buClr>
              <a:defRPr sz="1400" b="1" baseline="0">
                <a:solidFill>
                  <a:srgbClr val="FFFFFF"/>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smtClean="0">
                <a:solidFill>
                  <a:schemeClr val="bg1"/>
                </a:solidFill>
              </a:rPr>
              <a:t>Agriculture</a:t>
            </a:r>
            <a:endParaRPr lang="en-US" sz="1600" dirty="0">
              <a:solidFill>
                <a:schemeClr val="bg1"/>
              </a:solidFill>
            </a:endParaRPr>
          </a:p>
        </p:txBody>
      </p:sp>
      <p:cxnSp>
        <p:nvCxnSpPr>
          <p:cNvPr id="65" name="Straight Connector 64"/>
          <p:cNvCxnSpPr>
            <a:cxnSpLocks/>
          </p:cNvCxnSpPr>
          <p:nvPr/>
        </p:nvCxnSpPr>
        <p:spPr bwMode="gray">
          <a:xfrm flipH="1">
            <a:off x="186182" y="4782973"/>
            <a:ext cx="8564368"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6" name="McK 5. Source"/>
          <p:cNvSpPr>
            <a:spLocks noChangeArrowheads="1"/>
          </p:cNvSpPr>
          <p:nvPr>
            <p:custDataLst>
              <p:tags r:id="rId19"/>
            </p:custDataLst>
          </p:nvPr>
        </p:nvSpPr>
        <p:spPr bwMode="gray">
          <a:xfrm>
            <a:off x="119063" y="6435725"/>
            <a:ext cx="68627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latin typeface="+mn-lt"/>
              </a:rPr>
              <a:t>SOURCE: Expert interviews; </a:t>
            </a:r>
            <a:r>
              <a:rPr lang="en-US" sz="1000" dirty="0" err="1">
                <a:latin typeface="+mn-lt"/>
              </a:rPr>
              <a:t>Euromonitor</a:t>
            </a:r>
            <a:r>
              <a:rPr lang="en-US" sz="1000" dirty="0">
                <a:latin typeface="+mn-lt"/>
              </a:rPr>
              <a:t> International; McKinsey analysis</a:t>
            </a:r>
          </a:p>
        </p:txBody>
      </p:sp>
      <p:pic>
        <p:nvPicPr>
          <p:cNvPr id="21517" name="Picture 13" descr="supermarket cart"/>
          <p:cNvPicPr>
            <a:picLocks noChangeArrowheads="1"/>
          </p:cNvPicPr>
          <p:nvPr/>
        </p:nvPicPr>
        <p:blipFill rotWithShape="1">
          <a:blip r:embed="rId33" cstate="email">
            <a:extLst>
              <a:ext uri="{28A0092B-C50C-407E-A947-70E740481C1C}">
                <a14:useLocalDpi xmlns:a14="http://schemas.microsoft.com/office/drawing/2010/main"/>
              </a:ext>
            </a:extLst>
          </a:blip>
          <a:srcRect/>
          <a:stretch/>
        </p:blipFill>
        <p:spPr bwMode="auto">
          <a:xfrm>
            <a:off x="186180" y="1198563"/>
            <a:ext cx="1579557" cy="629306"/>
          </a:xfrm>
          <a:prstGeom prst="rect">
            <a:avLst/>
          </a:prstGeom>
          <a:noFill/>
          <a:extLst>
            <a:ext uri="{909E8E84-426E-40DD-AFC4-6F175D3DCCD1}">
              <a14:hiddenFill xmlns:a14="http://schemas.microsoft.com/office/drawing/2010/main">
                <a:solidFill>
                  <a:srgbClr val="FFFFFF"/>
                </a:solidFill>
              </a14:hiddenFill>
            </a:ext>
          </a:extLst>
        </p:spPr>
      </p:pic>
      <p:pic>
        <p:nvPicPr>
          <p:cNvPr id="21518" name="Picture 14"/>
          <p:cNvPicPr>
            <a:picLocks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186180" y="2410454"/>
            <a:ext cx="1579557" cy="629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24" name="Picture 20"/>
          <p:cNvPicPr>
            <a:picLocks noChangeArrowheads="1"/>
          </p:cNvPicPr>
          <p:nvPr/>
        </p:nvPicPr>
        <p:blipFill rotWithShape="1">
          <a:blip r:embed="rId35" cstate="email">
            <a:extLst>
              <a:ext uri="{28A0092B-C50C-407E-A947-70E740481C1C}">
                <a14:useLocalDpi xmlns:a14="http://schemas.microsoft.com/office/drawing/2010/main"/>
              </a:ext>
            </a:extLst>
          </a:blip>
          <a:srcRect/>
          <a:stretch/>
        </p:blipFill>
        <p:spPr bwMode="auto">
          <a:xfrm>
            <a:off x="186180" y="3622344"/>
            <a:ext cx="1579557" cy="629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25" name="Picture 21"/>
          <p:cNvPicPr>
            <a:picLocks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186180" y="4834234"/>
            <a:ext cx="1579557" cy="629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8" name="Group 9"/>
          <p:cNvGrpSpPr>
            <a:grpSpLocks/>
          </p:cNvGrpSpPr>
          <p:nvPr/>
        </p:nvGrpSpPr>
        <p:grpSpPr bwMode="auto">
          <a:xfrm>
            <a:off x="1927225" y="825539"/>
            <a:ext cx="2203341" cy="334099"/>
            <a:chOff x="915" y="936"/>
            <a:chExt cx="2686" cy="94"/>
          </a:xfrm>
        </p:grpSpPr>
        <p:cxnSp>
          <p:nvCxnSpPr>
            <p:cNvPr id="89" name="AutoShape 249"/>
            <p:cNvCxnSpPr>
              <a:cxnSpLocks noChangeShapeType="1"/>
              <a:stCxn id="90" idx="4"/>
              <a:endCxn id="90" idx="6"/>
            </p:cNvCxnSpPr>
            <p:nvPr/>
          </p:nvCxnSpPr>
          <p:spPr bwMode="auto">
            <a:xfrm>
              <a:off x="915" y="1030"/>
              <a:ext cx="2686" cy="0"/>
            </a:xfrm>
            <a:prstGeom prst="straightConnector1">
              <a:avLst/>
            </a:prstGeom>
            <a:noFill/>
            <a:ln w="19050">
              <a:solidFill>
                <a:srgbClr val="66A3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AutoShape 250"/>
            <p:cNvSpPr>
              <a:spLocks noChangeArrowheads="1"/>
            </p:cNvSpPr>
            <p:nvPr/>
          </p:nvSpPr>
          <p:spPr bwMode="auto">
            <a:xfrm>
              <a:off x="915" y="936"/>
              <a:ext cx="2686" cy="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b="1" dirty="0" smtClean="0">
                  <a:solidFill>
                    <a:schemeClr val="accent4"/>
                  </a:solidFill>
                </a:rPr>
                <a:t>Size of sector</a:t>
              </a:r>
            </a:p>
          </p:txBody>
        </p:sp>
      </p:grpSp>
      <p:grpSp>
        <p:nvGrpSpPr>
          <p:cNvPr id="91" name="Group 9"/>
          <p:cNvGrpSpPr>
            <a:grpSpLocks/>
          </p:cNvGrpSpPr>
          <p:nvPr/>
        </p:nvGrpSpPr>
        <p:grpSpPr bwMode="auto">
          <a:xfrm>
            <a:off x="4445867" y="683570"/>
            <a:ext cx="4019318" cy="511176"/>
            <a:chOff x="915" y="708"/>
            <a:chExt cx="2686" cy="322"/>
          </a:xfrm>
        </p:grpSpPr>
        <p:cxnSp>
          <p:nvCxnSpPr>
            <p:cNvPr id="92" name="AutoShape 249"/>
            <p:cNvCxnSpPr>
              <a:cxnSpLocks noChangeShapeType="1"/>
              <a:stCxn id="93" idx="4"/>
              <a:endCxn id="93" idx="6"/>
            </p:cNvCxnSpPr>
            <p:nvPr/>
          </p:nvCxnSpPr>
          <p:spPr bwMode="auto">
            <a:xfrm>
              <a:off x="915" y="1030"/>
              <a:ext cx="2686" cy="0"/>
            </a:xfrm>
            <a:prstGeom prst="straightConnector1">
              <a:avLst/>
            </a:prstGeom>
            <a:noFill/>
            <a:ln w="19050">
              <a:solidFill>
                <a:srgbClr val="66A3D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3"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b="1" dirty="0">
                  <a:solidFill>
                    <a:schemeClr val="accent4"/>
                  </a:solidFill>
                </a:rPr>
                <a:t>India’s value proposition</a:t>
              </a:r>
              <a:endParaRPr lang="en-GB" b="1" dirty="0" smtClean="0">
                <a:solidFill>
                  <a:schemeClr val="accent4"/>
                </a:solidFill>
              </a:endParaRPr>
            </a:p>
          </p:txBody>
        </p:sp>
      </p:grpSp>
      <p:sp>
        <p:nvSpPr>
          <p:cNvPr id="71" name="Rectangle 6"/>
          <p:cNvSpPr txBox="1">
            <a:spLocks/>
          </p:cNvSpPr>
          <p:nvPr/>
        </p:nvSpPr>
        <p:spPr bwMode="gray">
          <a:xfrm>
            <a:off x="4445867" y="1198563"/>
            <a:ext cx="4304683" cy="11695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5000"/>
              </a:lnSpc>
              <a:buClr>
                <a:srgbClr val="002960"/>
              </a:buClr>
            </a:pPr>
            <a:r>
              <a:rPr lang="en-US" dirty="0">
                <a:solidFill>
                  <a:srgbClr val="000000"/>
                </a:solidFill>
              </a:rPr>
              <a:t>Low cost product </a:t>
            </a:r>
            <a:r>
              <a:rPr lang="en-US" dirty="0" smtClean="0">
                <a:solidFill>
                  <a:srgbClr val="000000"/>
                </a:solidFill>
              </a:rPr>
              <a:t>innovation</a:t>
            </a:r>
            <a:endParaRPr lang="en-US" dirty="0">
              <a:solidFill>
                <a:srgbClr val="000000"/>
              </a:solidFill>
            </a:endParaRPr>
          </a:p>
          <a:p>
            <a:pPr lvl="1">
              <a:lnSpc>
                <a:spcPct val="95000"/>
              </a:lnSpc>
              <a:buClr>
                <a:srgbClr val="002960"/>
              </a:buClr>
            </a:pPr>
            <a:r>
              <a:rPr lang="en-US" dirty="0">
                <a:solidFill>
                  <a:srgbClr val="000000"/>
                </a:solidFill>
              </a:rPr>
              <a:t>Efficient distribution model in a fragmented </a:t>
            </a:r>
            <a:r>
              <a:rPr lang="en-US" dirty="0" smtClean="0">
                <a:solidFill>
                  <a:srgbClr val="000000"/>
                </a:solidFill>
              </a:rPr>
              <a:t>market</a:t>
            </a:r>
          </a:p>
          <a:p>
            <a:pPr lvl="1">
              <a:lnSpc>
                <a:spcPct val="95000"/>
              </a:lnSpc>
              <a:buClr>
                <a:srgbClr val="002960"/>
              </a:buClr>
            </a:pPr>
            <a:r>
              <a:rPr lang="en-US" dirty="0" smtClean="0">
                <a:solidFill>
                  <a:srgbClr val="000000"/>
                </a:solidFill>
              </a:rPr>
              <a:t>Service </a:t>
            </a:r>
            <a:r>
              <a:rPr lang="en-US" dirty="0">
                <a:solidFill>
                  <a:srgbClr val="000000"/>
                </a:solidFill>
              </a:rPr>
              <a:t>orientation</a:t>
            </a:r>
          </a:p>
          <a:p>
            <a:pPr lvl="1">
              <a:lnSpc>
                <a:spcPct val="95000"/>
              </a:lnSpc>
              <a:buClr>
                <a:srgbClr val="002960"/>
              </a:buClr>
            </a:pPr>
            <a:r>
              <a:rPr lang="en-US" dirty="0" smtClean="0">
                <a:solidFill>
                  <a:srgbClr val="000000"/>
                </a:solidFill>
              </a:rPr>
              <a:t>Ability to set up SME manufacturing capacity</a:t>
            </a:r>
          </a:p>
        </p:txBody>
      </p:sp>
      <p:sp>
        <p:nvSpPr>
          <p:cNvPr id="86" name="Rectangle 6"/>
          <p:cNvSpPr txBox="1">
            <a:spLocks/>
          </p:cNvSpPr>
          <p:nvPr/>
        </p:nvSpPr>
        <p:spPr bwMode="gray">
          <a:xfrm>
            <a:off x="4445867" y="2395095"/>
            <a:ext cx="4304683" cy="11695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5000"/>
              </a:lnSpc>
              <a:buClr>
                <a:srgbClr val="002960"/>
              </a:buClr>
            </a:pPr>
            <a:r>
              <a:rPr lang="en-US" dirty="0">
                <a:solidFill>
                  <a:srgbClr val="000000"/>
                </a:solidFill>
              </a:rPr>
              <a:t>Global companies with reputed </a:t>
            </a:r>
            <a:r>
              <a:rPr lang="en-US" dirty="0" smtClean="0">
                <a:solidFill>
                  <a:srgbClr val="000000"/>
                </a:solidFill>
              </a:rPr>
              <a:t>brands</a:t>
            </a:r>
          </a:p>
          <a:p>
            <a:pPr lvl="1">
              <a:lnSpc>
                <a:spcPct val="95000"/>
              </a:lnSpc>
              <a:buClr>
                <a:srgbClr val="002960"/>
              </a:buClr>
            </a:pPr>
            <a:r>
              <a:rPr lang="en-US" dirty="0" smtClean="0">
                <a:solidFill>
                  <a:srgbClr val="000000"/>
                </a:solidFill>
              </a:rPr>
              <a:t>Ability </a:t>
            </a:r>
            <a:r>
              <a:rPr lang="en-US" dirty="0">
                <a:solidFill>
                  <a:srgbClr val="000000"/>
                </a:solidFill>
              </a:rPr>
              <a:t>to train people at </a:t>
            </a:r>
            <a:r>
              <a:rPr lang="en-US" dirty="0" smtClean="0">
                <a:solidFill>
                  <a:srgbClr val="000000"/>
                </a:solidFill>
              </a:rPr>
              <a:t>scale</a:t>
            </a:r>
          </a:p>
          <a:p>
            <a:pPr lvl="1">
              <a:lnSpc>
                <a:spcPct val="95000"/>
              </a:lnSpc>
              <a:buClr>
                <a:srgbClr val="002960"/>
              </a:buClr>
            </a:pPr>
            <a:r>
              <a:rPr lang="en-US" dirty="0" smtClean="0">
                <a:solidFill>
                  <a:srgbClr val="000000"/>
                </a:solidFill>
              </a:rPr>
              <a:t>Innovative </a:t>
            </a:r>
            <a:r>
              <a:rPr lang="en-US" dirty="0">
                <a:solidFill>
                  <a:srgbClr val="000000"/>
                </a:solidFill>
              </a:rPr>
              <a:t>delivery models</a:t>
            </a:r>
          </a:p>
          <a:p>
            <a:pPr lvl="1">
              <a:lnSpc>
                <a:spcPct val="95000"/>
              </a:lnSpc>
              <a:buClr>
                <a:srgbClr val="002960"/>
              </a:buClr>
            </a:pPr>
            <a:r>
              <a:rPr lang="en-US" dirty="0">
                <a:solidFill>
                  <a:srgbClr val="000000"/>
                </a:solidFill>
              </a:rPr>
              <a:t>Successful track record in driving </a:t>
            </a:r>
            <a:r>
              <a:rPr lang="en-US" dirty="0" smtClean="0">
                <a:solidFill>
                  <a:srgbClr val="000000"/>
                </a:solidFill>
              </a:rPr>
              <a:t>systemic </a:t>
            </a:r>
            <a:r>
              <a:rPr lang="en-US" dirty="0" err="1">
                <a:solidFill>
                  <a:srgbClr val="000000"/>
                </a:solidFill>
              </a:rPr>
              <a:t>ICT</a:t>
            </a:r>
            <a:r>
              <a:rPr lang="en-US" dirty="0">
                <a:solidFill>
                  <a:srgbClr val="000000"/>
                </a:solidFill>
              </a:rPr>
              <a:t> </a:t>
            </a:r>
            <a:r>
              <a:rPr lang="en-US" dirty="0" smtClean="0">
                <a:solidFill>
                  <a:srgbClr val="000000"/>
                </a:solidFill>
              </a:rPr>
              <a:t>adoption</a:t>
            </a:r>
          </a:p>
        </p:txBody>
      </p:sp>
      <p:sp>
        <p:nvSpPr>
          <p:cNvPr id="87" name="Rectangle 6"/>
          <p:cNvSpPr txBox="1">
            <a:spLocks/>
          </p:cNvSpPr>
          <p:nvPr/>
        </p:nvSpPr>
        <p:spPr bwMode="gray">
          <a:xfrm>
            <a:off x="4445867" y="3723938"/>
            <a:ext cx="4221883" cy="9356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5000"/>
              </a:lnSpc>
              <a:buClr>
                <a:srgbClr val="002960"/>
              </a:buClr>
            </a:pPr>
            <a:r>
              <a:rPr lang="en-US" dirty="0" smtClean="0">
                <a:solidFill>
                  <a:srgbClr val="000000"/>
                </a:solidFill>
              </a:rPr>
              <a:t>Success story in Indian market, adding 70 GW capacity in last 5 years </a:t>
            </a:r>
          </a:p>
          <a:p>
            <a:pPr lvl="1">
              <a:lnSpc>
                <a:spcPct val="95000"/>
              </a:lnSpc>
              <a:buClr>
                <a:srgbClr val="002960"/>
              </a:buClr>
            </a:pPr>
            <a:r>
              <a:rPr lang="en-US" dirty="0" smtClean="0">
                <a:solidFill>
                  <a:srgbClr val="000000"/>
                </a:solidFill>
              </a:rPr>
              <a:t>“Entrepreneurial mindset”</a:t>
            </a:r>
          </a:p>
          <a:p>
            <a:pPr lvl="1">
              <a:lnSpc>
                <a:spcPct val="95000"/>
              </a:lnSpc>
              <a:buClr>
                <a:srgbClr val="002960"/>
              </a:buClr>
            </a:pPr>
            <a:r>
              <a:rPr lang="en-US" dirty="0" smtClean="0">
                <a:solidFill>
                  <a:srgbClr val="000000"/>
                </a:solidFill>
              </a:rPr>
              <a:t>High quality engineering talent </a:t>
            </a:r>
          </a:p>
        </p:txBody>
      </p:sp>
      <p:sp>
        <p:nvSpPr>
          <p:cNvPr id="94" name="Rectangle 6"/>
          <p:cNvSpPr txBox="1">
            <a:spLocks/>
          </p:cNvSpPr>
          <p:nvPr/>
        </p:nvSpPr>
        <p:spPr bwMode="gray">
          <a:xfrm>
            <a:off x="4445867" y="4801581"/>
            <a:ext cx="4394921" cy="11695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5000"/>
              </a:lnSpc>
              <a:buClr>
                <a:srgbClr val="002960"/>
              </a:buClr>
            </a:pPr>
            <a:r>
              <a:rPr lang="en-US" dirty="0">
                <a:solidFill>
                  <a:srgbClr val="000000"/>
                </a:solidFill>
              </a:rPr>
              <a:t>Low cost, wide range </a:t>
            </a:r>
            <a:r>
              <a:rPr lang="en-US" dirty="0" err="1">
                <a:solidFill>
                  <a:srgbClr val="000000"/>
                </a:solidFill>
              </a:rPr>
              <a:t>agrochem</a:t>
            </a:r>
            <a:r>
              <a:rPr lang="en-US" dirty="0">
                <a:solidFill>
                  <a:srgbClr val="000000"/>
                </a:solidFill>
              </a:rPr>
              <a:t>/ </a:t>
            </a:r>
            <a:r>
              <a:rPr lang="en-US" dirty="0" err="1">
                <a:solidFill>
                  <a:srgbClr val="000000"/>
                </a:solidFill>
              </a:rPr>
              <a:t>fertiliser</a:t>
            </a:r>
            <a:r>
              <a:rPr lang="en-US" dirty="0">
                <a:solidFill>
                  <a:srgbClr val="000000"/>
                </a:solidFill>
              </a:rPr>
              <a:t> manufacturing experience</a:t>
            </a:r>
          </a:p>
          <a:p>
            <a:pPr lvl="1">
              <a:lnSpc>
                <a:spcPct val="95000"/>
              </a:lnSpc>
              <a:buClr>
                <a:srgbClr val="002960"/>
              </a:buClr>
            </a:pPr>
            <a:r>
              <a:rPr lang="en-US" dirty="0">
                <a:solidFill>
                  <a:srgbClr val="000000"/>
                </a:solidFill>
              </a:rPr>
              <a:t>Strength in distribution models </a:t>
            </a:r>
            <a:endParaRPr lang="en-US" dirty="0" smtClean="0">
              <a:solidFill>
                <a:srgbClr val="000000"/>
              </a:solidFill>
            </a:endParaRPr>
          </a:p>
          <a:p>
            <a:pPr lvl="1">
              <a:lnSpc>
                <a:spcPct val="95000"/>
              </a:lnSpc>
              <a:buClr>
                <a:srgbClr val="002960"/>
              </a:buClr>
            </a:pPr>
            <a:r>
              <a:rPr lang="en-US" dirty="0" smtClean="0">
                <a:solidFill>
                  <a:srgbClr val="000000"/>
                </a:solidFill>
              </a:rPr>
              <a:t>Low </a:t>
            </a:r>
            <a:r>
              <a:rPr lang="en-US" dirty="0">
                <a:solidFill>
                  <a:srgbClr val="000000"/>
                </a:solidFill>
              </a:rPr>
              <a:t>cost, robust farm equipment manufacturing capabilities</a:t>
            </a:r>
          </a:p>
        </p:txBody>
      </p:sp>
    </p:spTree>
    <p:custDataLst>
      <p:tags r:id="rId2"/>
    </p:custDataLst>
    <p:extLst>
      <p:ext uri="{BB962C8B-B14F-4D97-AF65-F5344CB8AC3E}">
        <p14:creationId xmlns:p14="http://schemas.microsoft.com/office/powerpoint/2010/main" val="3770121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2&quot;&gt;&lt;elem m_fUsage=&quot;3.43900000000000010000E+000&quot;&gt;&lt;m_msothmcolidx val=&quot;0&quot;/&gt;&lt;m_rgb r=&quot;66&quot; g=&quot;a3&quot; b=&quot;d7&quot;/&gt;&lt;m_ppcolschidx tagver0=&quot;23004&quot; tagname0=&quot;m_ppcolschidxUNRECOGNIZED&quot; val=&quot;0&quot;/&gt;&lt;m_nBrightness val=&quot;0&quot;/&gt;&lt;/elem&gt;&lt;elem m_fUsage=&quot;6.56100000000000130000E-001&quot;&gt;&lt;m_msothmcolidx val=&quot;0&quot;/&gt;&lt;m_rgb r=&quot;94&quot; g=&quot;b6&quot; b=&quot;cf&quot;/&gt;&lt;m_ppcolschidx tagver0=&quot;23004&quot; tagname0=&quot;m_ppcolschidxUNRECOGNIZED&quot; val=&quot;0&quot;/&gt;&lt;m_nBrightness val=&quot;0&quot;/&gt;&lt;/elem&gt;&lt;/m_vecMRU&gt;&lt;/m_mruColor&gt;&lt;/CPresentation&gt;&lt;/root&gt;"/>
  <p:tag name="THINKCELLUNDODONOTDELETE" val="17"/>
</p:tagLst>
</file>

<file path=ppt/tags/tag10.xml><?xml version="1.0" encoding="utf-8"?>
<p:tagLst xmlns:a="http://schemas.openxmlformats.org/drawingml/2006/main" xmlns:r="http://schemas.openxmlformats.org/officeDocument/2006/relationships" xmlns:p="http://schemas.openxmlformats.org/presentationml/2006/main">
  <p:tag name="RESIZE" val="Y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oI753_dREuxiF2v0lKB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NzOKk.O8kazl74FnAUT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w8UeUO_20uKotAQEF7yp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7PL0NqxSkyE1WDodlnS2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Riu7lXtqEKhyJ2rzwDT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NUmQ2FRGxEeOb54fnA7lF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z90yc_LYkmpPWiqFRb5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iIrqufyr0.5h.rT.ODnK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ALQNdhbDk6XVstxyLMH7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QvYuGoVc022qPAnXtG_YQ"/>
</p:tagLst>
</file>

<file path=ppt/tags/tag11.xml><?xml version="1.0" encoding="utf-8"?>
<p:tagLst xmlns:a="http://schemas.openxmlformats.org/drawingml/2006/main" xmlns:r="http://schemas.openxmlformats.org/officeDocument/2006/relationships" xmlns:p="http://schemas.openxmlformats.org/presentationml/2006/main">
  <p:tag name="NAME" val="SingleBoa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6dtmfVMY.E.y8uGBT4jp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g8B4.mkv0y2yR9a_yYX7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6csIUcvttU60_ugmII1q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9UfU7F0uEu8v4Leyogz0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61qmbbWSkqVBBmfiN9qM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iQvhwKJsUmyrttVA1zZx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ou.HupfL0Cr94Bl5kf4v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BR7A1wrNk2GtUVI1GVZY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zTXew2i0jk.dTgihsIHPs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YGiMtDSL00uQ7TftEebyHA"/>
</p:tagLst>
</file>

<file path=ppt/tags/tag12.xml><?xml version="1.0" encoding="utf-8"?>
<p:tagLst xmlns:a="http://schemas.openxmlformats.org/drawingml/2006/main" xmlns:r="http://schemas.openxmlformats.org/officeDocument/2006/relationships" xmlns:p="http://schemas.openxmlformats.org/presentationml/2006/main">
  <p:tag name="NAME" val="SingleBoa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ZfTQen7zUCdYpuAtv9cE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d0XLbFJUF0y1WM.CoMlgN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x_uqil30UeVyz2Uxs57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qTJ9awHyUi6W7HdPjzl8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hJgM8qDpEuM3SBKpoGui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Uuy_WGml0KsJK.L1RRBQ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owLQkPcTUa.Y9.I4uV5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7JKSeKjVUyD2ie3GsZwm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RXYPlo5WkmWtGudgQYw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QIvufTrJkG_WcDL5XZk_g"/>
</p:tagLst>
</file>

<file path=ppt/tags/tag13.xml><?xml version="1.0" encoding="utf-8"?>
<p:tagLst xmlns:a="http://schemas.openxmlformats.org/drawingml/2006/main" xmlns:r="http://schemas.openxmlformats.org/officeDocument/2006/relationships" xmlns:p="http://schemas.openxmlformats.org/presentationml/2006/main">
  <p:tag name="NAME" val="SingleBoa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HPwLDmh6UG0GK3kWC5dM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fAI6aHeQkG3cIkzvB7Ja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0ngtM_C31kefXEQtG96i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PsOsObJoE6qJ5GbWusM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3NAnSSaikOa9yaACIuFU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4MBraLMs0adauk0i0vY6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OoBhBM5TEm.THDelqczi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t4nI7MFjkKxx.L_FxZd2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NAME" val="SingleBoa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H3Skcwk0E2P8PXZsjv8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VSPh39PCE2bOPlh0hH7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B8.gxTuOEG3LZpP6Z79b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5mYUOMwE0qFumjRPYOhg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XsSoxjxQU2wxCGOZfGfK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ZnA7aWq.1ESvGlDxGyyJU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EcnxCFz02xZv0awUnHx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ehbMpfwp0KH19RQniiov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H_M8JAOa0S6DpOFAcdX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5nDb0egM8UiH7.TrZvgUWg"/>
</p:tagLst>
</file>

<file path=ppt/tags/tag15.xml><?xml version="1.0" encoding="utf-8"?>
<p:tagLst xmlns:a="http://schemas.openxmlformats.org/drawingml/2006/main" xmlns:r="http://schemas.openxmlformats.org/officeDocument/2006/relationships" xmlns:p="http://schemas.openxmlformats.org/presentationml/2006/main">
  <p:tag name="NAME" val="SingleBoat"/>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ZUdhFp5MEaGJL._vYV0A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cQZSxORKB0SBO0kH3NvmQ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SnwTjHyEUecTwBL.Nsy6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tJWXRSAjE.H9uTTabaqe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wakVjWRu0qXathmwwBAq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oI753_dREuxiF2v0lKBK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CNzOKk.O8kazl74FnAUTE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a6tNJyr6UymcmI6QsSJX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w8UeUO_20uKotAQEF7y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07PL0NqxSkyE1WDodlnS2g"/>
</p:tagLst>
</file>

<file path=ppt/tags/tag16.xml><?xml version="1.0" encoding="utf-8"?>
<p:tagLst xmlns:a="http://schemas.openxmlformats.org/drawingml/2006/main" xmlns:r="http://schemas.openxmlformats.org/officeDocument/2006/relationships" xmlns:p="http://schemas.openxmlformats.org/presentationml/2006/main">
  <p:tag name="NAME" val="SingleBoat"/>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Riu7lXtqEKhyJ2rzwDT0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UmQ2FRGxEeOb54fnA7l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z90yc_LYkmpPWiqFRb5f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iIrqufyr0.5h.rT.ODnK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ALQNdhbDk6XVstxyLMH7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QvYuGoVc022qPAnXtG_Y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6dtmfVMY.E.y8uGBT4jpR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g8B4.mkv0y2yR9a_yYX7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6csIUcvttU60_ugmII1qm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9UfU7F0uEu8v4Leyogz0Q"/>
</p:tagLst>
</file>

<file path=ppt/tags/tag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61qmbbWSkqVBBmfiN9qM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iQvhwKJsUmyrttVA1zZx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ou.HupfL0Cr94Bl5kf4v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BR7A1wrNk2GtUVI1GVZY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TXew2i0jk.dTgihsIHPs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YGiMtDSL00uQ7TftEebyH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ZfTQen7zUCdYpuAtv9c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d0XLbFJUF0y1WM.CoMlgN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x_uqil30UeVyz2Uxs57w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YqTJ9awHyUi6W7HdPjzl8A"/>
</p:tagLst>
</file>

<file path=ppt/tags/tag18.xml><?xml version="1.0" encoding="utf-8"?>
<p:tagLst xmlns:a="http://schemas.openxmlformats.org/drawingml/2006/main" xmlns:r="http://schemas.openxmlformats.org/officeDocument/2006/relationships" xmlns:p="http://schemas.openxmlformats.org/presentationml/2006/main">
  <p:tag name="NAME" val="SingleBoatText"/>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hJgM8qDpEuM3SBKpoGui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Uuy_WGml0KsJK.L1RRBQ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owLQkPcTUa.Y9.I4uV5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7JKSeKjVUyD2ie3GsZwm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tRXYPlo5WkmWtGudgQYw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QIvufTrJkG_WcDL5XZk_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VHPwLDmh6UG0GK3kWC5dM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fAI6aHeQkG3cIkzvB7Ja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0ngtM_C31kefXEQtG96i0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SPsOsObJoE6qJ5GbWusMhQ"/>
</p:tagLst>
</file>

<file path=ppt/tags/tag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U3NAnSSaikOa9yaACIuFU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4MBraLMs0adauk0i0vY6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OoBhBM5TEm.THDelqczi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zt4nI7MFjkKxx.L_FxZd2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NAME" val="Rectangle"/>
</p:tagLst>
</file>

<file path=ppt/tags/tag196.xml><?xml version="1.0" encoding="utf-8"?>
<p:tagLst xmlns:a="http://schemas.openxmlformats.org/drawingml/2006/main" xmlns:r="http://schemas.openxmlformats.org/officeDocument/2006/relationships" xmlns:p="http://schemas.openxmlformats.org/presentationml/2006/main">
  <p:tag name="NAME" val="Rectangl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_QNHC2lvU2AXh6rw7wtg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HpCefMNLUubQ4hNIRnu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I9VCFvlZkiMogiXasZT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SingleBoatText"/>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Mc07RCQ90icXANTIEJm.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qshwvZbFEWGC7Q1wmSPj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maExoRiY2kuyIYKag8nzV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NOPREFERENCE" val="Fals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BYiuDZD8Xk63aGbYL_ZvS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1ZzibQn5AUm2S7rIAx3JQ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rwaMKi0Q0ykOj2q_VMj9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aPfITNd4UaE2HM4ZNDE2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5Ar3Wfm.UaBPjlJx7JzF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Ut3dyg120S_NHr2eW.I3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CA.HECNL0Objkd0L6vHV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arvV4JIvEeH06IyxmB6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CgeDqDedEC2Bm6pSQZq1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D606WBdeEWCgHGij7z2Yw"/>
</p:tagLst>
</file>

<file path=ppt/tags/tag2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C_L1xtxXVkWlQ_9wmQXXI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3ldS.6DfbUWxBdSFUH6_P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YH1mPTIuki0.uoO3tPe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ieMLVTXFUUuPSCo6PR0H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u5Uh09G80uil6UMdXmtNA"/>
</p:tagLst>
</file>

<file path=ppt/tags/tag235.xml><?xml version="1.0" encoding="utf-8"?>
<p:tagLst xmlns:a="http://schemas.openxmlformats.org/drawingml/2006/main" xmlns:r="http://schemas.openxmlformats.org/officeDocument/2006/relationships" xmlns:p="http://schemas.openxmlformats.org/presentationml/2006/main">
  <p:tag name="RESIZE" val="Yes"/>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RESIZE" val="Yes"/>
</p:tagLst>
</file>

<file path=ppt/tags/tag238.xml><?xml version="1.0" encoding="utf-8"?>
<p:tagLst xmlns:a="http://schemas.openxmlformats.org/drawingml/2006/main" xmlns:r="http://schemas.openxmlformats.org/officeDocument/2006/relationships" xmlns:p="http://schemas.openxmlformats.org/presentationml/2006/main">
  <p:tag name="RESIZE" val="Yes"/>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SingleBoatText"/>
</p:tagLst>
</file>

<file path=ppt/tags/tag240.xml><?xml version="1.0" encoding="utf-8"?>
<p:tagLst xmlns:a="http://schemas.openxmlformats.org/drawingml/2006/main" xmlns:r="http://schemas.openxmlformats.org/officeDocument/2006/relationships" xmlns:p="http://schemas.openxmlformats.org/presentationml/2006/main">
  <p:tag name="RESIZE" val="Yes"/>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NAME" val="Rectangl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0yUtlipdR0y3CfEj1m_u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xDfz36XTTkiNU98Ywe2a2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4Uagw0hyES53INJBXii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l7hsP2oYgEu_RpuzvNkiL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yL8cc23T702nbvI5lFK7.g"/>
</p:tagLst>
</file>

<file path=ppt/tags/tag2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6.xml><?xml version="1.0" encoding="utf-8"?>
<p:tagLst xmlns:a="http://schemas.openxmlformats.org/drawingml/2006/main" xmlns:r="http://schemas.openxmlformats.org/officeDocument/2006/relationships" xmlns:p="http://schemas.openxmlformats.org/presentationml/2006/main">
  <p:tag name="NAME" val="SingleBoatText"/>
</p:tagLst>
</file>

<file path=ppt/tags/tag2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8.xml><?xml version="1.0" encoding="utf-8"?>
<p:tagLst xmlns:a="http://schemas.openxmlformats.org/drawingml/2006/main" xmlns:r="http://schemas.openxmlformats.org/officeDocument/2006/relationships" xmlns:p="http://schemas.openxmlformats.org/presentationml/2006/main">
  <p:tag name="NAME" val="SingleBoatTex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RESIZE" val="Ye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H3Skcwk0E2P8PXZsjv8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VSPh39PCE2bOPlh0hH7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B8.gxTuOEG3LZpP6Z79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5mYUOMwE0qFumjRPYOh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XsSoxjxQU2wxCGOZfGf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nA7aWq.1ESvGlDxGyyJ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EcnxCFz02xZv0awUnH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ehbMpfwp0KH19RQniiovA"/>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_M8JAOa0S6DpOFAcdX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nDb0egM8UiH7.TrZvgU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ZUdhFp5MEaGJL._vYV0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QZSxORKB0SBO0kH3Nvm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SnwTjHyEUecTwBL.Nsy6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tJWXRSAjE.H9uTTabaqe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wakVjWRu0qXathmwwBA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oI753_dREuxiF2v0lKB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NzOKk.O8kazl74FnAUT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w8UeUO_20uKotAQEF7y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07PL0NqxSkyE1WDodlnS2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Riu7lXtqEKhyJ2rzwDT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UmQ2FRGxEeOb54fnA7l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z90yc_LYkmpPWiqFRb5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iIrqufyr0.5h.rT.ODn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ALQNdhbDk6XVstxyLMH7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QvYuGoVc022qPAnXtG_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dtmfVMY.E.y8uGBT4jp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g8B4.mkv0y2yR9a_yYX7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csIUcvttU60_ugmII1q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bo90l6NuUi3oD.uSTO.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9UfU7F0uEu8v4Leyogz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61qmbbWSkqVBBmfiN9q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iQvhwKJsUmyrttVA1zZ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ou.HupfL0Cr94Bl5kf4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BR7A1wrNk2GtUVI1GVZY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TXew2i0jk.dTgihsIHP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GiMtDSL00uQ7TftEeby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ZfTQen7zUCdYpuAtv9cE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0XLbFJUF0y1WM.CoMlg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x_uqil30UeVyz2Uxs57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bo90l6NuUi3oD.uSTO.K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YqTJ9awHyUi6W7HdPjzl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hJgM8qDpEuM3SBKpoGui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Uuy_WGml0KsJK.L1RRBQ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owLQkPcTUa.Y9.I4uV5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7JKSeKjVUyD2ie3GsZwm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RXYPlo5WkmWtGudgQYw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QIvufTrJkG_WcDL5XZk_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HPwLDmh6UG0GK3kWC5dM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fAI6aHeQkG3cIkzvB7Ja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ngtM_C31kefXEQtG96i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SPsOsObJoE6qJ5GbWusM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3NAnSSaikOa9yaACIuF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4MBraLMs0adauk0i0vY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OoBhBM5TEm.THDelqcz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t4nI7MFjkKxx.L_FxZd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H3Skcwk0E2P8PXZsjv8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VSPh39PCE2bOPlh0hH7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B8.gxTuOEG3LZpP6Z79b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5mYUOMwE0qFumjRPYOh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XsSoxjxQU2wxCGOZfGf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nA7aWq.1ESvGlDxGyyJ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EcnxCFz02xZv0awUnH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ehbMpfwp0KH19RQniio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H_M8JAOa0S6DpOFAcdXe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5nDb0egM8UiH7.TrZvgUW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ZUdhFp5MEaGJL._vYV0A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QZSxORKB0SBO0kH3Nvm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NSnwTjHyEUecTwBL.Nsy6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tJWXRSAjE.H9uTTabaqe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wakVjWRu0qXathmwwBAqQ"/>
</p:tagLst>
</file>

<file path=ppt/theme/theme1.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03</TotalTime>
  <Words>2826</Words>
  <Application>Microsoft Office PowerPoint</Application>
  <PresentationFormat>Custom</PresentationFormat>
  <Paragraphs>466</Paragraphs>
  <Slides>13</Slides>
  <Notes>13</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16" baseType="lpstr">
      <vt:lpstr>Blank</vt:lpstr>
      <vt:lpstr>think-cell Slide</vt:lpstr>
      <vt:lpstr>Chart</vt:lpstr>
      <vt:lpstr>Joining hands to unlock Africa’s potential</vt:lpstr>
      <vt:lpstr>For Africa, the path ahead provides great opportunities for the world to contribute to its development</vt:lpstr>
      <vt:lpstr>Drivers of Africa’s growth story</vt:lpstr>
      <vt:lpstr>More than half of Africa’s 55 countries are expected to grow faster than 5% annually till 2025</vt:lpstr>
      <vt:lpstr>30 cities across Africa will witness consumption growth of more than USD 2 billion in the next 5 years</vt:lpstr>
      <vt:lpstr>India and Africa can gain significantly from mutual cooperation </vt:lpstr>
      <vt:lpstr>Some Indian companies are already participating in the  Africa opportunity</vt:lpstr>
      <vt:lpstr>Comparison of sectors by India’s value proposition and Africa’s need for development</vt:lpstr>
      <vt:lpstr>Opportunity and India’s value proposition in four lead sectors</vt:lpstr>
      <vt:lpstr>India’s possible aspirations for Africa</vt:lpstr>
      <vt:lpstr>India’s new industry-led “solutions partner” approach to contribute to Africa’s development</vt:lpstr>
      <vt:lpstr>10 Imperatives for Indian companies to win in Africa</vt:lpstr>
      <vt:lpstr>Example: Cisco’s joint vision for IT development in multiple African nations and Japan’s early participation in India’s developme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ing hands to unlock Africa’s potential</dc:title>
  <dc:creator>Vineet Thakur</dc:creator>
  <cp:lastModifiedBy>Vimal Choudhary</cp:lastModifiedBy>
  <cp:revision>122</cp:revision>
  <cp:lastPrinted>2008-09-19T11:06:26Z</cp:lastPrinted>
  <dcterms:created xsi:type="dcterms:W3CDTF">2014-03-06T11:59:26Z</dcterms:created>
  <dcterms:modified xsi:type="dcterms:W3CDTF">2014-03-10T02:3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